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7.xml" ContentType="application/vnd.openxmlformats-officedocument.presentationml.notesSlide+xml"/>
  <Override PartName="/ppt/tags/tag27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41.xml" ContentType="application/vnd.openxmlformats-officedocument.presentationml.tags+xml"/>
  <Override PartName="/ppt/notesSlides/notesSlide13.xml" ContentType="application/vnd.openxmlformats-officedocument.presentationml.notesSlide+xml"/>
  <Override PartName="/ppt/tags/tag42.xml" ContentType="application/vnd.openxmlformats-officedocument.presentationml.tags+xml"/>
  <Override PartName="/ppt/notesSlides/notesSlide14.xml" ContentType="application/vnd.openxmlformats-officedocument.presentationml.notesSlide+xml"/>
  <Override PartName="/ppt/tags/tag43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9"/>
  </p:notesMasterIdLst>
  <p:sldIdLst>
    <p:sldId id="256" r:id="rId2"/>
    <p:sldId id="257" r:id="rId3"/>
    <p:sldId id="273" r:id="rId4"/>
    <p:sldId id="259" r:id="rId5"/>
    <p:sldId id="260" r:id="rId6"/>
    <p:sldId id="261" r:id="rId7"/>
    <p:sldId id="263" r:id="rId8"/>
    <p:sldId id="264" r:id="rId9"/>
    <p:sldId id="265" r:id="rId10"/>
    <p:sldId id="266" r:id="rId11"/>
    <p:sldId id="274" r:id="rId12"/>
    <p:sldId id="272" r:id="rId13"/>
    <p:sldId id="280" r:id="rId14"/>
    <p:sldId id="278" r:id="rId15"/>
    <p:sldId id="279" r:id="rId16"/>
    <p:sldId id="281" r:id="rId17"/>
    <p:sldId id="282" r:id="rId18"/>
  </p:sldIdLst>
  <p:sldSz cx="9144000" cy="5143500" type="screen16x9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472" autoAdjust="0"/>
    <p:restoredTop sz="75976" autoAdjust="0"/>
  </p:normalViewPr>
  <p:slideViewPr>
    <p:cSldViewPr>
      <p:cViewPr varScale="1">
        <p:scale>
          <a:sx n="108" d="100"/>
          <a:sy n="108" d="100"/>
        </p:scale>
        <p:origin x="-990" y="-90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12B48D8-2D91-44AC-BA9A-A24D03C2A63C}" type="datetimeFigureOut">
              <a:rPr lang="en-US" smtClean="0"/>
              <a:t>11/26/2015</a:t>
            </a:fld>
            <a:endParaRPr lang="en-US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F0182F-55FE-48F2-80CA-FCDE2B523E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29309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F0182F-55FE-48F2-80CA-FCDE2B523E2D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033758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GB" sz="1000" b="0" kern="1200" dirty="0" smtClean="0">
              <a:solidFill>
                <a:schemeClr val="bg1"/>
              </a:solidFill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4CAA6F3-82AA-47A8-BA7A-1E0FF599BA86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447285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F0182F-55FE-48F2-80CA-FCDE2B523E2D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236071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F0182F-55FE-48F2-80CA-FCDE2B523E2D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447747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Starting at 1 o’clock</a:t>
            </a:r>
            <a:r>
              <a:rPr lang="en-GB" baseline="0" dirty="0" smtClean="0"/>
              <a:t>: Security, time gain, availability 24h/24h , 7d/7d, Supporting document management, tailored dialog, tracking, </a:t>
            </a:r>
            <a:r>
              <a:rPr lang="en-GB" baseline="0" dirty="0" err="1" smtClean="0"/>
              <a:t>ecoFriendly</a:t>
            </a:r>
            <a:r>
              <a:rPr lang="en-GB" baseline="0" dirty="0" smtClean="0"/>
              <a:t>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4CAA6F3-82AA-47A8-BA7A-1E0FF599BA86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2543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1" indent="0" eaLnBrk="1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/>
            </a:pPr>
            <a:r>
              <a:rPr lang="en-GB" dirty="0" smtClean="0"/>
              <a:t>Animation</a:t>
            </a:r>
          </a:p>
          <a:p>
            <a:pPr marL="0" lvl="1" indent="0" eaLnBrk="1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/>
            </a:pPr>
            <a:r>
              <a:rPr lang="en-GB" dirty="0" smtClean="0"/>
              <a:t>Step</a:t>
            </a:r>
            <a:r>
              <a:rPr lang="en-GB" baseline="0" dirty="0" smtClean="0"/>
              <a:t> 1 : Users log in to perform Administrative task or consult personal Data</a:t>
            </a:r>
          </a:p>
          <a:p>
            <a:pPr marL="0" lvl="1" indent="0" eaLnBrk="1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/>
            </a:pPr>
            <a:endParaRPr lang="en-GB" baseline="0" dirty="0" smtClean="0"/>
          </a:p>
          <a:p>
            <a:pPr marL="0" lvl="1" indent="0" eaLnBrk="1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/>
            </a:pPr>
            <a:r>
              <a:rPr lang="en-GB" baseline="0" dirty="0" smtClean="0"/>
              <a:t>Step </a:t>
            </a:r>
            <a:r>
              <a:rPr lang="en-GB" baseline="0" dirty="0" smtClean="0"/>
              <a:t>2 : </a:t>
            </a:r>
            <a:r>
              <a:rPr lang="en-GB" baseline="0" dirty="0" err="1" smtClean="0"/>
              <a:t>MyGuichet</a:t>
            </a:r>
            <a:r>
              <a:rPr lang="en-GB" baseline="0" dirty="0" smtClean="0"/>
              <a:t> general process : Data entry, </a:t>
            </a:r>
            <a:r>
              <a:rPr lang="en-GB" baseline="0" dirty="0" err="1" smtClean="0"/>
              <a:t>eSign</a:t>
            </a:r>
            <a:r>
              <a:rPr lang="en-GB" baseline="0" dirty="0" smtClean="0"/>
              <a:t>, Transmission and processing by ADM</a:t>
            </a:r>
          </a:p>
          <a:p>
            <a:pPr marL="0" lvl="1" indent="0" eaLnBrk="1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/>
            </a:pPr>
            <a:endParaRPr lang="en-GB" baseline="0" dirty="0" smtClean="0"/>
          </a:p>
          <a:p>
            <a:pPr marL="0" lvl="1" indent="0" eaLnBrk="1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/>
            </a:pPr>
            <a:r>
              <a:rPr lang="en-GB" baseline="0" dirty="0" smtClean="0"/>
              <a:t>Step </a:t>
            </a:r>
            <a:r>
              <a:rPr lang="en-GB" baseline="0" dirty="0" smtClean="0"/>
              <a:t>3 : Once only (FRONT Office) based on authentic sources used to prefill forms</a:t>
            </a:r>
          </a:p>
          <a:p>
            <a:pPr marL="0" lvl="1" indent="0" eaLnBrk="1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/>
            </a:pPr>
            <a:endParaRPr lang="en-GB" baseline="0" dirty="0" smtClean="0"/>
          </a:p>
          <a:p>
            <a:pPr marL="0" lvl="1" indent="0" eaLnBrk="1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/>
            </a:pPr>
            <a:r>
              <a:rPr lang="en-GB" baseline="0" dirty="0" smtClean="0"/>
              <a:t>Step </a:t>
            </a:r>
            <a:r>
              <a:rPr lang="en-GB" baseline="0" dirty="0" smtClean="0"/>
              <a:t>4 : once only (BACK Office) : </a:t>
            </a:r>
            <a:r>
              <a:rPr lang="en-GB" baseline="0" dirty="0" smtClean="0"/>
              <a:t>Administrations </a:t>
            </a:r>
            <a:r>
              <a:rPr lang="en-GB" baseline="0" dirty="0" smtClean="0"/>
              <a:t>have an access to Authentic sources </a:t>
            </a:r>
            <a:r>
              <a:rPr lang="en-US" b="1" dirty="0" smtClean="0"/>
              <a:t>with the consent of the users</a:t>
            </a:r>
            <a:endParaRPr lang="en-GB" baseline="0" dirty="0" smtClean="0"/>
          </a:p>
          <a:p>
            <a:pPr marL="0" lvl="1" indent="0" eaLnBrk="1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/>
            </a:pPr>
            <a:r>
              <a:rPr lang="en-GB" baseline="0" dirty="0" smtClean="0"/>
              <a:t>	Key benefits : </a:t>
            </a:r>
          </a:p>
          <a:p>
            <a:pPr marL="0" lvl="1" indent="0" eaLnBrk="1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/>
            </a:pPr>
            <a:r>
              <a:rPr lang="en-GB" b="1" baseline="0" dirty="0" smtClean="0"/>
              <a:t>	compliant with data </a:t>
            </a:r>
            <a:r>
              <a:rPr lang="en-GB" b="1" baseline="0" dirty="0" smtClean="0"/>
              <a:t>protection</a:t>
            </a:r>
            <a:endParaRPr lang="en-GB" b="1" baseline="0" dirty="0" smtClean="0"/>
          </a:p>
          <a:p>
            <a:pPr marL="0" lvl="1" indent="0" eaLnBrk="1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/>
            </a:pPr>
            <a:r>
              <a:rPr lang="en-GB" b="1" baseline="0" dirty="0" smtClean="0"/>
              <a:t>	</a:t>
            </a:r>
            <a:r>
              <a:rPr lang="en-GB" b="1" baseline="0" dirty="0" smtClean="0"/>
              <a:t>no need for requester </a:t>
            </a:r>
            <a:r>
              <a:rPr lang="en-GB" b="1" baseline="0" dirty="0" smtClean="0"/>
              <a:t>to provide supporting document</a:t>
            </a:r>
          </a:p>
          <a:p>
            <a:pPr marL="0" lvl="1" indent="0" eaLnBrk="1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/>
            </a:pPr>
            <a:endParaRPr lang="en-GB" b="1" baseline="0" dirty="0" smtClean="0"/>
          </a:p>
          <a:p>
            <a:pPr marL="0" lvl="1" indent="0" eaLnBrk="1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/>
            </a:pPr>
            <a:endParaRPr lang="en-GB" b="1" baseline="0" dirty="0" smtClean="0"/>
          </a:p>
          <a:p>
            <a:pPr marL="0" lvl="1" indent="0" eaLnBrk="1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/>
            </a:pPr>
            <a:r>
              <a:rPr lang="en-GB" b="1" baseline="0" dirty="0" smtClean="0"/>
              <a:t>Also doing the loop with the IPSG study </a:t>
            </a:r>
            <a:r>
              <a:rPr lang="en-GB" b="1" baseline="0" dirty="0" smtClean="0">
                <a:sym typeface="Wingdings" panose="05000000000000000000" pitchFamily="2" charset="2"/>
              </a:rPr>
              <a:t>  combination of once only front-office integration and back-office</a:t>
            </a:r>
            <a:endParaRPr lang="en-GB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4CAA6F3-82AA-47A8-BA7A-1E0FF599BA86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090088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1" indent="0" eaLnBrk="1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/>
            </a:pPr>
            <a:r>
              <a:rPr lang="en-GB" sz="1400" b="0" dirty="0" smtClean="0">
                <a:solidFill>
                  <a:schemeClr val="bg2"/>
                </a:solidFill>
              </a:rPr>
              <a:t>Step</a:t>
            </a:r>
            <a:r>
              <a:rPr lang="en-GB" sz="1400" b="0" baseline="0" dirty="0" smtClean="0">
                <a:solidFill>
                  <a:schemeClr val="bg2"/>
                </a:solidFill>
              </a:rPr>
              <a:t> </a:t>
            </a:r>
            <a:r>
              <a:rPr lang="en-GB" sz="1400" b="0" baseline="0" dirty="0" smtClean="0">
                <a:solidFill>
                  <a:schemeClr val="bg2"/>
                </a:solidFill>
              </a:rPr>
              <a:t>1</a:t>
            </a:r>
          </a:p>
          <a:p>
            <a:pPr marL="0" lvl="1" indent="0" eaLnBrk="1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/>
            </a:pPr>
            <a:r>
              <a:rPr lang="en-GB" sz="1400" b="0" dirty="0" smtClean="0">
                <a:solidFill>
                  <a:schemeClr val="bg2"/>
                </a:solidFill>
              </a:rPr>
              <a:t>Global </a:t>
            </a:r>
            <a:r>
              <a:rPr lang="en-GB" sz="1400" b="0" dirty="0" smtClean="0">
                <a:solidFill>
                  <a:schemeClr val="bg2"/>
                </a:solidFill>
              </a:rPr>
              <a:t>architecture of</a:t>
            </a:r>
            <a:r>
              <a:rPr lang="en-GB" sz="1400" b="0" baseline="0" dirty="0" smtClean="0">
                <a:solidFill>
                  <a:schemeClr val="bg2"/>
                </a:solidFill>
              </a:rPr>
              <a:t> </a:t>
            </a:r>
            <a:r>
              <a:rPr lang="en-GB" sz="1400" b="0" baseline="0" dirty="0" err="1" smtClean="0">
                <a:solidFill>
                  <a:schemeClr val="bg2"/>
                </a:solidFill>
              </a:rPr>
              <a:t>MyGuichet</a:t>
            </a:r>
            <a:endParaRPr lang="en-GB" sz="1400" b="0" baseline="0" dirty="0" smtClean="0">
              <a:solidFill>
                <a:schemeClr val="bg2"/>
              </a:solidFill>
            </a:endParaRPr>
          </a:p>
          <a:p>
            <a:pPr marL="0" lvl="1" indent="0" eaLnBrk="1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/>
            </a:pPr>
            <a:r>
              <a:rPr lang="en-GB" sz="1400" b="0" baseline="0" dirty="0" smtClean="0">
                <a:solidFill>
                  <a:schemeClr val="bg2"/>
                </a:solidFill>
              </a:rPr>
              <a:t>Front Office dedicated to Citizen and Businesses</a:t>
            </a:r>
          </a:p>
          <a:p>
            <a:pPr marL="0" lvl="1" indent="0" eaLnBrk="1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/>
            </a:pPr>
            <a:r>
              <a:rPr lang="en-GB" sz="1400" b="0" baseline="0" dirty="0" smtClean="0">
                <a:solidFill>
                  <a:schemeClr val="bg2"/>
                </a:solidFill>
              </a:rPr>
              <a:t>Back office dedicated to Administrations</a:t>
            </a:r>
          </a:p>
          <a:p>
            <a:pPr marL="0" lvl="1" indent="0" eaLnBrk="1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/>
            </a:pPr>
            <a:endParaRPr lang="en-GB" sz="1400" b="0" baseline="0" dirty="0" smtClean="0">
              <a:solidFill>
                <a:schemeClr val="bg2"/>
              </a:solidFill>
            </a:endParaRPr>
          </a:p>
          <a:p>
            <a:pPr marL="0" lvl="1" indent="0" eaLnBrk="1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/>
            </a:pPr>
            <a:r>
              <a:rPr lang="en-GB" sz="1400" b="0" baseline="0" dirty="0" smtClean="0">
                <a:solidFill>
                  <a:schemeClr val="bg2"/>
                </a:solidFill>
              </a:rPr>
              <a:t>Front office </a:t>
            </a:r>
            <a:r>
              <a:rPr lang="en-GB" sz="1400" b="0" baseline="0" dirty="0" smtClean="0">
                <a:solidFill>
                  <a:schemeClr val="bg2"/>
                </a:solidFill>
              </a:rPr>
              <a:t>provides: personal </a:t>
            </a:r>
            <a:r>
              <a:rPr lang="en-GB" sz="1400" b="0" baseline="0" dirty="0" smtClean="0">
                <a:solidFill>
                  <a:schemeClr val="bg2"/>
                </a:solidFill>
              </a:rPr>
              <a:t>spaces </a:t>
            </a:r>
            <a:r>
              <a:rPr lang="en-GB" sz="1400" b="0" baseline="0" dirty="0" smtClean="0">
                <a:solidFill>
                  <a:schemeClr val="bg2"/>
                </a:solidFill>
              </a:rPr>
              <a:t>that allow </a:t>
            </a:r>
            <a:r>
              <a:rPr lang="en-GB" sz="1400" b="0" baseline="0" dirty="0" smtClean="0">
                <a:solidFill>
                  <a:schemeClr val="bg2"/>
                </a:solidFill>
              </a:rPr>
              <a:t>to</a:t>
            </a:r>
          </a:p>
          <a:p>
            <a:pPr marL="0" lvl="1" indent="0" eaLnBrk="1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/>
            </a:pPr>
            <a:r>
              <a:rPr lang="en-GB" sz="1400" b="0" baseline="0" dirty="0" smtClean="0">
                <a:solidFill>
                  <a:schemeClr val="bg2"/>
                </a:solidFill>
              </a:rPr>
              <a:t>	perform administrative task + tracking</a:t>
            </a:r>
          </a:p>
          <a:p>
            <a:pPr marL="0" lvl="1" indent="0" eaLnBrk="1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/>
            </a:pPr>
            <a:r>
              <a:rPr lang="en-GB" sz="1400" b="0" baseline="0" dirty="0" smtClean="0">
                <a:solidFill>
                  <a:schemeClr val="bg2"/>
                </a:solidFill>
              </a:rPr>
              <a:t>	access authentic sources</a:t>
            </a:r>
          </a:p>
          <a:p>
            <a:pPr marL="0" lvl="1" indent="0" eaLnBrk="1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/>
            </a:pPr>
            <a:endParaRPr lang="en-GB" sz="1400" b="0" baseline="0" dirty="0" smtClean="0">
              <a:solidFill>
                <a:schemeClr val="bg2"/>
              </a:solidFill>
            </a:endParaRPr>
          </a:p>
          <a:p>
            <a:pPr marL="0" lvl="1" indent="0" eaLnBrk="1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/>
            </a:pPr>
            <a:r>
              <a:rPr lang="en-GB" sz="1400" b="0" baseline="0" dirty="0" smtClean="0">
                <a:solidFill>
                  <a:schemeClr val="bg2"/>
                </a:solidFill>
              </a:rPr>
              <a:t>Step 2 </a:t>
            </a:r>
          </a:p>
          <a:p>
            <a:pPr marL="0" lvl="1" indent="0" eaLnBrk="1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/>
            </a:pPr>
            <a:r>
              <a:rPr lang="en-GB" sz="1400" b="0" baseline="0" dirty="0" smtClean="0">
                <a:solidFill>
                  <a:schemeClr val="bg2"/>
                </a:solidFill>
              </a:rPr>
              <a:t>Many authentic sources are </a:t>
            </a:r>
            <a:r>
              <a:rPr lang="en-GB" sz="1400" b="0" baseline="0" dirty="0" smtClean="0">
                <a:solidFill>
                  <a:schemeClr val="bg2"/>
                </a:solidFill>
              </a:rPr>
              <a:t>available</a:t>
            </a:r>
            <a:endParaRPr lang="en-GB" sz="1400" b="0" baseline="0" dirty="0" smtClean="0">
              <a:solidFill>
                <a:schemeClr val="bg2"/>
              </a:solidFill>
            </a:endParaRPr>
          </a:p>
          <a:p>
            <a:pPr marL="0" lvl="1" indent="0" eaLnBrk="1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/>
            </a:pPr>
            <a:r>
              <a:rPr lang="en-GB" sz="1400" b="0" baseline="0" dirty="0" smtClean="0">
                <a:solidFill>
                  <a:schemeClr val="bg2"/>
                </a:solidFill>
              </a:rPr>
              <a:t>In order to </a:t>
            </a:r>
            <a:r>
              <a:rPr lang="en-GB" sz="1400" b="0" baseline="0" dirty="0" smtClean="0">
                <a:solidFill>
                  <a:schemeClr val="bg2"/>
                </a:solidFill>
              </a:rPr>
              <a:t>comply </a:t>
            </a:r>
            <a:r>
              <a:rPr lang="en-GB" sz="1400" b="0" baseline="0" dirty="0" smtClean="0">
                <a:solidFill>
                  <a:schemeClr val="bg2"/>
                </a:solidFill>
              </a:rPr>
              <a:t>with data </a:t>
            </a:r>
            <a:r>
              <a:rPr lang="en-GB" sz="1400" b="0" baseline="0" dirty="0" smtClean="0">
                <a:solidFill>
                  <a:schemeClr val="bg2"/>
                </a:solidFill>
              </a:rPr>
              <a:t>protection legislation, </a:t>
            </a:r>
            <a:r>
              <a:rPr lang="en-GB" sz="1400" b="0" baseline="0" dirty="0" smtClean="0">
                <a:solidFill>
                  <a:schemeClr val="bg2"/>
                </a:solidFill>
              </a:rPr>
              <a:t>data provided by the authentic sources are </a:t>
            </a:r>
            <a:r>
              <a:rPr lang="en-US" sz="1400" b="1" dirty="0" smtClean="0"/>
              <a:t>compartmentalized in semantic</a:t>
            </a:r>
            <a:r>
              <a:rPr lang="en-US" sz="1400" b="1" baseline="0" dirty="0" smtClean="0"/>
              <a:t> units</a:t>
            </a:r>
          </a:p>
          <a:p>
            <a:pPr marL="0" lvl="1" indent="0" eaLnBrk="1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/>
            </a:pPr>
            <a:r>
              <a:rPr lang="en-GB" sz="1400" b="0" baseline="0" dirty="0" smtClean="0">
                <a:solidFill>
                  <a:schemeClr val="bg2"/>
                </a:solidFill>
              </a:rPr>
              <a:t>	</a:t>
            </a:r>
          </a:p>
          <a:p>
            <a:pPr marL="0" lvl="1" indent="0" eaLnBrk="1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/>
            </a:pPr>
            <a:endParaRPr lang="en-GB" sz="1400" b="1" baseline="0" dirty="0" smtClean="0">
              <a:solidFill>
                <a:schemeClr val="bg2"/>
              </a:solidFill>
            </a:endParaRPr>
          </a:p>
          <a:p>
            <a:pPr marL="0" lvl="1" indent="0" eaLnBrk="1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4CAA6F3-82AA-47A8-BA7A-1E0FF599BA86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090088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F0182F-55FE-48F2-80CA-FCDE2B523E2D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727741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F0182F-55FE-48F2-80CA-FCDE2B523E2D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97036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F0182F-55FE-48F2-80CA-FCDE2B523E2D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50977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noProof="0" dirty="0" smtClean="0"/>
              <a:t>The study took place between July and October 2015.</a:t>
            </a:r>
            <a:endParaRPr lang="en-US" baseline="0" noProof="0" dirty="0" smtClean="0"/>
          </a:p>
          <a:p>
            <a:endParaRPr lang="en-US" baseline="0" noProof="0" dirty="0" smtClean="0"/>
          </a:p>
          <a:p>
            <a:r>
              <a:rPr lang="en-US" baseline="0" noProof="0" dirty="0" smtClean="0"/>
              <a:t>It was done in the context of EUPAN, more specifically for the IPSG meeting in mid-October</a:t>
            </a:r>
          </a:p>
          <a:p>
            <a:endParaRPr lang="en-US" baseline="0" noProof="0" dirty="0" smtClean="0"/>
          </a:p>
          <a:p>
            <a:pPr marL="171450" indent="-171450">
              <a:buFontTx/>
              <a:buChar char="-"/>
            </a:pPr>
            <a:r>
              <a:rPr lang="en-US" baseline="0" noProof="0" dirty="0" smtClean="0"/>
              <a:t>Online questionnaire</a:t>
            </a:r>
          </a:p>
          <a:p>
            <a:pPr marL="171450" indent="-171450">
              <a:buFontTx/>
              <a:buChar char="-"/>
            </a:pPr>
            <a:r>
              <a:rPr lang="en-US" baseline="0" noProof="0" dirty="0" smtClean="0"/>
              <a:t>Desk research</a:t>
            </a:r>
          </a:p>
          <a:p>
            <a:pPr marL="171450" indent="-171450">
              <a:buFontTx/>
              <a:buChar char="-"/>
            </a:pPr>
            <a:r>
              <a:rPr lang="en-US" baseline="0" noProof="0" dirty="0" smtClean="0"/>
              <a:t>Case studies</a:t>
            </a:r>
            <a:endParaRPr lang="en-US" noProof="0" dirty="0" smtClean="0"/>
          </a:p>
          <a:p>
            <a:endParaRPr lang="en-US" noProof="0" dirty="0" smtClean="0"/>
          </a:p>
          <a:p>
            <a:r>
              <a:rPr lang="en-US" noProof="0" dirty="0" smtClean="0"/>
              <a:t>Paper version of the study is available at the registration</a:t>
            </a:r>
            <a:r>
              <a:rPr lang="en-US" baseline="0" noProof="0" dirty="0" smtClean="0"/>
              <a:t> desk. It was also sent to the participants of the conference last week.</a:t>
            </a:r>
            <a:endParaRPr lang="en-US" noProof="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F0182F-55FE-48F2-80CA-FCDE2B523E2D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84949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F0182F-55FE-48F2-80CA-FCDE2B523E2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710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F0182F-55FE-48F2-80CA-FCDE2B523E2D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11995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F0182F-55FE-48F2-80CA-FCDE2B523E2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1526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sz="1000" dirty="0">
              <a:latin typeface="+mn-lt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4CAA6F3-82AA-47A8-BA7A-1E0FF599BA86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85055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4CAA6F3-82AA-47A8-BA7A-1E0FF599BA86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918782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4CAA6F3-82AA-47A8-BA7A-1E0FF599BA86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60543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906F1-17C9-4402-8DE7-55BBBD7B893D}" type="datetimeFigureOut">
              <a:rPr lang="en-US" smtClean="0"/>
              <a:t>11/26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F8467-D28E-4C7E-A865-C5302B1A90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82480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945001"/>
            <a:ext cx="8229600" cy="3697058"/>
          </a:xfrm>
        </p:spPr>
        <p:txBody>
          <a:bodyPr/>
          <a:lstStyle>
            <a:lvl1pPr>
              <a:buSzPct val="80000"/>
              <a:defRPr/>
            </a:lvl1pPr>
            <a:lvl2pPr>
              <a:buSzPct val="100000"/>
              <a:defRPr/>
            </a:lvl2pPr>
          </a:lstStyle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CH" dirty="0"/>
          </a:p>
        </p:txBody>
      </p:sp>
      <p:sp>
        <p:nvSpPr>
          <p:cNvPr id="12" name="Titr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CH"/>
          </a:p>
        </p:txBody>
      </p:sp>
      <p:sp>
        <p:nvSpPr>
          <p:cNvPr id="13" name="Espace réservé de la date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fr-FR" dirty="0" err="1" smtClean="0"/>
              <a:t>October</a:t>
            </a:r>
            <a:r>
              <a:rPr lang="fr-FR" dirty="0" smtClean="0"/>
              <a:t> 2015</a:t>
            </a:r>
            <a:endParaRPr lang="en-US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027988" y="4679156"/>
            <a:ext cx="647700" cy="377429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1BFC4F-9A2D-429A-B9A9-3BB7FEBE0BFA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391005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252001" y="116100"/>
            <a:ext cx="6432963" cy="6777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here to add the headline</a:t>
            </a:r>
            <a:endParaRPr lang="en-US" noProof="0" dirty="0"/>
          </a:p>
        </p:txBody>
      </p:sp>
      <p:sp>
        <p:nvSpPr>
          <p:cNvPr id="5" name="Textplatzhalter 11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52413" y="4729759"/>
            <a:ext cx="4011613" cy="332924"/>
          </a:xfrm>
        </p:spPr>
        <p:txBody>
          <a:bodyPr anchor="b" anchorCtr="0"/>
          <a:lstStyle>
            <a:lvl1pPr>
              <a:spcAft>
                <a:spcPts val="0"/>
              </a:spcAft>
              <a:buFontTx/>
              <a:buNone/>
              <a:defRPr sz="6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buFontTx/>
              <a:buNone/>
              <a:defRPr sz="75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75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75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7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 smtClean="0"/>
              <a:t>Source: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74426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906F1-17C9-4402-8DE7-55BBBD7B893D}" type="datetimeFigureOut">
              <a:rPr lang="en-US" smtClean="0"/>
              <a:t>11/26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F8467-D28E-4C7E-A865-C5302B1A90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1873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5576" y="2584115"/>
            <a:ext cx="7772400" cy="1021556"/>
          </a:xfrm>
        </p:spPr>
        <p:txBody>
          <a:bodyPr anchor="t">
            <a:normAutofit/>
          </a:bodyPr>
          <a:lstStyle>
            <a:lvl1pPr algn="ctr">
              <a:defRPr sz="3600" b="1" cap="all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5576" y="1275606"/>
            <a:ext cx="7772400" cy="1125140"/>
          </a:xfrm>
        </p:spPr>
        <p:txBody>
          <a:bodyPr anchor="b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906F1-17C9-4402-8DE7-55BBBD7B893D}" type="datetimeFigureOut">
              <a:rPr lang="en-US" smtClean="0"/>
              <a:t>11/26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F8467-D28E-4C7E-A865-C5302B1A90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3708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906F1-17C9-4402-8DE7-55BBBD7B893D}" type="datetimeFigureOut">
              <a:rPr lang="en-US" smtClean="0"/>
              <a:t>11/26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F8467-D28E-4C7E-A865-C5302B1A90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22291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906F1-17C9-4402-8DE7-55BBBD7B893D}" type="datetimeFigureOut">
              <a:rPr lang="en-US" smtClean="0"/>
              <a:t>11/26/201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F8467-D28E-4C7E-A865-C5302B1A90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27998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906F1-17C9-4402-8DE7-55BBBD7B893D}" type="datetimeFigureOut">
              <a:rPr lang="en-US" smtClean="0"/>
              <a:t>11/26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F8467-D28E-4C7E-A865-C5302B1A90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3094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906F1-17C9-4402-8DE7-55BBBD7B893D}" type="datetimeFigureOut">
              <a:rPr lang="en-US" smtClean="0"/>
              <a:t>11/26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F8467-D28E-4C7E-A865-C5302B1A90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1061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195486"/>
            <a:ext cx="4392488" cy="504056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987574"/>
            <a:ext cx="5111750" cy="3607049"/>
          </a:xfrm>
        </p:spPr>
        <p:txBody>
          <a:bodyPr/>
          <a:lstStyle>
            <a:lvl1pPr>
              <a:defRPr sz="2800" baseline="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987574"/>
            <a:ext cx="3008313" cy="360704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906F1-17C9-4402-8DE7-55BBBD7B893D}" type="datetimeFigureOut">
              <a:rPr lang="en-US" smtClean="0"/>
              <a:t>11/26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F8467-D28E-4C7E-A865-C5302B1A90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87983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28800" y="3867894"/>
            <a:ext cx="5486400" cy="301626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1059581"/>
            <a:ext cx="5588024" cy="273630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835696" y="4227934"/>
            <a:ext cx="6035040" cy="32920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D906F1-17C9-4402-8DE7-55BBBD7B893D}" type="datetimeFigureOut">
              <a:rPr lang="en-US" smtClean="0"/>
              <a:t>11/26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8F8467-D28E-4C7E-A865-C5302B1A90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78571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llipse 5"/>
          <p:cNvSpPr/>
          <p:nvPr userDrawn="1"/>
        </p:nvSpPr>
        <p:spPr>
          <a:xfrm>
            <a:off x="8388424" y="4789596"/>
            <a:ext cx="288032" cy="28803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-20538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915566"/>
            <a:ext cx="8229600" cy="37444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fld id="{0AD906F1-17C9-4402-8DE7-55BBBD7B893D}" type="datetimeFigureOut">
              <a:rPr lang="en-US" smtClean="0"/>
              <a:pPr/>
              <a:t>11/26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8224" y="4803998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8F8467-D28E-4C7E-A865-C5302B1A908F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8" name="Image 24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328" y="163478"/>
            <a:ext cx="1152129" cy="640001"/>
          </a:xfrm>
          <a:prstGeom prst="rect">
            <a:avLst/>
          </a:prstGeom>
        </p:spPr>
      </p:pic>
      <p:cxnSp>
        <p:nvCxnSpPr>
          <p:cNvPr id="9" name="Connecteur droit 11"/>
          <p:cNvCxnSpPr/>
          <p:nvPr userDrawn="1"/>
        </p:nvCxnSpPr>
        <p:spPr>
          <a:xfrm>
            <a:off x="504967" y="771550"/>
            <a:ext cx="694735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95058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iming>
    <p:tnLst>
      <p:par>
        <p:cTn id="1" dur="indefinite" restart="never" nodeType="tmRoot"/>
      </p:par>
    </p:tnLst>
  </p:timing>
  <p:txStyles>
    <p:titleStyle>
      <a:lvl1pPr marL="0" algn="l" defTabSz="914400" rtl="0" eaLnBrk="1" latinLnBrk="0" hangingPunct="1">
        <a:spcBef>
          <a:spcPct val="0"/>
        </a:spcBef>
        <a:buNone/>
        <a:defRPr lang="en-US" sz="3600" kern="1200" baseline="0" dirty="0">
          <a:solidFill>
            <a:srgbClr val="1587D4"/>
          </a:solidFill>
          <a:latin typeface="+mj-lt"/>
          <a:ea typeface="+mn-ea"/>
          <a:cs typeface="+mn-cs"/>
        </a:defRPr>
      </a:lvl1pPr>
    </p:titleStyle>
    <p:bodyStyle>
      <a:lvl1pPr marL="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lang="en-US" sz="2800" kern="1200" baseline="0" dirty="0" smtClean="0">
          <a:solidFill>
            <a:srgbClr val="1369AC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tags" Target="../tags/tag39.xml"/><Relationship Id="rId18" Type="http://schemas.openxmlformats.org/officeDocument/2006/relationships/image" Target="../media/image3.emf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12" Type="http://schemas.openxmlformats.org/officeDocument/2006/relationships/tags" Target="../tags/tag38.xml"/><Relationship Id="rId17" Type="http://schemas.openxmlformats.org/officeDocument/2006/relationships/oleObject" Target="../embeddings/oleObject4.bin"/><Relationship Id="rId2" Type="http://schemas.openxmlformats.org/officeDocument/2006/relationships/tags" Target="../tags/tag28.xml"/><Relationship Id="rId16" Type="http://schemas.openxmlformats.org/officeDocument/2006/relationships/notesSlide" Target="../notesSlides/notesSlide10.xml"/><Relationship Id="rId20" Type="http://schemas.openxmlformats.org/officeDocument/2006/relationships/image" Target="../media/image5.emf"/><Relationship Id="rId1" Type="http://schemas.openxmlformats.org/officeDocument/2006/relationships/vmlDrawing" Target="../drawings/vmlDrawing3.vml"/><Relationship Id="rId6" Type="http://schemas.openxmlformats.org/officeDocument/2006/relationships/tags" Target="../tags/tag32.xml"/><Relationship Id="rId11" Type="http://schemas.openxmlformats.org/officeDocument/2006/relationships/tags" Target="../tags/tag37.xml"/><Relationship Id="rId5" Type="http://schemas.openxmlformats.org/officeDocument/2006/relationships/tags" Target="../tags/tag31.xml"/><Relationship Id="rId15" Type="http://schemas.openxmlformats.org/officeDocument/2006/relationships/slideLayout" Target="../slideLayouts/slideLayout10.xml"/><Relationship Id="rId10" Type="http://schemas.openxmlformats.org/officeDocument/2006/relationships/tags" Target="../tags/tag36.xml"/><Relationship Id="rId19" Type="http://schemas.openxmlformats.org/officeDocument/2006/relationships/oleObject" Target="../embeddings/oleObject5.bin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tags" Target="../tags/tag4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7.png"/><Relationship Id="rId12" Type="http://schemas.openxmlformats.org/officeDocument/2006/relationships/image" Target="../media/image12.png"/><Relationship Id="rId2" Type="http://schemas.openxmlformats.org/officeDocument/2006/relationships/tags" Target="../tags/tag41.xml"/><Relationship Id="rId16" Type="http://schemas.openxmlformats.org/officeDocument/2006/relationships/image" Target="../media/image16.png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6.bin"/><Relationship Id="rId15" Type="http://schemas.openxmlformats.org/officeDocument/2006/relationships/image" Target="../media/image15.png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7.png"/><Relationship Id="rId2" Type="http://schemas.openxmlformats.org/officeDocument/2006/relationships/tags" Target="../tags/tag4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11" Type="http://schemas.openxmlformats.org/officeDocument/2006/relationships/image" Target="../media/image21.png"/><Relationship Id="rId5" Type="http://schemas.openxmlformats.org/officeDocument/2006/relationships/oleObject" Target="../embeddings/oleObject7.bin"/><Relationship Id="rId10" Type="http://schemas.openxmlformats.org/officeDocument/2006/relationships/image" Target="../media/image20.png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19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22.jpeg"/><Relationship Id="rId2" Type="http://schemas.openxmlformats.org/officeDocument/2006/relationships/tags" Target="../tags/tag4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9.png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21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tags" Target="../tags/tag25.xml"/><Relationship Id="rId3" Type="http://schemas.openxmlformats.org/officeDocument/2006/relationships/tags" Target="../tags/tag2.xml"/><Relationship Id="rId21" Type="http://schemas.openxmlformats.org/officeDocument/2006/relationships/tags" Target="../tags/tag20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tags" Target="../tags/tag24.xml"/><Relationship Id="rId33" Type="http://schemas.openxmlformats.org/officeDocument/2006/relationships/image" Target="../media/image4.emf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tags" Target="../tags/tag19.xml"/><Relationship Id="rId29" Type="http://schemas.openxmlformats.org/officeDocument/2006/relationships/notesSlide" Target="../notesSlides/notesSlide7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tags" Target="../tags/tag23.xml"/><Relationship Id="rId32" Type="http://schemas.openxmlformats.org/officeDocument/2006/relationships/oleObject" Target="../embeddings/oleObject2.bin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28" Type="http://schemas.openxmlformats.org/officeDocument/2006/relationships/slideLayout" Target="../slideLayouts/slideLayout10.xml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31" Type="http://schemas.openxmlformats.org/officeDocument/2006/relationships/image" Target="../media/image3.emf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tags" Target="../tags/tag26.xml"/><Relationship Id="rId30" Type="http://schemas.openxmlformats.org/officeDocument/2006/relationships/oleObject" Target="../embeddings/oleObject1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dirty="0" smtClean="0"/>
              <a:t>The “</a:t>
            </a:r>
            <a:r>
              <a:rPr lang="en-US" dirty="0" smtClean="0"/>
              <a:t>Once Only Principle</a:t>
            </a:r>
            <a:r>
              <a:rPr lang="en-US" dirty="0" smtClean="0"/>
              <a:t>”</a:t>
            </a:r>
            <a:r>
              <a:rPr lang="en-US" dirty="0" smtClean="0"/>
              <a:t> and reuse of data in Luxembourg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 smtClean="0"/>
              <a:t>Gilles Feith</a:t>
            </a:r>
          </a:p>
          <a:p>
            <a:r>
              <a:rPr lang="fr-FR" sz="1600" dirty="0" err="1" smtClean="0"/>
              <a:t>Director</a:t>
            </a:r>
            <a:r>
              <a:rPr lang="fr-FR" sz="1600" dirty="0" smtClean="0"/>
              <a:t>, </a:t>
            </a:r>
            <a:r>
              <a:rPr lang="fr-FR" sz="1600" dirty="0" err="1" smtClean="0"/>
              <a:t>Government</a:t>
            </a:r>
            <a:r>
              <a:rPr lang="fr-FR" sz="1600" dirty="0" smtClean="0"/>
              <a:t> IT Centr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076879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8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/>
          <p:cNvSpPr/>
          <p:nvPr>
            <p:custDataLst>
              <p:tags r:id="rId3"/>
            </p:custDataLst>
          </p:nvPr>
        </p:nvSpPr>
        <p:spPr bwMode="auto">
          <a:xfrm>
            <a:off x="1143000" y="0"/>
            <a:ext cx="119063" cy="11906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600">
              <a:latin typeface="Arial"/>
              <a:cs typeface="Arial"/>
              <a:sym typeface="Arial"/>
            </a:endParaRPr>
          </a:p>
        </p:txBody>
      </p:sp>
      <p:graphicFrame>
        <p:nvGraphicFramePr>
          <p:cNvPr id="14" name="Object 13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224778962"/>
              </p:ext>
            </p:extLst>
          </p:nvPr>
        </p:nvGraphicFramePr>
        <p:xfrm>
          <a:off x="944331" y="1050450"/>
          <a:ext cx="2021723" cy="203604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9" name="Chart" r:id="rId19" imgW="2695657" imgH="2714580" progId="MSGraph.Chart.8">
                  <p:embed followColorScheme="full"/>
                </p:oleObj>
              </mc:Choice>
              <mc:Fallback>
                <p:oleObj name="Chart" r:id="rId19" imgW="2695657" imgH="2714580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44331" y="1050450"/>
                        <a:ext cx="2021723" cy="203604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 Placeholder 4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383673" y="1351681"/>
            <a:ext cx="159544" cy="1833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B6DCDF"/>
                </a:solidFill>
              </a14:hiddenFill>
            </a:ext>
          </a:extLst>
        </p:spPr>
        <p:txBody>
          <a:bodyPr wrap="none" lIns="10716" tIns="0" rIns="10716" bIns="0" numCol="1" spcCol="0" anchor="ctr" anchorCtr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Ø"/>
              <a:defRPr sz="3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•"/>
              <a:defRPr sz="2800">
                <a:solidFill>
                  <a:schemeClr val="tx2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Calibri" pitchFamily="34" charset="0"/>
              <a:buChar char="‒"/>
              <a:defRPr sz="2400">
                <a:solidFill>
                  <a:schemeClr val="tx2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Calibri" pitchFamily="34" charset="0"/>
              <a:buChar char="»"/>
              <a:defRPr sz="2000">
                <a:solidFill>
                  <a:schemeClr val="tx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F0D1A60-B6CE-4617-BB90-36FE8B034DDC}" type="datetime'''''''''''''''''''1'''''''''''''''">
              <a:rPr lang="en-US" sz="600">
                <a:solidFill>
                  <a:schemeClr val="bg1"/>
                </a:solidFill>
                <a:latin typeface="Calibri"/>
                <a:cs typeface="Arial"/>
                <a:sym typeface="Calibri"/>
              </a:rPr>
              <a:pPr marL="0" indent="0" algn="ctr">
                <a:spcBef>
                  <a:spcPct val="0"/>
                </a:spcBef>
                <a:buNone/>
              </a:pPr>
              <a:t>1</a:t>
            </a:fld>
            <a:r>
              <a:rPr lang="en-US" sz="600">
                <a:solidFill>
                  <a:schemeClr val="bg1"/>
                </a:solidFill>
                <a:latin typeface="Calibri"/>
                <a:cs typeface="Arial"/>
                <a:sym typeface="Calibri"/>
              </a:rPr>
              <a:t/>
            </a:r>
            <a:br>
              <a:rPr lang="en-US" sz="600">
                <a:solidFill>
                  <a:schemeClr val="bg1"/>
                </a:solidFill>
                <a:latin typeface="Calibri"/>
                <a:cs typeface="Arial"/>
                <a:sym typeface="Calibri"/>
              </a:rPr>
            </a:br>
            <a:r>
              <a:rPr lang="en-US" sz="600">
                <a:solidFill>
                  <a:schemeClr val="bg1"/>
                </a:solidFill>
                <a:latin typeface="Calibri"/>
                <a:cs typeface="Arial"/>
                <a:sym typeface="Calibri"/>
              </a:rPr>
              <a:t>(</a:t>
            </a:r>
            <a:fld id="{5D05A90A-3D8B-4263-926C-2B83B6D75EFD}" type="datetime'5''''''''''''''''''''%'''''''''''''">
              <a:rPr lang="en-US" sz="600">
                <a:solidFill>
                  <a:schemeClr val="bg1"/>
                </a:solidFill>
                <a:cs typeface="Arial"/>
              </a:rPr>
              <a:pPr marL="0" indent="0" algn="ctr">
                <a:spcBef>
                  <a:spcPct val="0"/>
                </a:spcBef>
                <a:buNone/>
              </a:pPr>
              <a:t>5%</a:t>
            </a:fld>
            <a:r>
              <a:rPr lang="en-GB" sz="600">
                <a:solidFill>
                  <a:schemeClr val="bg1"/>
                </a:solidFill>
                <a:latin typeface="Calibri"/>
                <a:cs typeface="Arial"/>
                <a:sym typeface="Calibri"/>
              </a:rPr>
              <a:t>)</a:t>
            </a:r>
            <a:endParaRPr lang="en-GB" sz="600" dirty="0">
              <a:solidFill>
                <a:schemeClr val="bg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27" name="Text Placeholder 1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130070" y="2311324"/>
            <a:ext cx="159544" cy="1833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9DB1CF"/>
                </a:solidFill>
              </a14:hiddenFill>
            </a:ext>
          </a:extLst>
        </p:spPr>
        <p:txBody>
          <a:bodyPr wrap="none" lIns="10716" tIns="0" rIns="10716" bIns="0" numCol="1" spcCol="0" anchor="ctr" anchorCtr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Ø"/>
              <a:defRPr sz="3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•"/>
              <a:defRPr sz="2800">
                <a:solidFill>
                  <a:schemeClr val="tx2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Calibri" pitchFamily="34" charset="0"/>
              <a:buChar char="‒"/>
              <a:defRPr sz="2400">
                <a:solidFill>
                  <a:schemeClr val="tx2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Calibri" pitchFamily="34" charset="0"/>
              <a:buChar char="»"/>
              <a:defRPr sz="2000">
                <a:solidFill>
                  <a:schemeClr val="tx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563B9FB-4B58-4CDD-8A4D-0A6B087964B2}" type="datetime'''''''1'''''''''''''''''''''''''''''''''''''''''''''''">
              <a:rPr lang="en-US" sz="600">
                <a:cs typeface="Arial"/>
              </a:rPr>
              <a:pPr marL="0" indent="0" algn="ctr">
                <a:spcBef>
                  <a:spcPct val="0"/>
                </a:spcBef>
                <a:buNone/>
              </a:pPr>
              <a:t>1</a:t>
            </a:fld>
            <a:r>
              <a:rPr lang="en-US" sz="600">
                <a:latin typeface="Calibri"/>
                <a:cs typeface="Arial"/>
                <a:sym typeface="Calibri"/>
              </a:rPr>
              <a:t/>
            </a:r>
            <a:br>
              <a:rPr lang="en-US" sz="600">
                <a:latin typeface="Calibri"/>
                <a:cs typeface="Arial"/>
                <a:sym typeface="Calibri"/>
              </a:rPr>
            </a:br>
            <a:r>
              <a:rPr lang="en-US" sz="600">
                <a:latin typeface="Calibri"/>
                <a:cs typeface="Arial"/>
                <a:sym typeface="Calibri"/>
              </a:rPr>
              <a:t>(</a:t>
            </a:r>
            <a:fld id="{F200F2A2-3CF2-4A41-8519-EC276B97A3C8}" type="datetime'''''''''''''''''''5''''''''''''%'''''''''''''''''">
              <a:rPr lang="en-US" sz="600">
                <a:cs typeface="Arial"/>
              </a:rPr>
              <a:pPr marL="0" indent="0" algn="ctr">
                <a:spcBef>
                  <a:spcPct val="0"/>
                </a:spcBef>
                <a:buNone/>
              </a:pPr>
              <a:t>5%</a:t>
            </a:fld>
            <a:r>
              <a:rPr lang="en-GB" sz="600">
                <a:latin typeface="Calibri"/>
                <a:cs typeface="Arial"/>
                <a:sym typeface="Calibri"/>
              </a:rPr>
              <a:t>)</a:t>
            </a:r>
            <a:endParaRPr lang="en-GB" sz="600" dirty="0">
              <a:latin typeface="Calibri"/>
              <a:cs typeface="Arial"/>
              <a:sym typeface="Calibri"/>
            </a:endParaRPr>
          </a:p>
        </p:txBody>
      </p:sp>
      <p:sp>
        <p:nvSpPr>
          <p:cNvPr id="23" name="Text Placeholder 28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478923" y="2680418"/>
            <a:ext cx="197644" cy="1833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0716" tIns="0" rIns="10716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2BE134F-91D7-46C5-8C5C-DD6BBFB441C8}" type="datetime'''''''''''''''''''3'''''''">
              <a:rPr lang="en-US" sz="600">
                <a:solidFill>
                  <a:schemeClr val="tx2"/>
                </a:solidFill>
              </a:rPr>
              <a:pPr marL="0" indent="0" algn="ctr">
                <a:spcBef>
                  <a:spcPct val="0"/>
                </a:spcBef>
                <a:buNone/>
              </a:pPr>
              <a:t>3</a:t>
            </a:fld>
            <a:r>
              <a:rPr lang="en-US" sz="600" dirty="0">
                <a:solidFill>
                  <a:schemeClr val="tx2"/>
                </a:solidFill>
                <a:latin typeface="Calibri"/>
                <a:cs typeface="Arial"/>
                <a:sym typeface="Calibri"/>
              </a:rPr>
              <a:t/>
            </a:r>
            <a:br>
              <a:rPr lang="en-US" sz="600" dirty="0">
                <a:solidFill>
                  <a:schemeClr val="tx2"/>
                </a:solidFill>
                <a:latin typeface="Calibri"/>
                <a:cs typeface="Arial"/>
                <a:sym typeface="Calibri"/>
              </a:rPr>
            </a:br>
            <a:r>
              <a:rPr lang="en-US" sz="600" dirty="0">
                <a:solidFill>
                  <a:schemeClr val="tx2"/>
                </a:solidFill>
                <a:latin typeface="Calibri"/>
                <a:cs typeface="Arial"/>
                <a:sym typeface="Calibri"/>
              </a:rPr>
              <a:t>(</a:t>
            </a:r>
            <a:fld id="{E4C0F052-289B-48BF-8993-7D1DDD4AFCFD}" type="datetime'''1''''''''''''''''''6''''''''''''''''''''''%'">
              <a:rPr lang="en-US" sz="600">
                <a:solidFill>
                  <a:schemeClr val="tx2"/>
                </a:solidFill>
              </a:rPr>
              <a:pPr marL="0" indent="0" algn="ctr">
                <a:spcBef>
                  <a:spcPct val="0"/>
                </a:spcBef>
                <a:buNone/>
              </a:pPr>
              <a:t>16%</a:t>
            </a:fld>
            <a:r>
              <a:rPr lang="en-US" sz="600" dirty="0">
                <a:solidFill>
                  <a:schemeClr val="tx2"/>
                </a:solidFill>
                <a:latin typeface="Calibri"/>
                <a:cs typeface="Arial"/>
                <a:sym typeface="Calibri"/>
              </a:rPr>
              <a:t>)</a:t>
            </a:r>
            <a:endParaRPr lang="en-GB" sz="600" dirty="0">
              <a:solidFill>
                <a:schemeClr val="tx2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28" name="Text Placeholder 3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075301" y="1786258"/>
            <a:ext cx="197644" cy="1833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0716" tIns="0" rIns="10716" bIns="0" numCol="1" spcCol="0" anchor="ctr" anchorCtr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Ø"/>
              <a:defRPr sz="3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•"/>
              <a:defRPr sz="2800">
                <a:solidFill>
                  <a:schemeClr val="tx2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Calibri" pitchFamily="34" charset="0"/>
              <a:buChar char="‒"/>
              <a:defRPr sz="2400">
                <a:solidFill>
                  <a:schemeClr val="tx2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Calibri" pitchFamily="34" charset="0"/>
              <a:buChar char="»"/>
              <a:defRPr sz="2000">
                <a:solidFill>
                  <a:schemeClr val="tx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E598D98-BF84-4CEC-8320-A80D9B375856}" type="datetime'''''''''''''''''''''''''''''3'''''''''''''">
              <a:rPr lang="en-US" sz="600">
                <a:solidFill>
                  <a:schemeClr val="bg1"/>
                </a:solidFill>
                <a:cs typeface="Arial"/>
              </a:rPr>
              <a:pPr marL="0" indent="0" algn="ctr">
                <a:spcBef>
                  <a:spcPct val="0"/>
                </a:spcBef>
                <a:buNone/>
              </a:pPr>
              <a:t>3</a:t>
            </a:fld>
            <a:r>
              <a:rPr lang="en-US" sz="600">
                <a:solidFill>
                  <a:schemeClr val="bg1"/>
                </a:solidFill>
                <a:latin typeface="Calibri"/>
                <a:cs typeface="Arial"/>
                <a:sym typeface="Calibri"/>
              </a:rPr>
              <a:t/>
            </a:r>
            <a:br>
              <a:rPr lang="en-US" sz="600">
                <a:solidFill>
                  <a:schemeClr val="bg1"/>
                </a:solidFill>
                <a:latin typeface="Calibri"/>
                <a:cs typeface="Arial"/>
                <a:sym typeface="Calibri"/>
              </a:rPr>
            </a:br>
            <a:r>
              <a:rPr lang="en-US" sz="600">
                <a:solidFill>
                  <a:schemeClr val="bg1"/>
                </a:solidFill>
                <a:latin typeface="Calibri"/>
                <a:cs typeface="Arial"/>
                <a:sym typeface="Calibri"/>
              </a:rPr>
              <a:t>(</a:t>
            </a:r>
            <a:fld id="{E7056E5A-2AC8-42F6-B469-16484305327B}" type="datetime'''''''''''''''''''''''''''''''''''''1''''''6''''''''''''%'">
              <a:rPr lang="en-US" sz="600">
                <a:solidFill>
                  <a:schemeClr val="bg1"/>
                </a:solidFill>
                <a:cs typeface="Arial"/>
              </a:rPr>
              <a:pPr marL="0" indent="0" algn="ctr">
                <a:spcBef>
                  <a:spcPct val="0"/>
                </a:spcBef>
                <a:buNone/>
              </a:pPr>
              <a:t>16%</a:t>
            </a:fld>
            <a:r>
              <a:rPr lang="en-GB" sz="600">
                <a:solidFill>
                  <a:schemeClr val="bg1"/>
                </a:solidFill>
                <a:latin typeface="Calibri"/>
                <a:cs typeface="Arial"/>
                <a:sym typeface="Calibri"/>
              </a:rPr>
              <a:t>)</a:t>
            </a:r>
            <a:endParaRPr lang="en-GB" sz="600" dirty="0">
              <a:solidFill>
                <a:schemeClr val="bg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189" name="Text Placeholder 45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872895" y="2432767"/>
            <a:ext cx="191691" cy="91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Ø"/>
              <a:defRPr sz="3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•"/>
              <a:defRPr sz="2800">
                <a:solidFill>
                  <a:schemeClr val="tx2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Calibri" pitchFamily="34" charset="0"/>
              <a:buChar char="‒"/>
              <a:defRPr sz="2400">
                <a:solidFill>
                  <a:schemeClr val="tx2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Calibri" pitchFamily="34" charset="0"/>
              <a:buChar char="»"/>
              <a:defRPr sz="2000">
                <a:solidFill>
                  <a:schemeClr val="tx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238A05E8-5BF9-4EFD-A1E1-8F125A5C076D}" type="datetime'''''''''O''''''th''''''''''''''''e''''''''r'''''''''''''''''''">
              <a:rPr lang="en-US" sz="600">
                <a:latin typeface="Arial"/>
                <a:cs typeface="Arial"/>
                <a:sym typeface="Arial"/>
              </a:rPr>
              <a:pPr marL="0" indent="0" algn="r">
                <a:spcBef>
                  <a:spcPct val="0"/>
                </a:spcBef>
                <a:buNone/>
              </a:pPr>
              <a:t>Other</a:t>
            </a:fld>
            <a:endParaRPr lang="en-GB" sz="600" dirty="0">
              <a:latin typeface="Arial"/>
              <a:cs typeface="Arial"/>
              <a:sym typeface="Arial"/>
            </a:endParaRPr>
          </a:p>
        </p:txBody>
      </p:sp>
      <p:sp>
        <p:nvSpPr>
          <p:cNvPr id="191" name="Text Placeholder 47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996719" y="1137368"/>
            <a:ext cx="386954" cy="1833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Ø"/>
              <a:defRPr sz="3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•"/>
              <a:defRPr sz="2800">
                <a:solidFill>
                  <a:schemeClr val="tx2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Calibri" pitchFamily="34" charset="0"/>
              <a:buChar char="‒"/>
              <a:defRPr sz="2400">
                <a:solidFill>
                  <a:schemeClr val="tx2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Calibri" pitchFamily="34" charset="0"/>
              <a:buChar char="»"/>
              <a:defRPr sz="2000">
                <a:solidFill>
                  <a:schemeClr val="tx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752D8535-E7D6-462E-A9CC-79B8DD6B8343}" type="datetime'''''Fr''o''nt-o''''ff''''ic''e''''&#10;i''nte''g''r''at''''io''n'">
              <a:rPr lang="en-US" sz="600">
                <a:latin typeface="Arial"/>
                <a:cs typeface="Arial"/>
                <a:sym typeface="Arial"/>
              </a:rPr>
              <a:pPr marL="0" indent="0" algn="r">
                <a:spcBef>
                  <a:spcPct val="0"/>
                </a:spcBef>
                <a:buNone/>
              </a:pPr>
              <a:t>Front-office
integration</a:t>
            </a:fld>
            <a:endParaRPr lang="en-GB" sz="600" dirty="0">
              <a:latin typeface="Arial"/>
              <a:cs typeface="Arial"/>
              <a:sym typeface="Arial"/>
            </a:endParaRPr>
          </a:p>
        </p:txBody>
      </p:sp>
      <p:sp>
        <p:nvSpPr>
          <p:cNvPr id="188" name="Text Placeholder 44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159836" y="2923305"/>
            <a:ext cx="378619" cy="1833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Ø"/>
              <a:defRPr sz="3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•"/>
              <a:defRPr sz="2800">
                <a:solidFill>
                  <a:schemeClr val="tx2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Calibri" pitchFamily="34" charset="0"/>
              <a:buChar char="‒"/>
              <a:defRPr sz="2400">
                <a:solidFill>
                  <a:schemeClr val="tx2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Calibri" pitchFamily="34" charset="0"/>
              <a:buChar char="»"/>
              <a:defRPr sz="2000">
                <a:solidFill>
                  <a:schemeClr val="tx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1B81B1C4-1DB2-4006-AA98-E487EA7F4054}" type="datetime'B''''''ac''k-''''''o''''ffic''e&#10;in''t''''egr''at''''''io''n'">
              <a:rPr lang="en-US" sz="600">
                <a:latin typeface="Arial"/>
                <a:cs typeface="Arial"/>
                <a:sym typeface="Arial"/>
              </a:rPr>
              <a:pPr marL="0" indent="0" algn="r">
                <a:spcBef>
                  <a:spcPct val="0"/>
                </a:spcBef>
                <a:buNone/>
              </a:pPr>
              <a:t>Back-office
integration</a:t>
            </a:fld>
            <a:endParaRPr lang="en-GB" sz="600" dirty="0">
              <a:latin typeface="Arial"/>
              <a:cs typeface="Arial"/>
              <a:sym typeface="Arial"/>
            </a:endParaRPr>
          </a:p>
        </p:txBody>
      </p:sp>
      <p:sp>
        <p:nvSpPr>
          <p:cNvPr id="187" name="Text Placeholder 43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515957" y="1037355"/>
            <a:ext cx="686991" cy="2750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Ø"/>
              <a:defRPr sz="3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•"/>
              <a:defRPr sz="2800">
                <a:solidFill>
                  <a:schemeClr val="tx2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Calibri" pitchFamily="34" charset="0"/>
              <a:buChar char="‒"/>
              <a:defRPr sz="2400">
                <a:solidFill>
                  <a:schemeClr val="tx2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Calibri" pitchFamily="34" charset="0"/>
              <a:buChar char="»"/>
              <a:defRPr sz="2000">
                <a:solidFill>
                  <a:schemeClr val="tx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478A83C0-84DB-4BE8-9537-75F52AFF47B6}" type="datetime'''Combination o''f bot''h&#10;Front &amp; Back-offi''ce&#10;integr''ation'">
              <a:rPr lang="en-US" sz="600">
                <a:latin typeface="Arial"/>
                <a:cs typeface="Arial"/>
                <a:sym typeface="Arial"/>
              </a:rPr>
              <a:pPr marL="0" indent="0">
                <a:spcBef>
                  <a:spcPct val="0"/>
                </a:spcBef>
                <a:buNone/>
              </a:pPr>
              <a:t>Combination of both
Front &amp; Back-office
integration</a:t>
            </a:fld>
            <a:endParaRPr lang="en-GB" sz="600" dirty="0">
              <a:latin typeface="Arial"/>
              <a:cs typeface="Arial"/>
              <a:sym typeface="Arial"/>
            </a:endParaRPr>
          </a:p>
        </p:txBody>
      </p:sp>
      <p:sp>
        <p:nvSpPr>
          <p:cNvPr id="190" name="Text Placeholder 46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07386" y="1725536"/>
            <a:ext cx="400050" cy="1833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Ø"/>
              <a:defRPr sz="3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•"/>
              <a:defRPr sz="2800">
                <a:solidFill>
                  <a:schemeClr val="tx2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Calibri" pitchFamily="34" charset="0"/>
              <a:buChar char="‒"/>
              <a:defRPr sz="2400">
                <a:solidFill>
                  <a:schemeClr val="tx2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Calibri" pitchFamily="34" charset="0"/>
              <a:buChar char="»"/>
              <a:defRPr sz="2000">
                <a:solidFill>
                  <a:schemeClr val="tx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367824EB-761C-4132-8878-036E2B44172B}" type="datetime'D''o''''n''’t'' ''''kno''''''w/''&#10;N''''o'' op''ini''on'">
              <a:rPr lang="en-US" sz="600">
                <a:latin typeface="Arial"/>
                <a:cs typeface="Arial"/>
                <a:sym typeface="Arial"/>
              </a:rPr>
              <a:pPr marL="0" indent="0" algn="r">
                <a:spcBef>
                  <a:spcPct val="0"/>
                </a:spcBef>
                <a:buNone/>
              </a:pPr>
              <a:t>Don’t know/
No opinion</a:t>
            </a:fld>
            <a:endParaRPr lang="en-GB" sz="600" dirty="0">
              <a:latin typeface="Arial"/>
              <a:cs typeface="Arial"/>
              <a:sym typeface="Arial"/>
            </a:endParaRPr>
          </a:p>
        </p:txBody>
      </p:sp>
      <p:sp>
        <p:nvSpPr>
          <p:cNvPr id="16" name="Text Placeholder 26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637401" y="1786258"/>
            <a:ext cx="197644" cy="1833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0716" tIns="0" rIns="10716" bIns="0" numCol="1" spcCol="0" anchor="ctr" anchorCtr="0">
            <a:noAutofit/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AC074CB-E7BC-420B-8005-CCC43358E46D}" type="datetime'''''''''''''''''''''''''''''''''''''''11'''''''''''''">
              <a:rPr lang="en-US" sz="6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buNone/>
              </a:pPr>
              <a:t>11</a:t>
            </a:fld>
            <a:r>
              <a:rPr lang="en-US" sz="600">
                <a:solidFill>
                  <a:schemeClr val="bg1"/>
                </a:solidFill>
                <a:latin typeface="Calibri"/>
                <a:cs typeface="Arial"/>
                <a:sym typeface="Calibri"/>
              </a:rPr>
              <a:t/>
            </a:r>
            <a:br>
              <a:rPr lang="en-US" sz="600">
                <a:solidFill>
                  <a:schemeClr val="bg1"/>
                </a:solidFill>
                <a:latin typeface="Calibri"/>
                <a:cs typeface="Arial"/>
                <a:sym typeface="Calibri"/>
              </a:rPr>
            </a:br>
            <a:r>
              <a:rPr lang="en-US" sz="600">
                <a:solidFill>
                  <a:schemeClr val="bg1"/>
                </a:solidFill>
                <a:latin typeface="Calibri"/>
                <a:cs typeface="Arial"/>
                <a:sym typeface="Calibri"/>
              </a:rPr>
              <a:t>(</a:t>
            </a:r>
            <a:fld id="{9F21B48E-811F-4AA2-9E70-1C2670F13DF2}" type="datetime'''''''5''''8''''''''''''''''''''%'">
              <a:rPr lang="en-US" sz="60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buNone/>
              </a:pPr>
              <a:t>58%</a:t>
            </a:fld>
            <a:r>
              <a:rPr lang="en-US" sz="600">
                <a:solidFill>
                  <a:schemeClr val="bg1"/>
                </a:solidFill>
                <a:latin typeface="Calibri"/>
                <a:cs typeface="Arial"/>
                <a:sym typeface="Calibri"/>
              </a:rPr>
              <a:t>)</a:t>
            </a:r>
            <a:endParaRPr lang="en-GB" sz="600" dirty="0">
              <a:solidFill>
                <a:schemeClr val="bg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2400" dirty="0" smtClean="0"/>
              <a:t>What approach is currently used by your country</a:t>
            </a:r>
            <a:br>
              <a:rPr lang="en-GB" sz="2400" dirty="0" smtClean="0"/>
            </a:br>
            <a:r>
              <a:rPr lang="en-GB" sz="2400" dirty="0" smtClean="0"/>
              <a:t>to implement the OOP?</a:t>
            </a:r>
            <a:endParaRPr lang="en-GB" sz="2400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8200800" y="4747557"/>
            <a:ext cx="486000" cy="377429"/>
          </a:xfrm>
        </p:spPr>
        <p:txBody>
          <a:bodyPr/>
          <a:lstStyle/>
          <a:p>
            <a:pPr>
              <a:defRPr/>
            </a:pPr>
            <a:fld id="{9BAA5FE0-F9D2-408F-983E-B87BCD5EA5C6}" type="slidenum">
              <a:rPr lang="en-GB" smtClean="0"/>
              <a:pPr>
                <a:defRPr/>
              </a:pPr>
              <a:t>10</a:t>
            </a:fld>
            <a:endParaRPr lang="en-GB" dirty="0"/>
          </a:p>
        </p:txBody>
      </p:sp>
      <p:grpSp>
        <p:nvGrpSpPr>
          <p:cNvPr id="108" name="Group 107"/>
          <p:cNvGrpSpPr/>
          <p:nvPr/>
        </p:nvGrpSpPr>
        <p:grpSpPr>
          <a:xfrm>
            <a:off x="4098338" y="783977"/>
            <a:ext cx="4978896" cy="3780420"/>
            <a:chOff x="3428590" y="1928130"/>
            <a:chExt cx="5466394" cy="4541815"/>
          </a:xfrm>
        </p:grpSpPr>
        <p:grpSp>
          <p:nvGrpSpPr>
            <p:cNvPr id="109" name="Country Europe (shapes)"/>
            <p:cNvGrpSpPr/>
            <p:nvPr/>
          </p:nvGrpSpPr>
          <p:grpSpPr>
            <a:xfrm>
              <a:off x="3428590" y="1928130"/>
              <a:ext cx="5466394" cy="4460169"/>
              <a:chOff x="2684463" y="1143000"/>
              <a:chExt cx="6015037" cy="4991100"/>
            </a:xfrm>
            <a:solidFill>
              <a:srgbClr val="B5B5B5">
                <a:lumMod val="40000"/>
                <a:lumOff val="60000"/>
              </a:srgb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44" name="Turkey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6521450" y="4591050"/>
                <a:ext cx="2178050" cy="1219200"/>
              </a:xfrm>
              <a:custGeom>
                <a:avLst/>
                <a:gdLst/>
                <a:ahLst/>
                <a:cxnLst>
                  <a:cxn ang="0">
                    <a:pos x="24" y="340"/>
                  </a:cxn>
                  <a:cxn ang="0">
                    <a:pos x="49" y="328"/>
                  </a:cxn>
                  <a:cxn ang="0">
                    <a:pos x="102" y="283"/>
                  </a:cxn>
                  <a:cxn ang="0">
                    <a:pos x="135" y="275"/>
                  </a:cxn>
                  <a:cxn ang="0">
                    <a:pos x="103" y="241"/>
                  </a:cxn>
                  <a:cxn ang="0">
                    <a:pos x="87" y="218"/>
                  </a:cxn>
                  <a:cxn ang="0">
                    <a:pos x="55" y="215"/>
                  </a:cxn>
                  <a:cxn ang="0">
                    <a:pos x="24" y="241"/>
                  </a:cxn>
                  <a:cxn ang="0">
                    <a:pos x="29" y="264"/>
                  </a:cxn>
                  <a:cxn ang="0">
                    <a:pos x="25" y="300"/>
                  </a:cxn>
                  <a:cxn ang="0">
                    <a:pos x="41" y="327"/>
                  </a:cxn>
                  <a:cxn ang="0">
                    <a:pos x="15" y="353"/>
                  </a:cxn>
                  <a:cxn ang="0">
                    <a:pos x="973" y="186"/>
                  </a:cxn>
                  <a:cxn ang="0">
                    <a:pos x="946" y="128"/>
                  </a:cxn>
                  <a:cxn ang="0">
                    <a:pos x="942" y="68"/>
                  </a:cxn>
                  <a:cxn ang="0">
                    <a:pos x="843" y="17"/>
                  </a:cxn>
                  <a:cxn ang="0">
                    <a:pos x="789" y="14"/>
                  </a:cxn>
                  <a:cxn ang="0">
                    <a:pos x="720" y="63"/>
                  </a:cxn>
                  <a:cxn ang="0">
                    <a:pos x="587" y="131"/>
                  </a:cxn>
                  <a:cxn ang="0">
                    <a:pos x="517" y="129"/>
                  </a:cxn>
                  <a:cxn ang="0">
                    <a:pos x="448" y="131"/>
                  </a:cxn>
                  <a:cxn ang="0">
                    <a:pos x="373" y="138"/>
                  </a:cxn>
                  <a:cxn ang="0">
                    <a:pos x="276" y="207"/>
                  </a:cxn>
                  <a:cxn ang="0">
                    <a:pos x="218" y="236"/>
                  </a:cxn>
                  <a:cxn ang="0">
                    <a:pos x="157" y="262"/>
                  </a:cxn>
                  <a:cxn ang="0">
                    <a:pos x="198" y="277"/>
                  </a:cxn>
                  <a:cxn ang="0">
                    <a:pos x="151" y="303"/>
                  </a:cxn>
                  <a:cxn ang="0">
                    <a:pos x="151" y="310"/>
                  </a:cxn>
                  <a:cxn ang="0">
                    <a:pos x="97" y="314"/>
                  </a:cxn>
                  <a:cxn ang="0">
                    <a:pos x="80" y="321"/>
                  </a:cxn>
                  <a:cxn ang="0">
                    <a:pos x="37" y="357"/>
                  </a:cxn>
                  <a:cxn ang="0">
                    <a:pos x="26" y="399"/>
                  </a:cxn>
                  <a:cxn ang="0">
                    <a:pos x="66" y="411"/>
                  </a:cxn>
                  <a:cxn ang="0">
                    <a:pos x="73" y="446"/>
                  </a:cxn>
                  <a:cxn ang="0">
                    <a:pos x="79" y="459"/>
                  </a:cxn>
                  <a:cxn ang="0">
                    <a:pos x="69" y="453"/>
                  </a:cxn>
                  <a:cxn ang="0">
                    <a:pos x="71" y="478"/>
                  </a:cxn>
                  <a:cxn ang="0">
                    <a:pos x="107" y="496"/>
                  </a:cxn>
                  <a:cxn ang="0">
                    <a:pos x="110" y="510"/>
                  </a:cxn>
                  <a:cxn ang="0">
                    <a:pos x="130" y="524"/>
                  </a:cxn>
                  <a:cxn ang="0">
                    <a:pos x="128" y="540"/>
                  </a:cxn>
                  <a:cxn ang="0">
                    <a:pos x="150" y="548"/>
                  </a:cxn>
                  <a:cxn ang="0">
                    <a:pos x="147" y="554"/>
                  </a:cxn>
                  <a:cxn ang="0">
                    <a:pos x="162" y="556"/>
                  </a:cxn>
                  <a:cxn ang="0">
                    <a:pos x="175" y="543"/>
                  </a:cxn>
                  <a:cxn ang="0">
                    <a:pos x="208" y="545"/>
                  </a:cxn>
                  <a:cxn ang="0">
                    <a:pos x="221" y="551"/>
                  </a:cxn>
                  <a:cxn ang="0">
                    <a:pos x="241" y="560"/>
                  </a:cxn>
                  <a:cxn ang="0">
                    <a:pos x="315" y="546"/>
                  </a:cxn>
                  <a:cxn ang="0">
                    <a:pos x="391" y="513"/>
                  </a:cxn>
                  <a:cxn ang="0">
                    <a:pos x="563" y="456"/>
                  </a:cxn>
                  <a:cxn ang="0">
                    <a:pos x="606" y="438"/>
                  </a:cxn>
                  <a:cxn ang="0">
                    <a:pos x="631" y="472"/>
                  </a:cxn>
                  <a:cxn ang="0">
                    <a:pos x="645" y="413"/>
                  </a:cxn>
                  <a:cxn ang="0">
                    <a:pos x="707" y="377"/>
                  </a:cxn>
                  <a:cxn ang="0">
                    <a:pos x="865" y="297"/>
                  </a:cxn>
                  <a:cxn ang="0">
                    <a:pos x="910" y="253"/>
                  </a:cxn>
                  <a:cxn ang="0">
                    <a:pos x="975" y="238"/>
                  </a:cxn>
                  <a:cxn ang="0">
                    <a:pos x="1020" y="222"/>
                  </a:cxn>
                </a:cxnLst>
                <a:rect l="0" t="0" r="r" b="b"/>
                <a:pathLst>
                  <a:path w="1022" h="573">
                    <a:moveTo>
                      <a:pt x="91" y="305"/>
                    </a:moveTo>
                    <a:cubicBezTo>
                      <a:pt x="82" y="306"/>
                      <a:pt x="85" y="312"/>
                      <a:pt x="91" y="310"/>
                    </a:cubicBezTo>
                    <a:cubicBezTo>
                      <a:pt x="100" y="308"/>
                      <a:pt x="101" y="304"/>
                      <a:pt x="91" y="305"/>
                    </a:cubicBezTo>
                    <a:close/>
                    <a:moveTo>
                      <a:pt x="41" y="327"/>
                    </a:moveTo>
                    <a:cubicBezTo>
                      <a:pt x="24" y="340"/>
                      <a:pt x="24" y="340"/>
                      <a:pt x="24" y="340"/>
                    </a:cubicBezTo>
                    <a:cubicBezTo>
                      <a:pt x="30" y="347"/>
                      <a:pt x="30" y="347"/>
                      <a:pt x="30" y="347"/>
                    </a:cubicBezTo>
                    <a:cubicBezTo>
                      <a:pt x="26" y="360"/>
                      <a:pt x="26" y="360"/>
                      <a:pt x="26" y="360"/>
                    </a:cubicBezTo>
                    <a:cubicBezTo>
                      <a:pt x="33" y="355"/>
                      <a:pt x="33" y="355"/>
                      <a:pt x="33" y="355"/>
                    </a:cubicBezTo>
                    <a:cubicBezTo>
                      <a:pt x="35" y="347"/>
                      <a:pt x="35" y="347"/>
                      <a:pt x="35" y="347"/>
                    </a:cubicBezTo>
                    <a:cubicBezTo>
                      <a:pt x="49" y="328"/>
                      <a:pt x="49" y="328"/>
                      <a:pt x="49" y="328"/>
                    </a:cubicBezTo>
                    <a:cubicBezTo>
                      <a:pt x="64" y="318"/>
                      <a:pt x="64" y="318"/>
                      <a:pt x="64" y="318"/>
                    </a:cubicBezTo>
                    <a:cubicBezTo>
                      <a:pt x="77" y="302"/>
                      <a:pt x="77" y="302"/>
                      <a:pt x="77" y="302"/>
                    </a:cubicBezTo>
                    <a:cubicBezTo>
                      <a:pt x="77" y="302"/>
                      <a:pt x="79" y="294"/>
                      <a:pt x="80" y="290"/>
                    </a:cubicBezTo>
                    <a:cubicBezTo>
                      <a:pt x="81" y="287"/>
                      <a:pt x="93" y="283"/>
                      <a:pt x="93" y="283"/>
                    </a:cubicBezTo>
                    <a:cubicBezTo>
                      <a:pt x="93" y="283"/>
                      <a:pt x="100" y="284"/>
                      <a:pt x="102" y="283"/>
                    </a:cubicBezTo>
                    <a:cubicBezTo>
                      <a:pt x="105" y="283"/>
                      <a:pt x="106" y="275"/>
                      <a:pt x="113" y="274"/>
                    </a:cubicBezTo>
                    <a:cubicBezTo>
                      <a:pt x="120" y="273"/>
                      <a:pt x="132" y="274"/>
                      <a:pt x="132" y="274"/>
                    </a:cubicBezTo>
                    <a:cubicBezTo>
                      <a:pt x="132" y="270"/>
                      <a:pt x="132" y="270"/>
                      <a:pt x="132" y="270"/>
                    </a:cubicBezTo>
                    <a:cubicBezTo>
                      <a:pt x="135" y="270"/>
                      <a:pt x="135" y="270"/>
                      <a:pt x="135" y="270"/>
                    </a:cubicBezTo>
                    <a:cubicBezTo>
                      <a:pt x="135" y="275"/>
                      <a:pt x="135" y="275"/>
                      <a:pt x="135" y="275"/>
                    </a:cubicBezTo>
                    <a:cubicBezTo>
                      <a:pt x="135" y="275"/>
                      <a:pt x="140" y="275"/>
                      <a:pt x="149" y="272"/>
                    </a:cubicBezTo>
                    <a:cubicBezTo>
                      <a:pt x="157" y="268"/>
                      <a:pt x="153" y="258"/>
                      <a:pt x="153" y="258"/>
                    </a:cubicBezTo>
                    <a:cubicBezTo>
                      <a:pt x="155" y="253"/>
                      <a:pt x="155" y="253"/>
                      <a:pt x="155" y="253"/>
                    </a:cubicBezTo>
                    <a:cubicBezTo>
                      <a:pt x="155" y="253"/>
                      <a:pt x="143" y="253"/>
                      <a:pt x="133" y="251"/>
                    </a:cubicBezTo>
                    <a:cubicBezTo>
                      <a:pt x="123" y="250"/>
                      <a:pt x="112" y="246"/>
                      <a:pt x="103" y="241"/>
                    </a:cubicBezTo>
                    <a:cubicBezTo>
                      <a:pt x="95" y="237"/>
                      <a:pt x="101" y="233"/>
                      <a:pt x="100" y="229"/>
                    </a:cubicBezTo>
                    <a:cubicBezTo>
                      <a:pt x="99" y="226"/>
                      <a:pt x="93" y="223"/>
                      <a:pt x="93" y="223"/>
                    </a:cubicBezTo>
                    <a:cubicBezTo>
                      <a:pt x="96" y="221"/>
                      <a:pt x="96" y="221"/>
                      <a:pt x="96" y="221"/>
                    </a:cubicBezTo>
                    <a:cubicBezTo>
                      <a:pt x="93" y="215"/>
                      <a:pt x="93" y="215"/>
                      <a:pt x="93" y="215"/>
                    </a:cubicBezTo>
                    <a:cubicBezTo>
                      <a:pt x="87" y="218"/>
                      <a:pt x="87" y="218"/>
                      <a:pt x="87" y="218"/>
                    </a:cubicBezTo>
                    <a:cubicBezTo>
                      <a:pt x="84" y="218"/>
                      <a:pt x="84" y="218"/>
                      <a:pt x="84" y="218"/>
                    </a:cubicBezTo>
                    <a:cubicBezTo>
                      <a:pt x="84" y="223"/>
                      <a:pt x="84" y="223"/>
                      <a:pt x="84" y="223"/>
                    </a:cubicBezTo>
                    <a:cubicBezTo>
                      <a:pt x="77" y="220"/>
                      <a:pt x="77" y="220"/>
                      <a:pt x="77" y="220"/>
                    </a:cubicBezTo>
                    <a:cubicBezTo>
                      <a:pt x="77" y="220"/>
                      <a:pt x="72" y="224"/>
                      <a:pt x="67" y="224"/>
                    </a:cubicBezTo>
                    <a:cubicBezTo>
                      <a:pt x="63" y="223"/>
                      <a:pt x="58" y="217"/>
                      <a:pt x="55" y="215"/>
                    </a:cubicBezTo>
                    <a:cubicBezTo>
                      <a:pt x="51" y="215"/>
                      <a:pt x="49" y="221"/>
                      <a:pt x="49" y="221"/>
                    </a:cubicBezTo>
                    <a:cubicBezTo>
                      <a:pt x="49" y="221"/>
                      <a:pt x="48" y="218"/>
                      <a:pt x="46" y="219"/>
                    </a:cubicBezTo>
                    <a:cubicBezTo>
                      <a:pt x="44" y="221"/>
                      <a:pt x="44" y="224"/>
                      <a:pt x="38" y="228"/>
                    </a:cubicBezTo>
                    <a:cubicBezTo>
                      <a:pt x="34" y="233"/>
                      <a:pt x="28" y="229"/>
                      <a:pt x="23" y="230"/>
                    </a:cubicBezTo>
                    <a:cubicBezTo>
                      <a:pt x="20" y="233"/>
                      <a:pt x="25" y="237"/>
                      <a:pt x="24" y="241"/>
                    </a:cubicBezTo>
                    <a:cubicBezTo>
                      <a:pt x="22" y="244"/>
                      <a:pt x="17" y="241"/>
                      <a:pt x="15" y="243"/>
                    </a:cubicBezTo>
                    <a:cubicBezTo>
                      <a:pt x="12" y="245"/>
                      <a:pt x="14" y="250"/>
                      <a:pt x="14" y="250"/>
                    </a:cubicBezTo>
                    <a:cubicBezTo>
                      <a:pt x="21" y="252"/>
                      <a:pt x="21" y="252"/>
                      <a:pt x="21" y="252"/>
                    </a:cubicBezTo>
                    <a:cubicBezTo>
                      <a:pt x="28" y="255"/>
                      <a:pt x="28" y="255"/>
                      <a:pt x="28" y="255"/>
                    </a:cubicBezTo>
                    <a:cubicBezTo>
                      <a:pt x="28" y="255"/>
                      <a:pt x="28" y="261"/>
                      <a:pt x="29" y="264"/>
                    </a:cubicBezTo>
                    <a:cubicBezTo>
                      <a:pt x="30" y="266"/>
                      <a:pt x="36" y="271"/>
                      <a:pt x="34" y="273"/>
                    </a:cubicBezTo>
                    <a:cubicBezTo>
                      <a:pt x="32" y="275"/>
                      <a:pt x="26" y="274"/>
                      <a:pt x="26" y="274"/>
                    </a:cubicBezTo>
                    <a:cubicBezTo>
                      <a:pt x="19" y="281"/>
                      <a:pt x="19" y="281"/>
                      <a:pt x="19" y="281"/>
                    </a:cubicBezTo>
                    <a:cubicBezTo>
                      <a:pt x="20" y="290"/>
                      <a:pt x="20" y="290"/>
                      <a:pt x="20" y="290"/>
                    </a:cubicBezTo>
                    <a:cubicBezTo>
                      <a:pt x="20" y="290"/>
                      <a:pt x="28" y="296"/>
                      <a:pt x="25" y="300"/>
                    </a:cubicBezTo>
                    <a:cubicBezTo>
                      <a:pt x="23" y="305"/>
                      <a:pt x="13" y="316"/>
                      <a:pt x="13" y="316"/>
                    </a:cubicBezTo>
                    <a:cubicBezTo>
                      <a:pt x="13" y="316"/>
                      <a:pt x="14" y="322"/>
                      <a:pt x="18" y="324"/>
                    </a:cubicBezTo>
                    <a:cubicBezTo>
                      <a:pt x="22" y="328"/>
                      <a:pt x="39" y="320"/>
                      <a:pt x="39" y="320"/>
                    </a:cubicBezTo>
                    <a:cubicBezTo>
                      <a:pt x="39" y="320"/>
                      <a:pt x="50" y="314"/>
                      <a:pt x="52" y="318"/>
                    </a:cubicBezTo>
                    <a:cubicBezTo>
                      <a:pt x="53" y="321"/>
                      <a:pt x="41" y="327"/>
                      <a:pt x="41" y="327"/>
                    </a:cubicBezTo>
                    <a:close/>
                    <a:moveTo>
                      <a:pt x="13" y="350"/>
                    </a:moveTo>
                    <a:cubicBezTo>
                      <a:pt x="13" y="350"/>
                      <a:pt x="0" y="354"/>
                      <a:pt x="0" y="361"/>
                    </a:cubicBezTo>
                    <a:cubicBezTo>
                      <a:pt x="0" y="361"/>
                      <a:pt x="2" y="364"/>
                      <a:pt x="8" y="361"/>
                    </a:cubicBezTo>
                    <a:cubicBezTo>
                      <a:pt x="15" y="357"/>
                      <a:pt x="18" y="355"/>
                      <a:pt x="18" y="355"/>
                    </a:cubicBezTo>
                    <a:cubicBezTo>
                      <a:pt x="15" y="353"/>
                      <a:pt x="15" y="353"/>
                      <a:pt x="15" y="353"/>
                    </a:cubicBezTo>
                    <a:lnTo>
                      <a:pt x="13" y="350"/>
                    </a:lnTo>
                    <a:close/>
                    <a:moveTo>
                      <a:pt x="1019" y="210"/>
                    </a:moveTo>
                    <a:cubicBezTo>
                      <a:pt x="1015" y="206"/>
                      <a:pt x="1013" y="209"/>
                      <a:pt x="1004" y="209"/>
                    </a:cubicBezTo>
                    <a:cubicBezTo>
                      <a:pt x="997" y="209"/>
                      <a:pt x="1003" y="198"/>
                      <a:pt x="996" y="191"/>
                    </a:cubicBezTo>
                    <a:cubicBezTo>
                      <a:pt x="988" y="182"/>
                      <a:pt x="973" y="186"/>
                      <a:pt x="973" y="186"/>
                    </a:cubicBezTo>
                    <a:cubicBezTo>
                      <a:pt x="971" y="155"/>
                      <a:pt x="971" y="155"/>
                      <a:pt x="971" y="155"/>
                    </a:cubicBezTo>
                    <a:cubicBezTo>
                      <a:pt x="963" y="159"/>
                      <a:pt x="963" y="159"/>
                      <a:pt x="963" y="159"/>
                    </a:cubicBezTo>
                    <a:cubicBezTo>
                      <a:pt x="963" y="159"/>
                      <a:pt x="964" y="150"/>
                      <a:pt x="959" y="146"/>
                    </a:cubicBezTo>
                    <a:cubicBezTo>
                      <a:pt x="955" y="141"/>
                      <a:pt x="950" y="138"/>
                      <a:pt x="950" y="138"/>
                    </a:cubicBezTo>
                    <a:cubicBezTo>
                      <a:pt x="946" y="128"/>
                      <a:pt x="946" y="128"/>
                      <a:pt x="946" y="128"/>
                    </a:cubicBezTo>
                    <a:cubicBezTo>
                      <a:pt x="938" y="128"/>
                      <a:pt x="938" y="128"/>
                      <a:pt x="938" y="128"/>
                    </a:cubicBezTo>
                    <a:cubicBezTo>
                      <a:pt x="938" y="128"/>
                      <a:pt x="920" y="108"/>
                      <a:pt x="919" y="104"/>
                    </a:cubicBezTo>
                    <a:cubicBezTo>
                      <a:pt x="919" y="100"/>
                      <a:pt x="929" y="98"/>
                      <a:pt x="934" y="95"/>
                    </a:cubicBezTo>
                    <a:cubicBezTo>
                      <a:pt x="938" y="92"/>
                      <a:pt x="932" y="82"/>
                      <a:pt x="930" y="75"/>
                    </a:cubicBezTo>
                    <a:cubicBezTo>
                      <a:pt x="927" y="68"/>
                      <a:pt x="942" y="68"/>
                      <a:pt x="942" y="68"/>
                    </a:cubicBezTo>
                    <a:cubicBezTo>
                      <a:pt x="942" y="68"/>
                      <a:pt x="934" y="61"/>
                      <a:pt x="922" y="59"/>
                    </a:cubicBezTo>
                    <a:cubicBezTo>
                      <a:pt x="910" y="55"/>
                      <a:pt x="906" y="62"/>
                      <a:pt x="898" y="68"/>
                    </a:cubicBezTo>
                    <a:cubicBezTo>
                      <a:pt x="890" y="73"/>
                      <a:pt x="882" y="68"/>
                      <a:pt x="871" y="59"/>
                    </a:cubicBezTo>
                    <a:cubicBezTo>
                      <a:pt x="861" y="49"/>
                      <a:pt x="864" y="36"/>
                      <a:pt x="861" y="25"/>
                    </a:cubicBezTo>
                    <a:cubicBezTo>
                      <a:pt x="858" y="16"/>
                      <a:pt x="849" y="17"/>
                      <a:pt x="843" y="17"/>
                    </a:cubicBezTo>
                    <a:cubicBezTo>
                      <a:pt x="838" y="17"/>
                      <a:pt x="841" y="8"/>
                      <a:pt x="838" y="8"/>
                    </a:cubicBezTo>
                    <a:cubicBezTo>
                      <a:pt x="834" y="8"/>
                      <a:pt x="829" y="14"/>
                      <a:pt x="829" y="14"/>
                    </a:cubicBezTo>
                    <a:cubicBezTo>
                      <a:pt x="803" y="4"/>
                      <a:pt x="803" y="4"/>
                      <a:pt x="803" y="4"/>
                    </a:cubicBezTo>
                    <a:cubicBezTo>
                      <a:pt x="803" y="4"/>
                      <a:pt x="799" y="0"/>
                      <a:pt x="792" y="0"/>
                    </a:cubicBezTo>
                    <a:cubicBezTo>
                      <a:pt x="787" y="0"/>
                      <a:pt x="789" y="14"/>
                      <a:pt x="789" y="14"/>
                    </a:cubicBezTo>
                    <a:cubicBezTo>
                      <a:pt x="789" y="14"/>
                      <a:pt x="781" y="15"/>
                      <a:pt x="773" y="16"/>
                    </a:cubicBezTo>
                    <a:cubicBezTo>
                      <a:pt x="766" y="17"/>
                      <a:pt x="757" y="28"/>
                      <a:pt x="757" y="28"/>
                    </a:cubicBezTo>
                    <a:cubicBezTo>
                      <a:pt x="741" y="30"/>
                      <a:pt x="741" y="30"/>
                      <a:pt x="741" y="30"/>
                    </a:cubicBezTo>
                    <a:cubicBezTo>
                      <a:pt x="726" y="59"/>
                      <a:pt x="726" y="59"/>
                      <a:pt x="726" y="59"/>
                    </a:cubicBezTo>
                    <a:cubicBezTo>
                      <a:pt x="720" y="63"/>
                      <a:pt x="720" y="63"/>
                      <a:pt x="720" y="63"/>
                    </a:cubicBezTo>
                    <a:cubicBezTo>
                      <a:pt x="720" y="63"/>
                      <a:pt x="721" y="69"/>
                      <a:pt x="703" y="85"/>
                    </a:cubicBezTo>
                    <a:cubicBezTo>
                      <a:pt x="685" y="101"/>
                      <a:pt x="665" y="99"/>
                      <a:pt x="665" y="99"/>
                    </a:cubicBezTo>
                    <a:cubicBezTo>
                      <a:pt x="665" y="99"/>
                      <a:pt x="662" y="95"/>
                      <a:pt x="651" y="98"/>
                    </a:cubicBezTo>
                    <a:cubicBezTo>
                      <a:pt x="640" y="101"/>
                      <a:pt x="624" y="118"/>
                      <a:pt x="614" y="126"/>
                    </a:cubicBezTo>
                    <a:cubicBezTo>
                      <a:pt x="604" y="132"/>
                      <a:pt x="587" y="131"/>
                      <a:pt x="587" y="131"/>
                    </a:cubicBezTo>
                    <a:cubicBezTo>
                      <a:pt x="578" y="126"/>
                      <a:pt x="578" y="126"/>
                      <a:pt x="578" y="126"/>
                    </a:cubicBezTo>
                    <a:cubicBezTo>
                      <a:pt x="569" y="125"/>
                      <a:pt x="569" y="125"/>
                      <a:pt x="569" y="125"/>
                    </a:cubicBezTo>
                    <a:cubicBezTo>
                      <a:pt x="564" y="138"/>
                      <a:pt x="564" y="138"/>
                      <a:pt x="564" y="138"/>
                    </a:cubicBezTo>
                    <a:cubicBezTo>
                      <a:pt x="564" y="138"/>
                      <a:pt x="542" y="133"/>
                      <a:pt x="539" y="130"/>
                    </a:cubicBezTo>
                    <a:cubicBezTo>
                      <a:pt x="534" y="127"/>
                      <a:pt x="517" y="129"/>
                      <a:pt x="517" y="129"/>
                    </a:cubicBezTo>
                    <a:cubicBezTo>
                      <a:pt x="517" y="129"/>
                      <a:pt x="522" y="142"/>
                      <a:pt x="515" y="145"/>
                    </a:cubicBezTo>
                    <a:cubicBezTo>
                      <a:pt x="509" y="148"/>
                      <a:pt x="490" y="136"/>
                      <a:pt x="490" y="136"/>
                    </a:cubicBezTo>
                    <a:cubicBezTo>
                      <a:pt x="490" y="123"/>
                      <a:pt x="490" y="123"/>
                      <a:pt x="490" y="123"/>
                    </a:cubicBezTo>
                    <a:cubicBezTo>
                      <a:pt x="477" y="118"/>
                      <a:pt x="477" y="118"/>
                      <a:pt x="477" y="118"/>
                    </a:cubicBezTo>
                    <a:cubicBezTo>
                      <a:pt x="477" y="118"/>
                      <a:pt x="467" y="134"/>
                      <a:pt x="448" y="131"/>
                    </a:cubicBezTo>
                    <a:cubicBezTo>
                      <a:pt x="428" y="129"/>
                      <a:pt x="434" y="111"/>
                      <a:pt x="434" y="111"/>
                    </a:cubicBezTo>
                    <a:cubicBezTo>
                      <a:pt x="423" y="113"/>
                      <a:pt x="423" y="113"/>
                      <a:pt x="423" y="113"/>
                    </a:cubicBezTo>
                    <a:cubicBezTo>
                      <a:pt x="423" y="113"/>
                      <a:pt x="421" y="117"/>
                      <a:pt x="419" y="122"/>
                    </a:cubicBezTo>
                    <a:cubicBezTo>
                      <a:pt x="417" y="126"/>
                      <a:pt x="403" y="131"/>
                      <a:pt x="395" y="130"/>
                    </a:cubicBezTo>
                    <a:cubicBezTo>
                      <a:pt x="386" y="128"/>
                      <a:pt x="381" y="134"/>
                      <a:pt x="373" y="138"/>
                    </a:cubicBezTo>
                    <a:cubicBezTo>
                      <a:pt x="364" y="142"/>
                      <a:pt x="348" y="143"/>
                      <a:pt x="348" y="143"/>
                    </a:cubicBezTo>
                    <a:cubicBezTo>
                      <a:pt x="326" y="159"/>
                      <a:pt x="326" y="159"/>
                      <a:pt x="326" y="159"/>
                    </a:cubicBezTo>
                    <a:cubicBezTo>
                      <a:pt x="300" y="178"/>
                      <a:pt x="300" y="178"/>
                      <a:pt x="300" y="178"/>
                    </a:cubicBezTo>
                    <a:cubicBezTo>
                      <a:pt x="300" y="186"/>
                      <a:pt x="300" y="186"/>
                      <a:pt x="300" y="186"/>
                    </a:cubicBezTo>
                    <a:cubicBezTo>
                      <a:pt x="276" y="207"/>
                      <a:pt x="276" y="207"/>
                      <a:pt x="276" y="207"/>
                    </a:cubicBezTo>
                    <a:cubicBezTo>
                      <a:pt x="269" y="213"/>
                      <a:pt x="269" y="213"/>
                      <a:pt x="269" y="213"/>
                    </a:cubicBezTo>
                    <a:cubicBezTo>
                      <a:pt x="269" y="213"/>
                      <a:pt x="271" y="222"/>
                      <a:pt x="264" y="230"/>
                    </a:cubicBezTo>
                    <a:cubicBezTo>
                      <a:pt x="255" y="239"/>
                      <a:pt x="239" y="238"/>
                      <a:pt x="239" y="238"/>
                    </a:cubicBezTo>
                    <a:cubicBezTo>
                      <a:pt x="220" y="240"/>
                      <a:pt x="220" y="240"/>
                      <a:pt x="220" y="240"/>
                    </a:cubicBezTo>
                    <a:cubicBezTo>
                      <a:pt x="218" y="236"/>
                      <a:pt x="218" y="236"/>
                      <a:pt x="218" y="236"/>
                    </a:cubicBezTo>
                    <a:cubicBezTo>
                      <a:pt x="206" y="245"/>
                      <a:pt x="206" y="245"/>
                      <a:pt x="206" y="245"/>
                    </a:cubicBezTo>
                    <a:cubicBezTo>
                      <a:pt x="197" y="245"/>
                      <a:pt x="197" y="245"/>
                      <a:pt x="197" y="245"/>
                    </a:cubicBezTo>
                    <a:cubicBezTo>
                      <a:pt x="194" y="247"/>
                      <a:pt x="187" y="251"/>
                      <a:pt x="184" y="252"/>
                    </a:cubicBezTo>
                    <a:cubicBezTo>
                      <a:pt x="180" y="253"/>
                      <a:pt x="166" y="251"/>
                      <a:pt x="161" y="253"/>
                    </a:cubicBezTo>
                    <a:cubicBezTo>
                      <a:pt x="154" y="255"/>
                      <a:pt x="157" y="262"/>
                      <a:pt x="157" y="262"/>
                    </a:cubicBezTo>
                    <a:cubicBezTo>
                      <a:pt x="157" y="262"/>
                      <a:pt x="156" y="266"/>
                      <a:pt x="155" y="270"/>
                    </a:cubicBezTo>
                    <a:cubicBezTo>
                      <a:pt x="155" y="273"/>
                      <a:pt x="171" y="275"/>
                      <a:pt x="171" y="275"/>
                    </a:cubicBezTo>
                    <a:cubicBezTo>
                      <a:pt x="170" y="278"/>
                      <a:pt x="170" y="278"/>
                      <a:pt x="170" y="278"/>
                    </a:cubicBezTo>
                    <a:cubicBezTo>
                      <a:pt x="177" y="280"/>
                      <a:pt x="177" y="280"/>
                      <a:pt x="177" y="280"/>
                    </a:cubicBezTo>
                    <a:cubicBezTo>
                      <a:pt x="177" y="280"/>
                      <a:pt x="197" y="275"/>
                      <a:pt x="198" y="277"/>
                    </a:cubicBezTo>
                    <a:cubicBezTo>
                      <a:pt x="198" y="280"/>
                      <a:pt x="186" y="283"/>
                      <a:pt x="186" y="283"/>
                    </a:cubicBezTo>
                    <a:cubicBezTo>
                      <a:pt x="183" y="282"/>
                      <a:pt x="183" y="282"/>
                      <a:pt x="183" y="282"/>
                    </a:cubicBezTo>
                    <a:cubicBezTo>
                      <a:pt x="173" y="287"/>
                      <a:pt x="173" y="287"/>
                      <a:pt x="173" y="287"/>
                    </a:cubicBezTo>
                    <a:cubicBezTo>
                      <a:pt x="156" y="291"/>
                      <a:pt x="156" y="291"/>
                      <a:pt x="156" y="291"/>
                    </a:cubicBezTo>
                    <a:cubicBezTo>
                      <a:pt x="151" y="303"/>
                      <a:pt x="151" y="303"/>
                      <a:pt x="151" y="303"/>
                    </a:cubicBezTo>
                    <a:cubicBezTo>
                      <a:pt x="156" y="305"/>
                      <a:pt x="156" y="305"/>
                      <a:pt x="156" y="305"/>
                    </a:cubicBezTo>
                    <a:cubicBezTo>
                      <a:pt x="156" y="305"/>
                      <a:pt x="161" y="303"/>
                      <a:pt x="165" y="303"/>
                    </a:cubicBezTo>
                    <a:cubicBezTo>
                      <a:pt x="171" y="303"/>
                      <a:pt x="171" y="303"/>
                      <a:pt x="171" y="303"/>
                    </a:cubicBezTo>
                    <a:cubicBezTo>
                      <a:pt x="171" y="303"/>
                      <a:pt x="168" y="306"/>
                      <a:pt x="165" y="309"/>
                    </a:cubicBezTo>
                    <a:cubicBezTo>
                      <a:pt x="162" y="312"/>
                      <a:pt x="151" y="310"/>
                      <a:pt x="151" y="310"/>
                    </a:cubicBezTo>
                    <a:cubicBezTo>
                      <a:pt x="144" y="314"/>
                      <a:pt x="144" y="314"/>
                      <a:pt x="144" y="314"/>
                    </a:cubicBezTo>
                    <a:cubicBezTo>
                      <a:pt x="136" y="313"/>
                      <a:pt x="136" y="313"/>
                      <a:pt x="136" y="313"/>
                    </a:cubicBezTo>
                    <a:cubicBezTo>
                      <a:pt x="110" y="318"/>
                      <a:pt x="110" y="318"/>
                      <a:pt x="110" y="318"/>
                    </a:cubicBezTo>
                    <a:cubicBezTo>
                      <a:pt x="114" y="312"/>
                      <a:pt x="114" y="312"/>
                      <a:pt x="114" y="312"/>
                    </a:cubicBezTo>
                    <a:cubicBezTo>
                      <a:pt x="97" y="314"/>
                      <a:pt x="97" y="314"/>
                      <a:pt x="97" y="314"/>
                    </a:cubicBezTo>
                    <a:cubicBezTo>
                      <a:pt x="97" y="317"/>
                      <a:pt x="97" y="317"/>
                      <a:pt x="97" y="317"/>
                    </a:cubicBezTo>
                    <a:cubicBezTo>
                      <a:pt x="106" y="322"/>
                      <a:pt x="106" y="322"/>
                      <a:pt x="106" y="322"/>
                    </a:cubicBezTo>
                    <a:cubicBezTo>
                      <a:pt x="106" y="322"/>
                      <a:pt x="102" y="327"/>
                      <a:pt x="96" y="328"/>
                    </a:cubicBezTo>
                    <a:cubicBezTo>
                      <a:pt x="80" y="328"/>
                      <a:pt x="80" y="328"/>
                      <a:pt x="80" y="328"/>
                    </a:cubicBezTo>
                    <a:cubicBezTo>
                      <a:pt x="80" y="321"/>
                      <a:pt x="80" y="321"/>
                      <a:pt x="80" y="321"/>
                    </a:cubicBezTo>
                    <a:cubicBezTo>
                      <a:pt x="69" y="324"/>
                      <a:pt x="69" y="324"/>
                      <a:pt x="69" y="324"/>
                    </a:cubicBezTo>
                    <a:cubicBezTo>
                      <a:pt x="69" y="324"/>
                      <a:pt x="67" y="330"/>
                      <a:pt x="63" y="330"/>
                    </a:cubicBezTo>
                    <a:cubicBezTo>
                      <a:pt x="58" y="330"/>
                      <a:pt x="50" y="333"/>
                      <a:pt x="48" y="337"/>
                    </a:cubicBezTo>
                    <a:cubicBezTo>
                      <a:pt x="47" y="341"/>
                      <a:pt x="45" y="346"/>
                      <a:pt x="40" y="348"/>
                    </a:cubicBezTo>
                    <a:cubicBezTo>
                      <a:pt x="35" y="349"/>
                      <a:pt x="38" y="353"/>
                      <a:pt x="37" y="357"/>
                    </a:cubicBezTo>
                    <a:cubicBezTo>
                      <a:pt x="36" y="362"/>
                      <a:pt x="29" y="363"/>
                      <a:pt x="29" y="363"/>
                    </a:cubicBezTo>
                    <a:cubicBezTo>
                      <a:pt x="28" y="368"/>
                      <a:pt x="28" y="368"/>
                      <a:pt x="28" y="368"/>
                    </a:cubicBezTo>
                    <a:cubicBezTo>
                      <a:pt x="29" y="383"/>
                      <a:pt x="29" y="383"/>
                      <a:pt x="29" y="383"/>
                    </a:cubicBezTo>
                    <a:cubicBezTo>
                      <a:pt x="32" y="384"/>
                      <a:pt x="32" y="384"/>
                      <a:pt x="32" y="384"/>
                    </a:cubicBezTo>
                    <a:cubicBezTo>
                      <a:pt x="26" y="399"/>
                      <a:pt x="26" y="399"/>
                      <a:pt x="26" y="399"/>
                    </a:cubicBezTo>
                    <a:cubicBezTo>
                      <a:pt x="51" y="388"/>
                      <a:pt x="51" y="388"/>
                      <a:pt x="51" y="388"/>
                    </a:cubicBezTo>
                    <a:cubicBezTo>
                      <a:pt x="51" y="388"/>
                      <a:pt x="68" y="380"/>
                      <a:pt x="73" y="385"/>
                    </a:cubicBezTo>
                    <a:cubicBezTo>
                      <a:pt x="78" y="391"/>
                      <a:pt x="58" y="404"/>
                      <a:pt x="58" y="404"/>
                    </a:cubicBezTo>
                    <a:cubicBezTo>
                      <a:pt x="65" y="407"/>
                      <a:pt x="65" y="407"/>
                      <a:pt x="65" y="407"/>
                    </a:cubicBezTo>
                    <a:cubicBezTo>
                      <a:pt x="66" y="411"/>
                      <a:pt x="66" y="411"/>
                      <a:pt x="66" y="411"/>
                    </a:cubicBezTo>
                    <a:cubicBezTo>
                      <a:pt x="74" y="413"/>
                      <a:pt x="74" y="413"/>
                      <a:pt x="74" y="413"/>
                    </a:cubicBezTo>
                    <a:cubicBezTo>
                      <a:pt x="74" y="413"/>
                      <a:pt x="71" y="419"/>
                      <a:pt x="72" y="424"/>
                    </a:cubicBezTo>
                    <a:cubicBezTo>
                      <a:pt x="73" y="429"/>
                      <a:pt x="82" y="422"/>
                      <a:pt x="85" y="426"/>
                    </a:cubicBezTo>
                    <a:cubicBezTo>
                      <a:pt x="88" y="430"/>
                      <a:pt x="80" y="434"/>
                      <a:pt x="75" y="436"/>
                    </a:cubicBezTo>
                    <a:cubicBezTo>
                      <a:pt x="71" y="438"/>
                      <a:pt x="72" y="443"/>
                      <a:pt x="73" y="446"/>
                    </a:cubicBezTo>
                    <a:cubicBezTo>
                      <a:pt x="74" y="448"/>
                      <a:pt x="79" y="446"/>
                      <a:pt x="79" y="446"/>
                    </a:cubicBezTo>
                    <a:cubicBezTo>
                      <a:pt x="79" y="450"/>
                      <a:pt x="79" y="450"/>
                      <a:pt x="79" y="450"/>
                    </a:cubicBezTo>
                    <a:cubicBezTo>
                      <a:pt x="85" y="453"/>
                      <a:pt x="85" y="453"/>
                      <a:pt x="85" y="453"/>
                    </a:cubicBezTo>
                    <a:cubicBezTo>
                      <a:pt x="95" y="453"/>
                      <a:pt x="95" y="453"/>
                      <a:pt x="95" y="453"/>
                    </a:cubicBezTo>
                    <a:cubicBezTo>
                      <a:pt x="79" y="459"/>
                      <a:pt x="79" y="459"/>
                      <a:pt x="79" y="459"/>
                    </a:cubicBezTo>
                    <a:cubicBezTo>
                      <a:pt x="74" y="457"/>
                      <a:pt x="74" y="457"/>
                      <a:pt x="74" y="457"/>
                    </a:cubicBezTo>
                    <a:cubicBezTo>
                      <a:pt x="71" y="458"/>
                      <a:pt x="71" y="458"/>
                      <a:pt x="71" y="458"/>
                    </a:cubicBezTo>
                    <a:cubicBezTo>
                      <a:pt x="72" y="463"/>
                      <a:pt x="72" y="463"/>
                      <a:pt x="72" y="463"/>
                    </a:cubicBezTo>
                    <a:cubicBezTo>
                      <a:pt x="67" y="458"/>
                      <a:pt x="67" y="458"/>
                      <a:pt x="67" y="458"/>
                    </a:cubicBezTo>
                    <a:cubicBezTo>
                      <a:pt x="69" y="453"/>
                      <a:pt x="69" y="453"/>
                      <a:pt x="69" y="453"/>
                    </a:cubicBezTo>
                    <a:cubicBezTo>
                      <a:pt x="69" y="453"/>
                      <a:pt x="59" y="444"/>
                      <a:pt x="55" y="445"/>
                    </a:cubicBezTo>
                    <a:cubicBezTo>
                      <a:pt x="50" y="446"/>
                      <a:pt x="56" y="458"/>
                      <a:pt x="56" y="458"/>
                    </a:cubicBezTo>
                    <a:cubicBezTo>
                      <a:pt x="56" y="458"/>
                      <a:pt x="61" y="458"/>
                      <a:pt x="61" y="464"/>
                    </a:cubicBezTo>
                    <a:cubicBezTo>
                      <a:pt x="62" y="471"/>
                      <a:pt x="52" y="471"/>
                      <a:pt x="52" y="471"/>
                    </a:cubicBezTo>
                    <a:cubicBezTo>
                      <a:pt x="71" y="478"/>
                      <a:pt x="71" y="478"/>
                      <a:pt x="71" y="478"/>
                    </a:cubicBezTo>
                    <a:cubicBezTo>
                      <a:pt x="81" y="471"/>
                      <a:pt x="81" y="471"/>
                      <a:pt x="81" y="471"/>
                    </a:cubicBezTo>
                    <a:cubicBezTo>
                      <a:pt x="86" y="481"/>
                      <a:pt x="86" y="481"/>
                      <a:pt x="86" y="481"/>
                    </a:cubicBezTo>
                    <a:cubicBezTo>
                      <a:pt x="91" y="478"/>
                      <a:pt x="91" y="478"/>
                      <a:pt x="91" y="478"/>
                    </a:cubicBezTo>
                    <a:cubicBezTo>
                      <a:pt x="91" y="478"/>
                      <a:pt x="101" y="478"/>
                      <a:pt x="108" y="480"/>
                    </a:cubicBezTo>
                    <a:cubicBezTo>
                      <a:pt x="115" y="482"/>
                      <a:pt x="107" y="496"/>
                      <a:pt x="107" y="496"/>
                    </a:cubicBezTo>
                    <a:cubicBezTo>
                      <a:pt x="100" y="503"/>
                      <a:pt x="100" y="503"/>
                      <a:pt x="100" y="503"/>
                    </a:cubicBezTo>
                    <a:cubicBezTo>
                      <a:pt x="111" y="505"/>
                      <a:pt x="111" y="505"/>
                      <a:pt x="111" y="505"/>
                    </a:cubicBezTo>
                    <a:cubicBezTo>
                      <a:pt x="111" y="507"/>
                      <a:pt x="111" y="507"/>
                      <a:pt x="111" y="507"/>
                    </a:cubicBezTo>
                    <a:cubicBezTo>
                      <a:pt x="127" y="509"/>
                      <a:pt x="127" y="509"/>
                      <a:pt x="127" y="509"/>
                    </a:cubicBezTo>
                    <a:cubicBezTo>
                      <a:pt x="110" y="510"/>
                      <a:pt x="110" y="510"/>
                      <a:pt x="110" y="510"/>
                    </a:cubicBezTo>
                    <a:cubicBezTo>
                      <a:pt x="112" y="520"/>
                      <a:pt x="112" y="520"/>
                      <a:pt x="112" y="520"/>
                    </a:cubicBezTo>
                    <a:cubicBezTo>
                      <a:pt x="118" y="519"/>
                      <a:pt x="118" y="519"/>
                      <a:pt x="118" y="519"/>
                    </a:cubicBezTo>
                    <a:cubicBezTo>
                      <a:pt x="123" y="515"/>
                      <a:pt x="123" y="515"/>
                      <a:pt x="123" y="515"/>
                    </a:cubicBezTo>
                    <a:cubicBezTo>
                      <a:pt x="122" y="520"/>
                      <a:pt x="122" y="520"/>
                      <a:pt x="122" y="520"/>
                    </a:cubicBezTo>
                    <a:cubicBezTo>
                      <a:pt x="130" y="524"/>
                      <a:pt x="130" y="524"/>
                      <a:pt x="130" y="524"/>
                    </a:cubicBezTo>
                    <a:cubicBezTo>
                      <a:pt x="130" y="524"/>
                      <a:pt x="135" y="522"/>
                      <a:pt x="134" y="527"/>
                    </a:cubicBezTo>
                    <a:cubicBezTo>
                      <a:pt x="134" y="532"/>
                      <a:pt x="129" y="535"/>
                      <a:pt x="129" y="535"/>
                    </a:cubicBezTo>
                    <a:cubicBezTo>
                      <a:pt x="129" y="535"/>
                      <a:pt x="123" y="529"/>
                      <a:pt x="119" y="536"/>
                    </a:cubicBezTo>
                    <a:cubicBezTo>
                      <a:pt x="115" y="542"/>
                      <a:pt x="122" y="543"/>
                      <a:pt x="122" y="543"/>
                    </a:cubicBezTo>
                    <a:cubicBezTo>
                      <a:pt x="128" y="540"/>
                      <a:pt x="128" y="540"/>
                      <a:pt x="128" y="540"/>
                    </a:cubicBezTo>
                    <a:cubicBezTo>
                      <a:pt x="133" y="541"/>
                      <a:pt x="133" y="541"/>
                      <a:pt x="133" y="541"/>
                    </a:cubicBezTo>
                    <a:cubicBezTo>
                      <a:pt x="176" y="530"/>
                      <a:pt x="176" y="530"/>
                      <a:pt x="176" y="530"/>
                    </a:cubicBezTo>
                    <a:cubicBezTo>
                      <a:pt x="162" y="540"/>
                      <a:pt x="162" y="540"/>
                      <a:pt x="162" y="540"/>
                    </a:cubicBezTo>
                    <a:cubicBezTo>
                      <a:pt x="163" y="546"/>
                      <a:pt x="163" y="546"/>
                      <a:pt x="163" y="546"/>
                    </a:cubicBezTo>
                    <a:cubicBezTo>
                      <a:pt x="150" y="548"/>
                      <a:pt x="150" y="548"/>
                      <a:pt x="150" y="548"/>
                    </a:cubicBezTo>
                    <a:cubicBezTo>
                      <a:pt x="137" y="555"/>
                      <a:pt x="137" y="555"/>
                      <a:pt x="137" y="555"/>
                    </a:cubicBezTo>
                    <a:cubicBezTo>
                      <a:pt x="130" y="561"/>
                      <a:pt x="130" y="561"/>
                      <a:pt x="130" y="561"/>
                    </a:cubicBezTo>
                    <a:cubicBezTo>
                      <a:pt x="132" y="562"/>
                      <a:pt x="132" y="562"/>
                      <a:pt x="132" y="562"/>
                    </a:cubicBezTo>
                    <a:cubicBezTo>
                      <a:pt x="147" y="558"/>
                      <a:pt x="147" y="558"/>
                      <a:pt x="147" y="558"/>
                    </a:cubicBezTo>
                    <a:cubicBezTo>
                      <a:pt x="147" y="554"/>
                      <a:pt x="147" y="554"/>
                      <a:pt x="147" y="554"/>
                    </a:cubicBezTo>
                    <a:cubicBezTo>
                      <a:pt x="153" y="553"/>
                      <a:pt x="153" y="553"/>
                      <a:pt x="153" y="553"/>
                    </a:cubicBezTo>
                    <a:cubicBezTo>
                      <a:pt x="155" y="554"/>
                      <a:pt x="155" y="554"/>
                      <a:pt x="155" y="554"/>
                    </a:cubicBezTo>
                    <a:cubicBezTo>
                      <a:pt x="167" y="548"/>
                      <a:pt x="167" y="548"/>
                      <a:pt x="167" y="548"/>
                    </a:cubicBezTo>
                    <a:cubicBezTo>
                      <a:pt x="168" y="551"/>
                      <a:pt x="168" y="551"/>
                      <a:pt x="168" y="551"/>
                    </a:cubicBezTo>
                    <a:cubicBezTo>
                      <a:pt x="162" y="556"/>
                      <a:pt x="162" y="556"/>
                      <a:pt x="162" y="556"/>
                    </a:cubicBezTo>
                    <a:cubicBezTo>
                      <a:pt x="165" y="558"/>
                      <a:pt x="165" y="558"/>
                      <a:pt x="165" y="558"/>
                    </a:cubicBezTo>
                    <a:cubicBezTo>
                      <a:pt x="162" y="560"/>
                      <a:pt x="162" y="560"/>
                      <a:pt x="162" y="560"/>
                    </a:cubicBezTo>
                    <a:cubicBezTo>
                      <a:pt x="165" y="562"/>
                      <a:pt x="165" y="562"/>
                      <a:pt x="165" y="562"/>
                    </a:cubicBezTo>
                    <a:cubicBezTo>
                      <a:pt x="177" y="550"/>
                      <a:pt x="177" y="550"/>
                      <a:pt x="177" y="550"/>
                    </a:cubicBezTo>
                    <a:cubicBezTo>
                      <a:pt x="175" y="543"/>
                      <a:pt x="175" y="543"/>
                      <a:pt x="175" y="543"/>
                    </a:cubicBezTo>
                    <a:cubicBezTo>
                      <a:pt x="175" y="543"/>
                      <a:pt x="179" y="540"/>
                      <a:pt x="185" y="539"/>
                    </a:cubicBezTo>
                    <a:cubicBezTo>
                      <a:pt x="192" y="538"/>
                      <a:pt x="195" y="545"/>
                      <a:pt x="195" y="545"/>
                    </a:cubicBezTo>
                    <a:cubicBezTo>
                      <a:pt x="206" y="551"/>
                      <a:pt x="206" y="551"/>
                      <a:pt x="206" y="551"/>
                    </a:cubicBezTo>
                    <a:cubicBezTo>
                      <a:pt x="210" y="549"/>
                      <a:pt x="210" y="549"/>
                      <a:pt x="210" y="549"/>
                    </a:cubicBezTo>
                    <a:cubicBezTo>
                      <a:pt x="208" y="545"/>
                      <a:pt x="208" y="545"/>
                      <a:pt x="208" y="545"/>
                    </a:cubicBezTo>
                    <a:cubicBezTo>
                      <a:pt x="212" y="541"/>
                      <a:pt x="212" y="541"/>
                      <a:pt x="212" y="541"/>
                    </a:cubicBezTo>
                    <a:cubicBezTo>
                      <a:pt x="221" y="545"/>
                      <a:pt x="221" y="545"/>
                      <a:pt x="221" y="545"/>
                    </a:cubicBezTo>
                    <a:cubicBezTo>
                      <a:pt x="221" y="545"/>
                      <a:pt x="219" y="546"/>
                      <a:pt x="218" y="548"/>
                    </a:cubicBezTo>
                    <a:cubicBezTo>
                      <a:pt x="216" y="548"/>
                      <a:pt x="217" y="552"/>
                      <a:pt x="217" y="552"/>
                    </a:cubicBezTo>
                    <a:cubicBezTo>
                      <a:pt x="221" y="551"/>
                      <a:pt x="221" y="551"/>
                      <a:pt x="221" y="551"/>
                    </a:cubicBezTo>
                    <a:cubicBezTo>
                      <a:pt x="225" y="557"/>
                      <a:pt x="225" y="557"/>
                      <a:pt x="225" y="557"/>
                    </a:cubicBezTo>
                    <a:cubicBezTo>
                      <a:pt x="223" y="548"/>
                      <a:pt x="223" y="548"/>
                      <a:pt x="223" y="548"/>
                    </a:cubicBezTo>
                    <a:cubicBezTo>
                      <a:pt x="227" y="546"/>
                      <a:pt x="232" y="543"/>
                      <a:pt x="233" y="545"/>
                    </a:cubicBezTo>
                    <a:cubicBezTo>
                      <a:pt x="236" y="548"/>
                      <a:pt x="233" y="552"/>
                      <a:pt x="233" y="552"/>
                    </a:cubicBezTo>
                    <a:cubicBezTo>
                      <a:pt x="241" y="560"/>
                      <a:pt x="241" y="560"/>
                      <a:pt x="241" y="560"/>
                    </a:cubicBezTo>
                    <a:cubicBezTo>
                      <a:pt x="241" y="566"/>
                      <a:pt x="241" y="566"/>
                      <a:pt x="241" y="566"/>
                    </a:cubicBezTo>
                    <a:cubicBezTo>
                      <a:pt x="241" y="566"/>
                      <a:pt x="255" y="570"/>
                      <a:pt x="267" y="572"/>
                    </a:cubicBezTo>
                    <a:cubicBezTo>
                      <a:pt x="278" y="573"/>
                      <a:pt x="284" y="564"/>
                      <a:pt x="295" y="556"/>
                    </a:cubicBezTo>
                    <a:cubicBezTo>
                      <a:pt x="305" y="550"/>
                      <a:pt x="312" y="558"/>
                      <a:pt x="312" y="558"/>
                    </a:cubicBezTo>
                    <a:cubicBezTo>
                      <a:pt x="315" y="546"/>
                      <a:pt x="315" y="546"/>
                      <a:pt x="315" y="546"/>
                    </a:cubicBezTo>
                    <a:cubicBezTo>
                      <a:pt x="309" y="546"/>
                      <a:pt x="309" y="546"/>
                      <a:pt x="309" y="546"/>
                    </a:cubicBezTo>
                    <a:cubicBezTo>
                      <a:pt x="309" y="546"/>
                      <a:pt x="312" y="527"/>
                      <a:pt x="310" y="517"/>
                    </a:cubicBezTo>
                    <a:cubicBezTo>
                      <a:pt x="309" y="507"/>
                      <a:pt x="318" y="510"/>
                      <a:pt x="332" y="508"/>
                    </a:cubicBezTo>
                    <a:cubicBezTo>
                      <a:pt x="346" y="506"/>
                      <a:pt x="353" y="506"/>
                      <a:pt x="353" y="506"/>
                    </a:cubicBezTo>
                    <a:cubicBezTo>
                      <a:pt x="353" y="506"/>
                      <a:pt x="379" y="510"/>
                      <a:pt x="391" y="513"/>
                    </a:cubicBezTo>
                    <a:cubicBezTo>
                      <a:pt x="402" y="515"/>
                      <a:pt x="407" y="526"/>
                      <a:pt x="417" y="534"/>
                    </a:cubicBezTo>
                    <a:cubicBezTo>
                      <a:pt x="429" y="540"/>
                      <a:pt x="454" y="525"/>
                      <a:pt x="454" y="525"/>
                    </a:cubicBezTo>
                    <a:cubicBezTo>
                      <a:pt x="454" y="525"/>
                      <a:pt x="484" y="507"/>
                      <a:pt x="494" y="497"/>
                    </a:cubicBezTo>
                    <a:cubicBezTo>
                      <a:pt x="505" y="489"/>
                      <a:pt x="514" y="458"/>
                      <a:pt x="523" y="449"/>
                    </a:cubicBezTo>
                    <a:cubicBezTo>
                      <a:pt x="530" y="442"/>
                      <a:pt x="553" y="456"/>
                      <a:pt x="563" y="456"/>
                    </a:cubicBezTo>
                    <a:cubicBezTo>
                      <a:pt x="575" y="455"/>
                      <a:pt x="578" y="441"/>
                      <a:pt x="578" y="441"/>
                    </a:cubicBezTo>
                    <a:cubicBezTo>
                      <a:pt x="573" y="439"/>
                      <a:pt x="573" y="439"/>
                      <a:pt x="573" y="439"/>
                    </a:cubicBezTo>
                    <a:cubicBezTo>
                      <a:pt x="581" y="436"/>
                      <a:pt x="581" y="436"/>
                      <a:pt x="581" y="436"/>
                    </a:cubicBezTo>
                    <a:cubicBezTo>
                      <a:pt x="581" y="436"/>
                      <a:pt x="578" y="423"/>
                      <a:pt x="592" y="423"/>
                    </a:cubicBezTo>
                    <a:cubicBezTo>
                      <a:pt x="606" y="423"/>
                      <a:pt x="606" y="438"/>
                      <a:pt x="606" y="438"/>
                    </a:cubicBezTo>
                    <a:cubicBezTo>
                      <a:pt x="606" y="438"/>
                      <a:pt x="594" y="446"/>
                      <a:pt x="590" y="458"/>
                    </a:cubicBezTo>
                    <a:cubicBezTo>
                      <a:pt x="587" y="469"/>
                      <a:pt x="606" y="474"/>
                      <a:pt x="607" y="477"/>
                    </a:cubicBezTo>
                    <a:cubicBezTo>
                      <a:pt x="608" y="479"/>
                      <a:pt x="606" y="486"/>
                      <a:pt x="606" y="486"/>
                    </a:cubicBezTo>
                    <a:cubicBezTo>
                      <a:pt x="623" y="489"/>
                      <a:pt x="623" y="489"/>
                      <a:pt x="623" y="489"/>
                    </a:cubicBezTo>
                    <a:cubicBezTo>
                      <a:pt x="631" y="472"/>
                      <a:pt x="631" y="472"/>
                      <a:pt x="631" y="472"/>
                    </a:cubicBezTo>
                    <a:cubicBezTo>
                      <a:pt x="624" y="459"/>
                      <a:pt x="624" y="459"/>
                      <a:pt x="624" y="459"/>
                    </a:cubicBezTo>
                    <a:cubicBezTo>
                      <a:pt x="638" y="451"/>
                      <a:pt x="638" y="451"/>
                      <a:pt x="638" y="451"/>
                    </a:cubicBezTo>
                    <a:cubicBezTo>
                      <a:pt x="625" y="439"/>
                      <a:pt x="625" y="439"/>
                      <a:pt x="625" y="439"/>
                    </a:cubicBezTo>
                    <a:cubicBezTo>
                      <a:pt x="625" y="439"/>
                      <a:pt x="625" y="423"/>
                      <a:pt x="626" y="416"/>
                    </a:cubicBezTo>
                    <a:cubicBezTo>
                      <a:pt x="626" y="410"/>
                      <a:pt x="645" y="413"/>
                      <a:pt x="645" y="413"/>
                    </a:cubicBezTo>
                    <a:cubicBezTo>
                      <a:pt x="648" y="419"/>
                      <a:pt x="648" y="419"/>
                      <a:pt x="648" y="419"/>
                    </a:cubicBezTo>
                    <a:cubicBezTo>
                      <a:pt x="675" y="407"/>
                      <a:pt x="675" y="407"/>
                      <a:pt x="675" y="407"/>
                    </a:cubicBezTo>
                    <a:cubicBezTo>
                      <a:pt x="674" y="400"/>
                      <a:pt x="674" y="400"/>
                      <a:pt x="674" y="400"/>
                    </a:cubicBezTo>
                    <a:cubicBezTo>
                      <a:pt x="684" y="398"/>
                      <a:pt x="684" y="398"/>
                      <a:pt x="684" y="398"/>
                    </a:cubicBezTo>
                    <a:cubicBezTo>
                      <a:pt x="684" y="398"/>
                      <a:pt x="698" y="380"/>
                      <a:pt x="707" y="377"/>
                    </a:cubicBezTo>
                    <a:cubicBezTo>
                      <a:pt x="714" y="372"/>
                      <a:pt x="732" y="382"/>
                      <a:pt x="732" y="382"/>
                    </a:cubicBezTo>
                    <a:cubicBezTo>
                      <a:pt x="751" y="373"/>
                      <a:pt x="751" y="373"/>
                      <a:pt x="751" y="373"/>
                    </a:cubicBezTo>
                    <a:cubicBezTo>
                      <a:pt x="751" y="373"/>
                      <a:pt x="766" y="371"/>
                      <a:pt x="781" y="360"/>
                    </a:cubicBezTo>
                    <a:cubicBezTo>
                      <a:pt x="796" y="348"/>
                      <a:pt x="825" y="313"/>
                      <a:pt x="825" y="313"/>
                    </a:cubicBezTo>
                    <a:cubicBezTo>
                      <a:pt x="825" y="313"/>
                      <a:pt x="845" y="305"/>
                      <a:pt x="865" y="297"/>
                    </a:cubicBezTo>
                    <a:cubicBezTo>
                      <a:pt x="885" y="288"/>
                      <a:pt x="889" y="271"/>
                      <a:pt x="889" y="271"/>
                    </a:cubicBezTo>
                    <a:cubicBezTo>
                      <a:pt x="900" y="272"/>
                      <a:pt x="900" y="272"/>
                      <a:pt x="900" y="272"/>
                    </a:cubicBezTo>
                    <a:cubicBezTo>
                      <a:pt x="904" y="276"/>
                      <a:pt x="904" y="276"/>
                      <a:pt x="904" y="276"/>
                    </a:cubicBezTo>
                    <a:cubicBezTo>
                      <a:pt x="916" y="270"/>
                      <a:pt x="916" y="270"/>
                      <a:pt x="916" y="270"/>
                    </a:cubicBezTo>
                    <a:cubicBezTo>
                      <a:pt x="910" y="253"/>
                      <a:pt x="910" y="253"/>
                      <a:pt x="910" y="253"/>
                    </a:cubicBezTo>
                    <a:cubicBezTo>
                      <a:pt x="930" y="253"/>
                      <a:pt x="930" y="253"/>
                      <a:pt x="930" y="253"/>
                    </a:cubicBezTo>
                    <a:cubicBezTo>
                      <a:pt x="933" y="246"/>
                      <a:pt x="933" y="246"/>
                      <a:pt x="933" y="246"/>
                    </a:cubicBezTo>
                    <a:cubicBezTo>
                      <a:pt x="946" y="246"/>
                      <a:pt x="946" y="246"/>
                      <a:pt x="946" y="246"/>
                    </a:cubicBezTo>
                    <a:cubicBezTo>
                      <a:pt x="946" y="242"/>
                      <a:pt x="946" y="242"/>
                      <a:pt x="946" y="242"/>
                    </a:cubicBezTo>
                    <a:cubicBezTo>
                      <a:pt x="975" y="238"/>
                      <a:pt x="975" y="238"/>
                      <a:pt x="975" y="238"/>
                    </a:cubicBezTo>
                    <a:cubicBezTo>
                      <a:pt x="975" y="238"/>
                      <a:pt x="976" y="225"/>
                      <a:pt x="988" y="225"/>
                    </a:cubicBezTo>
                    <a:cubicBezTo>
                      <a:pt x="1000" y="225"/>
                      <a:pt x="995" y="240"/>
                      <a:pt x="995" y="240"/>
                    </a:cubicBezTo>
                    <a:cubicBezTo>
                      <a:pt x="1002" y="242"/>
                      <a:pt x="1002" y="242"/>
                      <a:pt x="1002" y="242"/>
                    </a:cubicBezTo>
                    <a:cubicBezTo>
                      <a:pt x="1002" y="242"/>
                      <a:pt x="1008" y="227"/>
                      <a:pt x="1011" y="223"/>
                    </a:cubicBezTo>
                    <a:cubicBezTo>
                      <a:pt x="1013" y="220"/>
                      <a:pt x="1020" y="222"/>
                      <a:pt x="1020" y="222"/>
                    </a:cubicBezTo>
                    <a:cubicBezTo>
                      <a:pt x="1020" y="222"/>
                      <a:pt x="1022" y="213"/>
                      <a:pt x="1019" y="210"/>
                    </a:cubicBez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45" name="Switzerland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4438650" y="4432300"/>
                <a:ext cx="442912" cy="274637"/>
              </a:xfrm>
              <a:custGeom>
                <a:avLst/>
                <a:gdLst/>
                <a:ahLst/>
                <a:cxnLst>
                  <a:cxn ang="0">
                    <a:pos x="208" y="59"/>
                  </a:cxn>
                  <a:cxn ang="0">
                    <a:pos x="194" y="63"/>
                  </a:cxn>
                  <a:cxn ang="0">
                    <a:pos x="179" y="59"/>
                  </a:cxn>
                  <a:cxn ang="0">
                    <a:pos x="164" y="49"/>
                  </a:cxn>
                  <a:cxn ang="0">
                    <a:pos x="162" y="39"/>
                  </a:cxn>
                  <a:cxn ang="0">
                    <a:pos x="172" y="18"/>
                  </a:cxn>
                  <a:cxn ang="0">
                    <a:pos x="148" y="9"/>
                  </a:cxn>
                  <a:cxn ang="0">
                    <a:pos x="135" y="4"/>
                  </a:cxn>
                  <a:cxn ang="0">
                    <a:pos x="128" y="2"/>
                  </a:cxn>
                  <a:cxn ang="0">
                    <a:pos x="118" y="8"/>
                  </a:cxn>
                  <a:cxn ang="0">
                    <a:pos x="125" y="14"/>
                  </a:cxn>
                  <a:cxn ang="0">
                    <a:pos x="112" y="13"/>
                  </a:cxn>
                  <a:cxn ang="0">
                    <a:pos x="83" y="15"/>
                  </a:cxn>
                  <a:cxn ang="0">
                    <a:pos x="81" y="13"/>
                  </a:cxn>
                  <a:cxn ang="0">
                    <a:pos x="73" y="16"/>
                  </a:cxn>
                  <a:cxn ang="0">
                    <a:pos x="61" y="24"/>
                  </a:cxn>
                  <a:cxn ang="0">
                    <a:pos x="46" y="27"/>
                  </a:cxn>
                  <a:cxn ang="0">
                    <a:pos x="35" y="47"/>
                  </a:cxn>
                  <a:cxn ang="0">
                    <a:pos x="24" y="64"/>
                  </a:cxn>
                  <a:cxn ang="0">
                    <a:pos x="9" y="90"/>
                  </a:cxn>
                  <a:cxn ang="0">
                    <a:pos x="0" y="97"/>
                  </a:cxn>
                  <a:cxn ang="0">
                    <a:pos x="8" y="103"/>
                  </a:cxn>
                  <a:cxn ang="0">
                    <a:pos x="12" y="93"/>
                  </a:cxn>
                  <a:cxn ang="0">
                    <a:pos x="40" y="87"/>
                  </a:cxn>
                  <a:cxn ang="0">
                    <a:pos x="41" y="98"/>
                  </a:cxn>
                  <a:cxn ang="0">
                    <a:pos x="41" y="107"/>
                  </a:cxn>
                  <a:cxn ang="0">
                    <a:pos x="48" y="120"/>
                  </a:cxn>
                  <a:cxn ang="0">
                    <a:pos x="52" y="124"/>
                  </a:cxn>
                  <a:cxn ang="0">
                    <a:pos x="64" y="121"/>
                  </a:cxn>
                  <a:cxn ang="0">
                    <a:pos x="82" y="122"/>
                  </a:cxn>
                  <a:cxn ang="0">
                    <a:pos x="92" y="116"/>
                  </a:cxn>
                  <a:cxn ang="0">
                    <a:pos x="100" y="107"/>
                  </a:cxn>
                  <a:cxn ang="0">
                    <a:pos x="99" y="96"/>
                  </a:cxn>
                  <a:cxn ang="0">
                    <a:pos x="107" y="93"/>
                  </a:cxn>
                  <a:cxn ang="0">
                    <a:pos x="112" y="88"/>
                  </a:cxn>
                  <a:cxn ang="0">
                    <a:pos x="112" y="99"/>
                  </a:cxn>
                  <a:cxn ang="0">
                    <a:pos x="121" y="110"/>
                  </a:cxn>
                  <a:cxn ang="0">
                    <a:pos x="132" y="114"/>
                  </a:cxn>
                  <a:cxn ang="0">
                    <a:pos x="131" y="119"/>
                  </a:cxn>
                  <a:cxn ang="0">
                    <a:pos x="139" y="129"/>
                  </a:cxn>
                  <a:cxn ang="0">
                    <a:pos x="138" y="122"/>
                  </a:cxn>
                  <a:cxn ang="0">
                    <a:pos x="141" y="114"/>
                  </a:cxn>
                  <a:cxn ang="0">
                    <a:pos x="150" y="102"/>
                  </a:cxn>
                  <a:cxn ang="0">
                    <a:pos x="150" y="91"/>
                  </a:cxn>
                  <a:cxn ang="0">
                    <a:pos x="157" y="88"/>
                  </a:cxn>
                  <a:cxn ang="0">
                    <a:pos x="164" y="99"/>
                  </a:cxn>
                  <a:cxn ang="0">
                    <a:pos x="182" y="95"/>
                  </a:cxn>
                  <a:cxn ang="0">
                    <a:pos x="187" y="103"/>
                  </a:cxn>
                  <a:cxn ang="0">
                    <a:pos x="190" y="105"/>
                  </a:cxn>
                  <a:cxn ang="0">
                    <a:pos x="193" y="93"/>
                  </a:cxn>
                  <a:cxn ang="0">
                    <a:pos x="188" y="92"/>
                  </a:cxn>
                  <a:cxn ang="0">
                    <a:pos x="196" y="77"/>
                  </a:cxn>
                  <a:cxn ang="0">
                    <a:pos x="207" y="86"/>
                  </a:cxn>
                  <a:cxn ang="0">
                    <a:pos x="204" y="79"/>
                  </a:cxn>
                </a:cxnLst>
                <a:rect l="0" t="0" r="r" b="b"/>
                <a:pathLst>
                  <a:path w="208" h="129">
                    <a:moveTo>
                      <a:pt x="204" y="79"/>
                    </a:moveTo>
                    <a:cubicBezTo>
                      <a:pt x="208" y="59"/>
                      <a:pt x="208" y="59"/>
                      <a:pt x="208" y="59"/>
                    </a:cubicBezTo>
                    <a:cubicBezTo>
                      <a:pt x="203" y="55"/>
                      <a:pt x="203" y="55"/>
                      <a:pt x="203" y="55"/>
                    </a:cubicBezTo>
                    <a:cubicBezTo>
                      <a:pt x="203" y="55"/>
                      <a:pt x="197" y="62"/>
                      <a:pt x="194" y="63"/>
                    </a:cubicBezTo>
                    <a:cubicBezTo>
                      <a:pt x="191" y="65"/>
                      <a:pt x="184" y="60"/>
                      <a:pt x="184" y="60"/>
                    </a:cubicBezTo>
                    <a:cubicBezTo>
                      <a:pt x="184" y="60"/>
                      <a:pt x="180" y="61"/>
                      <a:pt x="179" y="59"/>
                    </a:cubicBezTo>
                    <a:cubicBezTo>
                      <a:pt x="178" y="58"/>
                      <a:pt x="180" y="52"/>
                      <a:pt x="180" y="52"/>
                    </a:cubicBezTo>
                    <a:cubicBezTo>
                      <a:pt x="164" y="49"/>
                      <a:pt x="164" y="49"/>
                      <a:pt x="164" y="49"/>
                    </a:cubicBezTo>
                    <a:cubicBezTo>
                      <a:pt x="164" y="49"/>
                      <a:pt x="162" y="48"/>
                      <a:pt x="160" y="46"/>
                    </a:cubicBezTo>
                    <a:cubicBezTo>
                      <a:pt x="158" y="43"/>
                      <a:pt x="162" y="39"/>
                      <a:pt x="162" y="39"/>
                    </a:cubicBezTo>
                    <a:cubicBezTo>
                      <a:pt x="162" y="39"/>
                      <a:pt x="172" y="29"/>
                      <a:pt x="172" y="26"/>
                    </a:cubicBezTo>
                    <a:cubicBezTo>
                      <a:pt x="172" y="18"/>
                      <a:pt x="172" y="18"/>
                      <a:pt x="172" y="18"/>
                    </a:cubicBezTo>
                    <a:cubicBezTo>
                      <a:pt x="165" y="17"/>
                      <a:pt x="165" y="14"/>
                      <a:pt x="158" y="12"/>
                    </a:cubicBezTo>
                    <a:cubicBezTo>
                      <a:pt x="155" y="11"/>
                      <a:pt x="151" y="10"/>
                      <a:pt x="148" y="9"/>
                    </a:cubicBezTo>
                    <a:cubicBezTo>
                      <a:pt x="145" y="8"/>
                      <a:pt x="141" y="11"/>
                      <a:pt x="140" y="11"/>
                    </a:cubicBezTo>
                    <a:cubicBezTo>
                      <a:pt x="138" y="10"/>
                      <a:pt x="137" y="7"/>
                      <a:pt x="135" y="4"/>
                    </a:cubicBezTo>
                    <a:cubicBezTo>
                      <a:pt x="135" y="5"/>
                      <a:pt x="135" y="8"/>
                      <a:pt x="134" y="9"/>
                    </a:cubicBezTo>
                    <a:cubicBezTo>
                      <a:pt x="132" y="5"/>
                      <a:pt x="131" y="0"/>
                      <a:pt x="128" y="2"/>
                    </a:cubicBezTo>
                    <a:cubicBezTo>
                      <a:pt x="127" y="0"/>
                      <a:pt x="125" y="1"/>
                      <a:pt x="125" y="1"/>
                    </a:cubicBezTo>
                    <a:cubicBezTo>
                      <a:pt x="123" y="2"/>
                      <a:pt x="117" y="4"/>
                      <a:pt x="118" y="8"/>
                    </a:cubicBezTo>
                    <a:cubicBezTo>
                      <a:pt x="118" y="11"/>
                      <a:pt x="120" y="9"/>
                      <a:pt x="122" y="10"/>
                    </a:cubicBezTo>
                    <a:cubicBezTo>
                      <a:pt x="123" y="11"/>
                      <a:pt x="132" y="9"/>
                      <a:pt x="125" y="14"/>
                    </a:cubicBezTo>
                    <a:cubicBezTo>
                      <a:pt x="124" y="11"/>
                      <a:pt x="122" y="12"/>
                      <a:pt x="122" y="15"/>
                    </a:cubicBezTo>
                    <a:cubicBezTo>
                      <a:pt x="116" y="17"/>
                      <a:pt x="115" y="13"/>
                      <a:pt x="112" y="13"/>
                    </a:cubicBezTo>
                    <a:cubicBezTo>
                      <a:pt x="107" y="12"/>
                      <a:pt x="105" y="18"/>
                      <a:pt x="101" y="16"/>
                    </a:cubicBezTo>
                    <a:cubicBezTo>
                      <a:pt x="91" y="12"/>
                      <a:pt x="86" y="18"/>
                      <a:pt x="83" y="15"/>
                    </a:cubicBezTo>
                    <a:cubicBezTo>
                      <a:pt x="83" y="14"/>
                      <a:pt x="84" y="14"/>
                      <a:pt x="85" y="14"/>
                    </a:cubicBezTo>
                    <a:cubicBezTo>
                      <a:pt x="84" y="14"/>
                      <a:pt x="82" y="13"/>
                      <a:pt x="81" y="13"/>
                    </a:cubicBezTo>
                    <a:cubicBezTo>
                      <a:pt x="80" y="12"/>
                      <a:pt x="80" y="12"/>
                      <a:pt x="80" y="11"/>
                    </a:cubicBezTo>
                    <a:cubicBezTo>
                      <a:pt x="73" y="16"/>
                      <a:pt x="73" y="16"/>
                      <a:pt x="73" y="16"/>
                    </a:cubicBezTo>
                    <a:cubicBezTo>
                      <a:pt x="73" y="19"/>
                      <a:pt x="73" y="19"/>
                      <a:pt x="73" y="19"/>
                    </a:cubicBezTo>
                    <a:cubicBezTo>
                      <a:pt x="73" y="19"/>
                      <a:pt x="65" y="24"/>
                      <a:pt x="61" y="24"/>
                    </a:cubicBezTo>
                    <a:cubicBezTo>
                      <a:pt x="57" y="23"/>
                      <a:pt x="58" y="16"/>
                      <a:pt x="52" y="16"/>
                    </a:cubicBezTo>
                    <a:cubicBezTo>
                      <a:pt x="48" y="15"/>
                      <a:pt x="46" y="27"/>
                      <a:pt x="46" y="27"/>
                    </a:cubicBezTo>
                    <a:cubicBezTo>
                      <a:pt x="51" y="28"/>
                      <a:pt x="51" y="28"/>
                      <a:pt x="51" y="28"/>
                    </a:cubicBezTo>
                    <a:cubicBezTo>
                      <a:pt x="51" y="28"/>
                      <a:pt x="39" y="44"/>
                      <a:pt x="35" y="47"/>
                    </a:cubicBezTo>
                    <a:cubicBezTo>
                      <a:pt x="32" y="50"/>
                      <a:pt x="28" y="49"/>
                      <a:pt x="25" y="51"/>
                    </a:cubicBezTo>
                    <a:cubicBezTo>
                      <a:pt x="23" y="52"/>
                      <a:pt x="26" y="58"/>
                      <a:pt x="24" y="64"/>
                    </a:cubicBezTo>
                    <a:cubicBezTo>
                      <a:pt x="22" y="70"/>
                      <a:pt x="11" y="73"/>
                      <a:pt x="7" y="79"/>
                    </a:cubicBezTo>
                    <a:cubicBezTo>
                      <a:pt x="2" y="87"/>
                      <a:pt x="9" y="90"/>
                      <a:pt x="9" y="90"/>
                    </a:cubicBezTo>
                    <a:cubicBezTo>
                      <a:pt x="4" y="97"/>
                      <a:pt x="4" y="97"/>
                      <a:pt x="4" y="97"/>
                    </a:cubicBezTo>
                    <a:cubicBezTo>
                      <a:pt x="0" y="97"/>
                      <a:pt x="0" y="97"/>
                      <a:pt x="0" y="97"/>
                    </a:cubicBezTo>
                    <a:cubicBezTo>
                      <a:pt x="1" y="103"/>
                      <a:pt x="1" y="103"/>
                      <a:pt x="1" y="103"/>
                    </a:cubicBezTo>
                    <a:cubicBezTo>
                      <a:pt x="8" y="103"/>
                      <a:pt x="8" y="103"/>
                      <a:pt x="8" y="103"/>
                    </a:cubicBezTo>
                    <a:cubicBezTo>
                      <a:pt x="14" y="96"/>
                      <a:pt x="14" y="96"/>
                      <a:pt x="14" y="96"/>
                    </a:cubicBezTo>
                    <a:cubicBezTo>
                      <a:pt x="14" y="96"/>
                      <a:pt x="12" y="95"/>
                      <a:pt x="12" y="93"/>
                    </a:cubicBezTo>
                    <a:cubicBezTo>
                      <a:pt x="12" y="90"/>
                      <a:pt x="17" y="84"/>
                      <a:pt x="26" y="83"/>
                    </a:cubicBezTo>
                    <a:cubicBezTo>
                      <a:pt x="34" y="82"/>
                      <a:pt x="40" y="87"/>
                      <a:pt x="40" y="87"/>
                    </a:cubicBezTo>
                    <a:cubicBezTo>
                      <a:pt x="39" y="92"/>
                      <a:pt x="39" y="92"/>
                      <a:pt x="39" y="92"/>
                    </a:cubicBezTo>
                    <a:cubicBezTo>
                      <a:pt x="39" y="92"/>
                      <a:pt x="42" y="94"/>
                      <a:pt x="41" y="98"/>
                    </a:cubicBezTo>
                    <a:cubicBezTo>
                      <a:pt x="40" y="103"/>
                      <a:pt x="37" y="107"/>
                      <a:pt x="37" y="107"/>
                    </a:cubicBezTo>
                    <a:cubicBezTo>
                      <a:pt x="41" y="107"/>
                      <a:pt x="41" y="107"/>
                      <a:pt x="41" y="107"/>
                    </a:cubicBezTo>
                    <a:cubicBezTo>
                      <a:pt x="42" y="110"/>
                      <a:pt x="42" y="110"/>
                      <a:pt x="42" y="110"/>
                    </a:cubicBezTo>
                    <a:cubicBezTo>
                      <a:pt x="42" y="110"/>
                      <a:pt x="48" y="112"/>
                      <a:pt x="48" y="120"/>
                    </a:cubicBezTo>
                    <a:cubicBezTo>
                      <a:pt x="48" y="122"/>
                      <a:pt x="48" y="122"/>
                      <a:pt x="48" y="122"/>
                    </a:cubicBezTo>
                    <a:cubicBezTo>
                      <a:pt x="48" y="123"/>
                      <a:pt x="50" y="124"/>
                      <a:pt x="52" y="124"/>
                    </a:cubicBezTo>
                    <a:cubicBezTo>
                      <a:pt x="57" y="123"/>
                      <a:pt x="57" y="120"/>
                      <a:pt x="58" y="120"/>
                    </a:cubicBezTo>
                    <a:cubicBezTo>
                      <a:pt x="60" y="121"/>
                      <a:pt x="61" y="122"/>
                      <a:pt x="64" y="121"/>
                    </a:cubicBezTo>
                    <a:cubicBezTo>
                      <a:pt x="67" y="121"/>
                      <a:pt x="68" y="116"/>
                      <a:pt x="71" y="116"/>
                    </a:cubicBezTo>
                    <a:cubicBezTo>
                      <a:pt x="72" y="116"/>
                      <a:pt x="79" y="122"/>
                      <a:pt x="82" y="122"/>
                    </a:cubicBezTo>
                    <a:cubicBezTo>
                      <a:pt x="86" y="122"/>
                      <a:pt x="85" y="118"/>
                      <a:pt x="86" y="118"/>
                    </a:cubicBezTo>
                    <a:cubicBezTo>
                      <a:pt x="88" y="118"/>
                      <a:pt x="91" y="118"/>
                      <a:pt x="92" y="116"/>
                    </a:cubicBezTo>
                    <a:cubicBezTo>
                      <a:pt x="93" y="115"/>
                      <a:pt x="92" y="112"/>
                      <a:pt x="94" y="111"/>
                    </a:cubicBezTo>
                    <a:cubicBezTo>
                      <a:pt x="97" y="110"/>
                      <a:pt x="100" y="107"/>
                      <a:pt x="100" y="107"/>
                    </a:cubicBezTo>
                    <a:cubicBezTo>
                      <a:pt x="97" y="99"/>
                      <a:pt x="97" y="99"/>
                      <a:pt x="97" y="99"/>
                    </a:cubicBezTo>
                    <a:cubicBezTo>
                      <a:pt x="99" y="96"/>
                      <a:pt x="99" y="96"/>
                      <a:pt x="99" y="96"/>
                    </a:cubicBezTo>
                    <a:cubicBezTo>
                      <a:pt x="101" y="97"/>
                      <a:pt x="101" y="97"/>
                      <a:pt x="101" y="97"/>
                    </a:cubicBezTo>
                    <a:cubicBezTo>
                      <a:pt x="107" y="93"/>
                      <a:pt x="107" y="93"/>
                      <a:pt x="107" y="93"/>
                    </a:cubicBezTo>
                    <a:cubicBezTo>
                      <a:pt x="105" y="90"/>
                      <a:pt x="105" y="90"/>
                      <a:pt x="105" y="90"/>
                    </a:cubicBezTo>
                    <a:cubicBezTo>
                      <a:pt x="112" y="88"/>
                      <a:pt x="112" y="88"/>
                      <a:pt x="112" y="88"/>
                    </a:cubicBezTo>
                    <a:cubicBezTo>
                      <a:pt x="116" y="90"/>
                      <a:pt x="116" y="90"/>
                      <a:pt x="116" y="90"/>
                    </a:cubicBezTo>
                    <a:cubicBezTo>
                      <a:pt x="116" y="90"/>
                      <a:pt x="110" y="96"/>
                      <a:pt x="112" y="99"/>
                    </a:cubicBezTo>
                    <a:cubicBezTo>
                      <a:pt x="114" y="103"/>
                      <a:pt x="118" y="104"/>
                      <a:pt x="118" y="105"/>
                    </a:cubicBezTo>
                    <a:cubicBezTo>
                      <a:pt x="118" y="106"/>
                      <a:pt x="117" y="108"/>
                      <a:pt x="121" y="110"/>
                    </a:cubicBezTo>
                    <a:cubicBezTo>
                      <a:pt x="124" y="112"/>
                      <a:pt x="129" y="111"/>
                      <a:pt x="129" y="111"/>
                    </a:cubicBezTo>
                    <a:cubicBezTo>
                      <a:pt x="132" y="114"/>
                      <a:pt x="132" y="114"/>
                      <a:pt x="132" y="114"/>
                    </a:cubicBezTo>
                    <a:cubicBezTo>
                      <a:pt x="129" y="116"/>
                      <a:pt x="129" y="116"/>
                      <a:pt x="129" y="116"/>
                    </a:cubicBezTo>
                    <a:cubicBezTo>
                      <a:pt x="131" y="119"/>
                      <a:pt x="131" y="119"/>
                      <a:pt x="131" y="119"/>
                    </a:cubicBezTo>
                    <a:cubicBezTo>
                      <a:pt x="135" y="128"/>
                      <a:pt x="135" y="128"/>
                      <a:pt x="135" y="128"/>
                    </a:cubicBezTo>
                    <a:cubicBezTo>
                      <a:pt x="139" y="129"/>
                      <a:pt x="139" y="129"/>
                      <a:pt x="139" y="129"/>
                    </a:cubicBezTo>
                    <a:cubicBezTo>
                      <a:pt x="140" y="124"/>
                      <a:pt x="140" y="124"/>
                      <a:pt x="140" y="124"/>
                    </a:cubicBezTo>
                    <a:cubicBezTo>
                      <a:pt x="138" y="122"/>
                      <a:pt x="138" y="122"/>
                      <a:pt x="138" y="122"/>
                    </a:cubicBezTo>
                    <a:cubicBezTo>
                      <a:pt x="137" y="118"/>
                      <a:pt x="137" y="118"/>
                      <a:pt x="137" y="118"/>
                    </a:cubicBezTo>
                    <a:cubicBezTo>
                      <a:pt x="141" y="114"/>
                      <a:pt x="141" y="114"/>
                      <a:pt x="141" y="114"/>
                    </a:cubicBezTo>
                    <a:cubicBezTo>
                      <a:pt x="142" y="111"/>
                      <a:pt x="142" y="111"/>
                      <a:pt x="142" y="111"/>
                    </a:cubicBezTo>
                    <a:cubicBezTo>
                      <a:pt x="142" y="111"/>
                      <a:pt x="148" y="107"/>
                      <a:pt x="150" y="102"/>
                    </a:cubicBezTo>
                    <a:cubicBezTo>
                      <a:pt x="153" y="96"/>
                      <a:pt x="153" y="93"/>
                      <a:pt x="153" y="93"/>
                    </a:cubicBezTo>
                    <a:cubicBezTo>
                      <a:pt x="150" y="91"/>
                      <a:pt x="150" y="91"/>
                      <a:pt x="150" y="91"/>
                    </a:cubicBezTo>
                    <a:cubicBezTo>
                      <a:pt x="153" y="86"/>
                      <a:pt x="153" y="86"/>
                      <a:pt x="153" y="86"/>
                    </a:cubicBezTo>
                    <a:cubicBezTo>
                      <a:pt x="157" y="88"/>
                      <a:pt x="157" y="88"/>
                      <a:pt x="157" y="88"/>
                    </a:cubicBezTo>
                    <a:cubicBezTo>
                      <a:pt x="160" y="86"/>
                      <a:pt x="160" y="86"/>
                      <a:pt x="160" y="86"/>
                    </a:cubicBezTo>
                    <a:cubicBezTo>
                      <a:pt x="160" y="86"/>
                      <a:pt x="159" y="96"/>
                      <a:pt x="164" y="99"/>
                    </a:cubicBezTo>
                    <a:cubicBezTo>
                      <a:pt x="170" y="102"/>
                      <a:pt x="173" y="97"/>
                      <a:pt x="173" y="97"/>
                    </a:cubicBezTo>
                    <a:cubicBezTo>
                      <a:pt x="182" y="95"/>
                      <a:pt x="182" y="95"/>
                      <a:pt x="182" y="95"/>
                    </a:cubicBezTo>
                    <a:cubicBezTo>
                      <a:pt x="184" y="99"/>
                      <a:pt x="184" y="99"/>
                      <a:pt x="184" y="99"/>
                    </a:cubicBezTo>
                    <a:cubicBezTo>
                      <a:pt x="187" y="103"/>
                      <a:pt x="187" y="103"/>
                      <a:pt x="187" y="103"/>
                    </a:cubicBezTo>
                    <a:cubicBezTo>
                      <a:pt x="188" y="105"/>
                      <a:pt x="188" y="105"/>
                      <a:pt x="188" y="105"/>
                    </a:cubicBezTo>
                    <a:cubicBezTo>
                      <a:pt x="190" y="105"/>
                      <a:pt x="190" y="105"/>
                      <a:pt x="190" y="105"/>
                    </a:cubicBezTo>
                    <a:cubicBezTo>
                      <a:pt x="190" y="98"/>
                      <a:pt x="190" y="98"/>
                      <a:pt x="190" y="98"/>
                    </a:cubicBezTo>
                    <a:cubicBezTo>
                      <a:pt x="193" y="93"/>
                      <a:pt x="193" y="93"/>
                      <a:pt x="193" y="93"/>
                    </a:cubicBezTo>
                    <a:cubicBezTo>
                      <a:pt x="191" y="92"/>
                      <a:pt x="191" y="92"/>
                      <a:pt x="191" y="92"/>
                    </a:cubicBezTo>
                    <a:cubicBezTo>
                      <a:pt x="188" y="92"/>
                      <a:pt x="188" y="92"/>
                      <a:pt x="188" y="92"/>
                    </a:cubicBezTo>
                    <a:cubicBezTo>
                      <a:pt x="188" y="92"/>
                      <a:pt x="182" y="88"/>
                      <a:pt x="188" y="82"/>
                    </a:cubicBezTo>
                    <a:cubicBezTo>
                      <a:pt x="194" y="76"/>
                      <a:pt x="196" y="77"/>
                      <a:pt x="196" y="77"/>
                    </a:cubicBezTo>
                    <a:cubicBezTo>
                      <a:pt x="197" y="83"/>
                      <a:pt x="197" y="83"/>
                      <a:pt x="197" y="83"/>
                    </a:cubicBezTo>
                    <a:cubicBezTo>
                      <a:pt x="207" y="86"/>
                      <a:pt x="207" y="86"/>
                      <a:pt x="207" y="86"/>
                    </a:cubicBezTo>
                    <a:cubicBezTo>
                      <a:pt x="207" y="79"/>
                      <a:pt x="207" y="79"/>
                      <a:pt x="207" y="79"/>
                    </a:cubicBezTo>
                    <a:lnTo>
                      <a:pt x="204" y="79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46" name="Sweden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4957763" y="1476375"/>
                <a:ext cx="779462" cy="1914525"/>
              </a:xfrm>
              <a:custGeom>
                <a:avLst/>
                <a:gdLst/>
                <a:ahLst/>
                <a:cxnLst>
                  <a:cxn ang="0">
                    <a:pos x="336" y="111"/>
                  </a:cxn>
                  <a:cxn ang="0">
                    <a:pos x="305" y="38"/>
                  </a:cxn>
                  <a:cxn ang="0">
                    <a:pos x="247" y="2"/>
                  </a:cxn>
                  <a:cxn ang="0">
                    <a:pos x="194" y="36"/>
                  </a:cxn>
                  <a:cxn ang="0">
                    <a:pos x="136" y="151"/>
                  </a:cxn>
                  <a:cxn ang="0">
                    <a:pos x="98" y="268"/>
                  </a:cxn>
                  <a:cxn ang="0">
                    <a:pos x="33" y="410"/>
                  </a:cxn>
                  <a:cxn ang="0">
                    <a:pos x="41" y="538"/>
                  </a:cxn>
                  <a:cxn ang="0">
                    <a:pos x="12" y="671"/>
                  </a:cxn>
                  <a:cxn ang="0">
                    <a:pos x="9" y="707"/>
                  </a:cxn>
                  <a:cxn ang="0">
                    <a:pos x="18" y="737"/>
                  </a:cxn>
                  <a:cxn ang="0">
                    <a:pos x="37" y="779"/>
                  </a:cxn>
                  <a:cxn ang="0">
                    <a:pos x="52" y="826"/>
                  </a:cxn>
                  <a:cxn ang="0">
                    <a:pos x="64" y="871"/>
                  </a:cxn>
                  <a:cxn ang="0">
                    <a:pos x="106" y="895"/>
                  </a:cxn>
                  <a:cxn ang="0">
                    <a:pos x="172" y="847"/>
                  </a:cxn>
                  <a:cxn ang="0">
                    <a:pos x="197" y="756"/>
                  </a:cxn>
                  <a:cxn ang="0">
                    <a:pos x="196" y="719"/>
                  </a:cxn>
                  <a:cxn ang="0">
                    <a:pos x="192" y="677"/>
                  </a:cxn>
                  <a:cxn ang="0">
                    <a:pos x="226" y="648"/>
                  </a:cxn>
                  <a:cxn ang="0">
                    <a:pos x="237" y="628"/>
                  </a:cxn>
                  <a:cxn ang="0">
                    <a:pos x="267" y="592"/>
                  </a:cxn>
                  <a:cxn ang="0">
                    <a:pos x="216" y="557"/>
                  </a:cxn>
                  <a:cxn ang="0">
                    <a:pos x="193" y="502"/>
                  </a:cxn>
                  <a:cxn ang="0">
                    <a:pos x="201" y="450"/>
                  </a:cxn>
                  <a:cxn ang="0">
                    <a:pos x="207" y="432"/>
                  </a:cxn>
                  <a:cxn ang="0">
                    <a:pos x="225" y="405"/>
                  </a:cxn>
                  <a:cxn ang="0">
                    <a:pos x="233" y="375"/>
                  </a:cxn>
                  <a:cxn ang="0">
                    <a:pos x="262" y="357"/>
                  </a:cxn>
                  <a:cxn ang="0">
                    <a:pos x="290" y="333"/>
                  </a:cxn>
                  <a:cxn ang="0">
                    <a:pos x="309" y="283"/>
                  </a:cxn>
                  <a:cxn ang="0">
                    <a:pos x="307" y="221"/>
                  </a:cxn>
                  <a:cxn ang="0">
                    <a:pos x="329" y="199"/>
                  </a:cxn>
                  <a:cxn ang="0">
                    <a:pos x="365" y="195"/>
                  </a:cxn>
                  <a:cxn ang="0">
                    <a:pos x="14" y="718"/>
                  </a:cxn>
                  <a:cxn ang="0">
                    <a:pos x="207" y="765"/>
                  </a:cxn>
                  <a:cxn ang="0">
                    <a:pos x="190" y="816"/>
                  </a:cxn>
                  <a:cxn ang="0">
                    <a:pos x="208" y="788"/>
                  </a:cxn>
                  <a:cxn ang="0">
                    <a:pos x="277" y="731"/>
                  </a:cxn>
                  <a:cxn ang="0">
                    <a:pos x="248" y="746"/>
                  </a:cxn>
                  <a:cxn ang="0">
                    <a:pos x="253" y="787"/>
                  </a:cxn>
                  <a:cxn ang="0">
                    <a:pos x="277" y="750"/>
                  </a:cxn>
                  <a:cxn ang="0">
                    <a:pos x="281" y="712"/>
                  </a:cxn>
                  <a:cxn ang="0">
                    <a:pos x="281" y="689"/>
                  </a:cxn>
                  <a:cxn ang="0">
                    <a:pos x="243" y="630"/>
                  </a:cxn>
                  <a:cxn ang="0">
                    <a:pos x="258" y="630"/>
                  </a:cxn>
                  <a:cxn ang="0">
                    <a:pos x="247" y="656"/>
                  </a:cxn>
                  <a:cxn ang="0">
                    <a:pos x="251" y="636"/>
                  </a:cxn>
                  <a:cxn ang="0">
                    <a:pos x="241" y="554"/>
                  </a:cxn>
                  <a:cxn ang="0">
                    <a:pos x="256" y="573"/>
                  </a:cxn>
                  <a:cxn ang="0">
                    <a:pos x="195" y="740"/>
                  </a:cxn>
                  <a:cxn ang="0">
                    <a:pos x="205" y="485"/>
                  </a:cxn>
                  <a:cxn ang="0">
                    <a:pos x="214" y="425"/>
                  </a:cxn>
                  <a:cxn ang="0">
                    <a:pos x="294" y="343"/>
                  </a:cxn>
                  <a:cxn ang="0">
                    <a:pos x="307" y="241"/>
                  </a:cxn>
                  <a:cxn ang="0">
                    <a:pos x="312" y="222"/>
                  </a:cxn>
                  <a:cxn ang="0">
                    <a:pos x="325" y="217"/>
                  </a:cxn>
                  <a:cxn ang="0">
                    <a:pos x="356" y="200"/>
                  </a:cxn>
                </a:cxnLst>
                <a:rect l="0" t="0" r="r" b="b"/>
                <a:pathLst>
                  <a:path w="365" h="899">
                    <a:moveTo>
                      <a:pt x="364" y="188"/>
                    </a:moveTo>
                    <a:cubicBezTo>
                      <a:pt x="364" y="188"/>
                      <a:pt x="359" y="186"/>
                      <a:pt x="358" y="182"/>
                    </a:cubicBezTo>
                    <a:cubicBezTo>
                      <a:pt x="357" y="178"/>
                      <a:pt x="358" y="175"/>
                      <a:pt x="356" y="173"/>
                    </a:cubicBezTo>
                    <a:cubicBezTo>
                      <a:pt x="354" y="172"/>
                      <a:pt x="347" y="171"/>
                      <a:pt x="347" y="167"/>
                    </a:cubicBezTo>
                    <a:cubicBezTo>
                      <a:pt x="348" y="161"/>
                      <a:pt x="348" y="160"/>
                      <a:pt x="348" y="160"/>
                    </a:cubicBezTo>
                    <a:cubicBezTo>
                      <a:pt x="348" y="160"/>
                      <a:pt x="343" y="159"/>
                      <a:pt x="345" y="155"/>
                    </a:cubicBezTo>
                    <a:cubicBezTo>
                      <a:pt x="348" y="150"/>
                      <a:pt x="353" y="147"/>
                      <a:pt x="352" y="144"/>
                    </a:cubicBezTo>
                    <a:cubicBezTo>
                      <a:pt x="350" y="140"/>
                      <a:pt x="348" y="136"/>
                      <a:pt x="348" y="136"/>
                    </a:cubicBezTo>
                    <a:cubicBezTo>
                      <a:pt x="348" y="136"/>
                      <a:pt x="349" y="129"/>
                      <a:pt x="347" y="125"/>
                    </a:cubicBezTo>
                    <a:cubicBezTo>
                      <a:pt x="345" y="122"/>
                      <a:pt x="336" y="117"/>
                      <a:pt x="336" y="111"/>
                    </a:cubicBezTo>
                    <a:cubicBezTo>
                      <a:pt x="336" y="106"/>
                      <a:pt x="337" y="104"/>
                      <a:pt x="337" y="104"/>
                    </a:cubicBezTo>
                    <a:cubicBezTo>
                      <a:pt x="340" y="101"/>
                      <a:pt x="340" y="101"/>
                      <a:pt x="340" y="101"/>
                    </a:cubicBezTo>
                    <a:cubicBezTo>
                      <a:pt x="339" y="95"/>
                      <a:pt x="339" y="95"/>
                      <a:pt x="339" y="95"/>
                    </a:cubicBezTo>
                    <a:cubicBezTo>
                      <a:pt x="328" y="93"/>
                      <a:pt x="328" y="93"/>
                      <a:pt x="328" y="93"/>
                    </a:cubicBezTo>
                    <a:cubicBezTo>
                      <a:pt x="328" y="93"/>
                      <a:pt x="330" y="87"/>
                      <a:pt x="328" y="81"/>
                    </a:cubicBezTo>
                    <a:cubicBezTo>
                      <a:pt x="327" y="77"/>
                      <a:pt x="325" y="74"/>
                      <a:pt x="326" y="69"/>
                    </a:cubicBezTo>
                    <a:cubicBezTo>
                      <a:pt x="327" y="65"/>
                      <a:pt x="332" y="65"/>
                      <a:pt x="330" y="62"/>
                    </a:cubicBezTo>
                    <a:cubicBezTo>
                      <a:pt x="328" y="59"/>
                      <a:pt x="319" y="50"/>
                      <a:pt x="319" y="50"/>
                    </a:cubicBezTo>
                    <a:cubicBezTo>
                      <a:pt x="315" y="53"/>
                      <a:pt x="315" y="53"/>
                      <a:pt x="315" y="53"/>
                    </a:cubicBezTo>
                    <a:cubicBezTo>
                      <a:pt x="315" y="53"/>
                      <a:pt x="314" y="43"/>
                      <a:pt x="305" y="38"/>
                    </a:cubicBezTo>
                    <a:cubicBezTo>
                      <a:pt x="295" y="33"/>
                      <a:pt x="282" y="31"/>
                      <a:pt x="282" y="31"/>
                    </a:cubicBezTo>
                    <a:cubicBezTo>
                      <a:pt x="278" y="27"/>
                      <a:pt x="278" y="27"/>
                      <a:pt x="278" y="27"/>
                    </a:cubicBezTo>
                    <a:cubicBezTo>
                      <a:pt x="274" y="27"/>
                      <a:pt x="274" y="27"/>
                      <a:pt x="274" y="27"/>
                    </a:cubicBezTo>
                    <a:cubicBezTo>
                      <a:pt x="272" y="24"/>
                      <a:pt x="272" y="24"/>
                      <a:pt x="272" y="24"/>
                    </a:cubicBezTo>
                    <a:cubicBezTo>
                      <a:pt x="267" y="22"/>
                      <a:pt x="267" y="22"/>
                      <a:pt x="267" y="22"/>
                    </a:cubicBezTo>
                    <a:cubicBezTo>
                      <a:pt x="265" y="15"/>
                      <a:pt x="265" y="15"/>
                      <a:pt x="265" y="15"/>
                    </a:cubicBezTo>
                    <a:cubicBezTo>
                      <a:pt x="261" y="15"/>
                      <a:pt x="261" y="15"/>
                      <a:pt x="261" y="15"/>
                    </a:cubicBezTo>
                    <a:cubicBezTo>
                      <a:pt x="251" y="11"/>
                      <a:pt x="251" y="11"/>
                      <a:pt x="251" y="11"/>
                    </a:cubicBezTo>
                    <a:cubicBezTo>
                      <a:pt x="250" y="5"/>
                      <a:pt x="250" y="5"/>
                      <a:pt x="250" y="5"/>
                    </a:cubicBezTo>
                    <a:cubicBezTo>
                      <a:pt x="247" y="2"/>
                      <a:pt x="247" y="2"/>
                      <a:pt x="247" y="2"/>
                    </a:cubicBezTo>
                    <a:cubicBezTo>
                      <a:pt x="242" y="2"/>
                      <a:pt x="242" y="2"/>
                      <a:pt x="242" y="2"/>
                    </a:cubicBezTo>
                    <a:cubicBezTo>
                      <a:pt x="242" y="0"/>
                      <a:pt x="242" y="0"/>
                      <a:pt x="242" y="0"/>
                    </a:cubicBezTo>
                    <a:cubicBezTo>
                      <a:pt x="230" y="2"/>
                      <a:pt x="230" y="2"/>
                      <a:pt x="230" y="2"/>
                    </a:cubicBezTo>
                    <a:cubicBezTo>
                      <a:pt x="230" y="2"/>
                      <a:pt x="237" y="11"/>
                      <a:pt x="238" y="17"/>
                    </a:cubicBezTo>
                    <a:cubicBezTo>
                      <a:pt x="239" y="25"/>
                      <a:pt x="231" y="34"/>
                      <a:pt x="231" y="34"/>
                    </a:cubicBezTo>
                    <a:cubicBezTo>
                      <a:pt x="239" y="38"/>
                      <a:pt x="239" y="38"/>
                      <a:pt x="239" y="38"/>
                    </a:cubicBezTo>
                    <a:cubicBezTo>
                      <a:pt x="232" y="48"/>
                      <a:pt x="232" y="48"/>
                      <a:pt x="232" y="48"/>
                    </a:cubicBezTo>
                    <a:cubicBezTo>
                      <a:pt x="210" y="38"/>
                      <a:pt x="210" y="38"/>
                      <a:pt x="210" y="38"/>
                    </a:cubicBezTo>
                    <a:cubicBezTo>
                      <a:pt x="198" y="41"/>
                      <a:pt x="198" y="41"/>
                      <a:pt x="198" y="41"/>
                    </a:cubicBezTo>
                    <a:cubicBezTo>
                      <a:pt x="194" y="36"/>
                      <a:pt x="194" y="36"/>
                      <a:pt x="194" y="36"/>
                    </a:cubicBezTo>
                    <a:cubicBezTo>
                      <a:pt x="186" y="41"/>
                      <a:pt x="186" y="41"/>
                      <a:pt x="186" y="41"/>
                    </a:cubicBezTo>
                    <a:cubicBezTo>
                      <a:pt x="186" y="41"/>
                      <a:pt x="189" y="56"/>
                      <a:pt x="188" y="61"/>
                    </a:cubicBezTo>
                    <a:cubicBezTo>
                      <a:pt x="186" y="66"/>
                      <a:pt x="183" y="77"/>
                      <a:pt x="183" y="77"/>
                    </a:cubicBezTo>
                    <a:cubicBezTo>
                      <a:pt x="167" y="69"/>
                      <a:pt x="167" y="69"/>
                      <a:pt x="167" y="69"/>
                    </a:cubicBezTo>
                    <a:cubicBezTo>
                      <a:pt x="153" y="84"/>
                      <a:pt x="153" y="84"/>
                      <a:pt x="153" y="84"/>
                    </a:cubicBezTo>
                    <a:cubicBezTo>
                      <a:pt x="153" y="84"/>
                      <a:pt x="149" y="101"/>
                      <a:pt x="149" y="106"/>
                    </a:cubicBezTo>
                    <a:cubicBezTo>
                      <a:pt x="148" y="111"/>
                      <a:pt x="140" y="109"/>
                      <a:pt x="140" y="109"/>
                    </a:cubicBezTo>
                    <a:cubicBezTo>
                      <a:pt x="140" y="116"/>
                      <a:pt x="140" y="116"/>
                      <a:pt x="140" y="116"/>
                    </a:cubicBezTo>
                    <a:cubicBezTo>
                      <a:pt x="140" y="116"/>
                      <a:pt x="147" y="127"/>
                      <a:pt x="148" y="135"/>
                    </a:cubicBezTo>
                    <a:cubicBezTo>
                      <a:pt x="150" y="141"/>
                      <a:pt x="144" y="143"/>
                      <a:pt x="136" y="151"/>
                    </a:cubicBezTo>
                    <a:cubicBezTo>
                      <a:pt x="130" y="157"/>
                      <a:pt x="132" y="162"/>
                      <a:pt x="130" y="169"/>
                    </a:cubicBezTo>
                    <a:cubicBezTo>
                      <a:pt x="128" y="175"/>
                      <a:pt x="123" y="176"/>
                      <a:pt x="123" y="176"/>
                    </a:cubicBezTo>
                    <a:cubicBezTo>
                      <a:pt x="126" y="189"/>
                      <a:pt x="126" y="189"/>
                      <a:pt x="126" y="189"/>
                    </a:cubicBezTo>
                    <a:cubicBezTo>
                      <a:pt x="113" y="199"/>
                      <a:pt x="113" y="199"/>
                      <a:pt x="113" y="199"/>
                    </a:cubicBezTo>
                    <a:cubicBezTo>
                      <a:pt x="100" y="201"/>
                      <a:pt x="100" y="201"/>
                      <a:pt x="100" y="201"/>
                    </a:cubicBezTo>
                    <a:cubicBezTo>
                      <a:pt x="104" y="221"/>
                      <a:pt x="104" y="221"/>
                      <a:pt x="104" y="221"/>
                    </a:cubicBezTo>
                    <a:cubicBezTo>
                      <a:pt x="102" y="233"/>
                      <a:pt x="102" y="233"/>
                      <a:pt x="102" y="233"/>
                    </a:cubicBezTo>
                    <a:cubicBezTo>
                      <a:pt x="103" y="253"/>
                      <a:pt x="103" y="253"/>
                      <a:pt x="103" y="253"/>
                    </a:cubicBezTo>
                    <a:cubicBezTo>
                      <a:pt x="99" y="258"/>
                      <a:pt x="99" y="258"/>
                      <a:pt x="99" y="258"/>
                    </a:cubicBezTo>
                    <a:cubicBezTo>
                      <a:pt x="98" y="268"/>
                      <a:pt x="98" y="268"/>
                      <a:pt x="98" y="268"/>
                    </a:cubicBezTo>
                    <a:cubicBezTo>
                      <a:pt x="79" y="300"/>
                      <a:pt x="79" y="300"/>
                      <a:pt x="79" y="300"/>
                    </a:cubicBezTo>
                    <a:cubicBezTo>
                      <a:pt x="93" y="310"/>
                      <a:pt x="93" y="310"/>
                      <a:pt x="93" y="310"/>
                    </a:cubicBezTo>
                    <a:cubicBezTo>
                      <a:pt x="94" y="325"/>
                      <a:pt x="94" y="325"/>
                      <a:pt x="94" y="325"/>
                    </a:cubicBezTo>
                    <a:cubicBezTo>
                      <a:pt x="89" y="337"/>
                      <a:pt x="89" y="337"/>
                      <a:pt x="89" y="337"/>
                    </a:cubicBezTo>
                    <a:cubicBezTo>
                      <a:pt x="89" y="337"/>
                      <a:pt x="69" y="331"/>
                      <a:pt x="59" y="334"/>
                    </a:cubicBezTo>
                    <a:cubicBezTo>
                      <a:pt x="47" y="337"/>
                      <a:pt x="35" y="365"/>
                      <a:pt x="35" y="365"/>
                    </a:cubicBezTo>
                    <a:cubicBezTo>
                      <a:pt x="38" y="374"/>
                      <a:pt x="38" y="374"/>
                      <a:pt x="38" y="374"/>
                    </a:cubicBezTo>
                    <a:cubicBezTo>
                      <a:pt x="30" y="385"/>
                      <a:pt x="30" y="385"/>
                      <a:pt x="30" y="385"/>
                    </a:cubicBezTo>
                    <a:cubicBezTo>
                      <a:pt x="37" y="404"/>
                      <a:pt x="37" y="404"/>
                      <a:pt x="37" y="404"/>
                    </a:cubicBezTo>
                    <a:cubicBezTo>
                      <a:pt x="33" y="410"/>
                      <a:pt x="33" y="410"/>
                      <a:pt x="33" y="410"/>
                    </a:cubicBezTo>
                    <a:cubicBezTo>
                      <a:pt x="36" y="421"/>
                      <a:pt x="36" y="421"/>
                      <a:pt x="36" y="421"/>
                    </a:cubicBezTo>
                    <a:cubicBezTo>
                      <a:pt x="33" y="429"/>
                      <a:pt x="33" y="429"/>
                      <a:pt x="33" y="429"/>
                    </a:cubicBezTo>
                    <a:cubicBezTo>
                      <a:pt x="41" y="452"/>
                      <a:pt x="41" y="452"/>
                      <a:pt x="41" y="452"/>
                    </a:cubicBezTo>
                    <a:cubicBezTo>
                      <a:pt x="35" y="487"/>
                      <a:pt x="35" y="487"/>
                      <a:pt x="35" y="487"/>
                    </a:cubicBezTo>
                    <a:cubicBezTo>
                      <a:pt x="45" y="497"/>
                      <a:pt x="45" y="497"/>
                      <a:pt x="45" y="497"/>
                    </a:cubicBezTo>
                    <a:cubicBezTo>
                      <a:pt x="45" y="497"/>
                      <a:pt x="50" y="500"/>
                      <a:pt x="54" y="503"/>
                    </a:cubicBezTo>
                    <a:cubicBezTo>
                      <a:pt x="58" y="507"/>
                      <a:pt x="59" y="511"/>
                      <a:pt x="55" y="523"/>
                    </a:cubicBezTo>
                    <a:cubicBezTo>
                      <a:pt x="53" y="535"/>
                      <a:pt x="45" y="529"/>
                      <a:pt x="45" y="529"/>
                    </a:cubicBezTo>
                    <a:cubicBezTo>
                      <a:pt x="36" y="532"/>
                      <a:pt x="36" y="532"/>
                      <a:pt x="36" y="532"/>
                    </a:cubicBezTo>
                    <a:cubicBezTo>
                      <a:pt x="41" y="538"/>
                      <a:pt x="41" y="538"/>
                      <a:pt x="41" y="538"/>
                    </a:cubicBezTo>
                    <a:cubicBezTo>
                      <a:pt x="43" y="547"/>
                      <a:pt x="43" y="547"/>
                      <a:pt x="43" y="547"/>
                    </a:cubicBezTo>
                    <a:cubicBezTo>
                      <a:pt x="43" y="547"/>
                      <a:pt x="49" y="561"/>
                      <a:pt x="51" y="568"/>
                    </a:cubicBezTo>
                    <a:cubicBezTo>
                      <a:pt x="54" y="576"/>
                      <a:pt x="46" y="572"/>
                      <a:pt x="45" y="577"/>
                    </a:cubicBezTo>
                    <a:cubicBezTo>
                      <a:pt x="44" y="581"/>
                      <a:pt x="48" y="584"/>
                      <a:pt x="45" y="597"/>
                    </a:cubicBezTo>
                    <a:cubicBezTo>
                      <a:pt x="41" y="609"/>
                      <a:pt x="30" y="603"/>
                      <a:pt x="26" y="607"/>
                    </a:cubicBezTo>
                    <a:cubicBezTo>
                      <a:pt x="21" y="610"/>
                      <a:pt x="28" y="611"/>
                      <a:pt x="27" y="616"/>
                    </a:cubicBezTo>
                    <a:cubicBezTo>
                      <a:pt x="27" y="620"/>
                      <a:pt x="21" y="619"/>
                      <a:pt x="19" y="623"/>
                    </a:cubicBezTo>
                    <a:cubicBezTo>
                      <a:pt x="16" y="625"/>
                      <a:pt x="25" y="643"/>
                      <a:pt x="25" y="643"/>
                    </a:cubicBezTo>
                    <a:cubicBezTo>
                      <a:pt x="25" y="643"/>
                      <a:pt x="21" y="651"/>
                      <a:pt x="19" y="658"/>
                    </a:cubicBezTo>
                    <a:cubicBezTo>
                      <a:pt x="17" y="665"/>
                      <a:pt x="16" y="671"/>
                      <a:pt x="12" y="671"/>
                    </a:cubicBezTo>
                    <a:cubicBezTo>
                      <a:pt x="8" y="671"/>
                      <a:pt x="11" y="662"/>
                      <a:pt x="10" y="657"/>
                    </a:cubicBezTo>
                    <a:cubicBezTo>
                      <a:pt x="9" y="652"/>
                      <a:pt x="1" y="657"/>
                      <a:pt x="1" y="657"/>
                    </a:cubicBezTo>
                    <a:cubicBezTo>
                      <a:pt x="0" y="664"/>
                      <a:pt x="0" y="664"/>
                      <a:pt x="0" y="664"/>
                    </a:cubicBezTo>
                    <a:cubicBezTo>
                      <a:pt x="0" y="664"/>
                      <a:pt x="3" y="668"/>
                      <a:pt x="3" y="673"/>
                    </a:cubicBezTo>
                    <a:cubicBezTo>
                      <a:pt x="3" y="676"/>
                      <a:pt x="0" y="679"/>
                      <a:pt x="0" y="679"/>
                    </a:cubicBezTo>
                    <a:cubicBezTo>
                      <a:pt x="0" y="679"/>
                      <a:pt x="5" y="693"/>
                      <a:pt x="5" y="696"/>
                    </a:cubicBezTo>
                    <a:cubicBezTo>
                      <a:pt x="5" y="699"/>
                      <a:pt x="1" y="699"/>
                      <a:pt x="1" y="699"/>
                    </a:cubicBezTo>
                    <a:cubicBezTo>
                      <a:pt x="2" y="703"/>
                      <a:pt x="2" y="703"/>
                      <a:pt x="2" y="703"/>
                    </a:cubicBezTo>
                    <a:cubicBezTo>
                      <a:pt x="2" y="703"/>
                      <a:pt x="6" y="700"/>
                      <a:pt x="9" y="702"/>
                    </a:cubicBezTo>
                    <a:cubicBezTo>
                      <a:pt x="10" y="703"/>
                      <a:pt x="9" y="707"/>
                      <a:pt x="9" y="707"/>
                    </a:cubicBezTo>
                    <a:cubicBezTo>
                      <a:pt x="11" y="707"/>
                      <a:pt x="11" y="707"/>
                      <a:pt x="11" y="707"/>
                    </a:cubicBezTo>
                    <a:cubicBezTo>
                      <a:pt x="14" y="697"/>
                      <a:pt x="14" y="697"/>
                      <a:pt x="14" y="697"/>
                    </a:cubicBezTo>
                    <a:cubicBezTo>
                      <a:pt x="17" y="700"/>
                      <a:pt x="17" y="700"/>
                      <a:pt x="17" y="700"/>
                    </a:cubicBezTo>
                    <a:cubicBezTo>
                      <a:pt x="10" y="710"/>
                      <a:pt x="10" y="710"/>
                      <a:pt x="10" y="710"/>
                    </a:cubicBezTo>
                    <a:cubicBezTo>
                      <a:pt x="10" y="712"/>
                      <a:pt x="10" y="712"/>
                      <a:pt x="10" y="712"/>
                    </a:cubicBezTo>
                    <a:cubicBezTo>
                      <a:pt x="25" y="704"/>
                      <a:pt x="25" y="704"/>
                      <a:pt x="25" y="704"/>
                    </a:cubicBezTo>
                    <a:cubicBezTo>
                      <a:pt x="22" y="709"/>
                      <a:pt x="22" y="709"/>
                      <a:pt x="22" y="709"/>
                    </a:cubicBezTo>
                    <a:cubicBezTo>
                      <a:pt x="25" y="713"/>
                      <a:pt x="25" y="713"/>
                      <a:pt x="25" y="713"/>
                    </a:cubicBezTo>
                    <a:cubicBezTo>
                      <a:pt x="21" y="730"/>
                      <a:pt x="21" y="730"/>
                      <a:pt x="21" y="730"/>
                    </a:cubicBezTo>
                    <a:cubicBezTo>
                      <a:pt x="18" y="737"/>
                      <a:pt x="18" y="737"/>
                      <a:pt x="18" y="737"/>
                    </a:cubicBezTo>
                    <a:cubicBezTo>
                      <a:pt x="22" y="741"/>
                      <a:pt x="22" y="741"/>
                      <a:pt x="22" y="741"/>
                    </a:cubicBezTo>
                    <a:cubicBezTo>
                      <a:pt x="17" y="746"/>
                      <a:pt x="17" y="746"/>
                      <a:pt x="17" y="746"/>
                    </a:cubicBezTo>
                    <a:cubicBezTo>
                      <a:pt x="22" y="746"/>
                      <a:pt x="22" y="746"/>
                      <a:pt x="22" y="746"/>
                    </a:cubicBezTo>
                    <a:cubicBezTo>
                      <a:pt x="24" y="746"/>
                      <a:pt x="26" y="754"/>
                      <a:pt x="26" y="757"/>
                    </a:cubicBezTo>
                    <a:cubicBezTo>
                      <a:pt x="26" y="761"/>
                      <a:pt x="27" y="768"/>
                      <a:pt x="29" y="768"/>
                    </a:cubicBezTo>
                    <a:cubicBezTo>
                      <a:pt x="31" y="768"/>
                      <a:pt x="32" y="761"/>
                      <a:pt x="32" y="761"/>
                    </a:cubicBezTo>
                    <a:cubicBezTo>
                      <a:pt x="32" y="770"/>
                      <a:pt x="32" y="770"/>
                      <a:pt x="32" y="770"/>
                    </a:cubicBezTo>
                    <a:cubicBezTo>
                      <a:pt x="34" y="771"/>
                      <a:pt x="34" y="771"/>
                      <a:pt x="34" y="771"/>
                    </a:cubicBezTo>
                    <a:cubicBezTo>
                      <a:pt x="32" y="777"/>
                      <a:pt x="32" y="777"/>
                      <a:pt x="32" y="777"/>
                    </a:cubicBezTo>
                    <a:cubicBezTo>
                      <a:pt x="37" y="779"/>
                      <a:pt x="37" y="779"/>
                      <a:pt x="37" y="779"/>
                    </a:cubicBezTo>
                    <a:cubicBezTo>
                      <a:pt x="37" y="786"/>
                      <a:pt x="37" y="786"/>
                      <a:pt x="37" y="786"/>
                    </a:cubicBezTo>
                    <a:cubicBezTo>
                      <a:pt x="42" y="791"/>
                      <a:pt x="42" y="791"/>
                      <a:pt x="42" y="791"/>
                    </a:cubicBezTo>
                    <a:cubicBezTo>
                      <a:pt x="42" y="796"/>
                      <a:pt x="42" y="796"/>
                      <a:pt x="42" y="796"/>
                    </a:cubicBezTo>
                    <a:cubicBezTo>
                      <a:pt x="48" y="804"/>
                      <a:pt x="48" y="804"/>
                      <a:pt x="48" y="804"/>
                    </a:cubicBezTo>
                    <a:cubicBezTo>
                      <a:pt x="50" y="803"/>
                      <a:pt x="50" y="803"/>
                      <a:pt x="50" y="803"/>
                    </a:cubicBezTo>
                    <a:cubicBezTo>
                      <a:pt x="50" y="803"/>
                      <a:pt x="52" y="815"/>
                      <a:pt x="55" y="816"/>
                    </a:cubicBezTo>
                    <a:cubicBezTo>
                      <a:pt x="60" y="818"/>
                      <a:pt x="61" y="814"/>
                      <a:pt x="61" y="814"/>
                    </a:cubicBezTo>
                    <a:cubicBezTo>
                      <a:pt x="61" y="814"/>
                      <a:pt x="64" y="822"/>
                      <a:pt x="64" y="825"/>
                    </a:cubicBezTo>
                    <a:cubicBezTo>
                      <a:pt x="64" y="829"/>
                      <a:pt x="58" y="828"/>
                      <a:pt x="58" y="828"/>
                    </a:cubicBezTo>
                    <a:cubicBezTo>
                      <a:pt x="58" y="828"/>
                      <a:pt x="57" y="823"/>
                      <a:pt x="52" y="826"/>
                    </a:cubicBezTo>
                    <a:cubicBezTo>
                      <a:pt x="48" y="830"/>
                      <a:pt x="58" y="834"/>
                      <a:pt x="58" y="834"/>
                    </a:cubicBezTo>
                    <a:cubicBezTo>
                      <a:pt x="58" y="834"/>
                      <a:pt x="61" y="839"/>
                      <a:pt x="59" y="841"/>
                    </a:cubicBezTo>
                    <a:cubicBezTo>
                      <a:pt x="55" y="844"/>
                      <a:pt x="51" y="838"/>
                      <a:pt x="49" y="837"/>
                    </a:cubicBezTo>
                    <a:cubicBezTo>
                      <a:pt x="47" y="835"/>
                      <a:pt x="44" y="835"/>
                      <a:pt x="43" y="836"/>
                    </a:cubicBezTo>
                    <a:cubicBezTo>
                      <a:pt x="42" y="837"/>
                      <a:pt x="47" y="839"/>
                      <a:pt x="47" y="839"/>
                    </a:cubicBezTo>
                    <a:cubicBezTo>
                      <a:pt x="48" y="844"/>
                      <a:pt x="48" y="844"/>
                      <a:pt x="48" y="844"/>
                    </a:cubicBezTo>
                    <a:cubicBezTo>
                      <a:pt x="48" y="844"/>
                      <a:pt x="54" y="852"/>
                      <a:pt x="58" y="856"/>
                    </a:cubicBezTo>
                    <a:cubicBezTo>
                      <a:pt x="61" y="861"/>
                      <a:pt x="61" y="865"/>
                      <a:pt x="61" y="865"/>
                    </a:cubicBezTo>
                    <a:cubicBezTo>
                      <a:pt x="65" y="866"/>
                      <a:pt x="65" y="866"/>
                      <a:pt x="65" y="866"/>
                    </a:cubicBezTo>
                    <a:cubicBezTo>
                      <a:pt x="64" y="871"/>
                      <a:pt x="64" y="871"/>
                      <a:pt x="64" y="871"/>
                    </a:cubicBezTo>
                    <a:cubicBezTo>
                      <a:pt x="64" y="871"/>
                      <a:pt x="67" y="871"/>
                      <a:pt x="69" y="877"/>
                    </a:cubicBezTo>
                    <a:cubicBezTo>
                      <a:pt x="71" y="881"/>
                      <a:pt x="64" y="882"/>
                      <a:pt x="64" y="882"/>
                    </a:cubicBezTo>
                    <a:cubicBezTo>
                      <a:pt x="64" y="888"/>
                      <a:pt x="64" y="888"/>
                      <a:pt x="64" y="888"/>
                    </a:cubicBezTo>
                    <a:cubicBezTo>
                      <a:pt x="64" y="888"/>
                      <a:pt x="67" y="891"/>
                      <a:pt x="66" y="894"/>
                    </a:cubicBezTo>
                    <a:cubicBezTo>
                      <a:pt x="65" y="896"/>
                      <a:pt x="62" y="893"/>
                      <a:pt x="62" y="893"/>
                    </a:cubicBezTo>
                    <a:cubicBezTo>
                      <a:pt x="61" y="897"/>
                      <a:pt x="61" y="897"/>
                      <a:pt x="61" y="897"/>
                    </a:cubicBezTo>
                    <a:cubicBezTo>
                      <a:pt x="65" y="896"/>
                      <a:pt x="65" y="896"/>
                      <a:pt x="65" y="896"/>
                    </a:cubicBezTo>
                    <a:cubicBezTo>
                      <a:pt x="65" y="896"/>
                      <a:pt x="78" y="899"/>
                      <a:pt x="82" y="899"/>
                    </a:cubicBezTo>
                    <a:cubicBezTo>
                      <a:pt x="85" y="899"/>
                      <a:pt x="91" y="895"/>
                      <a:pt x="97" y="893"/>
                    </a:cubicBezTo>
                    <a:cubicBezTo>
                      <a:pt x="103" y="891"/>
                      <a:pt x="106" y="895"/>
                      <a:pt x="106" y="895"/>
                    </a:cubicBezTo>
                    <a:cubicBezTo>
                      <a:pt x="112" y="894"/>
                      <a:pt x="112" y="894"/>
                      <a:pt x="112" y="894"/>
                    </a:cubicBezTo>
                    <a:cubicBezTo>
                      <a:pt x="112" y="894"/>
                      <a:pt x="117" y="885"/>
                      <a:pt x="118" y="880"/>
                    </a:cubicBezTo>
                    <a:cubicBezTo>
                      <a:pt x="119" y="876"/>
                      <a:pt x="111" y="875"/>
                      <a:pt x="111" y="869"/>
                    </a:cubicBezTo>
                    <a:cubicBezTo>
                      <a:pt x="111" y="865"/>
                      <a:pt x="118" y="854"/>
                      <a:pt x="120" y="852"/>
                    </a:cubicBezTo>
                    <a:cubicBezTo>
                      <a:pt x="123" y="851"/>
                      <a:pt x="129" y="855"/>
                      <a:pt x="131" y="854"/>
                    </a:cubicBezTo>
                    <a:cubicBezTo>
                      <a:pt x="133" y="852"/>
                      <a:pt x="129" y="844"/>
                      <a:pt x="129" y="844"/>
                    </a:cubicBezTo>
                    <a:cubicBezTo>
                      <a:pt x="147" y="842"/>
                      <a:pt x="147" y="842"/>
                      <a:pt x="147" y="842"/>
                    </a:cubicBezTo>
                    <a:cubicBezTo>
                      <a:pt x="155" y="844"/>
                      <a:pt x="155" y="844"/>
                      <a:pt x="155" y="844"/>
                    </a:cubicBezTo>
                    <a:cubicBezTo>
                      <a:pt x="161" y="839"/>
                      <a:pt x="161" y="839"/>
                      <a:pt x="161" y="839"/>
                    </a:cubicBezTo>
                    <a:cubicBezTo>
                      <a:pt x="172" y="847"/>
                      <a:pt x="172" y="847"/>
                      <a:pt x="172" y="847"/>
                    </a:cubicBezTo>
                    <a:cubicBezTo>
                      <a:pt x="172" y="847"/>
                      <a:pt x="176" y="838"/>
                      <a:pt x="178" y="837"/>
                    </a:cubicBezTo>
                    <a:cubicBezTo>
                      <a:pt x="179" y="835"/>
                      <a:pt x="181" y="820"/>
                      <a:pt x="181" y="820"/>
                    </a:cubicBezTo>
                    <a:cubicBezTo>
                      <a:pt x="184" y="810"/>
                      <a:pt x="184" y="810"/>
                      <a:pt x="184" y="810"/>
                    </a:cubicBezTo>
                    <a:cubicBezTo>
                      <a:pt x="188" y="807"/>
                      <a:pt x="188" y="807"/>
                      <a:pt x="188" y="807"/>
                    </a:cubicBezTo>
                    <a:cubicBezTo>
                      <a:pt x="192" y="791"/>
                      <a:pt x="192" y="791"/>
                      <a:pt x="192" y="791"/>
                    </a:cubicBezTo>
                    <a:cubicBezTo>
                      <a:pt x="190" y="785"/>
                      <a:pt x="190" y="785"/>
                      <a:pt x="190" y="785"/>
                    </a:cubicBezTo>
                    <a:cubicBezTo>
                      <a:pt x="190" y="785"/>
                      <a:pt x="193" y="784"/>
                      <a:pt x="194" y="781"/>
                    </a:cubicBezTo>
                    <a:cubicBezTo>
                      <a:pt x="195" y="777"/>
                      <a:pt x="191" y="775"/>
                      <a:pt x="191" y="775"/>
                    </a:cubicBezTo>
                    <a:cubicBezTo>
                      <a:pt x="192" y="761"/>
                      <a:pt x="192" y="761"/>
                      <a:pt x="192" y="761"/>
                    </a:cubicBezTo>
                    <a:cubicBezTo>
                      <a:pt x="192" y="761"/>
                      <a:pt x="195" y="762"/>
                      <a:pt x="197" y="756"/>
                    </a:cubicBezTo>
                    <a:cubicBezTo>
                      <a:pt x="200" y="751"/>
                      <a:pt x="191" y="746"/>
                      <a:pt x="191" y="746"/>
                    </a:cubicBezTo>
                    <a:cubicBezTo>
                      <a:pt x="193" y="744"/>
                      <a:pt x="193" y="744"/>
                      <a:pt x="193" y="744"/>
                    </a:cubicBezTo>
                    <a:cubicBezTo>
                      <a:pt x="194" y="735"/>
                      <a:pt x="194" y="735"/>
                      <a:pt x="194" y="735"/>
                    </a:cubicBezTo>
                    <a:cubicBezTo>
                      <a:pt x="192" y="728"/>
                      <a:pt x="192" y="728"/>
                      <a:pt x="192" y="728"/>
                    </a:cubicBezTo>
                    <a:cubicBezTo>
                      <a:pt x="188" y="728"/>
                      <a:pt x="188" y="728"/>
                      <a:pt x="188" y="728"/>
                    </a:cubicBezTo>
                    <a:cubicBezTo>
                      <a:pt x="188" y="728"/>
                      <a:pt x="188" y="726"/>
                      <a:pt x="191" y="725"/>
                    </a:cubicBezTo>
                    <a:cubicBezTo>
                      <a:pt x="195" y="725"/>
                      <a:pt x="198" y="728"/>
                      <a:pt x="198" y="728"/>
                    </a:cubicBezTo>
                    <a:cubicBezTo>
                      <a:pt x="197" y="722"/>
                      <a:pt x="197" y="722"/>
                      <a:pt x="197" y="722"/>
                    </a:cubicBezTo>
                    <a:cubicBezTo>
                      <a:pt x="193" y="720"/>
                      <a:pt x="193" y="720"/>
                      <a:pt x="193" y="720"/>
                    </a:cubicBezTo>
                    <a:cubicBezTo>
                      <a:pt x="196" y="719"/>
                      <a:pt x="196" y="719"/>
                      <a:pt x="196" y="719"/>
                    </a:cubicBezTo>
                    <a:cubicBezTo>
                      <a:pt x="196" y="719"/>
                      <a:pt x="196" y="711"/>
                      <a:pt x="198" y="707"/>
                    </a:cubicBezTo>
                    <a:cubicBezTo>
                      <a:pt x="201" y="703"/>
                      <a:pt x="192" y="698"/>
                      <a:pt x="192" y="698"/>
                    </a:cubicBezTo>
                    <a:cubicBezTo>
                      <a:pt x="195" y="697"/>
                      <a:pt x="195" y="697"/>
                      <a:pt x="195" y="697"/>
                    </a:cubicBezTo>
                    <a:cubicBezTo>
                      <a:pt x="192" y="692"/>
                      <a:pt x="192" y="692"/>
                      <a:pt x="192" y="692"/>
                    </a:cubicBezTo>
                    <a:cubicBezTo>
                      <a:pt x="192" y="692"/>
                      <a:pt x="198" y="694"/>
                      <a:pt x="201" y="687"/>
                    </a:cubicBezTo>
                    <a:cubicBezTo>
                      <a:pt x="204" y="679"/>
                      <a:pt x="183" y="679"/>
                      <a:pt x="183" y="679"/>
                    </a:cubicBezTo>
                    <a:cubicBezTo>
                      <a:pt x="182" y="682"/>
                      <a:pt x="182" y="682"/>
                      <a:pt x="182" y="682"/>
                    </a:cubicBezTo>
                    <a:cubicBezTo>
                      <a:pt x="176" y="681"/>
                      <a:pt x="176" y="681"/>
                      <a:pt x="176" y="681"/>
                    </a:cubicBezTo>
                    <a:cubicBezTo>
                      <a:pt x="176" y="677"/>
                      <a:pt x="176" y="677"/>
                      <a:pt x="176" y="677"/>
                    </a:cubicBezTo>
                    <a:cubicBezTo>
                      <a:pt x="192" y="677"/>
                      <a:pt x="192" y="677"/>
                      <a:pt x="192" y="677"/>
                    </a:cubicBezTo>
                    <a:cubicBezTo>
                      <a:pt x="195" y="677"/>
                      <a:pt x="201" y="680"/>
                      <a:pt x="201" y="680"/>
                    </a:cubicBezTo>
                    <a:cubicBezTo>
                      <a:pt x="204" y="675"/>
                      <a:pt x="204" y="675"/>
                      <a:pt x="204" y="675"/>
                    </a:cubicBezTo>
                    <a:cubicBezTo>
                      <a:pt x="202" y="668"/>
                      <a:pt x="202" y="668"/>
                      <a:pt x="202" y="668"/>
                    </a:cubicBezTo>
                    <a:cubicBezTo>
                      <a:pt x="208" y="672"/>
                      <a:pt x="208" y="672"/>
                      <a:pt x="208" y="672"/>
                    </a:cubicBezTo>
                    <a:cubicBezTo>
                      <a:pt x="208" y="672"/>
                      <a:pt x="212" y="671"/>
                      <a:pt x="213" y="671"/>
                    </a:cubicBezTo>
                    <a:cubicBezTo>
                      <a:pt x="214" y="671"/>
                      <a:pt x="218" y="666"/>
                      <a:pt x="218" y="666"/>
                    </a:cubicBezTo>
                    <a:cubicBezTo>
                      <a:pt x="218" y="661"/>
                      <a:pt x="218" y="661"/>
                      <a:pt x="218" y="661"/>
                    </a:cubicBezTo>
                    <a:cubicBezTo>
                      <a:pt x="222" y="662"/>
                      <a:pt x="222" y="662"/>
                      <a:pt x="222" y="662"/>
                    </a:cubicBezTo>
                    <a:cubicBezTo>
                      <a:pt x="223" y="647"/>
                      <a:pt x="223" y="647"/>
                      <a:pt x="223" y="647"/>
                    </a:cubicBezTo>
                    <a:cubicBezTo>
                      <a:pt x="226" y="648"/>
                      <a:pt x="226" y="648"/>
                      <a:pt x="226" y="648"/>
                    </a:cubicBezTo>
                    <a:cubicBezTo>
                      <a:pt x="228" y="658"/>
                      <a:pt x="228" y="658"/>
                      <a:pt x="228" y="658"/>
                    </a:cubicBezTo>
                    <a:cubicBezTo>
                      <a:pt x="235" y="659"/>
                      <a:pt x="235" y="659"/>
                      <a:pt x="235" y="659"/>
                    </a:cubicBezTo>
                    <a:cubicBezTo>
                      <a:pt x="237" y="649"/>
                      <a:pt x="237" y="649"/>
                      <a:pt x="237" y="649"/>
                    </a:cubicBezTo>
                    <a:cubicBezTo>
                      <a:pt x="237" y="649"/>
                      <a:pt x="239" y="649"/>
                      <a:pt x="241" y="648"/>
                    </a:cubicBezTo>
                    <a:cubicBezTo>
                      <a:pt x="242" y="647"/>
                      <a:pt x="242" y="643"/>
                      <a:pt x="242" y="643"/>
                    </a:cubicBezTo>
                    <a:cubicBezTo>
                      <a:pt x="246" y="642"/>
                      <a:pt x="246" y="642"/>
                      <a:pt x="246" y="642"/>
                    </a:cubicBezTo>
                    <a:cubicBezTo>
                      <a:pt x="248" y="640"/>
                      <a:pt x="248" y="640"/>
                      <a:pt x="248" y="640"/>
                    </a:cubicBezTo>
                    <a:cubicBezTo>
                      <a:pt x="245" y="639"/>
                      <a:pt x="245" y="639"/>
                      <a:pt x="245" y="639"/>
                    </a:cubicBezTo>
                    <a:cubicBezTo>
                      <a:pt x="243" y="633"/>
                      <a:pt x="243" y="633"/>
                      <a:pt x="243" y="633"/>
                    </a:cubicBezTo>
                    <a:cubicBezTo>
                      <a:pt x="237" y="628"/>
                      <a:pt x="237" y="628"/>
                      <a:pt x="237" y="628"/>
                    </a:cubicBezTo>
                    <a:cubicBezTo>
                      <a:pt x="239" y="625"/>
                      <a:pt x="239" y="625"/>
                      <a:pt x="239" y="625"/>
                    </a:cubicBezTo>
                    <a:cubicBezTo>
                      <a:pt x="244" y="625"/>
                      <a:pt x="244" y="625"/>
                      <a:pt x="244" y="625"/>
                    </a:cubicBezTo>
                    <a:cubicBezTo>
                      <a:pt x="258" y="610"/>
                      <a:pt x="258" y="610"/>
                      <a:pt x="258" y="610"/>
                    </a:cubicBezTo>
                    <a:cubicBezTo>
                      <a:pt x="258" y="607"/>
                      <a:pt x="258" y="607"/>
                      <a:pt x="258" y="607"/>
                    </a:cubicBezTo>
                    <a:cubicBezTo>
                      <a:pt x="266" y="601"/>
                      <a:pt x="266" y="601"/>
                      <a:pt x="266" y="601"/>
                    </a:cubicBezTo>
                    <a:cubicBezTo>
                      <a:pt x="267" y="600"/>
                      <a:pt x="267" y="600"/>
                      <a:pt x="267" y="600"/>
                    </a:cubicBezTo>
                    <a:cubicBezTo>
                      <a:pt x="259" y="600"/>
                      <a:pt x="259" y="600"/>
                      <a:pt x="259" y="600"/>
                    </a:cubicBezTo>
                    <a:cubicBezTo>
                      <a:pt x="261" y="594"/>
                      <a:pt x="261" y="594"/>
                      <a:pt x="261" y="594"/>
                    </a:cubicBezTo>
                    <a:cubicBezTo>
                      <a:pt x="266" y="595"/>
                      <a:pt x="266" y="595"/>
                      <a:pt x="266" y="595"/>
                    </a:cubicBezTo>
                    <a:cubicBezTo>
                      <a:pt x="267" y="592"/>
                      <a:pt x="267" y="592"/>
                      <a:pt x="267" y="592"/>
                    </a:cubicBezTo>
                    <a:cubicBezTo>
                      <a:pt x="261" y="588"/>
                      <a:pt x="261" y="588"/>
                      <a:pt x="261" y="588"/>
                    </a:cubicBezTo>
                    <a:cubicBezTo>
                      <a:pt x="256" y="578"/>
                      <a:pt x="256" y="578"/>
                      <a:pt x="256" y="578"/>
                    </a:cubicBezTo>
                    <a:cubicBezTo>
                      <a:pt x="247" y="578"/>
                      <a:pt x="247" y="578"/>
                      <a:pt x="247" y="578"/>
                    </a:cubicBezTo>
                    <a:cubicBezTo>
                      <a:pt x="245" y="578"/>
                      <a:pt x="242" y="570"/>
                      <a:pt x="242" y="570"/>
                    </a:cubicBezTo>
                    <a:cubicBezTo>
                      <a:pt x="242" y="566"/>
                      <a:pt x="242" y="566"/>
                      <a:pt x="242" y="566"/>
                    </a:cubicBezTo>
                    <a:cubicBezTo>
                      <a:pt x="241" y="564"/>
                      <a:pt x="241" y="564"/>
                      <a:pt x="241" y="564"/>
                    </a:cubicBezTo>
                    <a:cubicBezTo>
                      <a:pt x="237" y="565"/>
                      <a:pt x="237" y="565"/>
                      <a:pt x="237" y="565"/>
                    </a:cubicBezTo>
                    <a:cubicBezTo>
                      <a:pt x="227" y="554"/>
                      <a:pt x="227" y="554"/>
                      <a:pt x="227" y="554"/>
                    </a:cubicBezTo>
                    <a:cubicBezTo>
                      <a:pt x="227" y="554"/>
                      <a:pt x="228" y="550"/>
                      <a:pt x="225" y="549"/>
                    </a:cubicBezTo>
                    <a:cubicBezTo>
                      <a:pt x="221" y="548"/>
                      <a:pt x="216" y="557"/>
                      <a:pt x="216" y="557"/>
                    </a:cubicBezTo>
                    <a:cubicBezTo>
                      <a:pt x="213" y="552"/>
                      <a:pt x="213" y="552"/>
                      <a:pt x="213" y="552"/>
                    </a:cubicBezTo>
                    <a:cubicBezTo>
                      <a:pt x="213" y="552"/>
                      <a:pt x="215" y="550"/>
                      <a:pt x="213" y="548"/>
                    </a:cubicBezTo>
                    <a:cubicBezTo>
                      <a:pt x="210" y="546"/>
                      <a:pt x="198" y="548"/>
                      <a:pt x="198" y="548"/>
                    </a:cubicBezTo>
                    <a:cubicBezTo>
                      <a:pt x="205" y="541"/>
                      <a:pt x="205" y="541"/>
                      <a:pt x="205" y="541"/>
                    </a:cubicBezTo>
                    <a:cubicBezTo>
                      <a:pt x="200" y="534"/>
                      <a:pt x="200" y="534"/>
                      <a:pt x="200" y="534"/>
                    </a:cubicBezTo>
                    <a:cubicBezTo>
                      <a:pt x="196" y="533"/>
                      <a:pt x="196" y="533"/>
                      <a:pt x="196" y="533"/>
                    </a:cubicBezTo>
                    <a:cubicBezTo>
                      <a:pt x="198" y="525"/>
                      <a:pt x="198" y="525"/>
                      <a:pt x="198" y="525"/>
                    </a:cubicBezTo>
                    <a:cubicBezTo>
                      <a:pt x="196" y="515"/>
                      <a:pt x="196" y="515"/>
                      <a:pt x="196" y="515"/>
                    </a:cubicBezTo>
                    <a:cubicBezTo>
                      <a:pt x="196" y="515"/>
                      <a:pt x="198" y="509"/>
                      <a:pt x="198" y="506"/>
                    </a:cubicBezTo>
                    <a:cubicBezTo>
                      <a:pt x="198" y="504"/>
                      <a:pt x="193" y="502"/>
                      <a:pt x="193" y="502"/>
                    </a:cubicBezTo>
                    <a:cubicBezTo>
                      <a:pt x="195" y="491"/>
                      <a:pt x="195" y="491"/>
                      <a:pt x="195" y="491"/>
                    </a:cubicBezTo>
                    <a:cubicBezTo>
                      <a:pt x="193" y="490"/>
                      <a:pt x="193" y="490"/>
                      <a:pt x="193" y="490"/>
                    </a:cubicBezTo>
                    <a:cubicBezTo>
                      <a:pt x="196" y="488"/>
                      <a:pt x="196" y="488"/>
                      <a:pt x="196" y="488"/>
                    </a:cubicBezTo>
                    <a:cubicBezTo>
                      <a:pt x="192" y="479"/>
                      <a:pt x="192" y="479"/>
                      <a:pt x="192" y="479"/>
                    </a:cubicBezTo>
                    <a:cubicBezTo>
                      <a:pt x="198" y="483"/>
                      <a:pt x="198" y="483"/>
                      <a:pt x="198" y="483"/>
                    </a:cubicBezTo>
                    <a:cubicBezTo>
                      <a:pt x="201" y="479"/>
                      <a:pt x="201" y="479"/>
                      <a:pt x="201" y="479"/>
                    </a:cubicBezTo>
                    <a:cubicBezTo>
                      <a:pt x="201" y="479"/>
                      <a:pt x="200" y="475"/>
                      <a:pt x="198" y="473"/>
                    </a:cubicBezTo>
                    <a:cubicBezTo>
                      <a:pt x="195" y="472"/>
                      <a:pt x="197" y="464"/>
                      <a:pt x="197" y="464"/>
                    </a:cubicBezTo>
                    <a:cubicBezTo>
                      <a:pt x="200" y="461"/>
                      <a:pt x="200" y="461"/>
                      <a:pt x="200" y="461"/>
                    </a:cubicBezTo>
                    <a:cubicBezTo>
                      <a:pt x="201" y="450"/>
                      <a:pt x="201" y="450"/>
                      <a:pt x="201" y="450"/>
                    </a:cubicBezTo>
                    <a:cubicBezTo>
                      <a:pt x="206" y="448"/>
                      <a:pt x="206" y="448"/>
                      <a:pt x="206" y="448"/>
                    </a:cubicBezTo>
                    <a:cubicBezTo>
                      <a:pt x="206" y="445"/>
                      <a:pt x="206" y="445"/>
                      <a:pt x="206" y="445"/>
                    </a:cubicBezTo>
                    <a:cubicBezTo>
                      <a:pt x="200" y="445"/>
                      <a:pt x="200" y="445"/>
                      <a:pt x="200" y="445"/>
                    </a:cubicBezTo>
                    <a:cubicBezTo>
                      <a:pt x="199" y="441"/>
                      <a:pt x="199" y="441"/>
                      <a:pt x="199" y="441"/>
                    </a:cubicBezTo>
                    <a:cubicBezTo>
                      <a:pt x="197" y="442"/>
                      <a:pt x="197" y="442"/>
                      <a:pt x="197" y="442"/>
                    </a:cubicBezTo>
                    <a:cubicBezTo>
                      <a:pt x="196" y="432"/>
                      <a:pt x="196" y="432"/>
                      <a:pt x="196" y="432"/>
                    </a:cubicBezTo>
                    <a:cubicBezTo>
                      <a:pt x="194" y="430"/>
                      <a:pt x="194" y="430"/>
                      <a:pt x="194" y="430"/>
                    </a:cubicBezTo>
                    <a:cubicBezTo>
                      <a:pt x="199" y="428"/>
                      <a:pt x="199" y="428"/>
                      <a:pt x="199" y="428"/>
                    </a:cubicBezTo>
                    <a:cubicBezTo>
                      <a:pt x="202" y="434"/>
                      <a:pt x="202" y="434"/>
                      <a:pt x="202" y="434"/>
                    </a:cubicBezTo>
                    <a:cubicBezTo>
                      <a:pt x="207" y="432"/>
                      <a:pt x="207" y="432"/>
                      <a:pt x="207" y="432"/>
                    </a:cubicBezTo>
                    <a:cubicBezTo>
                      <a:pt x="205" y="430"/>
                      <a:pt x="205" y="430"/>
                      <a:pt x="205" y="430"/>
                    </a:cubicBezTo>
                    <a:cubicBezTo>
                      <a:pt x="207" y="427"/>
                      <a:pt x="207" y="427"/>
                      <a:pt x="207" y="427"/>
                    </a:cubicBezTo>
                    <a:cubicBezTo>
                      <a:pt x="207" y="427"/>
                      <a:pt x="212" y="427"/>
                      <a:pt x="212" y="425"/>
                    </a:cubicBezTo>
                    <a:cubicBezTo>
                      <a:pt x="212" y="418"/>
                      <a:pt x="212" y="418"/>
                      <a:pt x="212" y="418"/>
                    </a:cubicBezTo>
                    <a:cubicBezTo>
                      <a:pt x="213" y="414"/>
                      <a:pt x="213" y="414"/>
                      <a:pt x="213" y="414"/>
                    </a:cubicBezTo>
                    <a:cubicBezTo>
                      <a:pt x="213" y="414"/>
                      <a:pt x="211" y="408"/>
                      <a:pt x="213" y="408"/>
                    </a:cubicBezTo>
                    <a:cubicBezTo>
                      <a:pt x="215" y="407"/>
                      <a:pt x="216" y="410"/>
                      <a:pt x="216" y="410"/>
                    </a:cubicBezTo>
                    <a:cubicBezTo>
                      <a:pt x="221" y="407"/>
                      <a:pt x="221" y="407"/>
                      <a:pt x="221" y="407"/>
                    </a:cubicBezTo>
                    <a:cubicBezTo>
                      <a:pt x="221" y="407"/>
                      <a:pt x="218" y="403"/>
                      <a:pt x="221" y="401"/>
                    </a:cubicBezTo>
                    <a:cubicBezTo>
                      <a:pt x="222" y="400"/>
                      <a:pt x="225" y="405"/>
                      <a:pt x="225" y="405"/>
                    </a:cubicBezTo>
                    <a:cubicBezTo>
                      <a:pt x="229" y="399"/>
                      <a:pt x="229" y="399"/>
                      <a:pt x="229" y="399"/>
                    </a:cubicBezTo>
                    <a:cubicBezTo>
                      <a:pt x="225" y="397"/>
                      <a:pt x="225" y="397"/>
                      <a:pt x="225" y="397"/>
                    </a:cubicBezTo>
                    <a:cubicBezTo>
                      <a:pt x="228" y="396"/>
                      <a:pt x="228" y="396"/>
                      <a:pt x="228" y="396"/>
                    </a:cubicBezTo>
                    <a:cubicBezTo>
                      <a:pt x="228" y="395"/>
                      <a:pt x="228" y="395"/>
                      <a:pt x="228" y="395"/>
                    </a:cubicBezTo>
                    <a:cubicBezTo>
                      <a:pt x="222" y="395"/>
                      <a:pt x="222" y="395"/>
                      <a:pt x="222" y="395"/>
                    </a:cubicBezTo>
                    <a:cubicBezTo>
                      <a:pt x="226" y="392"/>
                      <a:pt x="226" y="392"/>
                      <a:pt x="226" y="392"/>
                    </a:cubicBezTo>
                    <a:cubicBezTo>
                      <a:pt x="231" y="380"/>
                      <a:pt x="231" y="380"/>
                      <a:pt x="231" y="380"/>
                    </a:cubicBezTo>
                    <a:cubicBezTo>
                      <a:pt x="234" y="380"/>
                      <a:pt x="234" y="380"/>
                      <a:pt x="234" y="380"/>
                    </a:cubicBezTo>
                    <a:cubicBezTo>
                      <a:pt x="239" y="377"/>
                      <a:pt x="239" y="377"/>
                      <a:pt x="239" y="377"/>
                    </a:cubicBezTo>
                    <a:cubicBezTo>
                      <a:pt x="233" y="375"/>
                      <a:pt x="233" y="375"/>
                      <a:pt x="233" y="375"/>
                    </a:cubicBezTo>
                    <a:cubicBezTo>
                      <a:pt x="239" y="374"/>
                      <a:pt x="239" y="374"/>
                      <a:pt x="239" y="374"/>
                    </a:cubicBezTo>
                    <a:cubicBezTo>
                      <a:pt x="243" y="378"/>
                      <a:pt x="243" y="378"/>
                      <a:pt x="243" y="378"/>
                    </a:cubicBezTo>
                    <a:cubicBezTo>
                      <a:pt x="243" y="378"/>
                      <a:pt x="244" y="374"/>
                      <a:pt x="246" y="371"/>
                    </a:cubicBezTo>
                    <a:cubicBezTo>
                      <a:pt x="248" y="368"/>
                      <a:pt x="249" y="361"/>
                      <a:pt x="249" y="361"/>
                    </a:cubicBezTo>
                    <a:cubicBezTo>
                      <a:pt x="249" y="361"/>
                      <a:pt x="251" y="362"/>
                      <a:pt x="254" y="360"/>
                    </a:cubicBezTo>
                    <a:cubicBezTo>
                      <a:pt x="256" y="359"/>
                      <a:pt x="255" y="353"/>
                      <a:pt x="255" y="353"/>
                    </a:cubicBezTo>
                    <a:cubicBezTo>
                      <a:pt x="258" y="358"/>
                      <a:pt x="258" y="358"/>
                      <a:pt x="258" y="358"/>
                    </a:cubicBezTo>
                    <a:cubicBezTo>
                      <a:pt x="261" y="363"/>
                      <a:pt x="261" y="363"/>
                      <a:pt x="261" y="363"/>
                    </a:cubicBezTo>
                    <a:cubicBezTo>
                      <a:pt x="263" y="361"/>
                      <a:pt x="263" y="361"/>
                      <a:pt x="263" y="361"/>
                    </a:cubicBezTo>
                    <a:cubicBezTo>
                      <a:pt x="262" y="357"/>
                      <a:pt x="262" y="357"/>
                      <a:pt x="262" y="357"/>
                    </a:cubicBezTo>
                    <a:cubicBezTo>
                      <a:pt x="270" y="348"/>
                      <a:pt x="270" y="348"/>
                      <a:pt x="270" y="348"/>
                    </a:cubicBezTo>
                    <a:cubicBezTo>
                      <a:pt x="268" y="346"/>
                      <a:pt x="268" y="346"/>
                      <a:pt x="268" y="346"/>
                    </a:cubicBezTo>
                    <a:cubicBezTo>
                      <a:pt x="271" y="345"/>
                      <a:pt x="271" y="345"/>
                      <a:pt x="271" y="345"/>
                    </a:cubicBezTo>
                    <a:cubicBezTo>
                      <a:pt x="272" y="346"/>
                      <a:pt x="272" y="346"/>
                      <a:pt x="272" y="346"/>
                    </a:cubicBezTo>
                    <a:cubicBezTo>
                      <a:pt x="278" y="344"/>
                      <a:pt x="278" y="344"/>
                      <a:pt x="278" y="344"/>
                    </a:cubicBezTo>
                    <a:cubicBezTo>
                      <a:pt x="278" y="340"/>
                      <a:pt x="278" y="340"/>
                      <a:pt x="278" y="340"/>
                    </a:cubicBezTo>
                    <a:cubicBezTo>
                      <a:pt x="280" y="344"/>
                      <a:pt x="280" y="344"/>
                      <a:pt x="280" y="344"/>
                    </a:cubicBezTo>
                    <a:cubicBezTo>
                      <a:pt x="281" y="334"/>
                      <a:pt x="281" y="334"/>
                      <a:pt x="281" y="334"/>
                    </a:cubicBezTo>
                    <a:cubicBezTo>
                      <a:pt x="284" y="339"/>
                      <a:pt x="284" y="339"/>
                      <a:pt x="284" y="339"/>
                    </a:cubicBezTo>
                    <a:cubicBezTo>
                      <a:pt x="290" y="333"/>
                      <a:pt x="290" y="333"/>
                      <a:pt x="290" y="333"/>
                    </a:cubicBezTo>
                    <a:cubicBezTo>
                      <a:pt x="290" y="333"/>
                      <a:pt x="293" y="325"/>
                      <a:pt x="294" y="321"/>
                    </a:cubicBezTo>
                    <a:cubicBezTo>
                      <a:pt x="295" y="318"/>
                      <a:pt x="293" y="313"/>
                      <a:pt x="293" y="313"/>
                    </a:cubicBezTo>
                    <a:cubicBezTo>
                      <a:pt x="298" y="308"/>
                      <a:pt x="298" y="308"/>
                      <a:pt x="298" y="308"/>
                    </a:cubicBezTo>
                    <a:cubicBezTo>
                      <a:pt x="299" y="302"/>
                      <a:pt x="299" y="302"/>
                      <a:pt x="299" y="302"/>
                    </a:cubicBezTo>
                    <a:cubicBezTo>
                      <a:pt x="309" y="293"/>
                      <a:pt x="309" y="293"/>
                      <a:pt x="309" y="293"/>
                    </a:cubicBezTo>
                    <a:cubicBezTo>
                      <a:pt x="310" y="287"/>
                      <a:pt x="310" y="287"/>
                      <a:pt x="310" y="287"/>
                    </a:cubicBezTo>
                    <a:cubicBezTo>
                      <a:pt x="306" y="288"/>
                      <a:pt x="306" y="288"/>
                      <a:pt x="306" y="288"/>
                    </a:cubicBezTo>
                    <a:cubicBezTo>
                      <a:pt x="304" y="286"/>
                      <a:pt x="304" y="286"/>
                      <a:pt x="304" y="286"/>
                    </a:cubicBezTo>
                    <a:cubicBezTo>
                      <a:pt x="308" y="285"/>
                      <a:pt x="308" y="285"/>
                      <a:pt x="308" y="285"/>
                    </a:cubicBezTo>
                    <a:cubicBezTo>
                      <a:pt x="309" y="283"/>
                      <a:pt x="309" y="283"/>
                      <a:pt x="309" y="283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295" y="277"/>
                      <a:pt x="295" y="277"/>
                      <a:pt x="295" y="277"/>
                    </a:cubicBezTo>
                    <a:cubicBezTo>
                      <a:pt x="298" y="269"/>
                      <a:pt x="298" y="269"/>
                      <a:pt x="298" y="269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5" y="261"/>
                      <a:pt x="295" y="261"/>
                      <a:pt x="295" y="261"/>
                    </a:cubicBezTo>
                    <a:cubicBezTo>
                      <a:pt x="298" y="259"/>
                      <a:pt x="298" y="259"/>
                      <a:pt x="298" y="259"/>
                    </a:cubicBezTo>
                    <a:cubicBezTo>
                      <a:pt x="303" y="246"/>
                      <a:pt x="303" y="246"/>
                      <a:pt x="303" y="246"/>
                    </a:cubicBezTo>
                    <a:cubicBezTo>
                      <a:pt x="303" y="246"/>
                      <a:pt x="293" y="238"/>
                      <a:pt x="295" y="234"/>
                    </a:cubicBezTo>
                    <a:cubicBezTo>
                      <a:pt x="296" y="230"/>
                      <a:pt x="304" y="231"/>
                      <a:pt x="309" y="229"/>
                    </a:cubicBezTo>
                    <a:cubicBezTo>
                      <a:pt x="315" y="226"/>
                      <a:pt x="307" y="221"/>
                      <a:pt x="307" y="221"/>
                    </a:cubicBezTo>
                    <a:cubicBezTo>
                      <a:pt x="313" y="219"/>
                      <a:pt x="313" y="219"/>
                      <a:pt x="313" y="219"/>
                    </a:cubicBezTo>
                    <a:cubicBezTo>
                      <a:pt x="313" y="216"/>
                      <a:pt x="313" y="216"/>
                      <a:pt x="313" y="216"/>
                    </a:cubicBezTo>
                    <a:cubicBezTo>
                      <a:pt x="319" y="216"/>
                      <a:pt x="319" y="216"/>
                      <a:pt x="319" y="216"/>
                    </a:cubicBezTo>
                    <a:cubicBezTo>
                      <a:pt x="315" y="196"/>
                      <a:pt x="315" y="196"/>
                      <a:pt x="315" y="196"/>
                    </a:cubicBezTo>
                    <a:cubicBezTo>
                      <a:pt x="319" y="196"/>
                      <a:pt x="319" y="196"/>
                      <a:pt x="319" y="196"/>
                    </a:cubicBezTo>
                    <a:cubicBezTo>
                      <a:pt x="322" y="201"/>
                      <a:pt x="322" y="201"/>
                      <a:pt x="322" y="201"/>
                    </a:cubicBezTo>
                    <a:cubicBezTo>
                      <a:pt x="326" y="201"/>
                      <a:pt x="326" y="201"/>
                      <a:pt x="326" y="201"/>
                    </a:cubicBezTo>
                    <a:cubicBezTo>
                      <a:pt x="324" y="193"/>
                      <a:pt x="324" y="193"/>
                      <a:pt x="324" y="193"/>
                    </a:cubicBezTo>
                    <a:cubicBezTo>
                      <a:pt x="329" y="195"/>
                      <a:pt x="329" y="195"/>
                      <a:pt x="329" y="195"/>
                    </a:cubicBezTo>
                    <a:cubicBezTo>
                      <a:pt x="329" y="199"/>
                      <a:pt x="329" y="199"/>
                      <a:pt x="329" y="199"/>
                    </a:cubicBezTo>
                    <a:cubicBezTo>
                      <a:pt x="336" y="201"/>
                      <a:pt x="336" y="201"/>
                      <a:pt x="336" y="201"/>
                    </a:cubicBezTo>
                    <a:cubicBezTo>
                      <a:pt x="337" y="205"/>
                      <a:pt x="337" y="205"/>
                      <a:pt x="337" y="205"/>
                    </a:cubicBezTo>
                    <a:cubicBezTo>
                      <a:pt x="340" y="200"/>
                      <a:pt x="340" y="200"/>
                      <a:pt x="340" y="200"/>
                    </a:cubicBezTo>
                    <a:cubicBezTo>
                      <a:pt x="339" y="196"/>
                      <a:pt x="339" y="196"/>
                      <a:pt x="339" y="196"/>
                    </a:cubicBezTo>
                    <a:cubicBezTo>
                      <a:pt x="350" y="196"/>
                      <a:pt x="350" y="196"/>
                      <a:pt x="350" y="196"/>
                    </a:cubicBezTo>
                    <a:cubicBezTo>
                      <a:pt x="354" y="193"/>
                      <a:pt x="354" y="193"/>
                      <a:pt x="354" y="193"/>
                    </a:cubicBezTo>
                    <a:cubicBezTo>
                      <a:pt x="357" y="196"/>
                      <a:pt x="357" y="196"/>
                      <a:pt x="357" y="196"/>
                    </a:cubicBezTo>
                    <a:cubicBezTo>
                      <a:pt x="360" y="196"/>
                      <a:pt x="360" y="196"/>
                      <a:pt x="360" y="196"/>
                    </a:cubicBezTo>
                    <a:cubicBezTo>
                      <a:pt x="360" y="194"/>
                      <a:pt x="360" y="194"/>
                      <a:pt x="360" y="194"/>
                    </a:cubicBezTo>
                    <a:cubicBezTo>
                      <a:pt x="365" y="195"/>
                      <a:pt x="365" y="195"/>
                      <a:pt x="365" y="195"/>
                    </a:cubicBezTo>
                    <a:lnTo>
                      <a:pt x="364" y="188"/>
                    </a:lnTo>
                    <a:close/>
                    <a:moveTo>
                      <a:pt x="14" y="718"/>
                    </a:moveTo>
                    <a:cubicBezTo>
                      <a:pt x="21" y="719"/>
                      <a:pt x="21" y="719"/>
                      <a:pt x="21" y="719"/>
                    </a:cubicBezTo>
                    <a:cubicBezTo>
                      <a:pt x="22" y="712"/>
                      <a:pt x="22" y="712"/>
                      <a:pt x="22" y="712"/>
                    </a:cubicBezTo>
                    <a:cubicBezTo>
                      <a:pt x="19" y="709"/>
                      <a:pt x="19" y="709"/>
                      <a:pt x="19" y="709"/>
                    </a:cubicBezTo>
                    <a:cubicBezTo>
                      <a:pt x="17" y="712"/>
                      <a:pt x="17" y="712"/>
                      <a:pt x="17" y="712"/>
                    </a:cubicBezTo>
                    <a:cubicBezTo>
                      <a:pt x="16" y="712"/>
                      <a:pt x="16" y="712"/>
                      <a:pt x="16" y="712"/>
                    </a:cubicBezTo>
                    <a:cubicBezTo>
                      <a:pt x="8" y="720"/>
                      <a:pt x="8" y="720"/>
                      <a:pt x="8" y="720"/>
                    </a:cubicBezTo>
                    <a:cubicBezTo>
                      <a:pt x="14" y="721"/>
                      <a:pt x="14" y="721"/>
                      <a:pt x="14" y="721"/>
                    </a:cubicBezTo>
                    <a:lnTo>
                      <a:pt x="14" y="718"/>
                    </a:lnTo>
                    <a:close/>
                    <a:moveTo>
                      <a:pt x="20" y="727"/>
                    </a:moveTo>
                    <a:cubicBezTo>
                      <a:pt x="19" y="723"/>
                      <a:pt x="19" y="723"/>
                      <a:pt x="19" y="723"/>
                    </a:cubicBezTo>
                    <a:cubicBezTo>
                      <a:pt x="11" y="725"/>
                      <a:pt x="11" y="725"/>
                      <a:pt x="11" y="725"/>
                    </a:cubicBezTo>
                    <a:cubicBezTo>
                      <a:pt x="13" y="728"/>
                      <a:pt x="13" y="728"/>
                      <a:pt x="13" y="728"/>
                    </a:cubicBezTo>
                    <a:cubicBezTo>
                      <a:pt x="13" y="730"/>
                      <a:pt x="13" y="730"/>
                      <a:pt x="13" y="730"/>
                    </a:cubicBezTo>
                    <a:cubicBezTo>
                      <a:pt x="16" y="730"/>
                      <a:pt x="16" y="730"/>
                      <a:pt x="16" y="730"/>
                    </a:cubicBezTo>
                    <a:cubicBezTo>
                      <a:pt x="17" y="727"/>
                      <a:pt x="17" y="727"/>
                      <a:pt x="17" y="727"/>
                    </a:cubicBezTo>
                    <a:lnTo>
                      <a:pt x="20" y="727"/>
                    </a:lnTo>
                    <a:close/>
                    <a:moveTo>
                      <a:pt x="211" y="760"/>
                    </a:moveTo>
                    <a:cubicBezTo>
                      <a:pt x="207" y="765"/>
                      <a:pt x="207" y="765"/>
                      <a:pt x="207" y="765"/>
                    </a:cubicBezTo>
                    <a:cubicBezTo>
                      <a:pt x="208" y="771"/>
                      <a:pt x="208" y="771"/>
                      <a:pt x="208" y="771"/>
                    </a:cubicBezTo>
                    <a:cubicBezTo>
                      <a:pt x="207" y="771"/>
                      <a:pt x="207" y="771"/>
                      <a:pt x="207" y="771"/>
                    </a:cubicBezTo>
                    <a:cubicBezTo>
                      <a:pt x="207" y="773"/>
                      <a:pt x="207" y="773"/>
                      <a:pt x="207" y="773"/>
                    </a:cubicBezTo>
                    <a:cubicBezTo>
                      <a:pt x="205" y="783"/>
                      <a:pt x="205" y="783"/>
                      <a:pt x="205" y="783"/>
                    </a:cubicBezTo>
                    <a:cubicBezTo>
                      <a:pt x="202" y="784"/>
                      <a:pt x="202" y="784"/>
                      <a:pt x="202" y="784"/>
                    </a:cubicBezTo>
                    <a:cubicBezTo>
                      <a:pt x="200" y="792"/>
                      <a:pt x="200" y="792"/>
                      <a:pt x="200" y="792"/>
                    </a:cubicBezTo>
                    <a:cubicBezTo>
                      <a:pt x="198" y="792"/>
                      <a:pt x="198" y="792"/>
                      <a:pt x="198" y="792"/>
                    </a:cubicBezTo>
                    <a:cubicBezTo>
                      <a:pt x="198" y="792"/>
                      <a:pt x="195" y="797"/>
                      <a:pt x="194" y="801"/>
                    </a:cubicBezTo>
                    <a:cubicBezTo>
                      <a:pt x="193" y="804"/>
                      <a:pt x="194" y="807"/>
                      <a:pt x="193" y="808"/>
                    </a:cubicBezTo>
                    <a:cubicBezTo>
                      <a:pt x="193" y="810"/>
                      <a:pt x="190" y="812"/>
                      <a:pt x="190" y="816"/>
                    </a:cubicBezTo>
                    <a:cubicBezTo>
                      <a:pt x="190" y="821"/>
                      <a:pt x="190" y="821"/>
                      <a:pt x="190" y="821"/>
                    </a:cubicBezTo>
                    <a:cubicBezTo>
                      <a:pt x="193" y="823"/>
                      <a:pt x="193" y="823"/>
                      <a:pt x="193" y="823"/>
                    </a:cubicBezTo>
                    <a:cubicBezTo>
                      <a:pt x="192" y="836"/>
                      <a:pt x="192" y="836"/>
                      <a:pt x="192" y="836"/>
                    </a:cubicBezTo>
                    <a:cubicBezTo>
                      <a:pt x="192" y="836"/>
                      <a:pt x="196" y="833"/>
                      <a:pt x="197" y="830"/>
                    </a:cubicBezTo>
                    <a:cubicBezTo>
                      <a:pt x="198" y="825"/>
                      <a:pt x="197" y="824"/>
                      <a:pt x="197" y="822"/>
                    </a:cubicBezTo>
                    <a:cubicBezTo>
                      <a:pt x="197" y="820"/>
                      <a:pt x="199" y="817"/>
                      <a:pt x="200" y="815"/>
                    </a:cubicBezTo>
                    <a:cubicBezTo>
                      <a:pt x="201" y="813"/>
                      <a:pt x="200" y="807"/>
                      <a:pt x="200" y="807"/>
                    </a:cubicBezTo>
                    <a:cubicBezTo>
                      <a:pt x="204" y="796"/>
                      <a:pt x="204" y="796"/>
                      <a:pt x="204" y="796"/>
                    </a:cubicBezTo>
                    <a:cubicBezTo>
                      <a:pt x="206" y="796"/>
                      <a:pt x="206" y="796"/>
                      <a:pt x="206" y="796"/>
                    </a:cubicBezTo>
                    <a:cubicBezTo>
                      <a:pt x="208" y="788"/>
                      <a:pt x="208" y="788"/>
                      <a:pt x="208" y="788"/>
                    </a:cubicBezTo>
                    <a:cubicBezTo>
                      <a:pt x="207" y="785"/>
                      <a:pt x="207" y="785"/>
                      <a:pt x="207" y="785"/>
                    </a:cubicBezTo>
                    <a:cubicBezTo>
                      <a:pt x="209" y="783"/>
                      <a:pt x="209" y="783"/>
                      <a:pt x="209" y="783"/>
                    </a:cubicBezTo>
                    <a:cubicBezTo>
                      <a:pt x="208" y="782"/>
                      <a:pt x="208" y="782"/>
                      <a:pt x="208" y="782"/>
                    </a:cubicBezTo>
                    <a:cubicBezTo>
                      <a:pt x="210" y="779"/>
                      <a:pt x="210" y="779"/>
                      <a:pt x="210" y="779"/>
                    </a:cubicBezTo>
                    <a:cubicBezTo>
                      <a:pt x="209" y="777"/>
                      <a:pt x="209" y="777"/>
                      <a:pt x="209" y="777"/>
                    </a:cubicBezTo>
                    <a:cubicBezTo>
                      <a:pt x="212" y="772"/>
                      <a:pt x="212" y="772"/>
                      <a:pt x="212" y="772"/>
                    </a:cubicBezTo>
                    <a:cubicBezTo>
                      <a:pt x="211" y="766"/>
                      <a:pt x="211" y="766"/>
                      <a:pt x="211" y="766"/>
                    </a:cubicBezTo>
                    <a:cubicBezTo>
                      <a:pt x="214" y="763"/>
                      <a:pt x="214" y="763"/>
                      <a:pt x="214" y="763"/>
                    </a:cubicBezTo>
                    <a:lnTo>
                      <a:pt x="211" y="760"/>
                    </a:lnTo>
                    <a:close/>
                    <a:moveTo>
                      <a:pt x="277" y="731"/>
                    </a:moveTo>
                    <a:cubicBezTo>
                      <a:pt x="281" y="724"/>
                      <a:pt x="281" y="724"/>
                      <a:pt x="281" y="724"/>
                    </a:cubicBezTo>
                    <a:cubicBezTo>
                      <a:pt x="278" y="718"/>
                      <a:pt x="278" y="718"/>
                      <a:pt x="278" y="718"/>
                    </a:cubicBezTo>
                    <a:cubicBezTo>
                      <a:pt x="272" y="719"/>
                      <a:pt x="272" y="719"/>
                      <a:pt x="272" y="719"/>
                    </a:cubicBezTo>
                    <a:cubicBezTo>
                      <a:pt x="270" y="724"/>
                      <a:pt x="270" y="724"/>
                      <a:pt x="270" y="724"/>
                    </a:cubicBezTo>
                    <a:cubicBezTo>
                      <a:pt x="270" y="719"/>
                      <a:pt x="270" y="719"/>
                      <a:pt x="270" y="719"/>
                    </a:cubicBezTo>
                    <a:cubicBezTo>
                      <a:pt x="270" y="719"/>
                      <a:pt x="267" y="719"/>
                      <a:pt x="266" y="720"/>
                    </a:cubicBezTo>
                    <a:cubicBezTo>
                      <a:pt x="264" y="721"/>
                      <a:pt x="263" y="724"/>
                      <a:pt x="263" y="724"/>
                    </a:cubicBezTo>
                    <a:cubicBezTo>
                      <a:pt x="263" y="724"/>
                      <a:pt x="262" y="723"/>
                      <a:pt x="259" y="726"/>
                    </a:cubicBezTo>
                    <a:cubicBezTo>
                      <a:pt x="257" y="729"/>
                      <a:pt x="253" y="739"/>
                      <a:pt x="253" y="739"/>
                    </a:cubicBezTo>
                    <a:cubicBezTo>
                      <a:pt x="253" y="739"/>
                      <a:pt x="248" y="741"/>
                      <a:pt x="248" y="746"/>
                    </a:cubicBezTo>
                    <a:cubicBezTo>
                      <a:pt x="247" y="753"/>
                      <a:pt x="253" y="753"/>
                      <a:pt x="253" y="757"/>
                    </a:cubicBezTo>
                    <a:cubicBezTo>
                      <a:pt x="251" y="762"/>
                      <a:pt x="249" y="763"/>
                      <a:pt x="249" y="763"/>
                    </a:cubicBezTo>
                    <a:cubicBezTo>
                      <a:pt x="251" y="765"/>
                      <a:pt x="251" y="765"/>
                      <a:pt x="251" y="765"/>
                    </a:cubicBezTo>
                    <a:cubicBezTo>
                      <a:pt x="251" y="772"/>
                      <a:pt x="251" y="772"/>
                      <a:pt x="251" y="772"/>
                    </a:cubicBezTo>
                    <a:cubicBezTo>
                      <a:pt x="254" y="773"/>
                      <a:pt x="254" y="773"/>
                      <a:pt x="254" y="773"/>
                    </a:cubicBezTo>
                    <a:cubicBezTo>
                      <a:pt x="254" y="776"/>
                      <a:pt x="254" y="776"/>
                      <a:pt x="254" y="776"/>
                    </a:cubicBezTo>
                    <a:cubicBezTo>
                      <a:pt x="254" y="776"/>
                      <a:pt x="257" y="775"/>
                      <a:pt x="257" y="776"/>
                    </a:cubicBezTo>
                    <a:cubicBezTo>
                      <a:pt x="257" y="777"/>
                      <a:pt x="255" y="778"/>
                      <a:pt x="255" y="778"/>
                    </a:cubicBezTo>
                    <a:cubicBezTo>
                      <a:pt x="255" y="782"/>
                      <a:pt x="255" y="782"/>
                      <a:pt x="255" y="782"/>
                    </a:cubicBezTo>
                    <a:cubicBezTo>
                      <a:pt x="255" y="783"/>
                      <a:pt x="253" y="787"/>
                      <a:pt x="253" y="787"/>
                    </a:cubicBezTo>
                    <a:cubicBezTo>
                      <a:pt x="258" y="785"/>
                      <a:pt x="258" y="785"/>
                      <a:pt x="258" y="785"/>
                    </a:cubicBezTo>
                    <a:cubicBezTo>
                      <a:pt x="261" y="779"/>
                      <a:pt x="261" y="779"/>
                      <a:pt x="261" y="779"/>
                    </a:cubicBezTo>
                    <a:cubicBezTo>
                      <a:pt x="260" y="779"/>
                      <a:pt x="260" y="779"/>
                      <a:pt x="260" y="779"/>
                    </a:cubicBezTo>
                    <a:cubicBezTo>
                      <a:pt x="261" y="774"/>
                      <a:pt x="261" y="774"/>
                      <a:pt x="261" y="774"/>
                    </a:cubicBezTo>
                    <a:cubicBezTo>
                      <a:pt x="262" y="772"/>
                      <a:pt x="262" y="772"/>
                      <a:pt x="262" y="772"/>
                    </a:cubicBezTo>
                    <a:cubicBezTo>
                      <a:pt x="261" y="772"/>
                      <a:pt x="261" y="772"/>
                      <a:pt x="261" y="772"/>
                    </a:cubicBezTo>
                    <a:cubicBezTo>
                      <a:pt x="266" y="766"/>
                      <a:pt x="266" y="766"/>
                      <a:pt x="266" y="766"/>
                    </a:cubicBezTo>
                    <a:cubicBezTo>
                      <a:pt x="271" y="763"/>
                      <a:pt x="271" y="763"/>
                      <a:pt x="271" y="763"/>
                    </a:cubicBezTo>
                    <a:cubicBezTo>
                      <a:pt x="271" y="758"/>
                      <a:pt x="271" y="758"/>
                      <a:pt x="271" y="758"/>
                    </a:cubicBezTo>
                    <a:cubicBezTo>
                      <a:pt x="277" y="750"/>
                      <a:pt x="277" y="750"/>
                      <a:pt x="277" y="750"/>
                    </a:cubicBezTo>
                    <a:cubicBezTo>
                      <a:pt x="274" y="750"/>
                      <a:pt x="274" y="750"/>
                      <a:pt x="274" y="750"/>
                    </a:cubicBezTo>
                    <a:cubicBezTo>
                      <a:pt x="271" y="746"/>
                      <a:pt x="271" y="746"/>
                      <a:pt x="271" y="746"/>
                    </a:cubicBezTo>
                    <a:cubicBezTo>
                      <a:pt x="271" y="746"/>
                      <a:pt x="273" y="743"/>
                      <a:pt x="274" y="740"/>
                    </a:cubicBezTo>
                    <a:cubicBezTo>
                      <a:pt x="274" y="738"/>
                      <a:pt x="271" y="735"/>
                      <a:pt x="271" y="735"/>
                    </a:cubicBezTo>
                    <a:cubicBezTo>
                      <a:pt x="272" y="730"/>
                      <a:pt x="272" y="730"/>
                      <a:pt x="272" y="730"/>
                    </a:cubicBezTo>
                    <a:lnTo>
                      <a:pt x="277" y="731"/>
                    </a:lnTo>
                    <a:close/>
                    <a:moveTo>
                      <a:pt x="280" y="719"/>
                    </a:moveTo>
                    <a:cubicBezTo>
                      <a:pt x="282" y="721"/>
                      <a:pt x="282" y="721"/>
                      <a:pt x="282" y="721"/>
                    </a:cubicBezTo>
                    <a:cubicBezTo>
                      <a:pt x="286" y="711"/>
                      <a:pt x="286" y="711"/>
                      <a:pt x="286" y="711"/>
                    </a:cubicBezTo>
                    <a:cubicBezTo>
                      <a:pt x="281" y="712"/>
                      <a:pt x="281" y="712"/>
                      <a:pt x="281" y="712"/>
                    </a:cubicBezTo>
                    <a:lnTo>
                      <a:pt x="280" y="719"/>
                    </a:lnTo>
                    <a:close/>
                    <a:moveTo>
                      <a:pt x="286" y="715"/>
                    </a:moveTo>
                    <a:cubicBezTo>
                      <a:pt x="290" y="715"/>
                      <a:pt x="290" y="715"/>
                      <a:pt x="290" y="715"/>
                    </a:cubicBezTo>
                    <a:cubicBezTo>
                      <a:pt x="291" y="712"/>
                      <a:pt x="291" y="712"/>
                      <a:pt x="291" y="712"/>
                    </a:cubicBezTo>
                    <a:cubicBezTo>
                      <a:pt x="288" y="712"/>
                      <a:pt x="288" y="712"/>
                      <a:pt x="288" y="712"/>
                    </a:cubicBezTo>
                    <a:lnTo>
                      <a:pt x="286" y="715"/>
                    </a:lnTo>
                    <a:close/>
                    <a:moveTo>
                      <a:pt x="282" y="691"/>
                    </a:moveTo>
                    <a:cubicBezTo>
                      <a:pt x="287" y="688"/>
                      <a:pt x="287" y="688"/>
                      <a:pt x="287" y="688"/>
                    </a:cubicBezTo>
                    <a:cubicBezTo>
                      <a:pt x="280" y="684"/>
                      <a:pt x="280" y="684"/>
                      <a:pt x="280" y="684"/>
                    </a:cubicBezTo>
                    <a:cubicBezTo>
                      <a:pt x="281" y="689"/>
                      <a:pt x="281" y="689"/>
                      <a:pt x="281" y="689"/>
                    </a:cubicBezTo>
                    <a:lnTo>
                      <a:pt x="282" y="691"/>
                    </a:lnTo>
                    <a:close/>
                    <a:moveTo>
                      <a:pt x="243" y="630"/>
                    </a:moveTo>
                    <a:cubicBezTo>
                      <a:pt x="255" y="631"/>
                      <a:pt x="255" y="631"/>
                      <a:pt x="255" y="631"/>
                    </a:cubicBezTo>
                    <a:cubicBezTo>
                      <a:pt x="256" y="630"/>
                      <a:pt x="256" y="630"/>
                      <a:pt x="256" y="630"/>
                    </a:cubicBezTo>
                    <a:cubicBezTo>
                      <a:pt x="254" y="626"/>
                      <a:pt x="254" y="626"/>
                      <a:pt x="254" y="626"/>
                    </a:cubicBezTo>
                    <a:cubicBezTo>
                      <a:pt x="251" y="625"/>
                      <a:pt x="251" y="625"/>
                      <a:pt x="251" y="625"/>
                    </a:cubicBezTo>
                    <a:cubicBezTo>
                      <a:pt x="248" y="626"/>
                      <a:pt x="248" y="626"/>
                      <a:pt x="248" y="626"/>
                    </a:cubicBezTo>
                    <a:cubicBezTo>
                      <a:pt x="249" y="628"/>
                      <a:pt x="249" y="628"/>
                      <a:pt x="249" y="628"/>
                    </a:cubicBezTo>
                    <a:cubicBezTo>
                      <a:pt x="243" y="628"/>
                      <a:pt x="243" y="628"/>
                      <a:pt x="243" y="628"/>
                    </a:cubicBezTo>
                    <a:lnTo>
                      <a:pt x="243" y="630"/>
                    </a:lnTo>
                    <a:close/>
                    <a:moveTo>
                      <a:pt x="254" y="615"/>
                    </a:moveTo>
                    <a:cubicBezTo>
                      <a:pt x="253" y="620"/>
                      <a:pt x="253" y="620"/>
                      <a:pt x="253" y="620"/>
                    </a:cubicBezTo>
                    <a:cubicBezTo>
                      <a:pt x="258" y="617"/>
                      <a:pt x="258" y="617"/>
                      <a:pt x="258" y="617"/>
                    </a:cubicBezTo>
                    <a:lnTo>
                      <a:pt x="254" y="615"/>
                    </a:lnTo>
                    <a:close/>
                    <a:moveTo>
                      <a:pt x="266" y="610"/>
                    </a:moveTo>
                    <a:cubicBezTo>
                      <a:pt x="265" y="607"/>
                      <a:pt x="265" y="607"/>
                      <a:pt x="265" y="607"/>
                    </a:cubicBezTo>
                    <a:cubicBezTo>
                      <a:pt x="259" y="610"/>
                      <a:pt x="259" y="610"/>
                      <a:pt x="259" y="610"/>
                    </a:cubicBezTo>
                    <a:cubicBezTo>
                      <a:pt x="262" y="612"/>
                      <a:pt x="262" y="612"/>
                      <a:pt x="262" y="612"/>
                    </a:cubicBezTo>
                    <a:lnTo>
                      <a:pt x="266" y="610"/>
                    </a:lnTo>
                    <a:close/>
                    <a:moveTo>
                      <a:pt x="258" y="630"/>
                    </a:moveTo>
                    <a:cubicBezTo>
                      <a:pt x="261" y="629"/>
                      <a:pt x="261" y="629"/>
                      <a:pt x="261" y="629"/>
                    </a:cubicBezTo>
                    <a:cubicBezTo>
                      <a:pt x="258" y="626"/>
                      <a:pt x="258" y="626"/>
                      <a:pt x="258" y="626"/>
                    </a:cubicBezTo>
                    <a:lnTo>
                      <a:pt x="258" y="630"/>
                    </a:lnTo>
                    <a:close/>
                    <a:moveTo>
                      <a:pt x="249" y="651"/>
                    </a:moveTo>
                    <a:cubicBezTo>
                      <a:pt x="253" y="644"/>
                      <a:pt x="253" y="644"/>
                      <a:pt x="253" y="644"/>
                    </a:cubicBezTo>
                    <a:cubicBezTo>
                      <a:pt x="250" y="643"/>
                      <a:pt x="250" y="643"/>
                      <a:pt x="250" y="643"/>
                    </a:cubicBezTo>
                    <a:cubicBezTo>
                      <a:pt x="246" y="649"/>
                      <a:pt x="246" y="649"/>
                      <a:pt x="246" y="649"/>
                    </a:cubicBezTo>
                    <a:lnTo>
                      <a:pt x="249" y="651"/>
                    </a:lnTo>
                    <a:close/>
                    <a:moveTo>
                      <a:pt x="245" y="653"/>
                    </a:moveTo>
                    <a:cubicBezTo>
                      <a:pt x="244" y="656"/>
                      <a:pt x="245" y="658"/>
                      <a:pt x="247" y="656"/>
                    </a:cubicBezTo>
                    <a:cubicBezTo>
                      <a:pt x="249" y="653"/>
                      <a:pt x="246" y="651"/>
                      <a:pt x="245" y="653"/>
                    </a:cubicBezTo>
                    <a:close/>
                    <a:moveTo>
                      <a:pt x="238" y="652"/>
                    </a:moveTo>
                    <a:cubicBezTo>
                      <a:pt x="241" y="653"/>
                      <a:pt x="241" y="653"/>
                      <a:pt x="241" y="653"/>
                    </a:cubicBezTo>
                    <a:cubicBezTo>
                      <a:pt x="243" y="649"/>
                      <a:pt x="243" y="649"/>
                      <a:pt x="243" y="649"/>
                    </a:cubicBezTo>
                    <a:cubicBezTo>
                      <a:pt x="242" y="649"/>
                      <a:pt x="242" y="649"/>
                      <a:pt x="242" y="649"/>
                    </a:cubicBezTo>
                    <a:lnTo>
                      <a:pt x="238" y="652"/>
                    </a:lnTo>
                    <a:close/>
                    <a:moveTo>
                      <a:pt x="251" y="632"/>
                    </a:moveTo>
                    <a:cubicBezTo>
                      <a:pt x="249" y="633"/>
                      <a:pt x="249" y="633"/>
                      <a:pt x="249" y="633"/>
                    </a:cubicBezTo>
                    <a:cubicBezTo>
                      <a:pt x="246" y="635"/>
                      <a:pt x="246" y="635"/>
                      <a:pt x="246" y="635"/>
                    </a:cubicBezTo>
                    <a:cubicBezTo>
                      <a:pt x="251" y="636"/>
                      <a:pt x="251" y="636"/>
                      <a:pt x="251" y="636"/>
                    </a:cubicBezTo>
                    <a:lnTo>
                      <a:pt x="251" y="632"/>
                    </a:lnTo>
                    <a:close/>
                    <a:moveTo>
                      <a:pt x="229" y="662"/>
                    </a:moveTo>
                    <a:cubicBezTo>
                      <a:pt x="229" y="664"/>
                      <a:pt x="229" y="664"/>
                      <a:pt x="229" y="664"/>
                    </a:cubicBezTo>
                    <a:cubicBezTo>
                      <a:pt x="232" y="666"/>
                      <a:pt x="232" y="666"/>
                      <a:pt x="232" y="666"/>
                    </a:cubicBezTo>
                    <a:cubicBezTo>
                      <a:pt x="231" y="661"/>
                      <a:pt x="231" y="661"/>
                      <a:pt x="231" y="661"/>
                    </a:cubicBezTo>
                    <a:lnTo>
                      <a:pt x="229" y="662"/>
                    </a:lnTo>
                    <a:close/>
                    <a:moveTo>
                      <a:pt x="246" y="562"/>
                    </a:moveTo>
                    <a:cubicBezTo>
                      <a:pt x="244" y="562"/>
                      <a:pt x="244" y="562"/>
                      <a:pt x="244" y="562"/>
                    </a:cubicBezTo>
                    <a:cubicBezTo>
                      <a:pt x="243" y="558"/>
                      <a:pt x="243" y="558"/>
                      <a:pt x="243" y="558"/>
                    </a:cubicBezTo>
                    <a:cubicBezTo>
                      <a:pt x="241" y="554"/>
                      <a:pt x="241" y="554"/>
                      <a:pt x="241" y="554"/>
                    </a:cubicBezTo>
                    <a:cubicBezTo>
                      <a:pt x="240" y="554"/>
                      <a:pt x="240" y="554"/>
                      <a:pt x="240" y="554"/>
                    </a:cubicBezTo>
                    <a:cubicBezTo>
                      <a:pt x="241" y="560"/>
                      <a:pt x="241" y="560"/>
                      <a:pt x="241" y="560"/>
                    </a:cubicBezTo>
                    <a:cubicBezTo>
                      <a:pt x="246" y="567"/>
                      <a:pt x="246" y="567"/>
                      <a:pt x="246" y="567"/>
                    </a:cubicBezTo>
                    <a:lnTo>
                      <a:pt x="246" y="562"/>
                    </a:lnTo>
                    <a:close/>
                    <a:moveTo>
                      <a:pt x="245" y="571"/>
                    </a:moveTo>
                    <a:cubicBezTo>
                      <a:pt x="248" y="572"/>
                      <a:pt x="249" y="569"/>
                      <a:pt x="246" y="569"/>
                    </a:cubicBezTo>
                    <a:cubicBezTo>
                      <a:pt x="243" y="569"/>
                      <a:pt x="243" y="571"/>
                      <a:pt x="245" y="571"/>
                    </a:cubicBezTo>
                    <a:close/>
                    <a:moveTo>
                      <a:pt x="253" y="571"/>
                    </a:moveTo>
                    <a:cubicBezTo>
                      <a:pt x="250" y="571"/>
                      <a:pt x="250" y="574"/>
                      <a:pt x="253" y="576"/>
                    </a:cubicBezTo>
                    <a:cubicBezTo>
                      <a:pt x="255" y="577"/>
                      <a:pt x="256" y="576"/>
                      <a:pt x="256" y="573"/>
                    </a:cubicBezTo>
                    <a:cubicBezTo>
                      <a:pt x="255" y="571"/>
                      <a:pt x="254" y="571"/>
                      <a:pt x="253" y="571"/>
                    </a:cubicBezTo>
                    <a:close/>
                    <a:moveTo>
                      <a:pt x="200" y="696"/>
                    </a:moveTo>
                    <a:cubicBezTo>
                      <a:pt x="199" y="693"/>
                      <a:pt x="199" y="693"/>
                      <a:pt x="199" y="693"/>
                    </a:cubicBezTo>
                    <a:cubicBezTo>
                      <a:pt x="198" y="693"/>
                      <a:pt x="198" y="693"/>
                      <a:pt x="198" y="693"/>
                    </a:cubicBezTo>
                    <a:cubicBezTo>
                      <a:pt x="198" y="699"/>
                      <a:pt x="198" y="699"/>
                      <a:pt x="198" y="699"/>
                    </a:cubicBezTo>
                    <a:cubicBezTo>
                      <a:pt x="202" y="698"/>
                      <a:pt x="202" y="698"/>
                      <a:pt x="202" y="698"/>
                    </a:cubicBezTo>
                    <a:lnTo>
                      <a:pt x="200" y="696"/>
                    </a:lnTo>
                    <a:close/>
                    <a:moveTo>
                      <a:pt x="198" y="739"/>
                    </a:moveTo>
                    <a:cubicBezTo>
                      <a:pt x="195" y="736"/>
                      <a:pt x="195" y="736"/>
                      <a:pt x="195" y="736"/>
                    </a:cubicBezTo>
                    <a:cubicBezTo>
                      <a:pt x="195" y="740"/>
                      <a:pt x="195" y="740"/>
                      <a:pt x="195" y="740"/>
                    </a:cubicBezTo>
                    <a:lnTo>
                      <a:pt x="198" y="739"/>
                    </a:lnTo>
                    <a:close/>
                    <a:moveTo>
                      <a:pt x="266" y="598"/>
                    </a:moveTo>
                    <a:cubicBezTo>
                      <a:pt x="263" y="596"/>
                      <a:pt x="263" y="596"/>
                      <a:pt x="263" y="596"/>
                    </a:cubicBezTo>
                    <a:cubicBezTo>
                      <a:pt x="261" y="598"/>
                      <a:pt x="261" y="598"/>
                      <a:pt x="261" y="598"/>
                    </a:cubicBezTo>
                    <a:lnTo>
                      <a:pt x="266" y="598"/>
                    </a:lnTo>
                    <a:close/>
                    <a:moveTo>
                      <a:pt x="205" y="485"/>
                    </a:moveTo>
                    <a:cubicBezTo>
                      <a:pt x="206" y="482"/>
                      <a:pt x="206" y="482"/>
                      <a:pt x="206" y="482"/>
                    </a:cubicBezTo>
                    <a:cubicBezTo>
                      <a:pt x="202" y="479"/>
                      <a:pt x="202" y="479"/>
                      <a:pt x="202" y="479"/>
                    </a:cubicBezTo>
                    <a:cubicBezTo>
                      <a:pt x="200" y="482"/>
                      <a:pt x="200" y="482"/>
                      <a:pt x="200" y="482"/>
                    </a:cubicBezTo>
                    <a:lnTo>
                      <a:pt x="205" y="485"/>
                    </a:lnTo>
                    <a:close/>
                    <a:moveTo>
                      <a:pt x="199" y="439"/>
                    </a:moveTo>
                    <a:cubicBezTo>
                      <a:pt x="201" y="439"/>
                      <a:pt x="201" y="439"/>
                      <a:pt x="201" y="439"/>
                    </a:cubicBezTo>
                    <a:cubicBezTo>
                      <a:pt x="200" y="432"/>
                      <a:pt x="200" y="432"/>
                      <a:pt x="200" y="432"/>
                    </a:cubicBezTo>
                    <a:cubicBezTo>
                      <a:pt x="198" y="431"/>
                      <a:pt x="198" y="431"/>
                      <a:pt x="198" y="431"/>
                    </a:cubicBezTo>
                    <a:lnTo>
                      <a:pt x="199" y="439"/>
                    </a:lnTo>
                    <a:close/>
                    <a:moveTo>
                      <a:pt x="217" y="421"/>
                    </a:moveTo>
                    <a:cubicBezTo>
                      <a:pt x="216" y="419"/>
                      <a:pt x="216" y="419"/>
                      <a:pt x="216" y="419"/>
                    </a:cubicBezTo>
                    <a:cubicBezTo>
                      <a:pt x="214" y="419"/>
                      <a:pt x="214" y="419"/>
                      <a:pt x="214" y="419"/>
                    </a:cubicBezTo>
                    <a:cubicBezTo>
                      <a:pt x="214" y="421"/>
                      <a:pt x="214" y="421"/>
                      <a:pt x="214" y="421"/>
                    </a:cubicBezTo>
                    <a:cubicBezTo>
                      <a:pt x="214" y="425"/>
                      <a:pt x="214" y="425"/>
                      <a:pt x="214" y="425"/>
                    </a:cubicBezTo>
                    <a:lnTo>
                      <a:pt x="217" y="421"/>
                    </a:lnTo>
                    <a:close/>
                    <a:moveTo>
                      <a:pt x="220" y="411"/>
                    </a:moveTo>
                    <a:cubicBezTo>
                      <a:pt x="215" y="412"/>
                      <a:pt x="214" y="415"/>
                      <a:pt x="216" y="416"/>
                    </a:cubicBezTo>
                    <a:cubicBezTo>
                      <a:pt x="220" y="418"/>
                      <a:pt x="223" y="411"/>
                      <a:pt x="220" y="411"/>
                    </a:cubicBezTo>
                    <a:close/>
                    <a:moveTo>
                      <a:pt x="234" y="392"/>
                    </a:moveTo>
                    <a:cubicBezTo>
                      <a:pt x="232" y="384"/>
                      <a:pt x="232" y="384"/>
                      <a:pt x="232" y="384"/>
                    </a:cubicBezTo>
                    <a:cubicBezTo>
                      <a:pt x="231" y="393"/>
                      <a:pt x="231" y="393"/>
                      <a:pt x="231" y="393"/>
                    </a:cubicBezTo>
                    <a:lnTo>
                      <a:pt x="234" y="392"/>
                    </a:lnTo>
                    <a:close/>
                    <a:moveTo>
                      <a:pt x="294" y="340"/>
                    </a:moveTo>
                    <a:cubicBezTo>
                      <a:pt x="294" y="343"/>
                      <a:pt x="294" y="343"/>
                      <a:pt x="294" y="343"/>
                    </a:cubicBezTo>
                    <a:cubicBezTo>
                      <a:pt x="297" y="342"/>
                      <a:pt x="297" y="342"/>
                      <a:pt x="297" y="342"/>
                    </a:cubicBezTo>
                    <a:cubicBezTo>
                      <a:pt x="296" y="336"/>
                      <a:pt x="296" y="336"/>
                      <a:pt x="296" y="336"/>
                    </a:cubicBezTo>
                    <a:lnTo>
                      <a:pt x="294" y="340"/>
                    </a:lnTo>
                    <a:close/>
                    <a:moveTo>
                      <a:pt x="293" y="335"/>
                    </a:moveTo>
                    <a:cubicBezTo>
                      <a:pt x="290" y="340"/>
                      <a:pt x="294" y="336"/>
                      <a:pt x="294" y="336"/>
                    </a:cubicBezTo>
                    <a:cubicBezTo>
                      <a:pt x="296" y="333"/>
                      <a:pt x="295" y="331"/>
                      <a:pt x="293" y="335"/>
                    </a:cubicBezTo>
                    <a:close/>
                    <a:moveTo>
                      <a:pt x="298" y="236"/>
                    </a:moveTo>
                    <a:cubicBezTo>
                      <a:pt x="300" y="240"/>
                      <a:pt x="300" y="240"/>
                      <a:pt x="300" y="240"/>
                    </a:cubicBezTo>
                    <a:cubicBezTo>
                      <a:pt x="306" y="242"/>
                      <a:pt x="306" y="242"/>
                      <a:pt x="306" y="242"/>
                    </a:cubicBezTo>
                    <a:cubicBezTo>
                      <a:pt x="307" y="241"/>
                      <a:pt x="307" y="241"/>
                      <a:pt x="307" y="241"/>
                    </a:cubicBezTo>
                    <a:cubicBezTo>
                      <a:pt x="304" y="239"/>
                      <a:pt x="304" y="239"/>
                      <a:pt x="304" y="239"/>
                    </a:cubicBezTo>
                    <a:cubicBezTo>
                      <a:pt x="305" y="236"/>
                      <a:pt x="305" y="236"/>
                      <a:pt x="305" y="236"/>
                    </a:cubicBezTo>
                    <a:cubicBezTo>
                      <a:pt x="303" y="235"/>
                      <a:pt x="303" y="235"/>
                      <a:pt x="303" y="235"/>
                    </a:cubicBezTo>
                    <a:cubicBezTo>
                      <a:pt x="302" y="237"/>
                      <a:pt x="302" y="237"/>
                      <a:pt x="302" y="237"/>
                    </a:cubicBezTo>
                    <a:cubicBezTo>
                      <a:pt x="302" y="235"/>
                      <a:pt x="302" y="235"/>
                      <a:pt x="302" y="235"/>
                    </a:cubicBezTo>
                    <a:lnTo>
                      <a:pt x="298" y="236"/>
                    </a:lnTo>
                    <a:close/>
                    <a:moveTo>
                      <a:pt x="312" y="222"/>
                    </a:moveTo>
                    <a:cubicBezTo>
                      <a:pt x="315" y="226"/>
                      <a:pt x="315" y="226"/>
                      <a:pt x="315" y="226"/>
                    </a:cubicBezTo>
                    <a:cubicBezTo>
                      <a:pt x="314" y="221"/>
                      <a:pt x="314" y="221"/>
                      <a:pt x="314" y="221"/>
                    </a:cubicBezTo>
                    <a:lnTo>
                      <a:pt x="312" y="222"/>
                    </a:lnTo>
                    <a:close/>
                    <a:moveTo>
                      <a:pt x="320" y="227"/>
                    </a:moveTo>
                    <a:cubicBezTo>
                      <a:pt x="322" y="224"/>
                      <a:pt x="322" y="224"/>
                      <a:pt x="322" y="224"/>
                    </a:cubicBezTo>
                    <a:cubicBezTo>
                      <a:pt x="317" y="225"/>
                      <a:pt x="317" y="225"/>
                      <a:pt x="317" y="225"/>
                    </a:cubicBezTo>
                    <a:lnTo>
                      <a:pt x="320" y="227"/>
                    </a:lnTo>
                    <a:close/>
                    <a:moveTo>
                      <a:pt x="322" y="222"/>
                    </a:moveTo>
                    <a:cubicBezTo>
                      <a:pt x="326" y="222"/>
                      <a:pt x="326" y="222"/>
                      <a:pt x="326" y="222"/>
                    </a:cubicBezTo>
                    <a:cubicBezTo>
                      <a:pt x="326" y="221"/>
                      <a:pt x="326" y="221"/>
                      <a:pt x="326" y="221"/>
                    </a:cubicBezTo>
                    <a:cubicBezTo>
                      <a:pt x="322" y="220"/>
                      <a:pt x="322" y="220"/>
                      <a:pt x="322" y="220"/>
                    </a:cubicBezTo>
                    <a:lnTo>
                      <a:pt x="322" y="222"/>
                    </a:lnTo>
                    <a:close/>
                    <a:moveTo>
                      <a:pt x="325" y="217"/>
                    </a:moveTo>
                    <a:cubicBezTo>
                      <a:pt x="326" y="213"/>
                      <a:pt x="326" y="213"/>
                      <a:pt x="326" y="213"/>
                    </a:cubicBezTo>
                    <a:cubicBezTo>
                      <a:pt x="322" y="215"/>
                      <a:pt x="322" y="215"/>
                      <a:pt x="322" y="215"/>
                    </a:cubicBezTo>
                    <a:lnTo>
                      <a:pt x="325" y="217"/>
                    </a:lnTo>
                    <a:close/>
                    <a:moveTo>
                      <a:pt x="319" y="219"/>
                    </a:moveTo>
                    <a:cubicBezTo>
                      <a:pt x="317" y="218"/>
                      <a:pt x="315" y="219"/>
                      <a:pt x="315" y="219"/>
                    </a:cubicBezTo>
                    <a:cubicBezTo>
                      <a:pt x="315" y="219"/>
                      <a:pt x="314" y="220"/>
                      <a:pt x="316" y="221"/>
                    </a:cubicBezTo>
                    <a:cubicBezTo>
                      <a:pt x="319" y="221"/>
                      <a:pt x="320" y="220"/>
                      <a:pt x="319" y="219"/>
                    </a:cubicBezTo>
                    <a:close/>
                    <a:moveTo>
                      <a:pt x="354" y="202"/>
                    </a:moveTo>
                    <a:cubicBezTo>
                      <a:pt x="356" y="202"/>
                      <a:pt x="356" y="202"/>
                      <a:pt x="356" y="202"/>
                    </a:cubicBezTo>
                    <a:cubicBezTo>
                      <a:pt x="356" y="200"/>
                      <a:pt x="356" y="200"/>
                      <a:pt x="356" y="200"/>
                    </a:cubicBezTo>
                    <a:cubicBezTo>
                      <a:pt x="354" y="200"/>
                      <a:pt x="354" y="200"/>
                      <a:pt x="354" y="200"/>
                    </a:cubicBezTo>
                    <a:lnTo>
                      <a:pt x="354" y="20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47" name="Spain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2852738" y="4773613"/>
                <a:ext cx="1344612" cy="1111250"/>
              </a:xfrm>
              <a:custGeom>
                <a:avLst/>
                <a:gdLst/>
                <a:ahLst/>
                <a:cxnLst>
                  <a:cxn ang="0">
                    <a:pos x="482" y="410"/>
                  </a:cxn>
                  <a:cxn ang="0">
                    <a:pos x="472" y="381"/>
                  </a:cxn>
                  <a:cxn ang="0">
                    <a:pos x="474" y="395"/>
                  </a:cxn>
                  <a:cxn ang="0">
                    <a:pos x="484" y="379"/>
                  </a:cxn>
                  <a:cxn ang="0">
                    <a:pos x="576" y="333"/>
                  </a:cxn>
                  <a:cxn ang="0">
                    <a:pos x="530" y="360"/>
                  </a:cxn>
                  <a:cxn ang="0">
                    <a:pos x="560" y="372"/>
                  </a:cxn>
                  <a:cxn ang="0">
                    <a:pos x="584" y="358"/>
                  </a:cxn>
                  <a:cxn ang="0">
                    <a:pos x="575" y="348"/>
                  </a:cxn>
                  <a:cxn ang="0">
                    <a:pos x="506" y="163"/>
                  </a:cxn>
                  <a:cxn ang="0">
                    <a:pos x="494" y="147"/>
                  </a:cxn>
                  <a:cxn ang="0">
                    <a:pos x="456" y="138"/>
                  </a:cxn>
                  <a:cxn ang="0">
                    <a:pos x="417" y="128"/>
                  </a:cxn>
                  <a:cxn ang="0">
                    <a:pos x="406" y="115"/>
                  </a:cxn>
                  <a:cxn ang="0">
                    <a:pos x="369" y="104"/>
                  </a:cxn>
                  <a:cxn ang="0">
                    <a:pos x="364" y="86"/>
                  </a:cxn>
                  <a:cxn ang="0">
                    <a:pos x="297" y="75"/>
                  </a:cxn>
                  <a:cxn ang="0">
                    <a:pos x="262" y="62"/>
                  </a:cxn>
                  <a:cxn ang="0">
                    <a:pos x="178" y="37"/>
                  </a:cxn>
                  <a:cxn ang="0">
                    <a:pos x="115" y="21"/>
                  </a:cxn>
                  <a:cxn ang="0">
                    <a:pos x="89" y="10"/>
                  </a:cxn>
                  <a:cxn ang="0">
                    <a:pos x="69" y="1"/>
                  </a:cxn>
                  <a:cxn ang="0">
                    <a:pos x="62" y="17"/>
                  </a:cxn>
                  <a:cxn ang="0">
                    <a:pos x="16" y="19"/>
                  </a:cxn>
                  <a:cxn ang="0">
                    <a:pos x="5" y="37"/>
                  </a:cxn>
                  <a:cxn ang="0">
                    <a:pos x="3" y="58"/>
                  </a:cxn>
                  <a:cxn ang="0">
                    <a:pos x="14" y="69"/>
                  </a:cxn>
                  <a:cxn ang="0">
                    <a:pos x="7" y="78"/>
                  </a:cxn>
                  <a:cxn ang="0">
                    <a:pos x="11" y="87"/>
                  </a:cxn>
                  <a:cxn ang="0">
                    <a:pos x="16" y="98"/>
                  </a:cxn>
                  <a:cxn ang="0">
                    <a:pos x="41" y="107"/>
                  </a:cxn>
                  <a:cxn ang="0">
                    <a:pos x="63" y="126"/>
                  </a:cxn>
                  <a:cxn ang="0">
                    <a:pos x="100" y="128"/>
                  </a:cxn>
                  <a:cxn ang="0">
                    <a:pos x="112" y="150"/>
                  </a:cxn>
                  <a:cxn ang="0">
                    <a:pos x="90" y="185"/>
                  </a:cxn>
                  <a:cxn ang="0">
                    <a:pos x="74" y="235"/>
                  </a:cxn>
                  <a:cxn ang="0">
                    <a:pos x="59" y="270"/>
                  </a:cxn>
                  <a:cxn ang="0">
                    <a:pos x="46" y="306"/>
                  </a:cxn>
                  <a:cxn ang="0">
                    <a:pos x="34" y="364"/>
                  </a:cxn>
                  <a:cxn ang="0">
                    <a:pos x="21" y="384"/>
                  </a:cxn>
                  <a:cxn ang="0">
                    <a:pos x="23" y="428"/>
                  </a:cxn>
                  <a:cxn ang="0">
                    <a:pos x="32" y="433"/>
                  </a:cxn>
                  <a:cxn ang="0">
                    <a:pos x="50" y="466"/>
                  </a:cxn>
                  <a:cxn ang="0">
                    <a:pos x="60" y="483"/>
                  </a:cxn>
                  <a:cxn ang="0">
                    <a:pos x="72" y="507"/>
                  </a:cxn>
                  <a:cxn ang="0">
                    <a:pos x="95" y="520"/>
                  </a:cxn>
                  <a:cxn ang="0">
                    <a:pos x="141" y="498"/>
                  </a:cxn>
                  <a:cxn ang="0">
                    <a:pos x="217" y="498"/>
                  </a:cxn>
                  <a:cxn ang="0">
                    <a:pos x="284" y="500"/>
                  </a:cxn>
                  <a:cxn ang="0">
                    <a:pos x="324" y="462"/>
                  </a:cxn>
                  <a:cxn ang="0">
                    <a:pos x="359" y="455"/>
                  </a:cxn>
                  <a:cxn ang="0">
                    <a:pos x="367" y="428"/>
                  </a:cxn>
                  <a:cxn ang="0">
                    <a:pos x="404" y="403"/>
                  </a:cxn>
                  <a:cxn ang="0">
                    <a:pos x="415" y="317"/>
                  </a:cxn>
                  <a:cxn ang="0">
                    <a:pos x="453" y="277"/>
                  </a:cxn>
                  <a:cxn ang="0">
                    <a:pos x="457" y="277"/>
                  </a:cxn>
                  <a:cxn ang="0">
                    <a:pos x="484" y="248"/>
                  </a:cxn>
                  <a:cxn ang="0">
                    <a:pos x="589" y="199"/>
                  </a:cxn>
                  <a:cxn ang="0">
                    <a:pos x="590" y="174"/>
                  </a:cxn>
                  <a:cxn ang="0">
                    <a:pos x="551" y="171"/>
                  </a:cxn>
                  <a:cxn ang="0">
                    <a:pos x="519" y="161"/>
                  </a:cxn>
                  <a:cxn ang="0">
                    <a:pos x="617" y="340"/>
                  </a:cxn>
                </a:cxnLst>
                <a:rect l="0" t="0" r="r" b="b"/>
                <a:pathLst>
                  <a:path w="631" h="522">
                    <a:moveTo>
                      <a:pt x="476" y="401"/>
                    </a:moveTo>
                    <a:cubicBezTo>
                      <a:pt x="474" y="405"/>
                      <a:pt x="474" y="405"/>
                      <a:pt x="474" y="405"/>
                    </a:cubicBezTo>
                    <a:cubicBezTo>
                      <a:pt x="475" y="410"/>
                      <a:pt x="475" y="410"/>
                      <a:pt x="475" y="410"/>
                    </a:cubicBezTo>
                    <a:cubicBezTo>
                      <a:pt x="478" y="407"/>
                      <a:pt x="478" y="407"/>
                      <a:pt x="478" y="407"/>
                    </a:cubicBezTo>
                    <a:cubicBezTo>
                      <a:pt x="482" y="410"/>
                      <a:pt x="482" y="410"/>
                      <a:pt x="482" y="410"/>
                    </a:cubicBezTo>
                    <a:cubicBezTo>
                      <a:pt x="484" y="408"/>
                      <a:pt x="484" y="408"/>
                      <a:pt x="484" y="408"/>
                    </a:cubicBezTo>
                    <a:cubicBezTo>
                      <a:pt x="480" y="406"/>
                      <a:pt x="480" y="406"/>
                      <a:pt x="480" y="406"/>
                    </a:cubicBezTo>
                    <a:lnTo>
                      <a:pt x="476" y="401"/>
                    </a:lnTo>
                    <a:close/>
                    <a:moveTo>
                      <a:pt x="484" y="379"/>
                    </a:moveTo>
                    <a:cubicBezTo>
                      <a:pt x="480" y="379"/>
                      <a:pt x="472" y="381"/>
                      <a:pt x="472" y="381"/>
                    </a:cubicBezTo>
                    <a:cubicBezTo>
                      <a:pt x="473" y="387"/>
                      <a:pt x="473" y="387"/>
                      <a:pt x="473" y="387"/>
                    </a:cubicBezTo>
                    <a:cubicBezTo>
                      <a:pt x="468" y="388"/>
                      <a:pt x="468" y="388"/>
                      <a:pt x="468" y="388"/>
                    </a:cubicBezTo>
                    <a:cubicBezTo>
                      <a:pt x="467" y="393"/>
                      <a:pt x="467" y="393"/>
                      <a:pt x="467" y="393"/>
                    </a:cubicBezTo>
                    <a:cubicBezTo>
                      <a:pt x="472" y="396"/>
                      <a:pt x="472" y="396"/>
                      <a:pt x="472" y="396"/>
                    </a:cubicBezTo>
                    <a:cubicBezTo>
                      <a:pt x="474" y="395"/>
                      <a:pt x="474" y="395"/>
                      <a:pt x="474" y="395"/>
                    </a:cubicBezTo>
                    <a:cubicBezTo>
                      <a:pt x="475" y="397"/>
                      <a:pt x="475" y="397"/>
                      <a:pt x="475" y="397"/>
                    </a:cubicBezTo>
                    <a:cubicBezTo>
                      <a:pt x="477" y="392"/>
                      <a:pt x="477" y="392"/>
                      <a:pt x="477" y="392"/>
                    </a:cubicBezTo>
                    <a:cubicBezTo>
                      <a:pt x="480" y="392"/>
                      <a:pt x="480" y="392"/>
                      <a:pt x="480" y="392"/>
                    </a:cubicBezTo>
                    <a:cubicBezTo>
                      <a:pt x="488" y="387"/>
                      <a:pt x="488" y="387"/>
                      <a:pt x="488" y="387"/>
                    </a:cubicBezTo>
                    <a:cubicBezTo>
                      <a:pt x="488" y="387"/>
                      <a:pt x="490" y="379"/>
                      <a:pt x="484" y="379"/>
                    </a:cubicBezTo>
                    <a:close/>
                    <a:moveTo>
                      <a:pt x="575" y="348"/>
                    </a:moveTo>
                    <a:cubicBezTo>
                      <a:pt x="572" y="347"/>
                      <a:pt x="571" y="342"/>
                      <a:pt x="571" y="342"/>
                    </a:cubicBezTo>
                    <a:cubicBezTo>
                      <a:pt x="575" y="338"/>
                      <a:pt x="575" y="338"/>
                      <a:pt x="575" y="338"/>
                    </a:cubicBezTo>
                    <a:cubicBezTo>
                      <a:pt x="572" y="338"/>
                      <a:pt x="572" y="338"/>
                      <a:pt x="572" y="338"/>
                    </a:cubicBezTo>
                    <a:cubicBezTo>
                      <a:pt x="576" y="333"/>
                      <a:pt x="576" y="333"/>
                      <a:pt x="576" y="333"/>
                    </a:cubicBezTo>
                    <a:cubicBezTo>
                      <a:pt x="576" y="333"/>
                      <a:pt x="565" y="333"/>
                      <a:pt x="555" y="337"/>
                    </a:cubicBezTo>
                    <a:cubicBezTo>
                      <a:pt x="545" y="341"/>
                      <a:pt x="541" y="348"/>
                      <a:pt x="541" y="348"/>
                    </a:cubicBezTo>
                    <a:cubicBezTo>
                      <a:pt x="538" y="347"/>
                      <a:pt x="538" y="347"/>
                      <a:pt x="538" y="347"/>
                    </a:cubicBezTo>
                    <a:cubicBezTo>
                      <a:pt x="530" y="352"/>
                      <a:pt x="530" y="352"/>
                      <a:pt x="530" y="352"/>
                    </a:cubicBezTo>
                    <a:cubicBezTo>
                      <a:pt x="530" y="360"/>
                      <a:pt x="530" y="360"/>
                      <a:pt x="530" y="360"/>
                    </a:cubicBezTo>
                    <a:cubicBezTo>
                      <a:pt x="534" y="358"/>
                      <a:pt x="534" y="358"/>
                      <a:pt x="534" y="358"/>
                    </a:cubicBezTo>
                    <a:cubicBezTo>
                      <a:pt x="534" y="358"/>
                      <a:pt x="537" y="363"/>
                      <a:pt x="538" y="363"/>
                    </a:cubicBezTo>
                    <a:cubicBezTo>
                      <a:pt x="540" y="363"/>
                      <a:pt x="541" y="358"/>
                      <a:pt x="545" y="358"/>
                    </a:cubicBezTo>
                    <a:cubicBezTo>
                      <a:pt x="550" y="359"/>
                      <a:pt x="547" y="363"/>
                      <a:pt x="550" y="369"/>
                    </a:cubicBezTo>
                    <a:cubicBezTo>
                      <a:pt x="555" y="374"/>
                      <a:pt x="560" y="372"/>
                      <a:pt x="560" y="372"/>
                    </a:cubicBezTo>
                    <a:cubicBezTo>
                      <a:pt x="563" y="378"/>
                      <a:pt x="563" y="378"/>
                      <a:pt x="563" y="378"/>
                    </a:cubicBezTo>
                    <a:cubicBezTo>
                      <a:pt x="568" y="376"/>
                      <a:pt x="568" y="376"/>
                      <a:pt x="568" y="376"/>
                    </a:cubicBezTo>
                    <a:cubicBezTo>
                      <a:pt x="568" y="376"/>
                      <a:pt x="571" y="375"/>
                      <a:pt x="574" y="373"/>
                    </a:cubicBezTo>
                    <a:cubicBezTo>
                      <a:pt x="577" y="371"/>
                      <a:pt x="577" y="365"/>
                      <a:pt x="577" y="365"/>
                    </a:cubicBezTo>
                    <a:cubicBezTo>
                      <a:pt x="584" y="358"/>
                      <a:pt x="584" y="358"/>
                      <a:pt x="584" y="358"/>
                    </a:cubicBezTo>
                    <a:cubicBezTo>
                      <a:pt x="583" y="357"/>
                      <a:pt x="583" y="357"/>
                      <a:pt x="583" y="357"/>
                    </a:cubicBezTo>
                    <a:cubicBezTo>
                      <a:pt x="586" y="357"/>
                      <a:pt x="586" y="357"/>
                      <a:pt x="586" y="357"/>
                    </a:cubicBezTo>
                    <a:cubicBezTo>
                      <a:pt x="589" y="349"/>
                      <a:pt x="589" y="349"/>
                      <a:pt x="589" y="349"/>
                    </a:cubicBezTo>
                    <a:cubicBezTo>
                      <a:pt x="582" y="344"/>
                      <a:pt x="582" y="344"/>
                      <a:pt x="582" y="344"/>
                    </a:cubicBezTo>
                    <a:cubicBezTo>
                      <a:pt x="582" y="344"/>
                      <a:pt x="579" y="348"/>
                      <a:pt x="575" y="348"/>
                    </a:cubicBezTo>
                    <a:close/>
                    <a:moveTo>
                      <a:pt x="520" y="161"/>
                    </a:moveTo>
                    <a:cubicBezTo>
                      <a:pt x="520" y="161"/>
                      <a:pt x="516" y="165"/>
                      <a:pt x="515" y="165"/>
                    </a:cubicBezTo>
                    <a:cubicBezTo>
                      <a:pt x="514" y="165"/>
                      <a:pt x="513" y="164"/>
                      <a:pt x="513" y="164"/>
                    </a:cubicBezTo>
                    <a:cubicBezTo>
                      <a:pt x="509" y="167"/>
                      <a:pt x="509" y="167"/>
                      <a:pt x="509" y="167"/>
                    </a:cubicBezTo>
                    <a:cubicBezTo>
                      <a:pt x="506" y="163"/>
                      <a:pt x="506" y="163"/>
                      <a:pt x="506" y="163"/>
                    </a:cubicBezTo>
                    <a:cubicBezTo>
                      <a:pt x="503" y="160"/>
                      <a:pt x="503" y="160"/>
                      <a:pt x="503" y="160"/>
                    </a:cubicBezTo>
                    <a:cubicBezTo>
                      <a:pt x="506" y="156"/>
                      <a:pt x="506" y="156"/>
                      <a:pt x="506" y="156"/>
                    </a:cubicBezTo>
                    <a:cubicBezTo>
                      <a:pt x="508" y="152"/>
                      <a:pt x="508" y="152"/>
                      <a:pt x="508" y="152"/>
                    </a:cubicBezTo>
                    <a:cubicBezTo>
                      <a:pt x="508" y="152"/>
                      <a:pt x="507" y="148"/>
                      <a:pt x="504" y="145"/>
                    </a:cubicBezTo>
                    <a:cubicBezTo>
                      <a:pt x="501" y="144"/>
                      <a:pt x="494" y="147"/>
                      <a:pt x="494" y="147"/>
                    </a:cubicBezTo>
                    <a:cubicBezTo>
                      <a:pt x="494" y="147"/>
                      <a:pt x="489" y="140"/>
                      <a:pt x="488" y="139"/>
                    </a:cubicBezTo>
                    <a:cubicBezTo>
                      <a:pt x="486" y="137"/>
                      <a:pt x="481" y="138"/>
                      <a:pt x="481" y="138"/>
                    </a:cubicBezTo>
                    <a:cubicBezTo>
                      <a:pt x="481" y="138"/>
                      <a:pt x="477" y="134"/>
                      <a:pt x="472" y="134"/>
                    </a:cubicBezTo>
                    <a:cubicBezTo>
                      <a:pt x="466" y="134"/>
                      <a:pt x="472" y="141"/>
                      <a:pt x="467" y="143"/>
                    </a:cubicBezTo>
                    <a:cubicBezTo>
                      <a:pt x="462" y="147"/>
                      <a:pt x="456" y="138"/>
                      <a:pt x="456" y="138"/>
                    </a:cubicBezTo>
                    <a:cubicBezTo>
                      <a:pt x="456" y="138"/>
                      <a:pt x="455" y="142"/>
                      <a:pt x="452" y="142"/>
                    </a:cubicBezTo>
                    <a:cubicBezTo>
                      <a:pt x="451" y="142"/>
                      <a:pt x="451" y="139"/>
                      <a:pt x="448" y="137"/>
                    </a:cubicBezTo>
                    <a:cubicBezTo>
                      <a:pt x="446" y="135"/>
                      <a:pt x="435" y="139"/>
                      <a:pt x="435" y="139"/>
                    </a:cubicBezTo>
                    <a:cubicBezTo>
                      <a:pt x="425" y="127"/>
                      <a:pt x="425" y="127"/>
                      <a:pt x="425" y="127"/>
                    </a:cubicBezTo>
                    <a:cubicBezTo>
                      <a:pt x="417" y="128"/>
                      <a:pt x="417" y="128"/>
                      <a:pt x="417" y="128"/>
                    </a:cubicBezTo>
                    <a:cubicBezTo>
                      <a:pt x="416" y="127"/>
                      <a:pt x="416" y="127"/>
                      <a:pt x="416" y="127"/>
                    </a:cubicBezTo>
                    <a:cubicBezTo>
                      <a:pt x="412" y="131"/>
                      <a:pt x="412" y="131"/>
                      <a:pt x="412" y="131"/>
                    </a:cubicBezTo>
                    <a:cubicBezTo>
                      <a:pt x="406" y="122"/>
                      <a:pt x="406" y="122"/>
                      <a:pt x="406" y="122"/>
                    </a:cubicBezTo>
                    <a:cubicBezTo>
                      <a:pt x="408" y="116"/>
                      <a:pt x="408" y="116"/>
                      <a:pt x="408" y="116"/>
                    </a:cubicBezTo>
                    <a:cubicBezTo>
                      <a:pt x="406" y="115"/>
                      <a:pt x="406" y="115"/>
                      <a:pt x="406" y="115"/>
                    </a:cubicBezTo>
                    <a:cubicBezTo>
                      <a:pt x="397" y="117"/>
                      <a:pt x="397" y="117"/>
                      <a:pt x="397" y="117"/>
                    </a:cubicBezTo>
                    <a:cubicBezTo>
                      <a:pt x="380" y="106"/>
                      <a:pt x="380" y="106"/>
                      <a:pt x="380" y="106"/>
                    </a:cubicBezTo>
                    <a:cubicBezTo>
                      <a:pt x="380" y="102"/>
                      <a:pt x="380" y="102"/>
                      <a:pt x="380" y="102"/>
                    </a:cubicBezTo>
                    <a:cubicBezTo>
                      <a:pt x="375" y="108"/>
                      <a:pt x="375" y="108"/>
                      <a:pt x="375" y="108"/>
                    </a:cubicBezTo>
                    <a:cubicBezTo>
                      <a:pt x="375" y="108"/>
                      <a:pt x="371" y="107"/>
                      <a:pt x="369" y="104"/>
                    </a:cubicBezTo>
                    <a:cubicBezTo>
                      <a:pt x="367" y="102"/>
                      <a:pt x="370" y="101"/>
                      <a:pt x="374" y="100"/>
                    </a:cubicBezTo>
                    <a:cubicBezTo>
                      <a:pt x="377" y="100"/>
                      <a:pt x="376" y="91"/>
                      <a:pt x="376" y="91"/>
                    </a:cubicBezTo>
                    <a:cubicBezTo>
                      <a:pt x="370" y="89"/>
                      <a:pt x="370" y="89"/>
                      <a:pt x="370" y="89"/>
                    </a:cubicBezTo>
                    <a:cubicBezTo>
                      <a:pt x="370" y="89"/>
                      <a:pt x="367" y="91"/>
                      <a:pt x="365" y="90"/>
                    </a:cubicBezTo>
                    <a:cubicBezTo>
                      <a:pt x="363" y="89"/>
                      <a:pt x="364" y="86"/>
                      <a:pt x="364" y="86"/>
                    </a:cubicBezTo>
                    <a:cubicBezTo>
                      <a:pt x="360" y="86"/>
                      <a:pt x="360" y="86"/>
                      <a:pt x="360" y="86"/>
                    </a:cubicBezTo>
                    <a:cubicBezTo>
                      <a:pt x="360" y="86"/>
                      <a:pt x="357" y="81"/>
                      <a:pt x="358" y="81"/>
                    </a:cubicBezTo>
                    <a:cubicBezTo>
                      <a:pt x="335" y="84"/>
                      <a:pt x="335" y="84"/>
                      <a:pt x="335" y="84"/>
                    </a:cubicBezTo>
                    <a:cubicBezTo>
                      <a:pt x="335" y="84"/>
                      <a:pt x="314" y="70"/>
                      <a:pt x="306" y="70"/>
                    </a:cubicBezTo>
                    <a:cubicBezTo>
                      <a:pt x="300" y="71"/>
                      <a:pt x="297" y="75"/>
                      <a:pt x="297" y="75"/>
                    </a:cubicBezTo>
                    <a:cubicBezTo>
                      <a:pt x="286" y="66"/>
                      <a:pt x="286" y="66"/>
                      <a:pt x="286" y="66"/>
                    </a:cubicBezTo>
                    <a:cubicBezTo>
                      <a:pt x="280" y="66"/>
                      <a:pt x="280" y="66"/>
                      <a:pt x="280" y="66"/>
                    </a:cubicBezTo>
                    <a:cubicBezTo>
                      <a:pt x="281" y="62"/>
                      <a:pt x="281" y="62"/>
                      <a:pt x="281" y="62"/>
                    </a:cubicBezTo>
                    <a:cubicBezTo>
                      <a:pt x="276" y="59"/>
                      <a:pt x="276" y="59"/>
                      <a:pt x="276" y="59"/>
                    </a:cubicBezTo>
                    <a:cubicBezTo>
                      <a:pt x="262" y="62"/>
                      <a:pt x="262" y="62"/>
                      <a:pt x="262" y="62"/>
                    </a:cubicBezTo>
                    <a:cubicBezTo>
                      <a:pt x="265" y="59"/>
                      <a:pt x="265" y="59"/>
                      <a:pt x="265" y="59"/>
                    </a:cubicBezTo>
                    <a:cubicBezTo>
                      <a:pt x="262" y="57"/>
                      <a:pt x="262" y="57"/>
                      <a:pt x="262" y="57"/>
                    </a:cubicBezTo>
                    <a:cubicBezTo>
                      <a:pt x="231" y="59"/>
                      <a:pt x="231" y="59"/>
                      <a:pt x="231" y="59"/>
                    </a:cubicBezTo>
                    <a:cubicBezTo>
                      <a:pt x="197" y="42"/>
                      <a:pt x="197" y="42"/>
                      <a:pt x="197" y="42"/>
                    </a:cubicBezTo>
                    <a:cubicBezTo>
                      <a:pt x="178" y="37"/>
                      <a:pt x="178" y="37"/>
                      <a:pt x="178" y="37"/>
                    </a:cubicBezTo>
                    <a:cubicBezTo>
                      <a:pt x="178" y="37"/>
                      <a:pt x="177" y="29"/>
                      <a:pt x="171" y="28"/>
                    </a:cubicBezTo>
                    <a:cubicBezTo>
                      <a:pt x="166" y="27"/>
                      <a:pt x="161" y="31"/>
                      <a:pt x="161" y="31"/>
                    </a:cubicBezTo>
                    <a:cubicBezTo>
                      <a:pt x="152" y="26"/>
                      <a:pt x="152" y="26"/>
                      <a:pt x="152" y="26"/>
                    </a:cubicBezTo>
                    <a:cubicBezTo>
                      <a:pt x="136" y="27"/>
                      <a:pt x="136" y="27"/>
                      <a:pt x="136" y="27"/>
                    </a:cubicBezTo>
                    <a:cubicBezTo>
                      <a:pt x="115" y="21"/>
                      <a:pt x="115" y="21"/>
                      <a:pt x="115" y="21"/>
                    </a:cubicBezTo>
                    <a:cubicBezTo>
                      <a:pt x="111" y="26"/>
                      <a:pt x="111" y="26"/>
                      <a:pt x="111" y="26"/>
                    </a:cubicBezTo>
                    <a:cubicBezTo>
                      <a:pt x="112" y="22"/>
                      <a:pt x="112" y="22"/>
                      <a:pt x="112" y="22"/>
                    </a:cubicBezTo>
                    <a:cubicBezTo>
                      <a:pt x="103" y="18"/>
                      <a:pt x="103" y="18"/>
                      <a:pt x="103" y="18"/>
                    </a:cubicBezTo>
                    <a:cubicBezTo>
                      <a:pt x="103" y="18"/>
                      <a:pt x="99" y="8"/>
                      <a:pt x="96" y="7"/>
                    </a:cubicBezTo>
                    <a:cubicBezTo>
                      <a:pt x="92" y="6"/>
                      <a:pt x="89" y="10"/>
                      <a:pt x="89" y="10"/>
                    </a:cubicBezTo>
                    <a:cubicBezTo>
                      <a:pt x="88" y="5"/>
                      <a:pt x="88" y="5"/>
                      <a:pt x="88" y="5"/>
                    </a:cubicBezTo>
                    <a:cubicBezTo>
                      <a:pt x="83" y="2"/>
                      <a:pt x="83" y="2"/>
                      <a:pt x="83" y="2"/>
                    </a:cubicBezTo>
                    <a:cubicBezTo>
                      <a:pt x="75" y="5"/>
                      <a:pt x="75" y="5"/>
                      <a:pt x="75" y="5"/>
                    </a:cubicBezTo>
                    <a:cubicBezTo>
                      <a:pt x="79" y="0"/>
                      <a:pt x="79" y="0"/>
                      <a:pt x="79" y="0"/>
                    </a:cubicBezTo>
                    <a:cubicBezTo>
                      <a:pt x="69" y="1"/>
                      <a:pt x="69" y="1"/>
                      <a:pt x="69" y="1"/>
                    </a:cubicBezTo>
                    <a:cubicBezTo>
                      <a:pt x="68" y="5"/>
                      <a:pt x="68" y="5"/>
                      <a:pt x="68" y="5"/>
                    </a:cubicBezTo>
                    <a:cubicBezTo>
                      <a:pt x="68" y="5"/>
                      <a:pt x="63" y="5"/>
                      <a:pt x="57" y="8"/>
                    </a:cubicBezTo>
                    <a:cubicBezTo>
                      <a:pt x="53" y="11"/>
                      <a:pt x="55" y="14"/>
                      <a:pt x="55" y="14"/>
                    </a:cubicBezTo>
                    <a:cubicBezTo>
                      <a:pt x="54" y="17"/>
                      <a:pt x="54" y="17"/>
                      <a:pt x="54" y="17"/>
                    </a:cubicBezTo>
                    <a:cubicBezTo>
                      <a:pt x="62" y="17"/>
                      <a:pt x="62" y="17"/>
                      <a:pt x="62" y="17"/>
                    </a:cubicBezTo>
                    <a:cubicBezTo>
                      <a:pt x="55" y="24"/>
                      <a:pt x="55" y="24"/>
                      <a:pt x="55" y="24"/>
                    </a:cubicBezTo>
                    <a:cubicBezTo>
                      <a:pt x="52" y="18"/>
                      <a:pt x="52" y="18"/>
                      <a:pt x="52" y="18"/>
                    </a:cubicBezTo>
                    <a:cubicBezTo>
                      <a:pt x="33" y="19"/>
                      <a:pt x="33" y="19"/>
                      <a:pt x="33" y="19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16" y="19"/>
                      <a:pt x="16" y="19"/>
                      <a:pt x="16" y="19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8" y="25"/>
                      <a:pt x="8" y="25"/>
                      <a:pt x="8" y="25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5" y="37"/>
                      <a:pt x="5" y="37"/>
                      <a:pt x="5" y="37"/>
                    </a:cubicBezTo>
                    <a:cubicBezTo>
                      <a:pt x="5" y="48"/>
                      <a:pt x="5" y="48"/>
                      <a:pt x="5" y="48"/>
                    </a:cubicBezTo>
                    <a:cubicBezTo>
                      <a:pt x="16" y="45"/>
                      <a:pt x="16" y="45"/>
                      <a:pt x="16" y="45"/>
                    </a:cubicBezTo>
                    <a:cubicBezTo>
                      <a:pt x="15" y="50"/>
                      <a:pt x="15" y="50"/>
                      <a:pt x="15" y="50"/>
                    </a:cubicBezTo>
                    <a:cubicBezTo>
                      <a:pt x="8" y="52"/>
                      <a:pt x="8" y="52"/>
                      <a:pt x="8" y="52"/>
                    </a:cubicBezTo>
                    <a:cubicBezTo>
                      <a:pt x="3" y="58"/>
                      <a:pt x="3" y="58"/>
                      <a:pt x="3" y="58"/>
                    </a:cubicBezTo>
                    <a:cubicBezTo>
                      <a:pt x="6" y="63"/>
                      <a:pt x="6" y="63"/>
                      <a:pt x="6" y="63"/>
                    </a:cubicBezTo>
                    <a:cubicBezTo>
                      <a:pt x="22" y="56"/>
                      <a:pt x="22" y="56"/>
                      <a:pt x="22" y="56"/>
                    </a:cubicBezTo>
                    <a:cubicBezTo>
                      <a:pt x="17" y="62"/>
                      <a:pt x="17" y="62"/>
                      <a:pt x="17" y="62"/>
                    </a:cubicBezTo>
                    <a:cubicBezTo>
                      <a:pt x="13" y="63"/>
                      <a:pt x="13" y="63"/>
                      <a:pt x="13" y="63"/>
                    </a:cubicBezTo>
                    <a:cubicBezTo>
                      <a:pt x="14" y="69"/>
                      <a:pt x="14" y="69"/>
                      <a:pt x="14" y="69"/>
                    </a:cubicBezTo>
                    <a:cubicBezTo>
                      <a:pt x="8" y="68"/>
                      <a:pt x="8" y="68"/>
                      <a:pt x="8" y="68"/>
                    </a:cubicBezTo>
                    <a:cubicBezTo>
                      <a:pt x="11" y="75"/>
                      <a:pt x="11" y="75"/>
                      <a:pt x="11" y="75"/>
                    </a:cubicBezTo>
                    <a:cubicBezTo>
                      <a:pt x="19" y="75"/>
                      <a:pt x="19" y="75"/>
                      <a:pt x="19" y="75"/>
                    </a:cubicBezTo>
                    <a:cubicBezTo>
                      <a:pt x="15" y="78"/>
                      <a:pt x="15" y="78"/>
                      <a:pt x="15" y="78"/>
                    </a:cubicBezTo>
                    <a:cubicBezTo>
                      <a:pt x="7" y="78"/>
                      <a:pt x="7" y="78"/>
                      <a:pt x="7" y="78"/>
                    </a:cubicBezTo>
                    <a:cubicBezTo>
                      <a:pt x="8" y="82"/>
                      <a:pt x="8" y="82"/>
                      <a:pt x="8" y="82"/>
                    </a:cubicBezTo>
                    <a:cubicBezTo>
                      <a:pt x="17" y="82"/>
                      <a:pt x="17" y="82"/>
                      <a:pt x="17" y="82"/>
                    </a:cubicBezTo>
                    <a:cubicBezTo>
                      <a:pt x="19" y="80"/>
                      <a:pt x="19" y="80"/>
                      <a:pt x="19" y="80"/>
                    </a:cubicBezTo>
                    <a:cubicBezTo>
                      <a:pt x="20" y="81"/>
                      <a:pt x="20" y="81"/>
                      <a:pt x="20" y="81"/>
                    </a:cubicBezTo>
                    <a:cubicBezTo>
                      <a:pt x="11" y="87"/>
                      <a:pt x="11" y="87"/>
                      <a:pt x="11" y="87"/>
                    </a:cubicBezTo>
                    <a:cubicBezTo>
                      <a:pt x="5" y="92"/>
                      <a:pt x="5" y="92"/>
                      <a:pt x="5" y="92"/>
                    </a:cubicBezTo>
                    <a:cubicBezTo>
                      <a:pt x="2" y="107"/>
                      <a:pt x="2" y="107"/>
                      <a:pt x="2" y="107"/>
                    </a:cubicBezTo>
                    <a:cubicBezTo>
                      <a:pt x="4" y="107"/>
                      <a:pt x="4" y="107"/>
                      <a:pt x="4" y="107"/>
                    </a:cubicBezTo>
                    <a:cubicBezTo>
                      <a:pt x="11" y="103"/>
                      <a:pt x="11" y="103"/>
                      <a:pt x="11" y="103"/>
                    </a:cubicBezTo>
                    <a:cubicBezTo>
                      <a:pt x="16" y="98"/>
                      <a:pt x="16" y="98"/>
                      <a:pt x="16" y="98"/>
                    </a:cubicBezTo>
                    <a:cubicBezTo>
                      <a:pt x="30" y="101"/>
                      <a:pt x="30" y="101"/>
                      <a:pt x="30" y="101"/>
                    </a:cubicBezTo>
                    <a:cubicBezTo>
                      <a:pt x="39" y="97"/>
                      <a:pt x="39" y="97"/>
                      <a:pt x="39" y="97"/>
                    </a:cubicBezTo>
                    <a:cubicBezTo>
                      <a:pt x="37" y="103"/>
                      <a:pt x="37" y="103"/>
                      <a:pt x="37" y="103"/>
                    </a:cubicBezTo>
                    <a:cubicBezTo>
                      <a:pt x="41" y="104"/>
                      <a:pt x="41" y="104"/>
                      <a:pt x="41" y="104"/>
                    </a:cubicBezTo>
                    <a:cubicBezTo>
                      <a:pt x="41" y="107"/>
                      <a:pt x="41" y="107"/>
                      <a:pt x="41" y="107"/>
                    </a:cubicBezTo>
                    <a:cubicBezTo>
                      <a:pt x="41" y="107"/>
                      <a:pt x="26" y="113"/>
                      <a:pt x="34" y="120"/>
                    </a:cubicBezTo>
                    <a:cubicBezTo>
                      <a:pt x="42" y="127"/>
                      <a:pt x="46" y="118"/>
                      <a:pt x="46" y="118"/>
                    </a:cubicBezTo>
                    <a:cubicBezTo>
                      <a:pt x="49" y="122"/>
                      <a:pt x="49" y="122"/>
                      <a:pt x="49" y="122"/>
                    </a:cubicBezTo>
                    <a:cubicBezTo>
                      <a:pt x="56" y="120"/>
                      <a:pt x="56" y="120"/>
                      <a:pt x="56" y="120"/>
                    </a:cubicBezTo>
                    <a:cubicBezTo>
                      <a:pt x="63" y="126"/>
                      <a:pt x="63" y="126"/>
                      <a:pt x="63" y="126"/>
                    </a:cubicBezTo>
                    <a:cubicBezTo>
                      <a:pt x="68" y="124"/>
                      <a:pt x="68" y="124"/>
                      <a:pt x="68" y="124"/>
                    </a:cubicBezTo>
                    <a:cubicBezTo>
                      <a:pt x="68" y="124"/>
                      <a:pt x="72" y="131"/>
                      <a:pt x="78" y="128"/>
                    </a:cubicBezTo>
                    <a:cubicBezTo>
                      <a:pt x="84" y="127"/>
                      <a:pt x="82" y="121"/>
                      <a:pt x="85" y="121"/>
                    </a:cubicBezTo>
                    <a:cubicBezTo>
                      <a:pt x="89" y="121"/>
                      <a:pt x="90" y="125"/>
                      <a:pt x="90" y="125"/>
                    </a:cubicBezTo>
                    <a:cubicBezTo>
                      <a:pt x="100" y="128"/>
                      <a:pt x="100" y="128"/>
                      <a:pt x="100" y="128"/>
                    </a:cubicBezTo>
                    <a:cubicBezTo>
                      <a:pt x="104" y="125"/>
                      <a:pt x="104" y="125"/>
                      <a:pt x="104" y="125"/>
                    </a:cubicBezTo>
                    <a:cubicBezTo>
                      <a:pt x="104" y="127"/>
                      <a:pt x="104" y="127"/>
                      <a:pt x="104" y="127"/>
                    </a:cubicBezTo>
                    <a:cubicBezTo>
                      <a:pt x="113" y="129"/>
                      <a:pt x="113" y="129"/>
                      <a:pt x="113" y="129"/>
                    </a:cubicBezTo>
                    <a:cubicBezTo>
                      <a:pt x="111" y="141"/>
                      <a:pt x="111" y="141"/>
                      <a:pt x="111" y="141"/>
                    </a:cubicBezTo>
                    <a:cubicBezTo>
                      <a:pt x="111" y="141"/>
                      <a:pt x="108" y="150"/>
                      <a:pt x="112" y="150"/>
                    </a:cubicBezTo>
                    <a:cubicBezTo>
                      <a:pt x="116" y="150"/>
                      <a:pt x="124" y="150"/>
                      <a:pt x="124" y="154"/>
                    </a:cubicBezTo>
                    <a:cubicBezTo>
                      <a:pt x="123" y="159"/>
                      <a:pt x="116" y="168"/>
                      <a:pt x="116" y="168"/>
                    </a:cubicBezTo>
                    <a:cubicBezTo>
                      <a:pt x="116" y="168"/>
                      <a:pt x="106" y="175"/>
                      <a:pt x="104" y="175"/>
                    </a:cubicBezTo>
                    <a:cubicBezTo>
                      <a:pt x="98" y="175"/>
                      <a:pt x="98" y="175"/>
                      <a:pt x="98" y="175"/>
                    </a:cubicBezTo>
                    <a:cubicBezTo>
                      <a:pt x="90" y="185"/>
                      <a:pt x="90" y="185"/>
                      <a:pt x="90" y="185"/>
                    </a:cubicBezTo>
                    <a:cubicBezTo>
                      <a:pt x="83" y="185"/>
                      <a:pt x="83" y="185"/>
                      <a:pt x="83" y="185"/>
                    </a:cubicBezTo>
                    <a:cubicBezTo>
                      <a:pt x="86" y="197"/>
                      <a:pt x="86" y="197"/>
                      <a:pt x="86" y="197"/>
                    </a:cubicBezTo>
                    <a:cubicBezTo>
                      <a:pt x="78" y="222"/>
                      <a:pt x="78" y="222"/>
                      <a:pt x="78" y="222"/>
                    </a:cubicBezTo>
                    <a:cubicBezTo>
                      <a:pt x="80" y="230"/>
                      <a:pt x="80" y="230"/>
                      <a:pt x="80" y="230"/>
                    </a:cubicBezTo>
                    <a:cubicBezTo>
                      <a:pt x="74" y="235"/>
                      <a:pt x="74" y="235"/>
                      <a:pt x="74" y="235"/>
                    </a:cubicBezTo>
                    <a:cubicBezTo>
                      <a:pt x="74" y="235"/>
                      <a:pt x="67" y="234"/>
                      <a:pt x="67" y="239"/>
                    </a:cubicBezTo>
                    <a:cubicBezTo>
                      <a:pt x="67" y="244"/>
                      <a:pt x="71" y="251"/>
                      <a:pt x="71" y="251"/>
                    </a:cubicBezTo>
                    <a:cubicBezTo>
                      <a:pt x="66" y="262"/>
                      <a:pt x="66" y="262"/>
                      <a:pt x="66" y="262"/>
                    </a:cubicBezTo>
                    <a:cubicBezTo>
                      <a:pt x="63" y="262"/>
                      <a:pt x="63" y="262"/>
                      <a:pt x="63" y="262"/>
                    </a:cubicBezTo>
                    <a:cubicBezTo>
                      <a:pt x="59" y="270"/>
                      <a:pt x="59" y="270"/>
                      <a:pt x="59" y="270"/>
                    </a:cubicBezTo>
                    <a:cubicBezTo>
                      <a:pt x="32" y="265"/>
                      <a:pt x="32" y="265"/>
                      <a:pt x="32" y="265"/>
                    </a:cubicBezTo>
                    <a:cubicBezTo>
                      <a:pt x="38" y="280"/>
                      <a:pt x="38" y="280"/>
                      <a:pt x="38" y="280"/>
                    </a:cubicBezTo>
                    <a:cubicBezTo>
                      <a:pt x="38" y="280"/>
                      <a:pt x="42" y="278"/>
                      <a:pt x="42" y="280"/>
                    </a:cubicBezTo>
                    <a:cubicBezTo>
                      <a:pt x="42" y="283"/>
                      <a:pt x="39" y="287"/>
                      <a:pt x="39" y="287"/>
                    </a:cubicBezTo>
                    <a:cubicBezTo>
                      <a:pt x="46" y="306"/>
                      <a:pt x="46" y="306"/>
                      <a:pt x="46" y="306"/>
                    </a:cubicBezTo>
                    <a:cubicBezTo>
                      <a:pt x="46" y="306"/>
                      <a:pt x="56" y="304"/>
                      <a:pt x="54" y="310"/>
                    </a:cubicBezTo>
                    <a:cubicBezTo>
                      <a:pt x="52" y="316"/>
                      <a:pt x="44" y="325"/>
                      <a:pt x="44" y="325"/>
                    </a:cubicBezTo>
                    <a:cubicBezTo>
                      <a:pt x="34" y="328"/>
                      <a:pt x="34" y="328"/>
                      <a:pt x="34" y="328"/>
                    </a:cubicBezTo>
                    <a:cubicBezTo>
                      <a:pt x="25" y="345"/>
                      <a:pt x="25" y="345"/>
                      <a:pt x="25" y="345"/>
                    </a:cubicBezTo>
                    <a:cubicBezTo>
                      <a:pt x="34" y="364"/>
                      <a:pt x="34" y="364"/>
                      <a:pt x="34" y="364"/>
                    </a:cubicBezTo>
                    <a:cubicBezTo>
                      <a:pt x="43" y="364"/>
                      <a:pt x="43" y="364"/>
                      <a:pt x="43" y="364"/>
                    </a:cubicBezTo>
                    <a:cubicBezTo>
                      <a:pt x="41" y="368"/>
                      <a:pt x="41" y="368"/>
                      <a:pt x="41" y="368"/>
                    </a:cubicBezTo>
                    <a:cubicBezTo>
                      <a:pt x="38" y="375"/>
                      <a:pt x="38" y="375"/>
                      <a:pt x="38" y="375"/>
                    </a:cubicBezTo>
                    <a:cubicBezTo>
                      <a:pt x="23" y="376"/>
                      <a:pt x="23" y="376"/>
                      <a:pt x="23" y="376"/>
                    </a:cubicBezTo>
                    <a:cubicBezTo>
                      <a:pt x="21" y="384"/>
                      <a:pt x="21" y="384"/>
                      <a:pt x="21" y="384"/>
                    </a:cubicBezTo>
                    <a:cubicBezTo>
                      <a:pt x="21" y="384"/>
                      <a:pt x="14" y="386"/>
                      <a:pt x="10" y="392"/>
                    </a:cubicBezTo>
                    <a:cubicBezTo>
                      <a:pt x="6" y="397"/>
                      <a:pt x="4" y="401"/>
                      <a:pt x="4" y="401"/>
                    </a:cubicBezTo>
                    <a:cubicBezTo>
                      <a:pt x="6" y="408"/>
                      <a:pt x="6" y="408"/>
                      <a:pt x="6" y="408"/>
                    </a:cubicBezTo>
                    <a:cubicBezTo>
                      <a:pt x="6" y="425"/>
                      <a:pt x="6" y="425"/>
                      <a:pt x="6" y="425"/>
                    </a:cubicBezTo>
                    <a:cubicBezTo>
                      <a:pt x="23" y="428"/>
                      <a:pt x="23" y="428"/>
                      <a:pt x="23" y="428"/>
                    </a:cubicBezTo>
                    <a:cubicBezTo>
                      <a:pt x="26" y="432"/>
                      <a:pt x="26" y="432"/>
                      <a:pt x="26" y="432"/>
                    </a:cubicBezTo>
                    <a:cubicBezTo>
                      <a:pt x="29" y="428"/>
                      <a:pt x="29" y="428"/>
                      <a:pt x="29" y="428"/>
                    </a:cubicBezTo>
                    <a:cubicBezTo>
                      <a:pt x="36" y="425"/>
                      <a:pt x="36" y="425"/>
                      <a:pt x="36" y="425"/>
                    </a:cubicBezTo>
                    <a:cubicBezTo>
                      <a:pt x="33" y="429"/>
                      <a:pt x="33" y="429"/>
                      <a:pt x="33" y="429"/>
                    </a:cubicBezTo>
                    <a:cubicBezTo>
                      <a:pt x="32" y="433"/>
                      <a:pt x="32" y="433"/>
                      <a:pt x="32" y="433"/>
                    </a:cubicBezTo>
                    <a:cubicBezTo>
                      <a:pt x="32" y="433"/>
                      <a:pt x="38" y="439"/>
                      <a:pt x="43" y="443"/>
                    </a:cubicBezTo>
                    <a:cubicBezTo>
                      <a:pt x="50" y="449"/>
                      <a:pt x="54" y="462"/>
                      <a:pt x="54" y="462"/>
                    </a:cubicBezTo>
                    <a:cubicBezTo>
                      <a:pt x="55" y="458"/>
                      <a:pt x="55" y="458"/>
                      <a:pt x="55" y="458"/>
                    </a:cubicBezTo>
                    <a:cubicBezTo>
                      <a:pt x="55" y="458"/>
                      <a:pt x="57" y="463"/>
                      <a:pt x="55" y="465"/>
                    </a:cubicBezTo>
                    <a:cubicBezTo>
                      <a:pt x="53" y="466"/>
                      <a:pt x="50" y="466"/>
                      <a:pt x="50" y="466"/>
                    </a:cubicBezTo>
                    <a:cubicBezTo>
                      <a:pt x="51" y="473"/>
                      <a:pt x="51" y="473"/>
                      <a:pt x="51" y="473"/>
                    </a:cubicBezTo>
                    <a:cubicBezTo>
                      <a:pt x="55" y="473"/>
                      <a:pt x="55" y="473"/>
                      <a:pt x="55" y="473"/>
                    </a:cubicBezTo>
                    <a:cubicBezTo>
                      <a:pt x="55" y="478"/>
                      <a:pt x="55" y="478"/>
                      <a:pt x="55" y="478"/>
                    </a:cubicBezTo>
                    <a:cubicBezTo>
                      <a:pt x="58" y="478"/>
                      <a:pt x="58" y="478"/>
                      <a:pt x="58" y="478"/>
                    </a:cubicBezTo>
                    <a:cubicBezTo>
                      <a:pt x="60" y="483"/>
                      <a:pt x="60" y="483"/>
                      <a:pt x="60" y="483"/>
                    </a:cubicBezTo>
                    <a:cubicBezTo>
                      <a:pt x="58" y="485"/>
                      <a:pt x="58" y="485"/>
                      <a:pt x="58" y="485"/>
                    </a:cubicBezTo>
                    <a:cubicBezTo>
                      <a:pt x="56" y="481"/>
                      <a:pt x="56" y="481"/>
                      <a:pt x="56" y="481"/>
                    </a:cubicBezTo>
                    <a:cubicBezTo>
                      <a:pt x="54" y="481"/>
                      <a:pt x="54" y="481"/>
                      <a:pt x="54" y="481"/>
                    </a:cubicBezTo>
                    <a:cubicBezTo>
                      <a:pt x="63" y="505"/>
                      <a:pt x="63" y="505"/>
                      <a:pt x="63" y="505"/>
                    </a:cubicBezTo>
                    <a:cubicBezTo>
                      <a:pt x="72" y="507"/>
                      <a:pt x="72" y="507"/>
                      <a:pt x="72" y="507"/>
                    </a:cubicBezTo>
                    <a:cubicBezTo>
                      <a:pt x="75" y="515"/>
                      <a:pt x="75" y="515"/>
                      <a:pt x="75" y="515"/>
                    </a:cubicBezTo>
                    <a:cubicBezTo>
                      <a:pt x="83" y="519"/>
                      <a:pt x="83" y="519"/>
                      <a:pt x="83" y="519"/>
                    </a:cubicBezTo>
                    <a:cubicBezTo>
                      <a:pt x="84" y="522"/>
                      <a:pt x="84" y="522"/>
                      <a:pt x="84" y="522"/>
                    </a:cubicBezTo>
                    <a:cubicBezTo>
                      <a:pt x="89" y="519"/>
                      <a:pt x="89" y="519"/>
                      <a:pt x="89" y="519"/>
                    </a:cubicBezTo>
                    <a:cubicBezTo>
                      <a:pt x="95" y="520"/>
                      <a:pt x="95" y="520"/>
                      <a:pt x="95" y="520"/>
                    </a:cubicBezTo>
                    <a:cubicBezTo>
                      <a:pt x="95" y="520"/>
                      <a:pt x="95" y="516"/>
                      <a:pt x="96" y="515"/>
                    </a:cubicBezTo>
                    <a:cubicBezTo>
                      <a:pt x="98" y="513"/>
                      <a:pt x="101" y="517"/>
                      <a:pt x="101" y="517"/>
                    </a:cubicBezTo>
                    <a:cubicBezTo>
                      <a:pt x="113" y="502"/>
                      <a:pt x="113" y="502"/>
                      <a:pt x="113" y="502"/>
                    </a:cubicBezTo>
                    <a:cubicBezTo>
                      <a:pt x="129" y="499"/>
                      <a:pt x="129" y="499"/>
                      <a:pt x="129" y="499"/>
                    </a:cubicBezTo>
                    <a:cubicBezTo>
                      <a:pt x="129" y="499"/>
                      <a:pt x="133" y="502"/>
                      <a:pt x="141" y="498"/>
                    </a:cubicBezTo>
                    <a:cubicBezTo>
                      <a:pt x="150" y="494"/>
                      <a:pt x="154" y="490"/>
                      <a:pt x="154" y="490"/>
                    </a:cubicBezTo>
                    <a:cubicBezTo>
                      <a:pt x="165" y="491"/>
                      <a:pt x="165" y="491"/>
                      <a:pt x="165" y="491"/>
                    </a:cubicBezTo>
                    <a:cubicBezTo>
                      <a:pt x="191" y="493"/>
                      <a:pt x="191" y="493"/>
                      <a:pt x="191" y="493"/>
                    </a:cubicBezTo>
                    <a:cubicBezTo>
                      <a:pt x="206" y="499"/>
                      <a:pt x="206" y="499"/>
                      <a:pt x="206" y="499"/>
                    </a:cubicBezTo>
                    <a:cubicBezTo>
                      <a:pt x="217" y="498"/>
                      <a:pt x="217" y="498"/>
                      <a:pt x="217" y="498"/>
                    </a:cubicBezTo>
                    <a:cubicBezTo>
                      <a:pt x="243" y="505"/>
                      <a:pt x="243" y="505"/>
                      <a:pt x="243" y="505"/>
                    </a:cubicBezTo>
                    <a:cubicBezTo>
                      <a:pt x="249" y="505"/>
                      <a:pt x="249" y="505"/>
                      <a:pt x="249" y="505"/>
                    </a:cubicBezTo>
                    <a:cubicBezTo>
                      <a:pt x="249" y="505"/>
                      <a:pt x="252" y="497"/>
                      <a:pt x="262" y="498"/>
                    </a:cubicBezTo>
                    <a:cubicBezTo>
                      <a:pt x="272" y="499"/>
                      <a:pt x="273" y="509"/>
                      <a:pt x="273" y="509"/>
                    </a:cubicBezTo>
                    <a:cubicBezTo>
                      <a:pt x="284" y="500"/>
                      <a:pt x="284" y="500"/>
                      <a:pt x="284" y="500"/>
                    </a:cubicBezTo>
                    <a:cubicBezTo>
                      <a:pt x="291" y="497"/>
                      <a:pt x="291" y="497"/>
                      <a:pt x="291" y="497"/>
                    </a:cubicBezTo>
                    <a:cubicBezTo>
                      <a:pt x="297" y="480"/>
                      <a:pt x="297" y="480"/>
                      <a:pt x="297" y="480"/>
                    </a:cubicBezTo>
                    <a:cubicBezTo>
                      <a:pt x="312" y="469"/>
                      <a:pt x="312" y="469"/>
                      <a:pt x="312" y="469"/>
                    </a:cubicBezTo>
                    <a:cubicBezTo>
                      <a:pt x="316" y="469"/>
                      <a:pt x="316" y="469"/>
                      <a:pt x="316" y="469"/>
                    </a:cubicBezTo>
                    <a:cubicBezTo>
                      <a:pt x="316" y="469"/>
                      <a:pt x="319" y="462"/>
                      <a:pt x="324" y="462"/>
                    </a:cubicBezTo>
                    <a:cubicBezTo>
                      <a:pt x="329" y="460"/>
                      <a:pt x="334" y="466"/>
                      <a:pt x="334" y="466"/>
                    </a:cubicBezTo>
                    <a:cubicBezTo>
                      <a:pt x="334" y="466"/>
                      <a:pt x="340" y="463"/>
                      <a:pt x="341" y="463"/>
                    </a:cubicBezTo>
                    <a:cubicBezTo>
                      <a:pt x="343" y="463"/>
                      <a:pt x="345" y="465"/>
                      <a:pt x="345" y="465"/>
                    </a:cubicBezTo>
                    <a:cubicBezTo>
                      <a:pt x="360" y="463"/>
                      <a:pt x="360" y="463"/>
                      <a:pt x="360" y="463"/>
                    </a:cubicBezTo>
                    <a:cubicBezTo>
                      <a:pt x="359" y="455"/>
                      <a:pt x="359" y="455"/>
                      <a:pt x="359" y="455"/>
                    </a:cubicBezTo>
                    <a:cubicBezTo>
                      <a:pt x="355" y="459"/>
                      <a:pt x="355" y="459"/>
                      <a:pt x="355" y="459"/>
                    </a:cubicBezTo>
                    <a:cubicBezTo>
                      <a:pt x="351" y="454"/>
                      <a:pt x="351" y="454"/>
                      <a:pt x="351" y="454"/>
                    </a:cubicBezTo>
                    <a:cubicBezTo>
                      <a:pt x="358" y="440"/>
                      <a:pt x="358" y="440"/>
                      <a:pt x="358" y="440"/>
                    </a:cubicBezTo>
                    <a:cubicBezTo>
                      <a:pt x="363" y="439"/>
                      <a:pt x="363" y="439"/>
                      <a:pt x="363" y="439"/>
                    </a:cubicBezTo>
                    <a:cubicBezTo>
                      <a:pt x="363" y="439"/>
                      <a:pt x="365" y="432"/>
                      <a:pt x="367" y="428"/>
                    </a:cubicBezTo>
                    <a:cubicBezTo>
                      <a:pt x="369" y="425"/>
                      <a:pt x="373" y="426"/>
                      <a:pt x="373" y="426"/>
                    </a:cubicBezTo>
                    <a:cubicBezTo>
                      <a:pt x="375" y="418"/>
                      <a:pt x="375" y="418"/>
                      <a:pt x="375" y="418"/>
                    </a:cubicBezTo>
                    <a:cubicBezTo>
                      <a:pt x="379" y="419"/>
                      <a:pt x="379" y="419"/>
                      <a:pt x="379" y="419"/>
                    </a:cubicBezTo>
                    <a:cubicBezTo>
                      <a:pt x="389" y="408"/>
                      <a:pt x="389" y="408"/>
                      <a:pt x="389" y="408"/>
                    </a:cubicBezTo>
                    <a:cubicBezTo>
                      <a:pt x="404" y="403"/>
                      <a:pt x="404" y="403"/>
                      <a:pt x="404" y="403"/>
                    </a:cubicBezTo>
                    <a:cubicBezTo>
                      <a:pt x="413" y="395"/>
                      <a:pt x="413" y="395"/>
                      <a:pt x="413" y="395"/>
                    </a:cubicBezTo>
                    <a:cubicBezTo>
                      <a:pt x="413" y="389"/>
                      <a:pt x="413" y="389"/>
                      <a:pt x="413" y="389"/>
                    </a:cubicBezTo>
                    <a:cubicBezTo>
                      <a:pt x="413" y="389"/>
                      <a:pt x="407" y="389"/>
                      <a:pt x="402" y="385"/>
                    </a:cubicBezTo>
                    <a:cubicBezTo>
                      <a:pt x="398" y="381"/>
                      <a:pt x="392" y="347"/>
                      <a:pt x="392" y="347"/>
                    </a:cubicBezTo>
                    <a:cubicBezTo>
                      <a:pt x="415" y="317"/>
                      <a:pt x="415" y="317"/>
                      <a:pt x="415" y="317"/>
                    </a:cubicBezTo>
                    <a:cubicBezTo>
                      <a:pt x="416" y="309"/>
                      <a:pt x="416" y="309"/>
                      <a:pt x="416" y="309"/>
                    </a:cubicBezTo>
                    <a:cubicBezTo>
                      <a:pt x="420" y="310"/>
                      <a:pt x="420" y="310"/>
                      <a:pt x="420" y="310"/>
                    </a:cubicBezTo>
                    <a:cubicBezTo>
                      <a:pt x="436" y="293"/>
                      <a:pt x="436" y="293"/>
                      <a:pt x="436" y="293"/>
                    </a:cubicBezTo>
                    <a:cubicBezTo>
                      <a:pt x="436" y="293"/>
                      <a:pt x="444" y="281"/>
                      <a:pt x="447" y="279"/>
                    </a:cubicBezTo>
                    <a:cubicBezTo>
                      <a:pt x="450" y="276"/>
                      <a:pt x="453" y="277"/>
                      <a:pt x="453" y="277"/>
                    </a:cubicBezTo>
                    <a:cubicBezTo>
                      <a:pt x="452" y="279"/>
                      <a:pt x="452" y="279"/>
                      <a:pt x="452" y="279"/>
                    </a:cubicBezTo>
                    <a:cubicBezTo>
                      <a:pt x="449" y="279"/>
                      <a:pt x="449" y="279"/>
                      <a:pt x="449" y="279"/>
                    </a:cubicBezTo>
                    <a:cubicBezTo>
                      <a:pt x="449" y="281"/>
                      <a:pt x="449" y="281"/>
                      <a:pt x="449" y="281"/>
                    </a:cubicBezTo>
                    <a:cubicBezTo>
                      <a:pt x="452" y="282"/>
                      <a:pt x="452" y="282"/>
                      <a:pt x="452" y="282"/>
                    </a:cubicBezTo>
                    <a:cubicBezTo>
                      <a:pt x="457" y="277"/>
                      <a:pt x="457" y="277"/>
                      <a:pt x="457" y="277"/>
                    </a:cubicBezTo>
                    <a:cubicBezTo>
                      <a:pt x="457" y="277"/>
                      <a:pt x="462" y="276"/>
                      <a:pt x="464" y="274"/>
                    </a:cubicBezTo>
                    <a:cubicBezTo>
                      <a:pt x="465" y="273"/>
                      <a:pt x="457" y="266"/>
                      <a:pt x="457" y="266"/>
                    </a:cubicBezTo>
                    <a:cubicBezTo>
                      <a:pt x="472" y="251"/>
                      <a:pt x="472" y="251"/>
                      <a:pt x="472" y="251"/>
                    </a:cubicBezTo>
                    <a:cubicBezTo>
                      <a:pt x="481" y="251"/>
                      <a:pt x="481" y="251"/>
                      <a:pt x="481" y="251"/>
                    </a:cubicBezTo>
                    <a:cubicBezTo>
                      <a:pt x="484" y="248"/>
                      <a:pt x="484" y="248"/>
                      <a:pt x="484" y="248"/>
                    </a:cubicBezTo>
                    <a:cubicBezTo>
                      <a:pt x="484" y="248"/>
                      <a:pt x="499" y="245"/>
                      <a:pt x="506" y="245"/>
                    </a:cubicBezTo>
                    <a:cubicBezTo>
                      <a:pt x="511" y="245"/>
                      <a:pt x="524" y="245"/>
                      <a:pt x="530" y="242"/>
                    </a:cubicBezTo>
                    <a:cubicBezTo>
                      <a:pt x="537" y="238"/>
                      <a:pt x="533" y="236"/>
                      <a:pt x="541" y="232"/>
                    </a:cubicBezTo>
                    <a:cubicBezTo>
                      <a:pt x="549" y="227"/>
                      <a:pt x="575" y="221"/>
                      <a:pt x="581" y="216"/>
                    </a:cubicBezTo>
                    <a:cubicBezTo>
                      <a:pt x="588" y="211"/>
                      <a:pt x="590" y="202"/>
                      <a:pt x="589" y="199"/>
                    </a:cubicBezTo>
                    <a:cubicBezTo>
                      <a:pt x="589" y="196"/>
                      <a:pt x="586" y="192"/>
                      <a:pt x="587" y="189"/>
                    </a:cubicBezTo>
                    <a:cubicBezTo>
                      <a:pt x="588" y="186"/>
                      <a:pt x="592" y="189"/>
                      <a:pt x="594" y="187"/>
                    </a:cubicBezTo>
                    <a:cubicBezTo>
                      <a:pt x="597" y="186"/>
                      <a:pt x="597" y="182"/>
                      <a:pt x="597" y="182"/>
                    </a:cubicBezTo>
                    <a:cubicBezTo>
                      <a:pt x="591" y="179"/>
                      <a:pt x="591" y="179"/>
                      <a:pt x="591" y="179"/>
                    </a:cubicBezTo>
                    <a:cubicBezTo>
                      <a:pt x="590" y="174"/>
                      <a:pt x="590" y="174"/>
                      <a:pt x="590" y="174"/>
                    </a:cubicBezTo>
                    <a:cubicBezTo>
                      <a:pt x="583" y="174"/>
                      <a:pt x="583" y="174"/>
                      <a:pt x="583" y="174"/>
                    </a:cubicBezTo>
                    <a:cubicBezTo>
                      <a:pt x="583" y="174"/>
                      <a:pt x="582" y="171"/>
                      <a:pt x="576" y="169"/>
                    </a:cubicBezTo>
                    <a:cubicBezTo>
                      <a:pt x="568" y="168"/>
                      <a:pt x="565" y="178"/>
                      <a:pt x="563" y="178"/>
                    </a:cubicBezTo>
                    <a:cubicBezTo>
                      <a:pt x="558" y="178"/>
                      <a:pt x="558" y="178"/>
                      <a:pt x="558" y="178"/>
                    </a:cubicBezTo>
                    <a:cubicBezTo>
                      <a:pt x="558" y="178"/>
                      <a:pt x="555" y="175"/>
                      <a:pt x="551" y="171"/>
                    </a:cubicBezTo>
                    <a:cubicBezTo>
                      <a:pt x="547" y="167"/>
                      <a:pt x="540" y="174"/>
                      <a:pt x="535" y="174"/>
                    </a:cubicBezTo>
                    <a:cubicBezTo>
                      <a:pt x="531" y="174"/>
                      <a:pt x="530" y="170"/>
                      <a:pt x="530" y="170"/>
                    </a:cubicBezTo>
                    <a:cubicBezTo>
                      <a:pt x="530" y="170"/>
                      <a:pt x="532" y="164"/>
                      <a:pt x="532" y="163"/>
                    </a:cubicBezTo>
                    <a:cubicBezTo>
                      <a:pt x="532" y="161"/>
                      <a:pt x="526" y="166"/>
                      <a:pt x="526" y="166"/>
                    </a:cubicBezTo>
                    <a:cubicBezTo>
                      <a:pt x="519" y="161"/>
                      <a:pt x="519" y="161"/>
                      <a:pt x="519" y="161"/>
                    </a:cubicBezTo>
                    <a:lnTo>
                      <a:pt x="520" y="161"/>
                    </a:lnTo>
                    <a:close/>
                    <a:moveTo>
                      <a:pt x="622" y="329"/>
                    </a:moveTo>
                    <a:cubicBezTo>
                      <a:pt x="616" y="328"/>
                      <a:pt x="607" y="333"/>
                      <a:pt x="607" y="333"/>
                    </a:cubicBezTo>
                    <a:cubicBezTo>
                      <a:pt x="608" y="339"/>
                      <a:pt x="608" y="339"/>
                      <a:pt x="608" y="339"/>
                    </a:cubicBezTo>
                    <a:cubicBezTo>
                      <a:pt x="608" y="339"/>
                      <a:pt x="613" y="339"/>
                      <a:pt x="617" y="340"/>
                    </a:cubicBezTo>
                    <a:cubicBezTo>
                      <a:pt x="621" y="340"/>
                      <a:pt x="624" y="345"/>
                      <a:pt x="624" y="345"/>
                    </a:cubicBezTo>
                    <a:cubicBezTo>
                      <a:pt x="630" y="347"/>
                      <a:pt x="630" y="347"/>
                      <a:pt x="630" y="347"/>
                    </a:cubicBezTo>
                    <a:cubicBezTo>
                      <a:pt x="631" y="341"/>
                      <a:pt x="631" y="341"/>
                      <a:pt x="631" y="341"/>
                    </a:cubicBezTo>
                    <a:cubicBezTo>
                      <a:pt x="631" y="341"/>
                      <a:pt x="627" y="331"/>
                      <a:pt x="622" y="329"/>
                    </a:cubicBezTo>
                    <a:close/>
                  </a:path>
                </a:pathLst>
              </a:custGeom>
              <a:solidFill>
                <a:srgbClr val="FDC795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48" name="Slovenia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165725" y="4545013"/>
                <a:ext cx="307975" cy="217487"/>
              </a:xfrm>
              <a:custGeom>
                <a:avLst/>
                <a:gdLst/>
                <a:ahLst/>
                <a:cxnLst>
                  <a:cxn ang="0">
                    <a:pos x="119" y="13"/>
                  </a:cxn>
                  <a:cxn ang="0">
                    <a:pos x="108" y="13"/>
                  </a:cxn>
                  <a:cxn ang="0">
                    <a:pos x="96" y="20"/>
                  </a:cxn>
                  <a:cxn ang="0">
                    <a:pos x="83" y="20"/>
                  </a:cxn>
                  <a:cxn ang="0">
                    <a:pos x="68" y="22"/>
                  </a:cxn>
                  <a:cxn ang="0">
                    <a:pos x="59" y="30"/>
                  </a:cxn>
                  <a:cxn ang="0">
                    <a:pos x="46" y="34"/>
                  </a:cxn>
                  <a:cxn ang="0">
                    <a:pos x="33" y="33"/>
                  </a:cxn>
                  <a:cxn ang="0">
                    <a:pos x="18" y="31"/>
                  </a:cxn>
                  <a:cxn ang="0">
                    <a:pos x="15" y="36"/>
                  </a:cxn>
                  <a:cxn ang="0">
                    <a:pos x="0" y="45"/>
                  </a:cxn>
                  <a:cxn ang="0">
                    <a:pos x="14" y="53"/>
                  </a:cxn>
                  <a:cxn ang="0">
                    <a:pos x="5" y="68"/>
                  </a:cxn>
                  <a:cxn ang="0">
                    <a:pos x="11" y="78"/>
                  </a:cxn>
                  <a:cxn ang="0">
                    <a:pos x="18" y="91"/>
                  </a:cxn>
                  <a:cxn ang="0">
                    <a:pos x="7" y="99"/>
                  </a:cxn>
                  <a:cxn ang="0">
                    <a:pos x="19" y="98"/>
                  </a:cxn>
                  <a:cxn ang="0">
                    <a:pos x="32" y="97"/>
                  </a:cxn>
                  <a:cxn ang="0">
                    <a:pos x="52" y="93"/>
                  </a:cxn>
                  <a:cxn ang="0">
                    <a:pos x="55" y="88"/>
                  </a:cxn>
                  <a:cxn ang="0">
                    <a:pos x="58" y="88"/>
                  </a:cxn>
                  <a:cxn ang="0">
                    <a:pos x="72" y="97"/>
                  </a:cxn>
                  <a:cxn ang="0">
                    <a:pos x="80" y="96"/>
                  </a:cxn>
                  <a:cxn ang="0">
                    <a:pos x="94" y="94"/>
                  </a:cxn>
                  <a:cxn ang="0">
                    <a:pos x="95" y="83"/>
                  </a:cxn>
                  <a:cxn ang="0">
                    <a:pos x="85" y="80"/>
                  </a:cxn>
                  <a:cxn ang="0">
                    <a:pos x="107" y="71"/>
                  </a:cxn>
                  <a:cxn ang="0">
                    <a:pos x="102" y="50"/>
                  </a:cxn>
                  <a:cxn ang="0">
                    <a:pos x="124" y="31"/>
                  </a:cxn>
                  <a:cxn ang="0">
                    <a:pos x="132" y="23"/>
                  </a:cxn>
                  <a:cxn ang="0">
                    <a:pos x="145" y="20"/>
                  </a:cxn>
                  <a:cxn ang="0">
                    <a:pos x="137" y="11"/>
                  </a:cxn>
                  <a:cxn ang="0">
                    <a:pos x="133" y="3"/>
                  </a:cxn>
                  <a:cxn ang="0">
                    <a:pos x="121" y="3"/>
                  </a:cxn>
                </a:cxnLst>
                <a:rect l="0" t="0" r="r" b="b"/>
                <a:pathLst>
                  <a:path w="145" h="102">
                    <a:moveTo>
                      <a:pt x="117" y="6"/>
                    </a:moveTo>
                    <a:cubicBezTo>
                      <a:pt x="115" y="10"/>
                      <a:pt x="119" y="13"/>
                      <a:pt x="119" y="13"/>
                    </a:cubicBezTo>
                    <a:cubicBezTo>
                      <a:pt x="116" y="15"/>
                      <a:pt x="116" y="15"/>
                      <a:pt x="116" y="15"/>
                    </a:cubicBezTo>
                    <a:cubicBezTo>
                      <a:pt x="116" y="15"/>
                      <a:pt x="114" y="12"/>
                      <a:pt x="108" y="13"/>
                    </a:cubicBezTo>
                    <a:cubicBezTo>
                      <a:pt x="100" y="13"/>
                      <a:pt x="100" y="15"/>
                      <a:pt x="100" y="15"/>
                    </a:cubicBezTo>
                    <a:cubicBezTo>
                      <a:pt x="96" y="20"/>
                      <a:pt x="96" y="20"/>
                      <a:pt x="96" y="20"/>
                    </a:cubicBezTo>
                    <a:cubicBezTo>
                      <a:pt x="96" y="20"/>
                      <a:pt x="94" y="18"/>
                      <a:pt x="91" y="18"/>
                    </a:cubicBezTo>
                    <a:cubicBezTo>
                      <a:pt x="88" y="17"/>
                      <a:pt x="83" y="20"/>
                      <a:pt x="83" y="20"/>
                    </a:cubicBezTo>
                    <a:cubicBezTo>
                      <a:pt x="77" y="19"/>
                      <a:pt x="77" y="19"/>
                      <a:pt x="77" y="19"/>
                    </a:cubicBezTo>
                    <a:cubicBezTo>
                      <a:pt x="77" y="19"/>
                      <a:pt x="72" y="21"/>
                      <a:pt x="68" y="22"/>
                    </a:cubicBezTo>
                    <a:cubicBezTo>
                      <a:pt x="65" y="22"/>
                      <a:pt x="66" y="28"/>
                      <a:pt x="64" y="29"/>
                    </a:cubicBezTo>
                    <a:cubicBezTo>
                      <a:pt x="62" y="30"/>
                      <a:pt x="59" y="30"/>
                      <a:pt x="59" y="30"/>
                    </a:cubicBezTo>
                    <a:cubicBezTo>
                      <a:pt x="53" y="37"/>
                      <a:pt x="53" y="37"/>
                      <a:pt x="53" y="37"/>
                    </a:cubicBezTo>
                    <a:cubicBezTo>
                      <a:pt x="46" y="34"/>
                      <a:pt x="46" y="34"/>
                      <a:pt x="46" y="34"/>
                    </a:cubicBezTo>
                    <a:cubicBezTo>
                      <a:pt x="35" y="36"/>
                      <a:pt x="35" y="36"/>
                      <a:pt x="35" y="36"/>
                    </a:cubicBezTo>
                    <a:cubicBezTo>
                      <a:pt x="33" y="33"/>
                      <a:pt x="33" y="33"/>
                      <a:pt x="33" y="33"/>
                    </a:cubicBezTo>
                    <a:cubicBezTo>
                      <a:pt x="23" y="30"/>
                      <a:pt x="23" y="30"/>
                      <a:pt x="23" y="30"/>
                    </a:cubicBezTo>
                    <a:cubicBezTo>
                      <a:pt x="18" y="31"/>
                      <a:pt x="18" y="31"/>
                      <a:pt x="18" y="31"/>
                    </a:cubicBezTo>
                    <a:cubicBezTo>
                      <a:pt x="14" y="30"/>
                      <a:pt x="14" y="30"/>
                      <a:pt x="14" y="30"/>
                    </a:cubicBezTo>
                    <a:cubicBezTo>
                      <a:pt x="15" y="31"/>
                      <a:pt x="16" y="35"/>
                      <a:pt x="15" y="36"/>
                    </a:cubicBezTo>
                    <a:cubicBezTo>
                      <a:pt x="10" y="36"/>
                      <a:pt x="10" y="36"/>
                      <a:pt x="10" y="36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3" y="51"/>
                      <a:pt x="3" y="51"/>
                      <a:pt x="3" y="51"/>
                    </a:cubicBezTo>
                    <a:cubicBezTo>
                      <a:pt x="3" y="51"/>
                      <a:pt x="13" y="47"/>
                      <a:pt x="14" y="53"/>
                    </a:cubicBezTo>
                    <a:cubicBezTo>
                      <a:pt x="14" y="57"/>
                      <a:pt x="4" y="62"/>
                      <a:pt x="4" y="62"/>
                    </a:cubicBezTo>
                    <a:cubicBezTo>
                      <a:pt x="5" y="68"/>
                      <a:pt x="5" y="68"/>
                      <a:pt x="5" y="68"/>
                    </a:cubicBezTo>
                    <a:cubicBezTo>
                      <a:pt x="5" y="68"/>
                      <a:pt x="13" y="62"/>
                      <a:pt x="14" y="65"/>
                    </a:cubicBezTo>
                    <a:cubicBezTo>
                      <a:pt x="15" y="67"/>
                      <a:pt x="11" y="78"/>
                      <a:pt x="11" y="78"/>
                    </a:cubicBezTo>
                    <a:cubicBezTo>
                      <a:pt x="11" y="78"/>
                      <a:pt x="23" y="78"/>
                      <a:pt x="23" y="84"/>
                    </a:cubicBezTo>
                    <a:cubicBezTo>
                      <a:pt x="23" y="88"/>
                      <a:pt x="18" y="91"/>
                      <a:pt x="18" y="91"/>
                    </a:cubicBezTo>
                    <a:cubicBezTo>
                      <a:pt x="11" y="94"/>
                      <a:pt x="11" y="94"/>
                      <a:pt x="11" y="94"/>
                    </a:cubicBezTo>
                    <a:cubicBezTo>
                      <a:pt x="7" y="99"/>
                      <a:pt x="7" y="99"/>
                      <a:pt x="7" y="99"/>
                    </a:cubicBezTo>
                    <a:cubicBezTo>
                      <a:pt x="7" y="99"/>
                      <a:pt x="12" y="102"/>
                      <a:pt x="14" y="102"/>
                    </a:cubicBezTo>
                    <a:cubicBezTo>
                      <a:pt x="15" y="102"/>
                      <a:pt x="19" y="98"/>
                      <a:pt x="19" y="98"/>
                    </a:cubicBezTo>
                    <a:cubicBezTo>
                      <a:pt x="25" y="102"/>
                      <a:pt x="25" y="102"/>
                      <a:pt x="25" y="102"/>
                    </a:cubicBezTo>
                    <a:cubicBezTo>
                      <a:pt x="32" y="97"/>
                      <a:pt x="32" y="97"/>
                      <a:pt x="32" y="97"/>
                    </a:cubicBezTo>
                    <a:cubicBezTo>
                      <a:pt x="35" y="99"/>
                      <a:pt x="35" y="99"/>
                      <a:pt x="35" y="99"/>
                    </a:cubicBezTo>
                    <a:cubicBezTo>
                      <a:pt x="52" y="93"/>
                      <a:pt x="52" y="93"/>
                      <a:pt x="52" y="93"/>
                    </a:cubicBezTo>
                    <a:cubicBezTo>
                      <a:pt x="53" y="89"/>
                      <a:pt x="53" y="89"/>
                      <a:pt x="53" y="89"/>
                    </a:cubicBezTo>
                    <a:cubicBezTo>
                      <a:pt x="55" y="88"/>
                      <a:pt x="55" y="88"/>
                      <a:pt x="55" y="88"/>
                    </a:cubicBezTo>
                    <a:cubicBezTo>
                      <a:pt x="55" y="88"/>
                      <a:pt x="54" y="85"/>
                      <a:pt x="55" y="84"/>
                    </a:cubicBezTo>
                    <a:cubicBezTo>
                      <a:pt x="58" y="84"/>
                      <a:pt x="58" y="88"/>
                      <a:pt x="58" y="88"/>
                    </a:cubicBezTo>
                    <a:cubicBezTo>
                      <a:pt x="62" y="93"/>
                      <a:pt x="62" y="93"/>
                      <a:pt x="62" y="93"/>
                    </a:cubicBezTo>
                    <a:cubicBezTo>
                      <a:pt x="72" y="97"/>
                      <a:pt x="72" y="97"/>
                      <a:pt x="72" y="97"/>
                    </a:cubicBezTo>
                    <a:cubicBezTo>
                      <a:pt x="72" y="97"/>
                      <a:pt x="71" y="92"/>
                      <a:pt x="72" y="92"/>
                    </a:cubicBezTo>
                    <a:cubicBezTo>
                      <a:pt x="75" y="92"/>
                      <a:pt x="80" y="96"/>
                      <a:pt x="80" y="96"/>
                    </a:cubicBezTo>
                    <a:cubicBezTo>
                      <a:pt x="80" y="96"/>
                      <a:pt x="78" y="99"/>
                      <a:pt x="84" y="99"/>
                    </a:cubicBezTo>
                    <a:cubicBezTo>
                      <a:pt x="91" y="99"/>
                      <a:pt x="94" y="94"/>
                      <a:pt x="94" y="94"/>
                    </a:cubicBezTo>
                    <a:cubicBezTo>
                      <a:pt x="94" y="94"/>
                      <a:pt x="88" y="90"/>
                      <a:pt x="91" y="88"/>
                    </a:cubicBezTo>
                    <a:cubicBezTo>
                      <a:pt x="93" y="86"/>
                      <a:pt x="95" y="83"/>
                      <a:pt x="95" y="83"/>
                    </a:cubicBezTo>
                    <a:cubicBezTo>
                      <a:pt x="93" y="80"/>
                      <a:pt x="93" y="80"/>
                      <a:pt x="93" y="80"/>
                    </a:cubicBezTo>
                    <a:cubicBezTo>
                      <a:pt x="93" y="80"/>
                      <a:pt x="83" y="84"/>
                      <a:pt x="85" y="80"/>
                    </a:cubicBezTo>
                    <a:cubicBezTo>
                      <a:pt x="87" y="76"/>
                      <a:pt x="101" y="69"/>
                      <a:pt x="101" y="69"/>
                    </a:cubicBezTo>
                    <a:cubicBezTo>
                      <a:pt x="107" y="71"/>
                      <a:pt x="107" y="71"/>
                      <a:pt x="107" y="71"/>
                    </a:cubicBezTo>
                    <a:cubicBezTo>
                      <a:pt x="109" y="58"/>
                      <a:pt x="109" y="58"/>
                      <a:pt x="109" y="58"/>
                    </a:cubicBezTo>
                    <a:cubicBezTo>
                      <a:pt x="109" y="58"/>
                      <a:pt x="99" y="54"/>
                      <a:pt x="102" y="50"/>
                    </a:cubicBezTo>
                    <a:cubicBezTo>
                      <a:pt x="105" y="46"/>
                      <a:pt x="124" y="38"/>
                      <a:pt x="124" y="38"/>
                    </a:cubicBezTo>
                    <a:cubicBezTo>
                      <a:pt x="124" y="38"/>
                      <a:pt x="121" y="31"/>
                      <a:pt x="124" y="31"/>
                    </a:cubicBezTo>
                    <a:cubicBezTo>
                      <a:pt x="126" y="31"/>
                      <a:pt x="132" y="34"/>
                      <a:pt x="132" y="34"/>
                    </a:cubicBezTo>
                    <a:cubicBezTo>
                      <a:pt x="132" y="34"/>
                      <a:pt x="129" y="23"/>
                      <a:pt x="132" y="23"/>
                    </a:cubicBezTo>
                    <a:cubicBezTo>
                      <a:pt x="136" y="22"/>
                      <a:pt x="145" y="25"/>
                      <a:pt x="145" y="25"/>
                    </a:cubicBezTo>
                    <a:cubicBezTo>
                      <a:pt x="145" y="20"/>
                      <a:pt x="145" y="20"/>
                      <a:pt x="145" y="20"/>
                    </a:cubicBezTo>
                    <a:cubicBezTo>
                      <a:pt x="145" y="20"/>
                      <a:pt x="137" y="21"/>
                      <a:pt x="137" y="18"/>
                    </a:cubicBezTo>
                    <a:cubicBezTo>
                      <a:pt x="137" y="11"/>
                      <a:pt x="137" y="11"/>
                      <a:pt x="137" y="11"/>
                    </a:cubicBezTo>
                    <a:cubicBezTo>
                      <a:pt x="137" y="11"/>
                      <a:pt x="133" y="12"/>
                      <a:pt x="133" y="9"/>
                    </a:cubicBezTo>
                    <a:cubicBezTo>
                      <a:pt x="134" y="7"/>
                      <a:pt x="137" y="5"/>
                      <a:pt x="133" y="3"/>
                    </a:cubicBezTo>
                    <a:cubicBezTo>
                      <a:pt x="132" y="3"/>
                      <a:pt x="128" y="2"/>
                      <a:pt x="124" y="0"/>
                    </a:cubicBezTo>
                    <a:cubicBezTo>
                      <a:pt x="121" y="3"/>
                      <a:pt x="121" y="3"/>
                      <a:pt x="121" y="3"/>
                    </a:cubicBezTo>
                    <a:cubicBezTo>
                      <a:pt x="121" y="3"/>
                      <a:pt x="119" y="2"/>
                      <a:pt x="117" y="6"/>
                    </a:cubicBez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49" name="Slovakia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483225" y="4140200"/>
                <a:ext cx="523875" cy="277812"/>
              </a:xfrm>
              <a:custGeom>
                <a:avLst/>
                <a:gdLst/>
                <a:ahLst/>
                <a:cxnLst>
                  <a:cxn ang="0">
                    <a:pos x="221" y="7"/>
                  </a:cxn>
                  <a:cxn ang="0">
                    <a:pos x="202" y="1"/>
                  </a:cxn>
                  <a:cxn ang="0">
                    <a:pos x="179" y="7"/>
                  </a:cxn>
                  <a:cxn ang="0">
                    <a:pos x="165" y="9"/>
                  </a:cxn>
                  <a:cxn ang="0">
                    <a:pos x="141" y="16"/>
                  </a:cxn>
                  <a:cxn ang="0">
                    <a:pos x="130" y="23"/>
                  </a:cxn>
                  <a:cxn ang="0">
                    <a:pos x="125" y="19"/>
                  </a:cxn>
                  <a:cxn ang="0">
                    <a:pos x="116" y="14"/>
                  </a:cxn>
                  <a:cxn ang="0">
                    <a:pos x="113" y="11"/>
                  </a:cxn>
                  <a:cxn ang="0">
                    <a:pos x="102" y="9"/>
                  </a:cxn>
                  <a:cxn ang="0">
                    <a:pos x="96" y="16"/>
                  </a:cxn>
                  <a:cxn ang="0">
                    <a:pos x="86" y="10"/>
                  </a:cxn>
                  <a:cxn ang="0">
                    <a:pos x="76" y="13"/>
                  </a:cxn>
                  <a:cxn ang="0">
                    <a:pos x="64" y="23"/>
                  </a:cxn>
                  <a:cxn ang="0">
                    <a:pos x="51" y="43"/>
                  </a:cxn>
                  <a:cxn ang="0">
                    <a:pos x="43" y="53"/>
                  </a:cxn>
                  <a:cxn ang="0">
                    <a:pos x="14" y="59"/>
                  </a:cxn>
                  <a:cxn ang="0">
                    <a:pos x="4" y="73"/>
                  </a:cxn>
                  <a:cxn ang="0">
                    <a:pos x="0" y="90"/>
                  </a:cxn>
                  <a:cxn ang="0">
                    <a:pos x="9" y="105"/>
                  </a:cxn>
                  <a:cxn ang="0">
                    <a:pos x="14" y="117"/>
                  </a:cxn>
                  <a:cxn ang="0">
                    <a:pos x="37" y="126"/>
                  </a:cxn>
                  <a:cxn ang="0">
                    <a:pos x="56" y="129"/>
                  </a:cxn>
                  <a:cxn ang="0">
                    <a:pos x="76" y="126"/>
                  </a:cxn>
                  <a:cxn ang="0">
                    <a:pos x="93" y="118"/>
                  </a:cxn>
                  <a:cxn ang="0">
                    <a:pos x="102" y="104"/>
                  </a:cxn>
                  <a:cxn ang="0">
                    <a:pos x="123" y="89"/>
                  </a:cxn>
                  <a:cxn ang="0">
                    <a:pos x="155" y="83"/>
                  </a:cxn>
                  <a:cxn ang="0">
                    <a:pos x="185" y="63"/>
                  </a:cxn>
                  <a:cxn ang="0">
                    <a:pos x="210" y="63"/>
                  </a:cxn>
                  <a:cxn ang="0">
                    <a:pos x="225" y="67"/>
                  </a:cxn>
                  <a:cxn ang="0">
                    <a:pos x="232" y="55"/>
                  </a:cxn>
                  <a:cxn ang="0">
                    <a:pos x="241" y="30"/>
                  </a:cxn>
                  <a:cxn ang="0">
                    <a:pos x="222" y="14"/>
                  </a:cxn>
                </a:cxnLst>
                <a:rect l="0" t="0" r="r" b="b"/>
                <a:pathLst>
                  <a:path w="246" h="130">
                    <a:moveTo>
                      <a:pt x="222" y="14"/>
                    </a:moveTo>
                    <a:cubicBezTo>
                      <a:pt x="222" y="14"/>
                      <a:pt x="222" y="9"/>
                      <a:pt x="221" y="7"/>
                    </a:cubicBezTo>
                    <a:cubicBezTo>
                      <a:pt x="220" y="5"/>
                      <a:pt x="208" y="5"/>
                      <a:pt x="208" y="5"/>
                    </a:cubicBezTo>
                    <a:cubicBezTo>
                      <a:pt x="202" y="1"/>
                      <a:pt x="202" y="1"/>
                      <a:pt x="202" y="1"/>
                    </a:cubicBezTo>
                    <a:cubicBezTo>
                      <a:pt x="202" y="1"/>
                      <a:pt x="199" y="0"/>
                      <a:pt x="192" y="1"/>
                    </a:cubicBezTo>
                    <a:cubicBezTo>
                      <a:pt x="184" y="3"/>
                      <a:pt x="179" y="7"/>
                      <a:pt x="179" y="7"/>
                    </a:cubicBezTo>
                    <a:cubicBezTo>
                      <a:pt x="179" y="7"/>
                      <a:pt x="178" y="13"/>
                      <a:pt x="173" y="14"/>
                    </a:cubicBezTo>
                    <a:cubicBezTo>
                      <a:pt x="166" y="15"/>
                      <a:pt x="165" y="9"/>
                      <a:pt x="165" y="9"/>
                    </a:cubicBezTo>
                    <a:cubicBezTo>
                      <a:pt x="153" y="9"/>
                      <a:pt x="153" y="9"/>
                      <a:pt x="153" y="9"/>
                    </a:cubicBezTo>
                    <a:cubicBezTo>
                      <a:pt x="146" y="10"/>
                      <a:pt x="141" y="16"/>
                      <a:pt x="141" y="16"/>
                    </a:cubicBezTo>
                    <a:cubicBezTo>
                      <a:pt x="138" y="26"/>
                      <a:pt x="138" y="26"/>
                      <a:pt x="138" y="26"/>
                    </a:cubicBezTo>
                    <a:cubicBezTo>
                      <a:pt x="130" y="23"/>
                      <a:pt x="130" y="23"/>
                      <a:pt x="130" y="23"/>
                    </a:cubicBezTo>
                    <a:cubicBezTo>
                      <a:pt x="130" y="23"/>
                      <a:pt x="126" y="26"/>
                      <a:pt x="124" y="26"/>
                    </a:cubicBezTo>
                    <a:cubicBezTo>
                      <a:pt x="120" y="26"/>
                      <a:pt x="125" y="19"/>
                      <a:pt x="125" y="19"/>
                    </a:cubicBezTo>
                    <a:cubicBezTo>
                      <a:pt x="122" y="12"/>
                      <a:pt x="122" y="12"/>
                      <a:pt x="122" y="12"/>
                    </a:cubicBezTo>
                    <a:cubicBezTo>
                      <a:pt x="116" y="14"/>
                      <a:pt x="116" y="14"/>
                      <a:pt x="116" y="14"/>
                    </a:cubicBezTo>
                    <a:cubicBezTo>
                      <a:pt x="117" y="11"/>
                      <a:pt x="117" y="11"/>
                      <a:pt x="117" y="11"/>
                    </a:cubicBezTo>
                    <a:cubicBezTo>
                      <a:pt x="113" y="11"/>
                      <a:pt x="113" y="11"/>
                      <a:pt x="113" y="11"/>
                    </a:cubicBezTo>
                    <a:cubicBezTo>
                      <a:pt x="113" y="11"/>
                      <a:pt x="112" y="4"/>
                      <a:pt x="108" y="3"/>
                    </a:cubicBezTo>
                    <a:cubicBezTo>
                      <a:pt x="103" y="3"/>
                      <a:pt x="102" y="9"/>
                      <a:pt x="102" y="9"/>
                    </a:cubicBezTo>
                    <a:cubicBezTo>
                      <a:pt x="99" y="9"/>
                      <a:pt x="99" y="9"/>
                      <a:pt x="99" y="9"/>
                    </a:cubicBezTo>
                    <a:cubicBezTo>
                      <a:pt x="96" y="16"/>
                      <a:pt x="96" y="16"/>
                      <a:pt x="96" y="16"/>
                    </a:cubicBezTo>
                    <a:cubicBezTo>
                      <a:pt x="86" y="18"/>
                      <a:pt x="86" y="18"/>
                      <a:pt x="86" y="18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3" y="10"/>
                      <a:pt x="83" y="10"/>
                      <a:pt x="83" y="10"/>
                    </a:cubicBezTo>
                    <a:cubicBezTo>
                      <a:pt x="76" y="13"/>
                      <a:pt x="76" y="13"/>
                      <a:pt x="76" y="13"/>
                    </a:cubicBezTo>
                    <a:cubicBezTo>
                      <a:pt x="69" y="12"/>
                      <a:pt x="69" y="12"/>
                      <a:pt x="69" y="12"/>
                    </a:cubicBezTo>
                    <a:cubicBezTo>
                      <a:pt x="69" y="12"/>
                      <a:pt x="68" y="20"/>
                      <a:pt x="64" y="23"/>
                    </a:cubicBezTo>
                    <a:cubicBezTo>
                      <a:pt x="60" y="26"/>
                      <a:pt x="58" y="24"/>
                      <a:pt x="54" y="27"/>
                    </a:cubicBezTo>
                    <a:cubicBezTo>
                      <a:pt x="52" y="31"/>
                      <a:pt x="54" y="39"/>
                      <a:pt x="51" y="43"/>
                    </a:cubicBezTo>
                    <a:cubicBezTo>
                      <a:pt x="49" y="47"/>
                      <a:pt x="47" y="43"/>
                      <a:pt x="44" y="46"/>
                    </a:cubicBezTo>
                    <a:cubicBezTo>
                      <a:pt x="41" y="50"/>
                      <a:pt x="43" y="53"/>
                      <a:pt x="43" y="53"/>
                    </a:cubicBezTo>
                    <a:cubicBezTo>
                      <a:pt x="30" y="61"/>
                      <a:pt x="30" y="61"/>
                      <a:pt x="30" y="61"/>
                    </a:cubicBezTo>
                    <a:cubicBezTo>
                      <a:pt x="30" y="61"/>
                      <a:pt x="18" y="57"/>
                      <a:pt x="14" y="59"/>
                    </a:cubicBezTo>
                    <a:cubicBezTo>
                      <a:pt x="10" y="61"/>
                      <a:pt x="5" y="69"/>
                      <a:pt x="4" y="72"/>
                    </a:cubicBezTo>
                    <a:cubicBezTo>
                      <a:pt x="4" y="73"/>
                      <a:pt x="4" y="73"/>
                      <a:pt x="4" y="73"/>
                    </a:cubicBezTo>
                    <a:cubicBezTo>
                      <a:pt x="4" y="83"/>
                      <a:pt x="4" y="83"/>
                      <a:pt x="4" y="83"/>
                    </a:cubicBezTo>
                    <a:cubicBezTo>
                      <a:pt x="4" y="83"/>
                      <a:pt x="1" y="85"/>
                      <a:pt x="0" y="90"/>
                    </a:cubicBezTo>
                    <a:cubicBezTo>
                      <a:pt x="0" y="95"/>
                      <a:pt x="7" y="99"/>
                      <a:pt x="7" y="99"/>
                    </a:cubicBezTo>
                    <a:cubicBezTo>
                      <a:pt x="9" y="105"/>
                      <a:pt x="9" y="105"/>
                      <a:pt x="9" y="105"/>
                    </a:cubicBezTo>
                    <a:cubicBezTo>
                      <a:pt x="9" y="105"/>
                      <a:pt x="12" y="109"/>
                      <a:pt x="14" y="113"/>
                    </a:cubicBezTo>
                    <a:cubicBezTo>
                      <a:pt x="14" y="114"/>
                      <a:pt x="15" y="116"/>
                      <a:pt x="14" y="117"/>
                    </a:cubicBezTo>
                    <a:cubicBezTo>
                      <a:pt x="18" y="116"/>
                      <a:pt x="22" y="116"/>
                      <a:pt x="25" y="117"/>
                    </a:cubicBezTo>
                    <a:cubicBezTo>
                      <a:pt x="30" y="118"/>
                      <a:pt x="37" y="126"/>
                      <a:pt x="37" y="126"/>
                    </a:cubicBezTo>
                    <a:cubicBezTo>
                      <a:pt x="37" y="126"/>
                      <a:pt x="41" y="130"/>
                      <a:pt x="46" y="130"/>
                    </a:cubicBezTo>
                    <a:cubicBezTo>
                      <a:pt x="50" y="130"/>
                      <a:pt x="56" y="129"/>
                      <a:pt x="56" y="129"/>
                    </a:cubicBezTo>
                    <a:cubicBezTo>
                      <a:pt x="63" y="129"/>
                      <a:pt x="63" y="129"/>
                      <a:pt x="63" y="129"/>
                    </a:cubicBezTo>
                    <a:cubicBezTo>
                      <a:pt x="76" y="126"/>
                      <a:pt x="76" y="126"/>
                      <a:pt x="76" y="126"/>
                    </a:cubicBezTo>
                    <a:cubicBezTo>
                      <a:pt x="86" y="125"/>
                      <a:pt x="86" y="125"/>
                      <a:pt x="86" y="125"/>
                    </a:cubicBezTo>
                    <a:cubicBezTo>
                      <a:pt x="93" y="118"/>
                      <a:pt x="93" y="118"/>
                      <a:pt x="93" y="118"/>
                    </a:cubicBezTo>
                    <a:cubicBezTo>
                      <a:pt x="93" y="118"/>
                      <a:pt x="86" y="113"/>
                      <a:pt x="90" y="106"/>
                    </a:cubicBezTo>
                    <a:cubicBezTo>
                      <a:pt x="93" y="101"/>
                      <a:pt x="102" y="104"/>
                      <a:pt x="102" y="104"/>
                    </a:cubicBezTo>
                    <a:cubicBezTo>
                      <a:pt x="119" y="98"/>
                      <a:pt x="119" y="98"/>
                      <a:pt x="119" y="98"/>
                    </a:cubicBezTo>
                    <a:cubicBezTo>
                      <a:pt x="119" y="98"/>
                      <a:pt x="118" y="90"/>
                      <a:pt x="123" y="89"/>
                    </a:cubicBezTo>
                    <a:cubicBezTo>
                      <a:pt x="127" y="88"/>
                      <a:pt x="138" y="94"/>
                      <a:pt x="138" y="94"/>
                    </a:cubicBezTo>
                    <a:cubicBezTo>
                      <a:pt x="138" y="94"/>
                      <a:pt x="150" y="87"/>
                      <a:pt x="155" y="83"/>
                    </a:cubicBezTo>
                    <a:cubicBezTo>
                      <a:pt x="159" y="79"/>
                      <a:pt x="158" y="69"/>
                      <a:pt x="163" y="66"/>
                    </a:cubicBezTo>
                    <a:cubicBezTo>
                      <a:pt x="168" y="62"/>
                      <a:pt x="176" y="61"/>
                      <a:pt x="185" y="63"/>
                    </a:cubicBezTo>
                    <a:cubicBezTo>
                      <a:pt x="194" y="67"/>
                      <a:pt x="201" y="58"/>
                      <a:pt x="201" y="58"/>
                    </a:cubicBezTo>
                    <a:cubicBezTo>
                      <a:pt x="210" y="63"/>
                      <a:pt x="210" y="63"/>
                      <a:pt x="210" y="63"/>
                    </a:cubicBezTo>
                    <a:cubicBezTo>
                      <a:pt x="210" y="63"/>
                      <a:pt x="211" y="71"/>
                      <a:pt x="216" y="72"/>
                    </a:cubicBezTo>
                    <a:cubicBezTo>
                      <a:pt x="222" y="73"/>
                      <a:pt x="222" y="69"/>
                      <a:pt x="225" y="67"/>
                    </a:cubicBezTo>
                    <a:cubicBezTo>
                      <a:pt x="228" y="64"/>
                      <a:pt x="234" y="66"/>
                      <a:pt x="234" y="66"/>
                    </a:cubicBezTo>
                    <a:cubicBezTo>
                      <a:pt x="234" y="66"/>
                      <a:pt x="232" y="59"/>
                      <a:pt x="232" y="55"/>
                    </a:cubicBezTo>
                    <a:cubicBezTo>
                      <a:pt x="232" y="51"/>
                      <a:pt x="240" y="43"/>
                      <a:pt x="240" y="43"/>
                    </a:cubicBezTo>
                    <a:cubicBezTo>
                      <a:pt x="241" y="30"/>
                      <a:pt x="241" y="30"/>
                      <a:pt x="241" y="30"/>
                    </a:cubicBezTo>
                    <a:cubicBezTo>
                      <a:pt x="246" y="18"/>
                      <a:pt x="246" y="18"/>
                      <a:pt x="246" y="18"/>
                    </a:cubicBezTo>
                    <a:lnTo>
                      <a:pt x="222" y="14"/>
                    </a:ln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50" name="Serbia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708650" y="4608513"/>
                <a:ext cx="463550" cy="525041"/>
              </a:xfrm>
              <a:custGeom>
                <a:avLst/>
                <a:gdLst/>
                <a:ahLst/>
                <a:cxnLst>
                  <a:cxn ang="0">
                    <a:pos x="137" y="108"/>
                  </a:cxn>
                  <a:cxn ang="0">
                    <a:pos x="136" y="89"/>
                  </a:cxn>
                  <a:cxn ang="0">
                    <a:pos x="134" y="77"/>
                  </a:cxn>
                  <a:cxn ang="0">
                    <a:pos x="135" y="65"/>
                  </a:cxn>
                  <a:cxn ang="0">
                    <a:pos x="128" y="58"/>
                  </a:cxn>
                  <a:cxn ang="0">
                    <a:pos x="105" y="65"/>
                  </a:cxn>
                  <a:cxn ang="0">
                    <a:pos x="96" y="56"/>
                  </a:cxn>
                  <a:cxn ang="0">
                    <a:pos x="94" y="41"/>
                  </a:cxn>
                  <a:cxn ang="0">
                    <a:pos x="77" y="38"/>
                  </a:cxn>
                  <a:cxn ang="0">
                    <a:pos x="65" y="24"/>
                  </a:cxn>
                  <a:cxn ang="0">
                    <a:pos x="57" y="11"/>
                  </a:cxn>
                  <a:cxn ang="0">
                    <a:pos x="50" y="9"/>
                  </a:cxn>
                  <a:cxn ang="0">
                    <a:pos x="31" y="5"/>
                  </a:cxn>
                  <a:cxn ang="0">
                    <a:pos x="11" y="14"/>
                  </a:cxn>
                  <a:cxn ang="0">
                    <a:pos x="0" y="19"/>
                  </a:cxn>
                  <a:cxn ang="0">
                    <a:pos x="8" y="33"/>
                  </a:cxn>
                  <a:cxn ang="0">
                    <a:pos x="14" y="48"/>
                  </a:cxn>
                  <a:cxn ang="0">
                    <a:pos x="14" y="50"/>
                  </a:cxn>
                  <a:cxn ang="0">
                    <a:pos x="24" y="64"/>
                  </a:cxn>
                  <a:cxn ang="0">
                    <a:pos x="15" y="82"/>
                  </a:cxn>
                  <a:cxn ang="0">
                    <a:pos x="24" y="92"/>
                  </a:cxn>
                  <a:cxn ang="0">
                    <a:pos x="21" y="106"/>
                  </a:cxn>
                  <a:cxn ang="0">
                    <a:pos x="24" y="124"/>
                  </a:cxn>
                  <a:cxn ang="0">
                    <a:pos x="31" y="132"/>
                  </a:cxn>
                  <a:cxn ang="0">
                    <a:pos x="47" y="143"/>
                  </a:cxn>
                  <a:cxn ang="0">
                    <a:pos x="64" y="155"/>
                  </a:cxn>
                  <a:cxn ang="0">
                    <a:pos x="65" y="158"/>
                  </a:cxn>
                  <a:cxn ang="0">
                    <a:pos x="73" y="154"/>
                  </a:cxn>
                  <a:cxn ang="0">
                    <a:pos x="77" y="145"/>
                  </a:cxn>
                  <a:cxn ang="0">
                    <a:pos x="78" y="138"/>
                  </a:cxn>
                  <a:cxn ang="0">
                    <a:pos x="83" y="134"/>
                  </a:cxn>
                  <a:cxn ang="0">
                    <a:pos x="83" y="140"/>
                  </a:cxn>
                  <a:cxn ang="0">
                    <a:pos x="88" y="141"/>
                  </a:cxn>
                  <a:cxn ang="0">
                    <a:pos x="90" y="143"/>
                  </a:cxn>
                  <a:cxn ang="0">
                    <a:pos x="98" y="146"/>
                  </a:cxn>
                  <a:cxn ang="0">
                    <a:pos x="102" y="150"/>
                  </a:cxn>
                  <a:cxn ang="0">
                    <a:pos x="107" y="154"/>
                  </a:cxn>
                  <a:cxn ang="0">
                    <a:pos x="112" y="156"/>
                  </a:cxn>
                  <a:cxn ang="0">
                    <a:pos x="118" y="161"/>
                  </a:cxn>
                  <a:cxn ang="0">
                    <a:pos x="116" y="170"/>
                  </a:cxn>
                  <a:cxn ang="0">
                    <a:pos x="114" y="176"/>
                  </a:cxn>
                  <a:cxn ang="0">
                    <a:pos x="125" y="172"/>
                  </a:cxn>
                  <a:cxn ang="0">
                    <a:pos x="140" y="170"/>
                  </a:cxn>
                  <a:cxn ang="0">
                    <a:pos x="143" y="150"/>
                  </a:cxn>
                  <a:cxn ang="0">
                    <a:pos x="150" y="142"/>
                  </a:cxn>
                  <a:cxn ang="0">
                    <a:pos x="150" y="119"/>
                  </a:cxn>
                </a:cxnLst>
                <a:rect l="0" t="0" r="r" b="b"/>
                <a:pathLst>
                  <a:path w="158" h="177">
                    <a:moveTo>
                      <a:pt x="150" y="119"/>
                    </a:moveTo>
                    <a:cubicBezTo>
                      <a:pt x="148" y="117"/>
                      <a:pt x="139" y="115"/>
                      <a:pt x="139" y="115"/>
                    </a:cubicBezTo>
                    <a:cubicBezTo>
                      <a:pt x="137" y="108"/>
                      <a:pt x="137" y="108"/>
                      <a:pt x="137" y="108"/>
                    </a:cubicBezTo>
                    <a:cubicBezTo>
                      <a:pt x="131" y="102"/>
                      <a:pt x="131" y="102"/>
                      <a:pt x="131" y="102"/>
                    </a:cubicBezTo>
                    <a:cubicBezTo>
                      <a:pt x="132" y="91"/>
                      <a:pt x="132" y="91"/>
                      <a:pt x="132" y="91"/>
                    </a:cubicBezTo>
                    <a:cubicBezTo>
                      <a:pt x="132" y="91"/>
                      <a:pt x="135" y="90"/>
                      <a:pt x="136" y="89"/>
                    </a:cubicBezTo>
                    <a:cubicBezTo>
                      <a:pt x="137" y="87"/>
                      <a:pt x="137" y="83"/>
                      <a:pt x="137" y="83"/>
                    </a:cubicBezTo>
                    <a:cubicBezTo>
                      <a:pt x="137" y="83"/>
                      <a:pt x="140" y="80"/>
                      <a:pt x="139" y="77"/>
                    </a:cubicBezTo>
                    <a:cubicBezTo>
                      <a:pt x="138" y="74"/>
                      <a:pt x="134" y="77"/>
                      <a:pt x="134" y="77"/>
                    </a:cubicBezTo>
                    <a:cubicBezTo>
                      <a:pt x="132" y="69"/>
                      <a:pt x="132" y="69"/>
                      <a:pt x="132" y="69"/>
                    </a:cubicBezTo>
                    <a:cubicBezTo>
                      <a:pt x="134" y="69"/>
                      <a:pt x="134" y="69"/>
                      <a:pt x="134" y="69"/>
                    </a:cubicBezTo>
                    <a:cubicBezTo>
                      <a:pt x="135" y="65"/>
                      <a:pt x="135" y="65"/>
                      <a:pt x="135" y="65"/>
                    </a:cubicBezTo>
                    <a:cubicBezTo>
                      <a:pt x="138" y="66"/>
                      <a:pt x="138" y="66"/>
                      <a:pt x="138" y="66"/>
                    </a:cubicBezTo>
                    <a:cubicBezTo>
                      <a:pt x="139" y="63"/>
                      <a:pt x="139" y="63"/>
                      <a:pt x="139" y="63"/>
                    </a:cubicBezTo>
                    <a:cubicBezTo>
                      <a:pt x="139" y="63"/>
                      <a:pt x="135" y="60"/>
                      <a:pt x="128" y="58"/>
                    </a:cubicBezTo>
                    <a:cubicBezTo>
                      <a:pt x="123" y="58"/>
                      <a:pt x="122" y="71"/>
                      <a:pt x="119" y="71"/>
                    </a:cubicBezTo>
                    <a:cubicBezTo>
                      <a:pt x="116" y="72"/>
                      <a:pt x="116" y="65"/>
                      <a:pt x="113" y="64"/>
                    </a:cubicBezTo>
                    <a:cubicBezTo>
                      <a:pt x="111" y="62"/>
                      <a:pt x="108" y="67"/>
                      <a:pt x="105" y="65"/>
                    </a:cubicBezTo>
                    <a:cubicBezTo>
                      <a:pt x="102" y="65"/>
                      <a:pt x="100" y="61"/>
                      <a:pt x="99" y="60"/>
                    </a:cubicBezTo>
                    <a:cubicBezTo>
                      <a:pt x="97" y="60"/>
                      <a:pt x="90" y="58"/>
                      <a:pt x="90" y="58"/>
                    </a:cubicBezTo>
                    <a:cubicBezTo>
                      <a:pt x="96" y="56"/>
                      <a:pt x="96" y="56"/>
                      <a:pt x="96" y="56"/>
                    </a:cubicBezTo>
                    <a:cubicBezTo>
                      <a:pt x="97" y="53"/>
                      <a:pt x="97" y="53"/>
                      <a:pt x="97" y="53"/>
                    </a:cubicBezTo>
                    <a:cubicBezTo>
                      <a:pt x="90" y="52"/>
                      <a:pt x="90" y="52"/>
                      <a:pt x="90" y="52"/>
                    </a:cubicBezTo>
                    <a:cubicBezTo>
                      <a:pt x="90" y="52"/>
                      <a:pt x="94" y="46"/>
                      <a:pt x="94" y="41"/>
                    </a:cubicBezTo>
                    <a:cubicBezTo>
                      <a:pt x="93" y="35"/>
                      <a:pt x="84" y="39"/>
                      <a:pt x="84" y="39"/>
                    </a:cubicBezTo>
                    <a:cubicBezTo>
                      <a:pt x="81" y="36"/>
                      <a:pt x="81" y="36"/>
                      <a:pt x="81" y="36"/>
                    </a:cubicBezTo>
                    <a:cubicBezTo>
                      <a:pt x="77" y="38"/>
                      <a:pt x="77" y="38"/>
                      <a:pt x="77" y="38"/>
                    </a:cubicBezTo>
                    <a:cubicBezTo>
                      <a:pt x="66" y="30"/>
                      <a:pt x="66" y="30"/>
                      <a:pt x="66" y="30"/>
                    </a:cubicBezTo>
                    <a:cubicBezTo>
                      <a:pt x="69" y="27"/>
                      <a:pt x="69" y="27"/>
                      <a:pt x="69" y="27"/>
                    </a:cubicBezTo>
                    <a:cubicBezTo>
                      <a:pt x="65" y="24"/>
                      <a:pt x="65" y="24"/>
                      <a:pt x="65" y="24"/>
                    </a:cubicBezTo>
                    <a:cubicBezTo>
                      <a:pt x="67" y="16"/>
                      <a:pt x="67" y="16"/>
                      <a:pt x="67" y="16"/>
                    </a:cubicBezTo>
                    <a:cubicBezTo>
                      <a:pt x="67" y="16"/>
                      <a:pt x="63" y="19"/>
                      <a:pt x="61" y="19"/>
                    </a:cubicBezTo>
                    <a:cubicBezTo>
                      <a:pt x="58" y="19"/>
                      <a:pt x="57" y="11"/>
                      <a:pt x="57" y="11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3" y="8"/>
                      <a:pt x="53" y="8"/>
                      <a:pt x="53" y="8"/>
                    </a:cubicBezTo>
                    <a:cubicBezTo>
                      <a:pt x="50" y="9"/>
                      <a:pt x="50" y="9"/>
                      <a:pt x="50" y="9"/>
                    </a:cubicBezTo>
                    <a:cubicBezTo>
                      <a:pt x="45" y="1"/>
                      <a:pt x="45" y="1"/>
                      <a:pt x="45" y="1"/>
                    </a:cubicBezTo>
                    <a:cubicBezTo>
                      <a:pt x="39" y="1"/>
                      <a:pt x="39" y="1"/>
                      <a:pt x="39" y="1"/>
                    </a:cubicBezTo>
                    <a:cubicBezTo>
                      <a:pt x="32" y="0"/>
                      <a:pt x="31" y="5"/>
                      <a:pt x="31" y="5"/>
                    </a:cubicBezTo>
                    <a:cubicBezTo>
                      <a:pt x="31" y="5"/>
                      <a:pt x="28" y="3"/>
                      <a:pt x="26" y="3"/>
                    </a:cubicBezTo>
                    <a:cubicBezTo>
                      <a:pt x="24" y="3"/>
                      <a:pt x="21" y="6"/>
                      <a:pt x="19" y="8"/>
                    </a:cubicBezTo>
                    <a:cubicBezTo>
                      <a:pt x="17" y="11"/>
                      <a:pt x="11" y="14"/>
                      <a:pt x="11" y="14"/>
                    </a:cubicBezTo>
                    <a:cubicBezTo>
                      <a:pt x="7" y="13"/>
                      <a:pt x="7" y="13"/>
                      <a:pt x="7" y="13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2" y="21"/>
                      <a:pt x="4" y="24"/>
                      <a:pt x="4" y="24"/>
                    </a:cubicBezTo>
                    <a:cubicBezTo>
                      <a:pt x="4" y="28"/>
                      <a:pt x="0" y="32"/>
                      <a:pt x="2" y="33"/>
                    </a:cubicBezTo>
                    <a:cubicBezTo>
                      <a:pt x="5" y="37"/>
                      <a:pt x="5" y="33"/>
                      <a:pt x="8" y="33"/>
                    </a:cubicBezTo>
                    <a:cubicBezTo>
                      <a:pt x="12" y="33"/>
                      <a:pt x="11" y="37"/>
                      <a:pt x="6" y="39"/>
                    </a:cubicBezTo>
                    <a:cubicBezTo>
                      <a:pt x="2" y="40"/>
                      <a:pt x="6" y="43"/>
                      <a:pt x="6" y="43"/>
                    </a:cubicBezTo>
                    <a:cubicBezTo>
                      <a:pt x="14" y="48"/>
                      <a:pt x="14" y="48"/>
                      <a:pt x="14" y="48"/>
                    </a:cubicBezTo>
                    <a:cubicBezTo>
                      <a:pt x="22" y="48"/>
                      <a:pt x="22" y="48"/>
                      <a:pt x="22" y="48"/>
                    </a:cubicBezTo>
                    <a:cubicBezTo>
                      <a:pt x="22" y="50"/>
                      <a:pt x="22" y="50"/>
                      <a:pt x="22" y="50"/>
                    </a:cubicBezTo>
                    <a:cubicBezTo>
                      <a:pt x="14" y="50"/>
                      <a:pt x="14" y="50"/>
                      <a:pt x="14" y="50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3" y="62"/>
                      <a:pt x="13" y="62"/>
                      <a:pt x="13" y="62"/>
                    </a:cubicBezTo>
                    <a:cubicBezTo>
                      <a:pt x="24" y="64"/>
                      <a:pt x="24" y="64"/>
                      <a:pt x="24" y="64"/>
                    </a:cubicBezTo>
                    <a:cubicBezTo>
                      <a:pt x="21" y="66"/>
                      <a:pt x="21" y="66"/>
                      <a:pt x="21" y="66"/>
                    </a:cubicBezTo>
                    <a:cubicBezTo>
                      <a:pt x="21" y="66"/>
                      <a:pt x="21" y="73"/>
                      <a:pt x="19" y="75"/>
                    </a:cubicBezTo>
                    <a:cubicBezTo>
                      <a:pt x="18" y="78"/>
                      <a:pt x="15" y="82"/>
                      <a:pt x="15" y="82"/>
                    </a:cubicBezTo>
                    <a:cubicBezTo>
                      <a:pt x="16" y="85"/>
                      <a:pt x="16" y="85"/>
                      <a:pt x="16" y="85"/>
                    </a:cubicBezTo>
                    <a:cubicBezTo>
                      <a:pt x="16" y="85"/>
                      <a:pt x="13" y="90"/>
                      <a:pt x="15" y="91"/>
                    </a:cubicBezTo>
                    <a:cubicBezTo>
                      <a:pt x="18" y="92"/>
                      <a:pt x="24" y="92"/>
                      <a:pt x="24" y="92"/>
                    </a:cubicBezTo>
                    <a:cubicBezTo>
                      <a:pt x="34" y="101"/>
                      <a:pt x="34" y="101"/>
                      <a:pt x="34" y="101"/>
                    </a:cubicBezTo>
                    <a:cubicBezTo>
                      <a:pt x="34" y="101"/>
                      <a:pt x="34" y="106"/>
                      <a:pt x="31" y="106"/>
                    </a:cubicBezTo>
                    <a:cubicBezTo>
                      <a:pt x="27" y="106"/>
                      <a:pt x="21" y="106"/>
                      <a:pt x="21" y="106"/>
                    </a:cubicBezTo>
                    <a:cubicBezTo>
                      <a:pt x="27" y="114"/>
                      <a:pt x="27" y="114"/>
                      <a:pt x="27" y="114"/>
                    </a:cubicBezTo>
                    <a:cubicBezTo>
                      <a:pt x="27" y="114"/>
                      <a:pt x="37" y="122"/>
                      <a:pt x="32" y="124"/>
                    </a:cubicBezTo>
                    <a:cubicBezTo>
                      <a:pt x="28" y="128"/>
                      <a:pt x="24" y="124"/>
                      <a:pt x="24" y="124"/>
                    </a:cubicBezTo>
                    <a:cubicBezTo>
                      <a:pt x="24" y="125"/>
                      <a:pt x="24" y="125"/>
                      <a:pt x="24" y="125"/>
                    </a:cubicBezTo>
                    <a:cubicBezTo>
                      <a:pt x="26" y="129"/>
                      <a:pt x="26" y="129"/>
                      <a:pt x="26" y="129"/>
                    </a:cubicBezTo>
                    <a:cubicBezTo>
                      <a:pt x="31" y="132"/>
                      <a:pt x="31" y="132"/>
                      <a:pt x="31" y="132"/>
                    </a:cubicBezTo>
                    <a:cubicBezTo>
                      <a:pt x="37" y="136"/>
                      <a:pt x="37" y="136"/>
                      <a:pt x="37" y="136"/>
                    </a:cubicBezTo>
                    <a:cubicBezTo>
                      <a:pt x="43" y="141"/>
                      <a:pt x="43" y="141"/>
                      <a:pt x="43" y="141"/>
                    </a:cubicBezTo>
                    <a:cubicBezTo>
                      <a:pt x="47" y="143"/>
                      <a:pt x="47" y="143"/>
                      <a:pt x="47" y="143"/>
                    </a:cubicBezTo>
                    <a:cubicBezTo>
                      <a:pt x="60" y="149"/>
                      <a:pt x="60" y="149"/>
                      <a:pt x="60" y="149"/>
                    </a:cubicBezTo>
                    <a:cubicBezTo>
                      <a:pt x="64" y="150"/>
                      <a:pt x="64" y="150"/>
                      <a:pt x="64" y="150"/>
                    </a:cubicBezTo>
                    <a:cubicBezTo>
                      <a:pt x="64" y="155"/>
                      <a:pt x="64" y="155"/>
                      <a:pt x="64" y="155"/>
                    </a:cubicBezTo>
                    <a:cubicBezTo>
                      <a:pt x="61" y="156"/>
                      <a:pt x="61" y="156"/>
                      <a:pt x="61" y="156"/>
                    </a:cubicBezTo>
                    <a:cubicBezTo>
                      <a:pt x="61" y="157"/>
                      <a:pt x="61" y="157"/>
                      <a:pt x="61" y="158"/>
                    </a:cubicBezTo>
                    <a:cubicBezTo>
                      <a:pt x="65" y="158"/>
                      <a:pt x="65" y="158"/>
                      <a:pt x="65" y="158"/>
                    </a:cubicBezTo>
                    <a:cubicBezTo>
                      <a:pt x="69" y="158"/>
                      <a:pt x="69" y="158"/>
                      <a:pt x="69" y="158"/>
                    </a:cubicBezTo>
                    <a:cubicBezTo>
                      <a:pt x="69" y="158"/>
                      <a:pt x="71" y="157"/>
                      <a:pt x="71" y="157"/>
                    </a:cubicBezTo>
                    <a:cubicBezTo>
                      <a:pt x="72" y="156"/>
                      <a:pt x="72" y="155"/>
                      <a:pt x="73" y="154"/>
                    </a:cubicBezTo>
                    <a:cubicBezTo>
                      <a:pt x="73" y="154"/>
                      <a:pt x="72" y="153"/>
                      <a:pt x="73" y="152"/>
                    </a:cubicBezTo>
                    <a:cubicBezTo>
                      <a:pt x="74" y="151"/>
                      <a:pt x="76" y="149"/>
                      <a:pt x="76" y="149"/>
                    </a:cubicBezTo>
                    <a:cubicBezTo>
                      <a:pt x="76" y="149"/>
                      <a:pt x="77" y="145"/>
                      <a:pt x="77" y="145"/>
                    </a:cubicBezTo>
                    <a:cubicBezTo>
                      <a:pt x="76" y="144"/>
                      <a:pt x="76" y="143"/>
                      <a:pt x="75" y="143"/>
                    </a:cubicBezTo>
                    <a:cubicBezTo>
                      <a:pt x="75" y="142"/>
                      <a:pt x="76" y="139"/>
                      <a:pt x="76" y="139"/>
                    </a:cubicBezTo>
                    <a:cubicBezTo>
                      <a:pt x="76" y="139"/>
                      <a:pt x="77" y="138"/>
                      <a:pt x="78" y="138"/>
                    </a:cubicBezTo>
                    <a:cubicBezTo>
                      <a:pt x="79" y="137"/>
                      <a:pt x="80" y="138"/>
                      <a:pt x="81" y="138"/>
                    </a:cubicBezTo>
                    <a:cubicBezTo>
                      <a:pt x="81" y="138"/>
                      <a:pt x="82" y="135"/>
                      <a:pt x="82" y="135"/>
                    </a:cubicBezTo>
                    <a:cubicBezTo>
                      <a:pt x="82" y="136"/>
                      <a:pt x="82" y="134"/>
                      <a:pt x="83" y="134"/>
                    </a:cubicBezTo>
                    <a:cubicBezTo>
                      <a:pt x="84" y="134"/>
                      <a:pt x="84" y="136"/>
                      <a:pt x="84" y="136"/>
                    </a:cubicBezTo>
                    <a:cubicBezTo>
                      <a:pt x="84" y="136"/>
                      <a:pt x="85" y="137"/>
                      <a:pt x="85" y="138"/>
                    </a:cubicBezTo>
                    <a:cubicBezTo>
                      <a:pt x="84" y="139"/>
                      <a:pt x="83" y="140"/>
                      <a:pt x="83" y="140"/>
                    </a:cubicBezTo>
                    <a:cubicBezTo>
                      <a:pt x="83" y="140"/>
                      <a:pt x="84" y="141"/>
                      <a:pt x="84" y="141"/>
                    </a:cubicBezTo>
                    <a:cubicBezTo>
                      <a:pt x="85" y="141"/>
                      <a:pt x="85" y="141"/>
                      <a:pt x="85" y="141"/>
                    </a:cubicBezTo>
                    <a:cubicBezTo>
                      <a:pt x="88" y="141"/>
                      <a:pt x="88" y="141"/>
                      <a:pt x="88" y="141"/>
                    </a:cubicBezTo>
                    <a:cubicBezTo>
                      <a:pt x="88" y="141"/>
                      <a:pt x="88" y="142"/>
                      <a:pt x="88" y="142"/>
                    </a:cubicBezTo>
                    <a:cubicBezTo>
                      <a:pt x="89" y="142"/>
                      <a:pt x="89" y="142"/>
                      <a:pt x="90" y="143"/>
                    </a:cubicBezTo>
                    <a:cubicBezTo>
                      <a:pt x="90" y="143"/>
                      <a:pt x="90" y="143"/>
                      <a:pt x="90" y="143"/>
                    </a:cubicBezTo>
                    <a:cubicBezTo>
                      <a:pt x="91" y="144"/>
                      <a:pt x="93" y="143"/>
                      <a:pt x="94" y="143"/>
                    </a:cubicBezTo>
                    <a:cubicBezTo>
                      <a:pt x="95" y="143"/>
                      <a:pt x="95" y="145"/>
                      <a:pt x="95" y="145"/>
                    </a:cubicBezTo>
                    <a:cubicBezTo>
                      <a:pt x="95" y="145"/>
                      <a:pt x="97" y="145"/>
                      <a:pt x="98" y="146"/>
                    </a:cubicBezTo>
                    <a:cubicBezTo>
                      <a:pt x="98" y="146"/>
                      <a:pt x="98" y="149"/>
                      <a:pt x="98" y="149"/>
                    </a:cubicBezTo>
                    <a:cubicBezTo>
                      <a:pt x="98" y="149"/>
                      <a:pt x="99" y="150"/>
                      <a:pt x="100" y="150"/>
                    </a:cubicBezTo>
                    <a:cubicBezTo>
                      <a:pt x="101" y="150"/>
                      <a:pt x="102" y="150"/>
                      <a:pt x="102" y="150"/>
                    </a:cubicBezTo>
                    <a:cubicBezTo>
                      <a:pt x="102" y="150"/>
                      <a:pt x="103" y="152"/>
                      <a:pt x="103" y="152"/>
                    </a:cubicBezTo>
                    <a:cubicBezTo>
                      <a:pt x="105" y="153"/>
                      <a:pt x="105" y="153"/>
                      <a:pt x="105" y="153"/>
                    </a:cubicBezTo>
                    <a:cubicBezTo>
                      <a:pt x="107" y="154"/>
                      <a:pt x="107" y="154"/>
                      <a:pt x="107" y="154"/>
                    </a:cubicBezTo>
                    <a:cubicBezTo>
                      <a:pt x="110" y="155"/>
                      <a:pt x="110" y="155"/>
                      <a:pt x="110" y="155"/>
                    </a:cubicBezTo>
                    <a:cubicBezTo>
                      <a:pt x="111" y="155"/>
                      <a:pt x="111" y="155"/>
                      <a:pt x="111" y="155"/>
                    </a:cubicBezTo>
                    <a:cubicBezTo>
                      <a:pt x="112" y="156"/>
                      <a:pt x="112" y="156"/>
                      <a:pt x="112" y="156"/>
                    </a:cubicBezTo>
                    <a:cubicBezTo>
                      <a:pt x="114" y="157"/>
                      <a:pt x="114" y="157"/>
                      <a:pt x="114" y="157"/>
                    </a:cubicBezTo>
                    <a:cubicBezTo>
                      <a:pt x="114" y="157"/>
                      <a:pt x="116" y="157"/>
                      <a:pt x="117" y="158"/>
                    </a:cubicBezTo>
                    <a:cubicBezTo>
                      <a:pt x="117" y="158"/>
                      <a:pt x="118" y="161"/>
                      <a:pt x="118" y="161"/>
                    </a:cubicBezTo>
                    <a:cubicBezTo>
                      <a:pt x="118" y="161"/>
                      <a:pt x="119" y="163"/>
                      <a:pt x="119" y="163"/>
                    </a:cubicBezTo>
                    <a:cubicBezTo>
                      <a:pt x="119" y="164"/>
                      <a:pt x="118" y="166"/>
                      <a:pt x="118" y="166"/>
                    </a:cubicBezTo>
                    <a:cubicBezTo>
                      <a:pt x="116" y="170"/>
                      <a:pt x="116" y="170"/>
                      <a:pt x="116" y="170"/>
                    </a:cubicBezTo>
                    <a:cubicBezTo>
                      <a:pt x="116" y="170"/>
                      <a:pt x="115" y="172"/>
                      <a:pt x="115" y="172"/>
                    </a:cubicBezTo>
                    <a:cubicBezTo>
                      <a:pt x="115" y="173"/>
                      <a:pt x="114" y="174"/>
                      <a:pt x="114" y="174"/>
                    </a:cubicBezTo>
                    <a:cubicBezTo>
                      <a:pt x="114" y="174"/>
                      <a:pt x="114" y="175"/>
                      <a:pt x="114" y="176"/>
                    </a:cubicBezTo>
                    <a:cubicBezTo>
                      <a:pt x="114" y="176"/>
                      <a:pt x="113" y="176"/>
                      <a:pt x="112" y="177"/>
                    </a:cubicBezTo>
                    <a:cubicBezTo>
                      <a:pt x="114" y="177"/>
                      <a:pt x="115" y="177"/>
                      <a:pt x="116" y="177"/>
                    </a:cubicBezTo>
                    <a:cubicBezTo>
                      <a:pt x="120" y="177"/>
                      <a:pt x="125" y="172"/>
                      <a:pt x="125" y="172"/>
                    </a:cubicBezTo>
                    <a:cubicBezTo>
                      <a:pt x="132" y="173"/>
                      <a:pt x="132" y="173"/>
                      <a:pt x="132" y="173"/>
                    </a:cubicBezTo>
                    <a:cubicBezTo>
                      <a:pt x="137" y="168"/>
                      <a:pt x="137" y="168"/>
                      <a:pt x="137" y="168"/>
                    </a:cubicBezTo>
                    <a:cubicBezTo>
                      <a:pt x="140" y="170"/>
                      <a:pt x="140" y="170"/>
                      <a:pt x="140" y="170"/>
                    </a:cubicBezTo>
                    <a:cubicBezTo>
                      <a:pt x="146" y="162"/>
                      <a:pt x="146" y="162"/>
                      <a:pt x="146" y="162"/>
                    </a:cubicBezTo>
                    <a:cubicBezTo>
                      <a:pt x="140" y="156"/>
                      <a:pt x="140" y="156"/>
                      <a:pt x="140" y="156"/>
                    </a:cubicBezTo>
                    <a:cubicBezTo>
                      <a:pt x="143" y="150"/>
                      <a:pt x="143" y="150"/>
                      <a:pt x="143" y="150"/>
                    </a:cubicBezTo>
                    <a:cubicBezTo>
                      <a:pt x="139" y="148"/>
                      <a:pt x="139" y="148"/>
                      <a:pt x="139" y="148"/>
                    </a:cubicBezTo>
                    <a:cubicBezTo>
                      <a:pt x="139" y="148"/>
                      <a:pt x="139" y="146"/>
                      <a:pt x="142" y="144"/>
                    </a:cubicBezTo>
                    <a:cubicBezTo>
                      <a:pt x="145" y="141"/>
                      <a:pt x="148" y="143"/>
                      <a:pt x="150" y="142"/>
                    </a:cubicBezTo>
                    <a:cubicBezTo>
                      <a:pt x="151" y="141"/>
                      <a:pt x="152" y="139"/>
                      <a:pt x="152" y="139"/>
                    </a:cubicBezTo>
                    <a:cubicBezTo>
                      <a:pt x="158" y="128"/>
                      <a:pt x="158" y="128"/>
                      <a:pt x="158" y="128"/>
                    </a:cubicBezTo>
                    <a:cubicBezTo>
                      <a:pt x="158" y="128"/>
                      <a:pt x="155" y="121"/>
                      <a:pt x="150" y="119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51" name="Russia" descr="© INSCALE GmbH, 05.05.2010&#10;http://www.presentationload.com/"/>
              <p:cNvSpPr>
                <a:spLocks noChangeAspect="1"/>
              </p:cNvSpPr>
              <p:nvPr/>
            </p:nvSpPr>
            <p:spPr bwMode="auto">
              <a:xfrm>
                <a:off x="5670550" y="3346450"/>
                <a:ext cx="249237" cy="136525"/>
              </a:xfrm>
              <a:custGeom>
                <a:avLst/>
                <a:gdLst/>
                <a:ahLst/>
                <a:cxnLst>
                  <a:cxn ang="0">
                    <a:pos x="73" y="18"/>
                  </a:cxn>
                  <a:cxn ang="0">
                    <a:pos x="75" y="13"/>
                  </a:cxn>
                  <a:cxn ang="0">
                    <a:pos x="67" y="7"/>
                  </a:cxn>
                  <a:cxn ang="0">
                    <a:pos x="60" y="7"/>
                  </a:cxn>
                  <a:cxn ang="0">
                    <a:pos x="53" y="9"/>
                  </a:cxn>
                  <a:cxn ang="0">
                    <a:pos x="53" y="7"/>
                  </a:cxn>
                  <a:cxn ang="0">
                    <a:pos x="46" y="6"/>
                  </a:cxn>
                  <a:cxn ang="0">
                    <a:pos x="41" y="4"/>
                  </a:cxn>
                  <a:cxn ang="0">
                    <a:pos x="37" y="5"/>
                  </a:cxn>
                  <a:cxn ang="0">
                    <a:pos x="34" y="2"/>
                  </a:cxn>
                  <a:cxn ang="0">
                    <a:pos x="33" y="5"/>
                  </a:cxn>
                  <a:cxn ang="0">
                    <a:pos x="30" y="5"/>
                  </a:cxn>
                  <a:cxn ang="0">
                    <a:pos x="34" y="16"/>
                  </a:cxn>
                  <a:cxn ang="0">
                    <a:pos x="29" y="19"/>
                  </a:cxn>
                  <a:cxn ang="0">
                    <a:pos x="24" y="19"/>
                  </a:cxn>
                  <a:cxn ang="0">
                    <a:pos x="21" y="18"/>
                  </a:cxn>
                  <a:cxn ang="0">
                    <a:pos x="16" y="19"/>
                  </a:cxn>
                  <a:cxn ang="0">
                    <a:pos x="24" y="7"/>
                  </a:cxn>
                  <a:cxn ang="0">
                    <a:pos x="24" y="5"/>
                  </a:cxn>
                  <a:cxn ang="0">
                    <a:pos x="27" y="1"/>
                  </a:cxn>
                  <a:cxn ang="0">
                    <a:pos x="26" y="0"/>
                  </a:cxn>
                  <a:cxn ang="0">
                    <a:pos x="24" y="1"/>
                  </a:cxn>
                  <a:cxn ang="0">
                    <a:pos x="21" y="7"/>
                  </a:cxn>
                  <a:cxn ang="0">
                    <a:pos x="15" y="16"/>
                  </a:cxn>
                  <a:cxn ang="0">
                    <a:pos x="13" y="18"/>
                  </a:cxn>
                  <a:cxn ang="0">
                    <a:pos x="1" y="20"/>
                  </a:cxn>
                  <a:cxn ang="0">
                    <a:pos x="0" y="24"/>
                  </a:cxn>
                  <a:cxn ang="0">
                    <a:pos x="2" y="26"/>
                  </a:cxn>
                  <a:cxn ang="0">
                    <a:pos x="0" y="34"/>
                  </a:cxn>
                  <a:cxn ang="0">
                    <a:pos x="2" y="34"/>
                  </a:cxn>
                  <a:cxn ang="0">
                    <a:pos x="2" y="32"/>
                  </a:cxn>
                  <a:cxn ang="0">
                    <a:pos x="4" y="31"/>
                  </a:cxn>
                  <a:cxn ang="0">
                    <a:pos x="5" y="33"/>
                  </a:cxn>
                  <a:cxn ang="0">
                    <a:pos x="8" y="30"/>
                  </a:cxn>
                  <a:cxn ang="0">
                    <a:pos x="14" y="31"/>
                  </a:cxn>
                  <a:cxn ang="0">
                    <a:pos x="10" y="32"/>
                  </a:cxn>
                  <a:cxn ang="0">
                    <a:pos x="10" y="34"/>
                  </a:cxn>
                  <a:cxn ang="0">
                    <a:pos x="5" y="37"/>
                  </a:cxn>
                  <a:cxn ang="0">
                    <a:pos x="4" y="36"/>
                  </a:cxn>
                  <a:cxn ang="0">
                    <a:pos x="2" y="42"/>
                  </a:cxn>
                  <a:cxn ang="0">
                    <a:pos x="39" y="42"/>
                  </a:cxn>
                  <a:cxn ang="0">
                    <a:pos x="75" y="36"/>
                  </a:cxn>
                  <a:cxn ang="0">
                    <a:pos x="72" y="25"/>
                  </a:cxn>
                  <a:cxn ang="0">
                    <a:pos x="73" y="18"/>
                  </a:cxn>
                </a:cxnLst>
                <a:rect l="0" t="0" r="r" b="b"/>
                <a:pathLst>
                  <a:path w="78" h="43">
                    <a:moveTo>
                      <a:pt x="73" y="18"/>
                    </a:moveTo>
                    <a:cubicBezTo>
                      <a:pt x="73" y="18"/>
                      <a:pt x="78" y="15"/>
                      <a:pt x="75" y="13"/>
                    </a:cubicBezTo>
                    <a:cubicBezTo>
                      <a:pt x="73" y="11"/>
                      <a:pt x="67" y="7"/>
                      <a:pt x="67" y="7"/>
                    </a:cubicBezTo>
                    <a:cubicBezTo>
                      <a:pt x="60" y="7"/>
                      <a:pt x="60" y="7"/>
                      <a:pt x="60" y="7"/>
                    </a:cubicBezTo>
                    <a:cubicBezTo>
                      <a:pt x="53" y="9"/>
                      <a:pt x="53" y="9"/>
                      <a:pt x="53" y="9"/>
                    </a:cubicBezTo>
                    <a:cubicBezTo>
                      <a:pt x="53" y="7"/>
                      <a:pt x="53" y="7"/>
                      <a:pt x="53" y="7"/>
                    </a:cubicBezTo>
                    <a:cubicBezTo>
                      <a:pt x="53" y="7"/>
                      <a:pt x="49" y="8"/>
                      <a:pt x="46" y="6"/>
                    </a:cubicBezTo>
                    <a:cubicBezTo>
                      <a:pt x="43" y="5"/>
                      <a:pt x="41" y="4"/>
                      <a:pt x="41" y="4"/>
                    </a:cubicBezTo>
                    <a:cubicBezTo>
                      <a:pt x="37" y="5"/>
                      <a:pt x="37" y="5"/>
                      <a:pt x="37" y="5"/>
                    </a:cubicBezTo>
                    <a:cubicBezTo>
                      <a:pt x="34" y="2"/>
                      <a:pt x="34" y="2"/>
                      <a:pt x="34" y="2"/>
                    </a:cubicBezTo>
                    <a:cubicBezTo>
                      <a:pt x="33" y="5"/>
                      <a:pt x="33" y="5"/>
                      <a:pt x="33" y="5"/>
                    </a:cubicBezTo>
                    <a:cubicBezTo>
                      <a:pt x="30" y="5"/>
                      <a:pt x="30" y="5"/>
                      <a:pt x="30" y="5"/>
                    </a:cubicBezTo>
                    <a:cubicBezTo>
                      <a:pt x="34" y="16"/>
                      <a:pt x="34" y="16"/>
                      <a:pt x="34" y="16"/>
                    </a:cubicBezTo>
                    <a:cubicBezTo>
                      <a:pt x="29" y="19"/>
                      <a:pt x="29" y="19"/>
                      <a:pt x="29" y="19"/>
                    </a:cubicBezTo>
                    <a:cubicBezTo>
                      <a:pt x="24" y="19"/>
                      <a:pt x="24" y="19"/>
                      <a:pt x="24" y="19"/>
                    </a:cubicBezTo>
                    <a:cubicBezTo>
                      <a:pt x="24" y="19"/>
                      <a:pt x="22" y="18"/>
                      <a:pt x="21" y="18"/>
                    </a:cubicBezTo>
                    <a:cubicBezTo>
                      <a:pt x="20" y="18"/>
                      <a:pt x="16" y="19"/>
                      <a:pt x="16" y="19"/>
                    </a:cubicBezTo>
                    <a:cubicBezTo>
                      <a:pt x="24" y="7"/>
                      <a:pt x="24" y="7"/>
                      <a:pt x="24" y="7"/>
                    </a:cubicBezTo>
                    <a:cubicBezTo>
                      <a:pt x="24" y="5"/>
                      <a:pt x="24" y="5"/>
                      <a:pt x="24" y="5"/>
                    </a:cubicBezTo>
                    <a:cubicBezTo>
                      <a:pt x="27" y="1"/>
                      <a:pt x="27" y="1"/>
                      <a:pt x="27" y="1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21" y="7"/>
                      <a:pt x="21" y="7"/>
                      <a:pt x="21" y="7"/>
                    </a:cubicBezTo>
                    <a:cubicBezTo>
                      <a:pt x="15" y="16"/>
                      <a:pt x="15" y="16"/>
                      <a:pt x="15" y="16"/>
                    </a:cubicBezTo>
                    <a:cubicBezTo>
                      <a:pt x="13" y="18"/>
                      <a:pt x="13" y="18"/>
                      <a:pt x="13" y="18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2" y="26"/>
                      <a:pt x="2" y="26"/>
                      <a:pt x="2" y="26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2" y="34"/>
                      <a:pt x="2" y="34"/>
                      <a:pt x="2" y="34"/>
                    </a:cubicBezTo>
                    <a:cubicBezTo>
                      <a:pt x="2" y="32"/>
                      <a:pt x="2" y="32"/>
                      <a:pt x="2" y="32"/>
                    </a:cubicBezTo>
                    <a:cubicBezTo>
                      <a:pt x="4" y="31"/>
                      <a:pt x="4" y="31"/>
                      <a:pt x="4" y="31"/>
                    </a:cubicBezTo>
                    <a:cubicBezTo>
                      <a:pt x="5" y="33"/>
                      <a:pt x="5" y="33"/>
                      <a:pt x="5" y="33"/>
                    </a:cubicBezTo>
                    <a:cubicBezTo>
                      <a:pt x="8" y="30"/>
                      <a:pt x="8" y="30"/>
                      <a:pt x="8" y="30"/>
                    </a:cubicBezTo>
                    <a:cubicBezTo>
                      <a:pt x="14" y="31"/>
                      <a:pt x="14" y="31"/>
                      <a:pt x="14" y="31"/>
                    </a:cubicBezTo>
                    <a:cubicBezTo>
                      <a:pt x="10" y="32"/>
                      <a:pt x="10" y="32"/>
                      <a:pt x="10" y="32"/>
                    </a:cubicBezTo>
                    <a:cubicBezTo>
                      <a:pt x="10" y="34"/>
                      <a:pt x="10" y="34"/>
                      <a:pt x="10" y="34"/>
                    </a:cubicBezTo>
                    <a:cubicBezTo>
                      <a:pt x="5" y="37"/>
                      <a:pt x="5" y="37"/>
                      <a:pt x="5" y="37"/>
                    </a:cubicBezTo>
                    <a:cubicBezTo>
                      <a:pt x="4" y="36"/>
                      <a:pt x="4" y="36"/>
                      <a:pt x="4" y="36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7" y="42"/>
                      <a:pt x="30" y="43"/>
                      <a:pt x="39" y="42"/>
                    </a:cubicBezTo>
                    <a:cubicBezTo>
                      <a:pt x="49" y="42"/>
                      <a:pt x="75" y="36"/>
                      <a:pt x="75" y="36"/>
                    </a:cubicBezTo>
                    <a:cubicBezTo>
                      <a:pt x="75" y="36"/>
                      <a:pt x="71" y="31"/>
                      <a:pt x="72" y="25"/>
                    </a:cubicBezTo>
                    <a:cubicBezTo>
                      <a:pt x="72" y="21"/>
                      <a:pt x="73" y="18"/>
                      <a:pt x="73" y="18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52" name="Romania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5838825" y="4219575"/>
                <a:ext cx="955675" cy="679450"/>
              </a:xfrm>
              <a:custGeom>
                <a:avLst/>
                <a:gdLst/>
                <a:ahLst/>
                <a:cxnLst>
                  <a:cxn ang="0">
                    <a:pos x="428" y="156"/>
                  </a:cxn>
                  <a:cxn ang="0">
                    <a:pos x="402" y="170"/>
                  </a:cxn>
                  <a:cxn ang="0">
                    <a:pos x="387" y="175"/>
                  </a:cxn>
                  <a:cxn ang="0">
                    <a:pos x="365" y="162"/>
                  </a:cxn>
                  <a:cxn ang="0">
                    <a:pos x="361" y="136"/>
                  </a:cxn>
                  <a:cxn ang="0">
                    <a:pos x="361" y="116"/>
                  </a:cxn>
                  <a:cxn ang="0">
                    <a:pos x="350" y="83"/>
                  </a:cxn>
                  <a:cxn ang="0">
                    <a:pos x="332" y="65"/>
                  </a:cxn>
                  <a:cxn ang="0">
                    <a:pos x="291" y="18"/>
                  </a:cxn>
                  <a:cxn ang="0">
                    <a:pos x="247" y="24"/>
                  </a:cxn>
                  <a:cxn ang="0">
                    <a:pos x="202" y="51"/>
                  </a:cxn>
                  <a:cxn ang="0">
                    <a:pos x="164" y="44"/>
                  </a:cxn>
                  <a:cxn ang="0">
                    <a:pos x="115" y="37"/>
                  </a:cxn>
                  <a:cxn ang="0">
                    <a:pos x="107" y="47"/>
                  </a:cxn>
                  <a:cxn ang="0">
                    <a:pos x="93" y="67"/>
                  </a:cxn>
                  <a:cxn ang="0">
                    <a:pos x="81" y="70"/>
                  </a:cxn>
                  <a:cxn ang="0">
                    <a:pos x="71" y="94"/>
                  </a:cxn>
                  <a:cxn ang="0">
                    <a:pos x="65" y="108"/>
                  </a:cxn>
                  <a:cxn ang="0">
                    <a:pos x="59" y="125"/>
                  </a:cxn>
                  <a:cxn ang="0">
                    <a:pos x="55" y="140"/>
                  </a:cxn>
                  <a:cxn ang="0">
                    <a:pos x="45" y="148"/>
                  </a:cxn>
                  <a:cxn ang="0">
                    <a:pos x="43" y="164"/>
                  </a:cxn>
                  <a:cxn ang="0">
                    <a:pos x="27" y="174"/>
                  </a:cxn>
                  <a:cxn ang="0">
                    <a:pos x="12" y="181"/>
                  </a:cxn>
                  <a:cxn ang="0">
                    <a:pos x="0" y="184"/>
                  </a:cxn>
                  <a:cxn ang="0">
                    <a:pos x="12" y="194"/>
                  </a:cxn>
                  <a:cxn ang="0">
                    <a:pos x="17" y="197"/>
                  </a:cxn>
                  <a:cxn ang="0">
                    <a:pos x="31" y="205"/>
                  </a:cxn>
                  <a:cxn ang="0">
                    <a:pos x="33" y="219"/>
                  </a:cxn>
                  <a:cxn ang="0">
                    <a:pos x="45" y="235"/>
                  </a:cxn>
                  <a:cxn ang="0">
                    <a:pos x="55" y="237"/>
                  </a:cxn>
                  <a:cxn ang="0">
                    <a:pos x="63" y="254"/>
                  </a:cxn>
                  <a:cxn ang="0">
                    <a:pos x="71" y="260"/>
                  </a:cxn>
                  <a:cxn ang="0">
                    <a:pos x="75" y="266"/>
                  </a:cxn>
                  <a:cxn ang="0">
                    <a:pos x="95" y="271"/>
                  </a:cxn>
                  <a:cxn ang="0">
                    <a:pos x="115" y="263"/>
                  </a:cxn>
                  <a:cxn ang="0">
                    <a:pos x="129" y="274"/>
                  </a:cxn>
                  <a:cxn ang="0">
                    <a:pos x="123" y="278"/>
                  </a:cxn>
                  <a:cxn ang="0">
                    <a:pos x="123" y="290"/>
                  </a:cxn>
                  <a:cxn ang="0">
                    <a:pos x="129" y="294"/>
                  </a:cxn>
                  <a:cxn ang="0">
                    <a:pos x="148" y="302"/>
                  </a:cxn>
                  <a:cxn ang="0">
                    <a:pos x="151" y="318"/>
                  </a:cxn>
                  <a:cxn ang="0">
                    <a:pos x="179" y="314"/>
                  </a:cxn>
                  <a:cxn ang="0">
                    <a:pos x="206" y="318"/>
                  </a:cxn>
                  <a:cxn ang="0">
                    <a:pos x="229" y="310"/>
                  </a:cxn>
                  <a:cxn ang="0">
                    <a:pos x="250" y="310"/>
                  </a:cxn>
                  <a:cxn ang="0">
                    <a:pos x="271" y="309"/>
                  </a:cxn>
                  <a:cxn ang="0">
                    <a:pos x="308" y="275"/>
                  </a:cxn>
                  <a:cxn ang="0">
                    <a:pos x="355" y="268"/>
                  </a:cxn>
                  <a:cxn ang="0">
                    <a:pos x="372" y="268"/>
                  </a:cxn>
                  <a:cxn ang="0">
                    <a:pos x="385" y="272"/>
                  </a:cxn>
                  <a:cxn ang="0">
                    <a:pos x="413" y="273"/>
                  </a:cxn>
                  <a:cxn ang="0">
                    <a:pos x="408" y="239"/>
                  </a:cxn>
                  <a:cxn ang="0">
                    <a:pos x="411" y="221"/>
                  </a:cxn>
                  <a:cxn ang="0">
                    <a:pos x="407" y="207"/>
                  </a:cxn>
                  <a:cxn ang="0">
                    <a:pos x="413" y="191"/>
                  </a:cxn>
                  <a:cxn ang="0">
                    <a:pos x="420" y="193"/>
                  </a:cxn>
                  <a:cxn ang="0">
                    <a:pos x="424" y="195"/>
                  </a:cxn>
                  <a:cxn ang="0">
                    <a:pos x="419" y="204"/>
                  </a:cxn>
                  <a:cxn ang="0">
                    <a:pos x="431" y="199"/>
                  </a:cxn>
                  <a:cxn ang="0">
                    <a:pos x="443" y="167"/>
                  </a:cxn>
                  <a:cxn ang="0">
                    <a:pos x="418" y="212"/>
                  </a:cxn>
                  <a:cxn ang="0">
                    <a:pos x="418" y="207"/>
                  </a:cxn>
                </a:cxnLst>
                <a:rect l="0" t="0" r="r" b="b"/>
                <a:pathLst>
                  <a:path w="448" h="319">
                    <a:moveTo>
                      <a:pt x="443" y="167"/>
                    </a:moveTo>
                    <a:cubicBezTo>
                      <a:pt x="443" y="167"/>
                      <a:pt x="439" y="158"/>
                      <a:pt x="428" y="156"/>
                    </a:cubicBezTo>
                    <a:cubicBezTo>
                      <a:pt x="419" y="155"/>
                      <a:pt x="407" y="170"/>
                      <a:pt x="407" y="170"/>
                    </a:cubicBezTo>
                    <a:cubicBezTo>
                      <a:pt x="402" y="170"/>
                      <a:pt x="402" y="170"/>
                      <a:pt x="402" y="170"/>
                    </a:cubicBezTo>
                    <a:cubicBezTo>
                      <a:pt x="402" y="177"/>
                      <a:pt x="402" y="177"/>
                      <a:pt x="402" y="177"/>
                    </a:cubicBezTo>
                    <a:cubicBezTo>
                      <a:pt x="402" y="177"/>
                      <a:pt x="399" y="178"/>
                      <a:pt x="387" y="175"/>
                    </a:cubicBezTo>
                    <a:cubicBezTo>
                      <a:pt x="376" y="173"/>
                      <a:pt x="377" y="167"/>
                      <a:pt x="377" y="167"/>
                    </a:cubicBezTo>
                    <a:cubicBezTo>
                      <a:pt x="365" y="162"/>
                      <a:pt x="365" y="162"/>
                      <a:pt x="365" y="162"/>
                    </a:cubicBezTo>
                    <a:cubicBezTo>
                      <a:pt x="368" y="156"/>
                      <a:pt x="368" y="156"/>
                      <a:pt x="368" y="156"/>
                    </a:cubicBezTo>
                    <a:cubicBezTo>
                      <a:pt x="361" y="136"/>
                      <a:pt x="361" y="136"/>
                      <a:pt x="361" y="136"/>
                    </a:cubicBezTo>
                    <a:cubicBezTo>
                      <a:pt x="357" y="119"/>
                      <a:pt x="357" y="119"/>
                      <a:pt x="357" y="119"/>
                    </a:cubicBezTo>
                    <a:cubicBezTo>
                      <a:pt x="361" y="116"/>
                      <a:pt x="361" y="116"/>
                      <a:pt x="361" y="116"/>
                    </a:cubicBezTo>
                    <a:cubicBezTo>
                      <a:pt x="361" y="116"/>
                      <a:pt x="361" y="102"/>
                      <a:pt x="360" y="94"/>
                    </a:cubicBezTo>
                    <a:cubicBezTo>
                      <a:pt x="358" y="85"/>
                      <a:pt x="350" y="83"/>
                      <a:pt x="350" y="83"/>
                    </a:cubicBezTo>
                    <a:cubicBezTo>
                      <a:pt x="350" y="83"/>
                      <a:pt x="349" y="76"/>
                      <a:pt x="346" y="71"/>
                    </a:cubicBezTo>
                    <a:cubicBezTo>
                      <a:pt x="345" y="67"/>
                      <a:pt x="332" y="65"/>
                      <a:pt x="332" y="65"/>
                    </a:cubicBezTo>
                    <a:cubicBezTo>
                      <a:pt x="332" y="65"/>
                      <a:pt x="316" y="46"/>
                      <a:pt x="310" y="40"/>
                    </a:cubicBezTo>
                    <a:cubicBezTo>
                      <a:pt x="304" y="36"/>
                      <a:pt x="299" y="33"/>
                      <a:pt x="291" y="18"/>
                    </a:cubicBezTo>
                    <a:cubicBezTo>
                      <a:pt x="285" y="4"/>
                      <a:pt x="270" y="2"/>
                      <a:pt x="270" y="2"/>
                    </a:cubicBezTo>
                    <a:cubicBezTo>
                      <a:pt x="252" y="0"/>
                      <a:pt x="247" y="24"/>
                      <a:pt x="247" y="24"/>
                    </a:cubicBezTo>
                    <a:cubicBezTo>
                      <a:pt x="247" y="24"/>
                      <a:pt x="230" y="33"/>
                      <a:pt x="215" y="37"/>
                    </a:cubicBezTo>
                    <a:cubicBezTo>
                      <a:pt x="199" y="41"/>
                      <a:pt x="211" y="48"/>
                      <a:pt x="202" y="51"/>
                    </a:cubicBezTo>
                    <a:cubicBezTo>
                      <a:pt x="192" y="53"/>
                      <a:pt x="182" y="40"/>
                      <a:pt x="178" y="39"/>
                    </a:cubicBezTo>
                    <a:cubicBezTo>
                      <a:pt x="173" y="37"/>
                      <a:pt x="164" y="44"/>
                      <a:pt x="164" y="44"/>
                    </a:cubicBezTo>
                    <a:cubicBezTo>
                      <a:pt x="164" y="44"/>
                      <a:pt x="141" y="45"/>
                      <a:pt x="129" y="46"/>
                    </a:cubicBezTo>
                    <a:cubicBezTo>
                      <a:pt x="116" y="47"/>
                      <a:pt x="122" y="37"/>
                      <a:pt x="115" y="37"/>
                    </a:cubicBezTo>
                    <a:cubicBezTo>
                      <a:pt x="110" y="37"/>
                      <a:pt x="111" y="48"/>
                      <a:pt x="111" y="48"/>
                    </a:cubicBezTo>
                    <a:cubicBezTo>
                      <a:pt x="107" y="47"/>
                      <a:pt x="107" y="47"/>
                      <a:pt x="107" y="47"/>
                    </a:cubicBezTo>
                    <a:cubicBezTo>
                      <a:pt x="105" y="52"/>
                      <a:pt x="105" y="52"/>
                      <a:pt x="105" y="52"/>
                    </a:cubicBezTo>
                    <a:cubicBezTo>
                      <a:pt x="93" y="67"/>
                      <a:pt x="93" y="67"/>
                      <a:pt x="93" y="67"/>
                    </a:cubicBezTo>
                    <a:cubicBezTo>
                      <a:pt x="84" y="67"/>
                      <a:pt x="84" y="67"/>
                      <a:pt x="84" y="67"/>
                    </a:cubicBezTo>
                    <a:cubicBezTo>
                      <a:pt x="81" y="70"/>
                      <a:pt x="81" y="70"/>
                      <a:pt x="81" y="70"/>
                    </a:cubicBezTo>
                    <a:cubicBezTo>
                      <a:pt x="70" y="87"/>
                      <a:pt x="70" y="87"/>
                      <a:pt x="70" y="87"/>
                    </a:cubicBezTo>
                    <a:cubicBezTo>
                      <a:pt x="71" y="94"/>
                      <a:pt x="71" y="94"/>
                      <a:pt x="71" y="94"/>
                    </a:cubicBezTo>
                    <a:cubicBezTo>
                      <a:pt x="67" y="97"/>
                      <a:pt x="67" y="97"/>
                      <a:pt x="67" y="97"/>
                    </a:cubicBezTo>
                    <a:cubicBezTo>
                      <a:pt x="65" y="108"/>
                      <a:pt x="65" y="108"/>
                      <a:pt x="65" y="108"/>
                    </a:cubicBezTo>
                    <a:cubicBezTo>
                      <a:pt x="58" y="119"/>
                      <a:pt x="58" y="119"/>
                      <a:pt x="58" y="119"/>
                    </a:cubicBezTo>
                    <a:cubicBezTo>
                      <a:pt x="59" y="125"/>
                      <a:pt x="59" y="125"/>
                      <a:pt x="59" y="125"/>
                    </a:cubicBezTo>
                    <a:cubicBezTo>
                      <a:pt x="53" y="135"/>
                      <a:pt x="53" y="135"/>
                      <a:pt x="53" y="135"/>
                    </a:cubicBezTo>
                    <a:cubicBezTo>
                      <a:pt x="55" y="140"/>
                      <a:pt x="55" y="140"/>
                      <a:pt x="55" y="140"/>
                    </a:cubicBezTo>
                    <a:cubicBezTo>
                      <a:pt x="49" y="148"/>
                      <a:pt x="49" y="148"/>
                      <a:pt x="49" y="148"/>
                    </a:cubicBezTo>
                    <a:cubicBezTo>
                      <a:pt x="45" y="148"/>
                      <a:pt x="45" y="148"/>
                      <a:pt x="45" y="148"/>
                    </a:cubicBezTo>
                    <a:cubicBezTo>
                      <a:pt x="47" y="161"/>
                      <a:pt x="47" y="161"/>
                      <a:pt x="47" y="161"/>
                    </a:cubicBezTo>
                    <a:cubicBezTo>
                      <a:pt x="43" y="164"/>
                      <a:pt x="43" y="164"/>
                      <a:pt x="43" y="164"/>
                    </a:cubicBezTo>
                    <a:cubicBezTo>
                      <a:pt x="43" y="164"/>
                      <a:pt x="45" y="170"/>
                      <a:pt x="42" y="173"/>
                    </a:cubicBezTo>
                    <a:cubicBezTo>
                      <a:pt x="39" y="177"/>
                      <a:pt x="33" y="173"/>
                      <a:pt x="27" y="174"/>
                    </a:cubicBezTo>
                    <a:cubicBezTo>
                      <a:pt x="22" y="175"/>
                      <a:pt x="24" y="182"/>
                      <a:pt x="21" y="183"/>
                    </a:cubicBezTo>
                    <a:cubicBezTo>
                      <a:pt x="17" y="184"/>
                      <a:pt x="12" y="181"/>
                      <a:pt x="12" y="181"/>
                    </a:cubicBezTo>
                    <a:cubicBezTo>
                      <a:pt x="10" y="184"/>
                      <a:pt x="10" y="184"/>
                      <a:pt x="10" y="184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7" y="195"/>
                      <a:pt x="7" y="195"/>
                      <a:pt x="7" y="195"/>
                    </a:cubicBezTo>
                    <a:cubicBezTo>
                      <a:pt x="12" y="194"/>
                      <a:pt x="12" y="194"/>
                      <a:pt x="12" y="194"/>
                    </a:cubicBezTo>
                    <a:cubicBezTo>
                      <a:pt x="15" y="197"/>
                      <a:pt x="15" y="197"/>
                      <a:pt x="15" y="197"/>
                    </a:cubicBezTo>
                    <a:cubicBezTo>
                      <a:pt x="17" y="197"/>
                      <a:pt x="17" y="197"/>
                      <a:pt x="17" y="197"/>
                    </a:cubicBezTo>
                    <a:cubicBezTo>
                      <a:pt x="17" y="197"/>
                      <a:pt x="18" y="208"/>
                      <a:pt x="22" y="208"/>
                    </a:cubicBezTo>
                    <a:cubicBezTo>
                      <a:pt x="25" y="208"/>
                      <a:pt x="31" y="205"/>
                      <a:pt x="31" y="205"/>
                    </a:cubicBezTo>
                    <a:cubicBezTo>
                      <a:pt x="28" y="216"/>
                      <a:pt x="28" y="216"/>
                      <a:pt x="28" y="216"/>
                    </a:cubicBezTo>
                    <a:cubicBezTo>
                      <a:pt x="33" y="219"/>
                      <a:pt x="33" y="219"/>
                      <a:pt x="33" y="219"/>
                    </a:cubicBezTo>
                    <a:cubicBezTo>
                      <a:pt x="30" y="224"/>
                      <a:pt x="30" y="224"/>
                      <a:pt x="30" y="224"/>
                    </a:cubicBezTo>
                    <a:cubicBezTo>
                      <a:pt x="45" y="235"/>
                      <a:pt x="45" y="235"/>
                      <a:pt x="45" y="235"/>
                    </a:cubicBezTo>
                    <a:cubicBezTo>
                      <a:pt x="50" y="233"/>
                      <a:pt x="50" y="233"/>
                      <a:pt x="50" y="233"/>
                    </a:cubicBezTo>
                    <a:cubicBezTo>
                      <a:pt x="55" y="237"/>
                      <a:pt x="55" y="237"/>
                      <a:pt x="55" y="237"/>
                    </a:cubicBezTo>
                    <a:cubicBezTo>
                      <a:pt x="55" y="237"/>
                      <a:pt x="67" y="231"/>
                      <a:pt x="68" y="239"/>
                    </a:cubicBezTo>
                    <a:cubicBezTo>
                      <a:pt x="68" y="247"/>
                      <a:pt x="63" y="254"/>
                      <a:pt x="63" y="254"/>
                    </a:cubicBezTo>
                    <a:cubicBezTo>
                      <a:pt x="72" y="256"/>
                      <a:pt x="72" y="256"/>
                      <a:pt x="72" y="256"/>
                    </a:cubicBezTo>
                    <a:cubicBezTo>
                      <a:pt x="71" y="260"/>
                      <a:pt x="71" y="260"/>
                      <a:pt x="71" y="260"/>
                    </a:cubicBezTo>
                    <a:cubicBezTo>
                      <a:pt x="63" y="263"/>
                      <a:pt x="63" y="263"/>
                      <a:pt x="63" y="263"/>
                    </a:cubicBezTo>
                    <a:cubicBezTo>
                      <a:pt x="63" y="263"/>
                      <a:pt x="72" y="265"/>
                      <a:pt x="75" y="266"/>
                    </a:cubicBezTo>
                    <a:cubicBezTo>
                      <a:pt x="77" y="267"/>
                      <a:pt x="79" y="272"/>
                      <a:pt x="83" y="273"/>
                    </a:cubicBezTo>
                    <a:cubicBezTo>
                      <a:pt x="88" y="275"/>
                      <a:pt x="92" y="268"/>
                      <a:pt x="95" y="271"/>
                    </a:cubicBezTo>
                    <a:cubicBezTo>
                      <a:pt x="99" y="273"/>
                      <a:pt x="99" y="282"/>
                      <a:pt x="103" y="281"/>
                    </a:cubicBezTo>
                    <a:cubicBezTo>
                      <a:pt x="107" y="281"/>
                      <a:pt x="108" y="263"/>
                      <a:pt x="115" y="263"/>
                    </a:cubicBezTo>
                    <a:cubicBezTo>
                      <a:pt x="124" y="265"/>
                      <a:pt x="130" y="270"/>
                      <a:pt x="130" y="270"/>
                    </a:cubicBezTo>
                    <a:cubicBezTo>
                      <a:pt x="129" y="274"/>
                      <a:pt x="129" y="274"/>
                      <a:pt x="129" y="274"/>
                    </a:cubicBezTo>
                    <a:cubicBezTo>
                      <a:pt x="125" y="272"/>
                      <a:pt x="125" y="272"/>
                      <a:pt x="125" y="272"/>
                    </a:cubicBezTo>
                    <a:cubicBezTo>
                      <a:pt x="123" y="278"/>
                      <a:pt x="123" y="278"/>
                      <a:pt x="123" y="278"/>
                    </a:cubicBezTo>
                    <a:cubicBezTo>
                      <a:pt x="120" y="278"/>
                      <a:pt x="120" y="278"/>
                      <a:pt x="120" y="278"/>
                    </a:cubicBezTo>
                    <a:cubicBezTo>
                      <a:pt x="123" y="290"/>
                      <a:pt x="123" y="290"/>
                      <a:pt x="123" y="290"/>
                    </a:cubicBezTo>
                    <a:cubicBezTo>
                      <a:pt x="123" y="290"/>
                      <a:pt x="129" y="286"/>
                      <a:pt x="130" y="290"/>
                    </a:cubicBezTo>
                    <a:cubicBezTo>
                      <a:pt x="131" y="291"/>
                      <a:pt x="130" y="293"/>
                      <a:pt x="129" y="294"/>
                    </a:cubicBezTo>
                    <a:cubicBezTo>
                      <a:pt x="133" y="296"/>
                      <a:pt x="139" y="299"/>
                      <a:pt x="141" y="299"/>
                    </a:cubicBezTo>
                    <a:cubicBezTo>
                      <a:pt x="145" y="300"/>
                      <a:pt x="148" y="298"/>
                      <a:pt x="148" y="302"/>
                    </a:cubicBezTo>
                    <a:cubicBezTo>
                      <a:pt x="149" y="307"/>
                      <a:pt x="142" y="306"/>
                      <a:pt x="141" y="312"/>
                    </a:cubicBezTo>
                    <a:cubicBezTo>
                      <a:pt x="141" y="317"/>
                      <a:pt x="145" y="318"/>
                      <a:pt x="151" y="318"/>
                    </a:cubicBezTo>
                    <a:cubicBezTo>
                      <a:pt x="156" y="319"/>
                      <a:pt x="166" y="310"/>
                      <a:pt x="170" y="310"/>
                    </a:cubicBezTo>
                    <a:cubicBezTo>
                      <a:pt x="173" y="310"/>
                      <a:pt x="179" y="314"/>
                      <a:pt x="179" y="314"/>
                    </a:cubicBezTo>
                    <a:cubicBezTo>
                      <a:pt x="187" y="314"/>
                      <a:pt x="187" y="314"/>
                      <a:pt x="187" y="314"/>
                    </a:cubicBezTo>
                    <a:cubicBezTo>
                      <a:pt x="187" y="314"/>
                      <a:pt x="196" y="319"/>
                      <a:pt x="206" y="318"/>
                    </a:cubicBezTo>
                    <a:cubicBezTo>
                      <a:pt x="217" y="317"/>
                      <a:pt x="218" y="312"/>
                      <a:pt x="221" y="309"/>
                    </a:cubicBezTo>
                    <a:cubicBezTo>
                      <a:pt x="225" y="308"/>
                      <a:pt x="226" y="310"/>
                      <a:pt x="229" y="310"/>
                    </a:cubicBezTo>
                    <a:cubicBezTo>
                      <a:pt x="234" y="312"/>
                      <a:pt x="243" y="307"/>
                      <a:pt x="243" y="307"/>
                    </a:cubicBezTo>
                    <a:cubicBezTo>
                      <a:pt x="250" y="310"/>
                      <a:pt x="250" y="310"/>
                      <a:pt x="250" y="310"/>
                    </a:cubicBezTo>
                    <a:cubicBezTo>
                      <a:pt x="256" y="307"/>
                      <a:pt x="256" y="307"/>
                      <a:pt x="256" y="307"/>
                    </a:cubicBezTo>
                    <a:cubicBezTo>
                      <a:pt x="256" y="307"/>
                      <a:pt x="258" y="312"/>
                      <a:pt x="271" y="309"/>
                    </a:cubicBezTo>
                    <a:cubicBezTo>
                      <a:pt x="283" y="306"/>
                      <a:pt x="286" y="298"/>
                      <a:pt x="290" y="292"/>
                    </a:cubicBezTo>
                    <a:cubicBezTo>
                      <a:pt x="294" y="286"/>
                      <a:pt x="302" y="276"/>
                      <a:pt x="308" y="275"/>
                    </a:cubicBezTo>
                    <a:cubicBezTo>
                      <a:pt x="313" y="274"/>
                      <a:pt x="328" y="265"/>
                      <a:pt x="337" y="262"/>
                    </a:cubicBezTo>
                    <a:cubicBezTo>
                      <a:pt x="345" y="259"/>
                      <a:pt x="351" y="267"/>
                      <a:pt x="355" y="268"/>
                    </a:cubicBezTo>
                    <a:cubicBezTo>
                      <a:pt x="359" y="269"/>
                      <a:pt x="365" y="262"/>
                      <a:pt x="367" y="262"/>
                    </a:cubicBezTo>
                    <a:cubicBezTo>
                      <a:pt x="369" y="262"/>
                      <a:pt x="369" y="267"/>
                      <a:pt x="372" y="268"/>
                    </a:cubicBezTo>
                    <a:cubicBezTo>
                      <a:pt x="375" y="269"/>
                      <a:pt x="381" y="262"/>
                      <a:pt x="381" y="262"/>
                    </a:cubicBezTo>
                    <a:cubicBezTo>
                      <a:pt x="385" y="272"/>
                      <a:pt x="385" y="272"/>
                      <a:pt x="385" y="272"/>
                    </a:cubicBezTo>
                    <a:cubicBezTo>
                      <a:pt x="385" y="272"/>
                      <a:pt x="393" y="274"/>
                      <a:pt x="397" y="274"/>
                    </a:cubicBezTo>
                    <a:cubicBezTo>
                      <a:pt x="401" y="275"/>
                      <a:pt x="413" y="273"/>
                      <a:pt x="413" y="273"/>
                    </a:cubicBezTo>
                    <a:cubicBezTo>
                      <a:pt x="413" y="273"/>
                      <a:pt x="415" y="265"/>
                      <a:pt x="414" y="257"/>
                    </a:cubicBezTo>
                    <a:cubicBezTo>
                      <a:pt x="414" y="249"/>
                      <a:pt x="408" y="239"/>
                      <a:pt x="408" y="239"/>
                    </a:cubicBezTo>
                    <a:cubicBezTo>
                      <a:pt x="419" y="214"/>
                      <a:pt x="419" y="214"/>
                      <a:pt x="419" y="214"/>
                    </a:cubicBezTo>
                    <a:cubicBezTo>
                      <a:pt x="411" y="221"/>
                      <a:pt x="411" y="221"/>
                      <a:pt x="411" y="221"/>
                    </a:cubicBezTo>
                    <a:cubicBezTo>
                      <a:pt x="411" y="209"/>
                      <a:pt x="411" y="209"/>
                      <a:pt x="411" y="209"/>
                    </a:cubicBezTo>
                    <a:cubicBezTo>
                      <a:pt x="407" y="207"/>
                      <a:pt x="407" y="207"/>
                      <a:pt x="407" y="207"/>
                    </a:cubicBezTo>
                    <a:cubicBezTo>
                      <a:pt x="415" y="203"/>
                      <a:pt x="415" y="203"/>
                      <a:pt x="415" y="203"/>
                    </a:cubicBezTo>
                    <a:cubicBezTo>
                      <a:pt x="415" y="203"/>
                      <a:pt x="411" y="197"/>
                      <a:pt x="413" y="191"/>
                    </a:cubicBezTo>
                    <a:cubicBezTo>
                      <a:pt x="414" y="184"/>
                      <a:pt x="421" y="189"/>
                      <a:pt x="421" y="189"/>
                    </a:cubicBezTo>
                    <a:cubicBezTo>
                      <a:pt x="420" y="193"/>
                      <a:pt x="420" y="193"/>
                      <a:pt x="420" y="193"/>
                    </a:cubicBezTo>
                    <a:cubicBezTo>
                      <a:pt x="422" y="198"/>
                      <a:pt x="422" y="198"/>
                      <a:pt x="422" y="198"/>
                    </a:cubicBezTo>
                    <a:cubicBezTo>
                      <a:pt x="424" y="195"/>
                      <a:pt x="424" y="195"/>
                      <a:pt x="424" y="195"/>
                    </a:cubicBezTo>
                    <a:cubicBezTo>
                      <a:pt x="426" y="198"/>
                      <a:pt x="426" y="198"/>
                      <a:pt x="426" y="198"/>
                    </a:cubicBezTo>
                    <a:cubicBezTo>
                      <a:pt x="419" y="204"/>
                      <a:pt x="419" y="204"/>
                      <a:pt x="419" y="204"/>
                    </a:cubicBezTo>
                    <a:cubicBezTo>
                      <a:pt x="423" y="207"/>
                      <a:pt x="423" y="207"/>
                      <a:pt x="423" y="207"/>
                    </a:cubicBezTo>
                    <a:cubicBezTo>
                      <a:pt x="423" y="207"/>
                      <a:pt x="428" y="202"/>
                      <a:pt x="431" y="199"/>
                    </a:cubicBezTo>
                    <a:cubicBezTo>
                      <a:pt x="434" y="198"/>
                      <a:pt x="439" y="198"/>
                      <a:pt x="443" y="192"/>
                    </a:cubicBezTo>
                    <a:cubicBezTo>
                      <a:pt x="448" y="187"/>
                      <a:pt x="443" y="167"/>
                      <a:pt x="443" y="167"/>
                    </a:cubicBezTo>
                    <a:close/>
                    <a:moveTo>
                      <a:pt x="415" y="211"/>
                    </a:moveTo>
                    <a:cubicBezTo>
                      <a:pt x="418" y="212"/>
                      <a:pt x="418" y="212"/>
                      <a:pt x="418" y="212"/>
                    </a:cubicBezTo>
                    <a:cubicBezTo>
                      <a:pt x="420" y="209"/>
                      <a:pt x="420" y="209"/>
                      <a:pt x="420" y="209"/>
                    </a:cubicBezTo>
                    <a:cubicBezTo>
                      <a:pt x="418" y="207"/>
                      <a:pt x="418" y="207"/>
                      <a:pt x="418" y="207"/>
                    </a:cubicBezTo>
                    <a:lnTo>
                      <a:pt x="415" y="211"/>
                    </a:ln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53" name="Portugal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2684463" y="4979988"/>
                <a:ext cx="431800" cy="715962"/>
              </a:xfrm>
              <a:custGeom>
                <a:avLst/>
                <a:gdLst/>
                <a:ahLst/>
                <a:cxnLst>
                  <a:cxn ang="0">
                    <a:pos x="89" y="295"/>
                  </a:cxn>
                  <a:cxn ang="0">
                    <a:pos x="102" y="279"/>
                  </a:cxn>
                  <a:cxn ang="0">
                    <a:pos x="120" y="271"/>
                  </a:cxn>
                  <a:cxn ang="0">
                    <a:pos x="113" y="267"/>
                  </a:cxn>
                  <a:cxn ang="0">
                    <a:pos x="113" y="231"/>
                  </a:cxn>
                  <a:cxn ang="0">
                    <a:pos x="133" y="213"/>
                  </a:cxn>
                  <a:cxn ang="0">
                    <a:pos x="118" y="190"/>
                  </a:cxn>
                  <a:cxn ang="0">
                    <a:pos x="117" y="183"/>
                  </a:cxn>
                  <a:cxn ang="0">
                    <a:pos x="138" y="173"/>
                  </a:cxn>
                  <a:cxn ang="0">
                    <a:pos x="145" y="165"/>
                  </a:cxn>
                  <a:cxn ang="0">
                    <a:pos x="146" y="142"/>
                  </a:cxn>
                  <a:cxn ang="0">
                    <a:pos x="159" y="133"/>
                  </a:cxn>
                  <a:cxn ang="0">
                    <a:pos x="165" y="100"/>
                  </a:cxn>
                  <a:cxn ang="0">
                    <a:pos x="169" y="88"/>
                  </a:cxn>
                  <a:cxn ang="0">
                    <a:pos x="183" y="78"/>
                  </a:cxn>
                  <a:cxn ang="0">
                    <a:pos x="203" y="57"/>
                  </a:cxn>
                  <a:cxn ang="0">
                    <a:pos x="190" y="44"/>
                  </a:cxn>
                  <a:cxn ang="0">
                    <a:pos x="183" y="30"/>
                  </a:cxn>
                  <a:cxn ang="0">
                    <a:pos x="179" y="31"/>
                  </a:cxn>
                  <a:cxn ang="0">
                    <a:pos x="164" y="24"/>
                  </a:cxn>
                  <a:cxn ang="0">
                    <a:pos x="147" y="27"/>
                  </a:cxn>
                  <a:cxn ang="0">
                    <a:pos x="135" y="23"/>
                  </a:cxn>
                  <a:cxn ang="0">
                    <a:pos x="125" y="21"/>
                  </a:cxn>
                  <a:cxn ang="0">
                    <a:pos x="120" y="10"/>
                  </a:cxn>
                  <a:cxn ang="0">
                    <a:pos x="116" y="6"/>
                  </a:cxn>
                  <a:cxn ang="0">
                    <a:pos x="109" y="4"/>
                  </a:cxn>
                  <a:cxn ang="0">
                    <a:pos x="90" y="6"/>
                  </a:cxn>
                  <a:cxn ang="0">
                    <a:pos x="78" y="14"/>
                  </a:cxn>
                  <a:cxn ang="0">
                    <a:pos x="82" y="21"/>
                  </a:cxn>
                  <a:cxn ang="0">
                    <a:pos x="79" y="30"/>
                  </a:cxn>
                  <a:cxn ang="0">
                    <a:pos x="79" y="67"/>
                  </a:cxn>
                  <a:cxn ang="0">
                    <a:pos x="70" y="89"/>
                  </a:cxn>
                  <a:cxn ang="0">
                    <a:pos x="77" y="81"/>
                  </a:cxn>
                  <a:cxn ang="0">
                    <a:pos x="77" y="90"/>
                  </a:cxn>
                  <a:cxn ang="0">
                    <a:pos x="53" y="115"/>
                  </a:cxn>
                  <a:cxn ang="0">
                    <a:pos x="39" y="147"/>
                  </a:cxn>
                  <a:cxn ang="0">
                    <a:pos x="35" y="155"/>
                  </a:cxn>
                  <a:cxn ang="0">
                    <a:pos x="28" y="164"/>
                  </a:cxn>
                  <a:cxn ang="0">
                    <a:pos x="17" y="165"/>
                  </a:cxn>
                  <a:cxn ang="0">
                    <a:pos x="10" y="181"/>
                  </a:cxn>
                  <a:cxn ang="0">
                    <a:pos x="2" y="197"/>
                  </a:cxn>
                  <a:cxn ang="0">
                    <a:pos x="17" y="209"/>
                  </a:cxn>
                  <a:cxn ang="0">
                    <a:pos x="30" y="207"/>
                  </a:cxn>
                  <a:cxn ang="0">
                    <a:pos x="20" y="216"/>
                  </a:cxn>
                  <a:cxn ang="0">
                    <a:pos x="12" y="213"/>
                  </a:cxn>
                  <a:cxn ang="0">
                    <a:pos x="11" y="226"/>
                  </a:cxn>
                  <a:cxn ang="0">
                    <a:pos x="29" y="225"/>
                  </a:cxn>
                  <a:cxn ang="0">
                    <a:pos x="36" y="224"/>
                  </a:cxn>
                  <a:cxn ang="0">
                    <a:pos x="40" y="233"/>
                  </a:cxn>
                  <a:cxn ang="0">
                    <a:pos x="30" y="228"/>
                  </a:cxn>
                  <a:cxn ang="0">
                    <a:pos x="19" y="260"/>
                  </a:cxn>
                  <a:cxn ang="0">
                    <a:pos x="21" y="275"/>
                  </a:cxn>
                  <a:cxn ang="0">
                    <a:pos x="16" y="297"/>
                  </a:cxn>
                  <a:cxn ang="0">
                    <a:pos x="10" y="308"/>
                  </a:cxn>
                  <a:cxn ang="0">
                    <a:pos x="0" y="322"/>
                  </a:cxn>
                  <a:cxn ang="0">
                    <a:pos x="51" y="334"/>
                  </a:cxn>
                  <a:cxn ang="0">
                    <a:pos x="73" y="328"/>
                  </a:cxn>
                  <a:cxn ang="0">
                    <a:pos x="85" y="311"/>
                  </a:cxn>
                </a:cxnLst>
                <a:rect l="0" t="0" r="r" b="b"/>
                <a:pathLst>
                  <a:path w="203" h="336">
                    <a:moveTo>
                      <a:pt x="83" y="304"/>
                    </a:moveTo>
                    <a:cubicBezTo>
                      <a:pt x="83" y="304"/>
                      <a:pt x="85" y="300"/>
                      <a:pt x="89" y="295"/>
                    </a:cubicBezTo>
                    <a:cubicBezTo>
                      <a:pt x="93" y="289"/>
                      <a:pt x="100" y="287"/>
                      <a:pt x="100" y="287"/>
                    </a:cubicBezTo>
                    <a:cubicBezTo>
                      <a:pt x="102" y="279"/>
                      <a:pt x="102" y="279"/>
                      <a:pt x="102" y="279"/>
                    </a:cubicBezTo>
                    <a:cubicBezTo>
                      <a:pt x="117" y="278"/>
                      <a:pt x="117" y="278"/>
                      <a:pt x="117" y="278"/>
                    </a:cubicBezTo>
                    <a:cubicBezTo>
                      <a:pt x="120" y="271"/>
                      <a:pt x="120" y="271"/>
                      <a:pt x="120" y="271"/>
                    </a:cubicBezTo>
                    <a:cubicBezTo>
                      <a:pt x="122" y="267"/>
                      <a:pt x="122" y="267"/>
                      <a:pt x="122" y="267"/>
                    </a:cubicBezTo>
                    <a:cubicBezTo>
                      <a:pt x="113" y="267"/>
                      <a:pt x="113" y="267"/>
                      <a:pt x="113" y="267"/>
                    </a:cubicBezTo>
                    <a:cubicBezTo>
                      <a:pt x="104" y="248"/>
                      <a:pt x="104" y="248"/>
                      <a:pt x="104" y="248"/>
                    </a:cubicBezTo>
                    <a:cubicBezTo>
                      <a:pt x="113" y="231"/>
                      <a:pt x="113" y="231"/>
                      <a:pt x="113" y="231"/>
                    </a:cubicBezTo>
                    <a:cubicBezTo>
                      <a:pt x="123" y="228"/>
                      <a:pt x="123" y="228"/>
                      <a:pt x="123" y="228"/>
                    </a:cubicBezTo>
                    <a:cubicBezTo>
                      <a:pt x="123" y="228"/>
                      <a:pt x="131" y="219"/>
                      <a:pt x="133" y="213"/>
                    </a:cubicBezTo>
                    <a:cubicBezTo>
                      <a:pt x="135" y="207"/>
                      <a:pt x="125" y="209"/>
                      <a:pt x="125" y="209"/>
                    </a:cubicBezTo>
                    <a:cubicBezTo>
                      <a:pt x="118" y="190"/>
                      <a:pt x="118" y="190"/>
                      <a:pt x="118" y="190"/>
                    </a:cubicBezTo>
                    <a:cubicBezTo>
                      <a:pt x="118" y="190"/>
                      <a:pt x="121" y="186"/>
                      <a:pt x="121" y="183"/>
                    </a:cubicBezTo>
                    <a:cubicBezTo>
                      <a:pt x="121" y="181"/>
                      <a:pt x="117" y="183"/>
                      <a:pt x="117" y="183"/>
                    </a:cubicBezTo>
                    <a:cubicBezTo>
                      <a:pt x="111" y="168"/>
                      <a:pt x="111" y="168"/>
                      <a:pt x="111" y="168"/>
                    </a:cubicBezTo>
                    <a:cubicBezTo>
                      <a:pt x="138" y="173"/>
                      <a:pt x="138" y="173"/>
                      <a:pt x="138" y="173"/>
                    </a:cubicBezTo>
                    <a:cubicBezTo>
                      <a:pt x="142" y="165"/>
                      <a:pt x="142" y="165"/>
                      <a:pt x="142" y="165"/>
                    </a:cubicBezTo>
                    <a:cubicBezTo>
                      <a:pt x="145" y="165"/>
                      <a:pt x="145" y="165"/>
                      <a:pt x="145" y="165"/>
                    </a:cubicBezTo>
                    <a:cubicBezTo>
                      <a:pt x="150" y="154"/>
                      <a:pt x="150" y="154"/>
                      <a:pt x="150" y="154"/>
                    </a:cubicBezTo>
                    <a:cubicBezTo>
                      <a:pt x="150" y="154"/>
                      <a:pt x="146" y="147"/>
                      <a:pt x="146" y="142"/>
                    </a:cubicBezTo>
                    <a:cubicBezTo>
                      <a:pt x="146" y="137"/>
                      <a:pt x="153" y="138"/>
                      <a:pt x="153" y="138"/>
                    </a:cubicBezTo>
                    <a:cubicBezTo>
                      <a:pt x="159" y="133"/>
                      <a:pt x="159" y="133"/>
                      <a:pt x="159" y="133"/>
                    </a:cubicBezTo>
                    <a:cubicBezTo>
                      <a:pt x="157" y="125"/>
                      <a:pt x="157" y="125"/>
                      <a:pt x="157" y="125"/>
                    </a:cubicBezTo>
                    <a:cubicBezTo>
                      <a:pt x="165" y="100"/>
                      <a:pt x="165" y="100"/>
                      <a:pt x="165" y="100"/>
                    </a:cubicBezTo>
                    <a:cubicBezTo>
                      <a:pt x="162" y="88"/>
                      <a:pt x="162" y="88"/>
                      <a:pt x="162" y="88"/>
                    </a:cubicBezTo>
                    <a:cubicBezTo>
                      <a:pt x="169" y="88"/>
                      <a:pt x="169" y="88"/>
                      <a:pt x="169" y="88"/>
                    </a:cubicBezTo>
                    <a:cubicBezTo>
                      <a:pt x="177" y="78"/>
                      <a:pt x="177" y="78"/>
                      <a:pt x="177" y="78"/>
                    </a:cubicBezTo>
                    <a:cubicBezTo>
                      <a:pt x="183" y="78"/>
                      <a:pt x="183" y="78"/>
                      <a:pt x="183" y="78"/>
                    </a:cubicBezTo>
                    <a:cubicBezTo>
                      <a:pt x="185" y="78"/>
                      <a:pt x="195" y="71"/>
                      <a:pt x="195" y="71"/>
                    </a:cubicBezTo>
                    <a:cubicBezTo>
                      <a:pt x="195" y="71"/>
                      <a:pt x="202" y="62"/>
                      <a:pt x="203" y="57"/>
                    </a:cubicBezTo>
                    <a:cubicBezTo>
                      <a:pt x="203" y="53"/>
                      <a:pt x="195" y="53"/>
                      <a:pt x="191" y="53"/>
                    </a:cubicBezTo>
                    <a:cubicBezTo>
                      <a:pt x="187" y="53"/>
                      <a:pt x="190" y="44"/>
                      <a:pt x="190" y="44"/>
                    </a:cubicBezTo>
                    <a:cubicBezTo>
                      <a:pt x="192" y="32"/>
                      <a:pt x="192" y="32"/>
                      <a:pt x="192" y="32"/>
                    </a:cubicBezTo>
                    <a:cubicBezTo>
                      <a:pt x="183" y="30"/>
                      <a:pt x="183" y="30"/>
                      <a:pt x="183" y="30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79" y="31"/>
                      <a:pt x="179" y="31"/>
                      <a:pt x="179" y="31"/>
                    </a:cubicBezTo>
                    <a:cubicBezTo>
                      <a:pt x="169" y="28"/>
                      <a:pt x="169" y="28"/>
                      <a:pt x="169" y="28"/>
                    </a:cubicBezTo>
                    <a:cubicBezTo>
                      <a:pt x="169" y="28"/>
                      <a:pt x="168" y="24"/>
                      <a:pt x="164" y="24"/>
                    </a:cubicBezTo>
                    <a:cubicBezTo>
                      <a:pt x="161" y="24"/>
                      <a:pt x="163" y="30"/>
                      <a:pt x="157" y="31"/>
                    </a:cubicBezTo>
                    <a:cubicBezTo>
                      <a:pt x="151" y="34"/>
                      <a:pt x="147" y="27"/>
                      <a:pt x="147" y="27"/>
                    </a:cubicBezTo>
                    <a:cubicBezTo>
                      <a:pt x="142" y="29"/>
                      <a:pt x="142" y="29"/>
                      <a:pt x="142" y="29"/>
                    </a:cubicBezTo>
                    <a:cubicBezTo>
                      <a:pt x="135" y="23"/>
                      <a:pt x="135" y="23"/>
                      <a:pt x="135" y="23"/>
                    </a:cubicBezTo>
                    <a:cubicBezTo>
                      <a:pt x="128" y="25"/>
                      <a:pt x="128" y="25"/>
                      <a:pt x="128" y="25"/>
                    </a:cubicBezTo>
                    <a:cubicBezTo>
                      <a:pt x="125" y="21"/>
                      <a:pt x="125" y="21"/>
                      <a:pt x="125" y="21"/>
                    </a:cubicBezTo>
                    <a:cubicBezTo>
                      <a:pt x="125" y="21"/>
                      <a:pt x="121" y="30"/>
                      <a:pt x="113" y="23"/>
                    </a:cubicBezTo>
                    <a:cubicBezTo>
                      <a:pt x="105" y="16"/>
                      <a:pt x="120" y="10"/>
                      <a:pt x="120" y="10"/>
                    </a:cubicBezTo>
                    <a:cubicBezTo>
                      <a:pt x="120" y="7"/>
                      <a:pt x="120" y="7"/>
                      <a:pt x="120" y="7"/>
                    </a:cubicBezTo>
                    <a:cubicBezTo>
                      <a:pt x="116" y="6"/>
                      <a:pt x="116" y="6"/>
                      <a:pt x="116" y="6"/>
                    </a:cubicBezTo>
                    <a:cubicBezTo>
                      <a:pt x="118" y="0"/>
                      <a:pt x="118" y="0"/>
                      <a:pt x="118" y="0"/>
                    </a:cubicBezTo>
                    <a:cubicBezTo>
                      <a:pt x="109" y="4"/>
                      <a:pt x="109" y="4"/>
                      <a:pt x="109" y="4"/>
                    </a:cubicBezTo>
                    <a:cubicBezTo>
                      <a:pt x="95" y="1"/>
                      <a:pt x="95" y="1"/>
                      <a:pt x="95" y="1"/>
                    </a:cubicBezTo>
                    <a:cubicBezTo>
                      <a:pt x="90" y="6"/>
                      <a:pt x="90" y="6"/>
                      <a:pt x="90" y="6"/>
                    </a:cubicBezTo>
                    <a:cubicBezTo>
                      <a:pt x="83" y="10"/>
                      <a:pt x="83" y="10"/>
                      <a:pt x="83" y="10"/>
                    </a:cubicBezTo>
                    <a:cubicBezTo>
                      <a:pt x="78" y="14"/>
                      <a:pt x="78" y="14"/>
                      <a:pt x="78" y="14"/>
                    </a:cubicBezTo>
                    <a:cubicBezTo>
                      <a:pt x="77" y="21"/>
                      <a:pt x="77" y="21"/>
                      <a:pt x="77" y="21"/>
                    </a:cubicBezTo>
                    <a:cubicBezTo>
                      <a:pt x="82" y="21"/>
                      <a:pt x="82" y="21"/>
                      <a:pt x="82" y="21"/>
                    </a:cubicBezTo>
                    <a:cubicBezTo>
                      <a:pt x="79" y="24"/>
                      <a:pt x="79" y="24"/>
                      <a:pt x="79" y="24"/>
                    </a:cubicBezTo>
                    <a:cubicBezTo>
                      <a:pt x="79" y="30"/>
                      <a:pt x="79" y="30"/>
                      <a:pt x="79" y="30"/>
                    </a:cubicBezTo>
                    <a:cubicBezTo>
                      <a:pt x="78" y="39"/>
                      <a:pt x="78" y="39"/>
                      <a:pt x="78" y="39"/>
                    </a:cubicBezTo>
                    <a:cubicBezTo>
                      <a:pt x="79" y="67"/>
                      <a:pt x="79" y="67"/>
                      <a:pt x="79" y="67"/>
                    </a:cubicBezTo>
                    <a:cubicBezTo>
                      <a:pt x="69" y="86"/>
                      <a:pt x="69" y="86"/>
                      <a:pt x="69" y="86"/>
                    </a:cubicBezTo>
                    <a:cubicBezTo>
                      <a:pt x="70" y="89"/>
                      <a:pt x="70" y="89"/>
                      <a:pt x="70" y="89"/>
                    </a:cubicBezTo>
                    <a:cubicBezTo>
                      <a:pt x="75" y="81"/>
                      <a:pt x="75" y="81"/>
                      <a:pt x="75" y="81"/>
                    </a:cubicBezTo>
                    <a:cubicBezTo>
                      <a:pt x="77" y="81"/>
                      <a:pt x="77" y="81"/>
                      <a:pt x="77" y="81"/>
                    </a:cubicBezTo>
                    <a:cubicBezTo>
                      <a:pt x="75" y="86"/>
                      <a:pt x="75" y="86"/>
                      <a:pt x="75" y="86"/>
                    </a:cubicBezTo>
                    <a:cubicBezTo>
                      <a:pt x="77" y="90"/>
                      <a:pt x="77" y="90"/>
                      <a:pt x="77" y="90"/>
                    </a:cubicBezTo>
                    <a:cubicBezTo>
                      <a:pt x="68" y="91"/>
                      <a:pt x="68" y="91"/>
                      <a:pt x="68" y="91"/>
                    </a:cubicBezTo>
                    <a:cubicBezTo>
                      <a:pt x="53" y="115"/>
                      <a:pt x="53" y="115"/>
                      <a:pt x="53" y="115"/>
                    </a:cubicBezTo>
                    <a:cubicBezTo>
                      <a:pt x="54" y="119"/>
                      <a:pt x="54" y="119"/>
                      <a:pt x="54" y="119"/>
                    </a:cubicBezTo>
                    <a:cubicBezTo>
                      <a:pt x="39" y="147"/>
                      <a:pt x="39" y="147"/>
                      <a:pt x="39" y="147"/>
                    </a:cubicBezTo>
                    <a:cubicBezTo>
                      <a:pt x="34" y="152"/>
                      <a:pt x="34" y="152"/>
                      <a:pt x="34" y="152"/>
                    </a:cubicBezTo>
                    <a:cubicBezTo>
                      <a:pt x="35" y="155"/>
                      <a:pt x="35" y="155"/>
                      <a:pt x="35" y="155"/>
                    </a:cubicBezTo>
                    <a:cubicBezTo>
                      <a:pt x="28" y="160"/>
                      <a:pt x="28" y="160"/>
                      <a:pt x="28" y="160"/>
                    </a:cubicBezTo>
                    <a:cubicBezTo>
                      <a:pt x="28" y="164"/>
                      <a:pt x="28" y="164"/>
                      <a:pt x="28" y="164"/>
                    </a:cubicBezTo>
                    <a:cubicBezTo>
                      <a:pt x="26" y="163"/>
                      <a:pt x="26" y="163"/>
                      <a:pt x="26" y="163"/>
                    </a:cubicBezTo>
                    <a:cubicBezTo>
                      <a:pt x="17" y="165"/>
                      <a:pt x="17" y="165"/>
                      <a:pt x="17" y="165"/>
                    </a:cubicBezTo>
                    <a:cubicBezTo>
                      <a:pt x="17" y="172"/>
                      <a:pt x="17" y="172"/>
                      <a:pt x="17" y="172"/>
                    </a:cubicBezTo>
                    <a:cubicBezTo>
                      <a:pt x="10" y="181"/>
                      <a:pt x="10" y="181"/>
                      <a:pt x="10" y="181"/>
                    </a:cubicBezTo>
                    <a:cubicBezTo>
                      <a:pt x="10" y="189"/>
                      <a:pt x="10" y="189"/>
                      <a:pt x="10" y="189"/>
                    </a:cubicBezTo>
                    <a:cubicBezTo>
                      <a:pt x="2" y="197"/>
                      <a:pt x="2" y="197"/>
                      <a:pt x="2" y="197"/>
                    </a:cubicBezTo>
                    <a:cubicBezTo>
                      <a:pt x="2" y="204"/>
                      <a:pt x="2" y="204"/>
                      <a:pt x="2" y="204"/>
                    </a:cubicBezTo>
                    <a:cubicBezTo>
                      <a:pt x="17" y="209"/>
                      <a:pt x="17" y="209"/>
                      <a:pt x="17" y="209"/>
                    </a:cubicBezTo>
                    <a:cubicBezTo>
                      <a:pt x="29" y="197"/>
                      <a:pt x="29" y="197"/>
                      <a:pt x="29" y="197"/>
                    </a:cubicBezTo>
                    <a:cubicBezTo>
                      <a:pt x="30" y="207"/>
                      <a:pt x="30" y="207"/>
                      <a:pt x="30" y="207"/>
                    </a:cubicBezTo>
                    <a:cubicBezTo>
                      <a:pt x="23" y="211"/>
                      <a:pt x="23" y="211"/>
                      <a:pt x="23" y="211"/>
                    </a:cubicBezTo>
                    <a:cubicBezTo>
                      <a:pt x="20" y="216"/>
                      <a:pt x="20" y="216"/>
                      <a:pt x="20" y="216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2" y="213"/>
                      <a:pt x="12" y="213"/>
                      <a:pt x="12" y="213"/>
                    </a:cubicBezTo>
                    <a:cubicBezTo>
                      <a:pt x="12" y="218"/>
                      <a:pt x="12" y="218"/>
                      <a:pt x="12" y="218"/>
                    </a:cubicBezTo>
                    <a:cubicBezTo>
                      <a:pt x="11" y="220"/>
                      <a:pt x="11" y="226"/>
                      <a:pt x="11" y="226"/>
                    </a:cubicBezTo>
                    <a:cubicBezTo>
                      <a:pt x="11" y="226"/>
                      <a:pt x="18" y="229"/>
                      <a:pt x="20" y="228"/>
                    </a:cubicBezTo>
                    <a:cubicBezTo>
                      <a:pt x="22" y="227"/>
                      <a:pt x="29" y="225"/>
                      <a:pt x="29" y="225"/>
                    </a:cubicBezTo>
                    <a:cubicBezTo>
                      <a:pt x="33" y="227"/>
                      <a:pt x="33" y="227"/>
                      <a:pt x="33" y="227"/>
                    </a:cubicBezTo>
                    <a:cubicBezTo>
                      <a:pt x="36" y="224"/>
                      <a:pt x="36" y="224"/>
                      <a:pt x="36" y="224"/>
                    </a:cubicBezTo>
                    <a:cubicBezTo>
                      <a:pt x="35" y="229"/>
                      <a:pt x="35" y="229"/>
                      <a:pt x="35" y="229"/>
                    </a:cubicBezTo>
                    <a:cubicBezTo>
                      <a:pt x="40" y="233"/>
                      <a:pt x="40" y="233"/>
                      <a:pt x="40" y="233"/>
                    </a:cubicBezTo>
                    <a:cubicBezTo>
                      <a:pt x="36" y="233"/>
                      <a:pt x="36" y="233"/>
                      <a:pt x="36" y="233"/>
                    </a:cubicBezTo>
                    <a:cubicBezTo>
                      <a:pt x="30" y="228"/>
                      <a:pt x="30" y="228"/>
                      <a:pt x="30" y="228"/>
                    </a:cubicBezTo>
                    <a:cubicBezTo>
                      <a:pt x="30" y="228"/>
                      <a:pt x="32" y="239"/>
                      <a:pt x="30" y="244"/>
                    </a:cubicBezTo>
                    <a:cubicBezTo>
                      <a:pt x="27" y="250"/>
                      <a:pt x="19" y="260"/>
                      <a:pt x="19" y="260"/>
                    </a:cubicBezTo>
                    <a:cubicBezTo>
                      <a:pt x="23" y="264"/>
                      <a:pt x="23" y="264"/>
                      <a:pt x="23" y="264"/>
                    </a:cubicBezTo>
                    <a:cubicBezTo>
                      <a:pt x="21" y="275"/>
                      <a:pt x="21" y="275"/>
                      <a:pt x="21" y="275"/>
                    </a:cubicBezTo>
                    <a:cubicBezTo>
                      <a:pt x="21" y="275"/>
                      <a:pt x="17" y="282"/>
                      <a:pt x="17" y="286"/>
                    </a:cubicBezTo>
                    <a:cubicBezTo>
                      <a:pt x="17" y="289"/>
                      <a:pt x="18" y="295"/>
                      <a:pt x="16" y="297"/>
                    </a:cubicBezTo>
                    <a:cubicBezTo>
                      <a:pt x="13" y="300"/>
                      <a:pt x="10" y="304"/>
                      <a:pt x="10" y="304"/>
                    </a:cubicBezTo>
                    <a:cubicBezTo>
                      <a:pt x="10" y="308"/>
                      <a:pt x="10" y="308"/>
                      <a:pt x="10" y="308"/>
                    </a:cubicBezTo>
                    <a:cubicBezTo>
                      <a:pt x="0" y="318"/>
                      <a:pt x="0" y="318"/>
                      <a:pt x="0" y="318"/>
                    </a:cubicBezTo>
                    <a:cubicBezTo>
                      <a:pt x="0" y="322"/>
                      <a:pt x="0" y="322"/>
                      <a:pt x="0" y="322"/>
                    </a:cubicBezTo>
                    <a:cubicBezTo>
                      <a:pt x="0" y="322"/>
                      <a:pt x="12" y="319"/>
                      <a:pt x="19" y="318"/>
                    </a:cubicBezTo>
                    <a:cubicBezTo>
                      <a:pt x="27" y="318"/>
                      <a:pt x="51" y="334"/>
                      <a:pt x="51" y="334"/>
                    </a:cubicBezTo>
                    <a:cubicBezTo>
                      <a:pt x="51" y="334"/>
                      <a:pt x="57" y="336"/>
                      <a:pt x="63" y="334"/>
                    </a:cubicBezTo>
                    <a:cubicBezTo>
                      <a:pt x="68" y="332"/>
                      <a:pt x="73" y="328"/>
                      <a:pt x="73" y="328"/>
                    </a:cubicBezTo>
                    <a:cubicBezTo>
                      <a:pt x="85" y="328"/>
                      <a:pt x="85" y="328"/>
                      <a:pt x="85" y="328"/>
                    </a:cubicBezTo>
                    <a:cubicBezTo>
                      <a:pt x="85" y="311"/>
                      <a:pt x="85" y="311"/>
                      <a:pt x="85" y="311"/>
                    </a:cubicBezTo>
                    <a:lnTo>
                      <a:pt x="83" y="304"/>
                    </a:ln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54" name="Poland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195888" y="3438525"/>
                <a:ext cx="917575" cy="757237"/>
              </a:xfrm>
              <a:custGeom>
                <a:avLst/>
                <a:gdLst/>
                <a:ahLst/>
                <a:cxnLst>
                  <a:cxn ang="0">
                    <a:pos x="430" y="225"/>
                  </a:cxn>
                  <a:cxn ang="0">
                    <a:pos x="402" y="196"/>
                  </a:cxn>
                  <a:cxn ang="0">
                    <a:pos x="398" y="168"/>
                  </a:cxn>
                  <a:cxn ang="0">
                    <a:pos x="390" y="146"/>
                  </a:cxn>
                  <a:cxn ang="0">
                    <a:pos x="398" y="112"/>
                  </a:cxn>
                  <a:cxn ang="0">
                    <a:pos x="393" y="84"/>
                  </a:cxn>
                  <a:cxn ang="0">
                    <a:pos x="376" y="44"/>
                  </a:cxn>
                  <a:cxn ang="0">
                    <a:pos x="364" y="17"/>
                  </a:cxn>
                  <a:cxn ang="0">
                    <a:pos x="337" y="9"/>
                  </a:cxn>
                  <a:cxn ang="0">
                    <a:pos x="224" y="18"/>
                  </a:cxn>
                  <a:cxn ang="0">
                    <a:pos x="216" y="26"/>
                  </a:cxn>
                  <a:cxn ang="0">
                    <a:pos x="204" y="33"/>
                  </a:cxn>
                  <a:cxn ang="0">
                    <a:pos x="212" y="23"/>
                  </a:cxn>
                  <a:cxn ang="0">
                    <a:pos x="211" y="22"/>
                  </a:cxn>
                  <a:cxn ang="0">
                    <a:pos x="173" y="8"/>
                  </a:cxn>
                  <a:cxn ang="0">
                    <a:pos x="175" y="5"/>
                  </a:cxn>
                  <a:cxn ang="0">
                    <a:pos x="123" y="9"/>
                  </a:cxn>
                  <a:cxn ang="0">
                    <a:pos x="88" y="30"/>
                  </a:cxn>
                  <a:cxn ang="0">
                    <a:pos x="38" y="46"/>
                  </a:cxn>
                  <a:cxn ang="0">
                    <a:pos x="6" y="60"/>
                  </a:cxn>
                  <a:cxn ang="0">
                    <a:pos x="16" y="63"/>
                  </a:cxn>
                  <a:cxn ang="0">
                    <a:pos x="24" y="58"/>
                  </a:cxn>
                  <a:cxn ang="0">
                    <a:pos x="19" y="80"/>
                  </a:cxn>
                  <a:cxn ang="0">
                    <a:pos x="22" y="88"/>
                  </a:cxn>
                  <a:cxn ang="0">
                    <a:pos x="6" y="83"/>
                  </a:cxn>
                  <a:cxn ang="0">
                    <a:pos x="2" y="124"/>
                  </a:cxn>
                  <a:cxn ang="0">
                    <a:pos x="19" y="163"/>
                  </a:cxn>
                  <a:cxn ang="0">
                    <a:pos x="24" y="195"/>
                  </a:cxn>
                  <a:cxn ang="0">
                    <a:pos x="39" y="226"/>
                  </a:cxn>
                  <a:cxn ang="0">
                    <a:pos x="36" y="261"/>
                  </a:cxn>
                  <a:cxn ang="0">
                    <a:pos x="44" y="258"/>
                  </a:cxn>
                  <a:cxn ang="0">
                    <a:pos x="58" y="264"/>
                  </a:cxn>
                  <a:cxn ang="0">
                    <a:pos x="88" y="275"/>
                  </a:cxn>
                  <a:cxn ang="0">
                    <a:pos x="109" y="280"/>
                  </a:cxn>
                  <a:cxn ang="0">
                    <a:pos x="114" y="308"/>
                  </a:cxn>
                  <a:cxn ang="0">
                    <a:pos x="134" y="302"/>
                  </a:cxn>
                  <a:cxn ang="0">
                    <a:pos x="127" y="287"/>
                  </a:cxn>
                  <a:cxn ang="0">
                    <a:pos x="162" y="293"/>
                  </a:cxn>
                  <a:cxn ang="0">
                    <a:pos x="166" y="308"/>
                  </a:cxn>
                  <a:cxn ang="0">
                    <a:pos x="176" y="309"/>
                  </a:cxn>
                  <a:cxn ang="0">
                    <a:pos x="205" y="329"/>
                  </a:cxn>
                  <a:cxn ang="0">
                    <a:pos x="221" y="340"/>
                  </a:cxn>
                  <a:cxn ang="0">
                    <a:pos x="234" y="339"/>
                  </a:cxn>
                  <a:cxn ang="0">
                    <a:pos x="248" y="341"/>
                  </a:cxn>
                  <a:cxn ang="0">
                    <a:pos x="257" y="342"/>
                  </a:cxn>
                  <a:cxn ang="0">
                    <a:pos x="265" y="353"/>
                  </a:cxn>
                  <a:cxn ang="0">
                    <a:pos x="288" y="339"/>
                  </a:cxn>
                  <a:cxn ang="0">
                    <a:pos x="314" y="337"/>
                  </a:cxn>
                  <a:cxn ang="0">
                    <a:pos x="343" y="335"/>
                  </a:cxn>
                  <a:cxn ang="0">
                    <a:pos x="381" y="348"/>
                  </a:cxn>
                  <a:cxn ang="0">
                    <a:pos x="386" y="341"/>
                  </a:cxn>
                  <a:cxn ang="0">
                    <a:pos x="392" y="301"/>
                  </a:cxn>
                  <a:cxn ang="0">
                    <a:pos x="428" y="254"/>
                  </a:cxn>
                </a:cxnLst>
                <a:rect l="0" t="0" r="r" b="b"/>
                <a:pathLst>
                  <a:path w="431" h="356">
                    <a:moveTo>
                      <a:pt x="422" y="231"/>
                    </a:moveTo>
                    <a:cubicBezTo>
                      <a:pt x="423" y="229"/>
                      <a:pt x="427" y="228"/>
                      <a:pt x="427" y="228"/>
                    </a:cubicBezTo>
                    <a:cubicBezTo>
                      <a:pt x="430" y="225"/>
                      <a:pt x="430" y="225"/>
                      <a:pt x="430" y="225"/>
                    </a:cubicBezTo>
                    <a:cubicBezTo>
                      <a:pt x="430" y="225"/>
                      <a:pt x="422" y="222"/>
                      <a:pt x="419" y="218"/>
                    </a:cubicBezTo>
                    <a:cubicBezTo>
                      <a:pt x="417" y="215"/>
                      <a:pt x="415" y="210"/>
                      <a:pt x="411" y="207"/>
                    </a:cubicBezTo>
                    <a:cubicBezTo>
                      <a:pt x="407" y="203"/>
                      <a:pt x="402" y="202"/>
                      <a:pt x="402" y="196"/>
                    </a:cubicBezTo>
                    <a:cubicBezTo>
                      <a:pt x="402" y="189"/>
                      <a:pt x="398" y="185"/>
                      <a:pt x="396" y="181"/>
                    </a:cubicBezTo>
                    <a:cubicBezTo>
                      <a:pt x="394" y="178"/>
                      <a:pt x="394" y="172"/>
                      <a:pt x="394" y="172"/>
                    </a:cubicBezTo>
                    <a:cubicBezTo>
                      <a:pt x="398" y="168"/>
                      <a:pt x="398" y="168"/>
                      <a:pt x="398" y="168"/>
                    </a:cubicBezTo>
                    <a:cubicBezTo>
                      <a:pt x="395" y="162"/>
                      <a:pt x="395" y="162"/>
                      <a:pt x="395" y="162"/>
                    </a:cubicBezTo>
                    <a:cubicBezTo>
                      <a:pt x="397" y="154"/>
                      <a:pt x="397" y="154"/>
                      <a:pt x="397" y="154"/>
                    </a:cubicBezTo>
                    <a:cubicBezTo>
                      <a:pt x="397" y="154"/>
                      <a:pt x="399" y="149"/>
                      <a:pt x="390" y="146"/>
                    </a:cubicBezTo>
                    <a:cubicBezTo>
                      <a:pt x="380" y="141"/>
                      <a:pt x="373" y="141"/>
                      <a:pt x="373" y="141"/>
                    </a:cubicBezTo>
                    <a:cubicBezTo>
                      <a:pt x="373" y="141"/>
                      <a:pt x="374" y="126"/>
                      <a:pt x="380" y="120"/>
                    </a:cubicBezTo>
                    <a:cubicBezTo>
                      <a:pt x="386" y="115"/>
                      <a:pt x="398" y="112"/>
                      <a:pt x="398" y="112"/>
                    </a:cubicBezTo>
                    <a:cubicBezTo>
                      <a:pt x="396" y="93"/>
                      <a:pt x="396" y="93"/>
                      <a:pt x="396" y="93"/>
                    </a:cubicBezTo>
                    <a:cubicBezTo>
                      <a:pt x="398" y="92"/>
                      <a:pt x="398" y="92"/>
                      <a:pt x="398" y="92"/>
                    </a:cubicBezTo>
                    <a:cubicBezTo>
                      <a:pt x="393" y="84"/>
                      <a:pt x="393" y="84"/>
                      <a:pt x="393" y="84"/>
                    </a:cubicBezTo>
                    <a:cubicBezTo>
                      <a:pt x="395" y="80"/>
                      <a:pt x="395" y="80"/>
                      <a:pt x="395" y="80"/>
                    </a:cubicBezTo>
                    <a:cubicBezTo>
                      <a:pt x="395" y="80"/>
                      <a:pt x="380" y="62"/>
                      <a:pt x="379" y="56"/>
                    </a:cubicBezTo>
                    <a:cubicBezTo>
                      <a:pt x="377" y="50"/>
                      <a:pt x="376" y="44"/>
                      <a:pt x="376" y="44"/>
                    </a:cubicBezTo>
                    <a:cubicBezTo>
                      <a:pt x="368" y="31"/>
                      <a:pt x="368" y="31"/>
                      <a:pt x="368" y="31"/>
                    </a:cubicBezTo>
                    <a:cubicBezTo>
                      <a:pt x="365" y="28"/>
                      <a:pt x="365" y="28"/>
                      <a:pt x="365" y="28"/>
                    </a:cubicBezTo>
                    <a:cubicBezTo>
                      <a:pt x="365" y="28"/>
                      <a:pt x="368" y="25"/>
                      <a:pt x="364" y="17"/>
                    </a:cubicBezTo>
                    <a:cubicBezTo>
                      <a:pt x="359" y="9"/>
                      <a:pt x="351" y="11"/>
                      <a:pt x="347" y="11"/>
                    </a:cubicBezTo>
                    <a:cubicBezTo>
                      <a:pt x="343" y="10"/>
                      <a:pt x="344" y="6"/>
                      <a:pt x="341" y="5"/>
                    </a:cubicBezTo>
                    <a:cubicBezTo>
                      <a:pt x="338" y="4"/>
                      <a:pt x="337" y="9"/>
                      <a:pt x="337" y="9"/>
                    </a:cubicBezTo>
                    <a:cubicBezTo>
                      <a:pt x="335" y="9"/>
                      <a:pt x="335" y="9"/>
                      <a:pt x="335" y="9"/>
                    </a:cubicBezTo>
                    <a:cubicBezTo>
                      <a:pt x="334" y="9"/>
                      <a:pt x="296" y="19"/>
                      <a:pt x="280" y="19"/>
                    </a:cubicBezTo>
                    <a:cubicBezTo>
                      <a:pt x="265" y="20"/>
                      <a:pt x="224" y="18"/>
                      <a:pt x="224" y="18"/>
                    </a:cubicBezTo>
                    <a:cubicBezTo>
                      <a:pt x="221" y="21"/>
                      <a:pt x="221" y="21"/>
                      <a:pt x="221" y="21"/>
                    </a:cubicBezTo>
                    <a:cubicBezTo>
                      <a:pt x="217" y="21"/>
                      <a:pt x="217" y="21"/>
                      <a:pt x="217" y="21"/>
                    </a:cubicBezTo>
                    <a:cubicBezTo>
                      <a:pt x="216" y="26"/>
                      <a:pt x="216" y="26"/>
                      <a:pt x="216" y="26"/>
                    </a:cubicBezTo>
                    <a:cubicBezTo>
                      <a:pt x="216" y="26"/>
                      <a:pt x="212" y="27"/>
                      <a:pt x="210" y="29"/>
                    </a:cubicBezTo>
                    <a:cubicBezTo>
                      <a:pt x="209" y="30"/>
                      <a:pt x="208" y="35"/>
                      <a:pt x="208" y="35"/>
                    </a:cubicBezTo>
                    <a:cubicBezTo>
                      <a:pt x="204" y="33"/>
                      <a:pt x="204" y="33"/>
                      <a:pt x="204" y="33"/>
                    </a:cubicBezTo>
                    <a:cubicBezTo>
                      <a:pt x="200" y="33"/>
                      <a:pt x="200" y="33"/>
                      <a:pt x="200" y="33"/>
                    </a:cubicBezTo>
                    <a:cubicBezTo>
                      <a:pt x="202" y="29"/>
                      <a:pt x="202" y="29"/>
                      <a:pt x="202" y="29"/>
                    </a:cubicBezTo>
                    <a:cubicBezTo>
                      <a:pt x="202" y="29"/>
                      <a:pt x="209" y="25"/>
                      <a:pt x="212" y="23"/>
                    </a:cubicBezTo>
                    <a:cubicBezTo>
                      <a:pt x="216" y="21"/>
                      <a:pt x="224" y="9"/>
                      <a:pt x="224" y="9"/>
                    </a:cubicBezTo>
                    <a:cubicBezTo>
                      <a:pt x="222" y="7"/>
                      <a:pt x="222" y="7"/>
                      <a:pt x="222" y="7"/>
                    </a:cubicBezTo>
                    <a:cubicBezTo>
                      <a:pt x="222" y="7"/>
                      <a:pt x="214" y="21"/>
                      <a:pt x="211" y="22"/>
                    </a:cubicBezTo>
                    <a:cubicBezTo>
                      <a:pt x="209" y="22"/>
                      <a:pt x="191" y="36"/>
                      <a:pt x="180" y="27"/>
                    </a:cubicBezTo>
                    <a:cubicBezTo>
                      <a:pt x="168" y="19"/>
                      <a:pt x="166" y="6"/>
                      <a:pt x="166" y="6"/>
                    </a:cubicBezTo>
                    <a:cubicBezTo>
                      <a:pt x="166" y="6"/>
                      <a:pt x="171" y="7"/>
                      <a:pt x="173" y="8"/>
                    </a:cubicBezTo>
                    <a:cubicBezTo>
                      <a:pt x="176" y="9"/>
                      <a:pt x="181" y="14"/>
                      <a:pt x="181" y="14"/>
                    </a:cubicBezTo>
                    <a:cubicBezTo>
                      <a:pt x="182" y="12"/>
                      <a:pt x="182" y="12"/>
                      <a:pt x="182" y="12"/>
                    </a:cubicBezTo>
                    <a:cubicBezTo>
                      <a:pt x="182" y="12"/>
                      <a:pt x="178" y="7"/>
                      <a:pt x="175" y="5"/>
                    </a:cubicBezTo>
                    <a:cubicBezTo>
                      <a:pt x="171" y="4"/>
                      <a:pt x="164" y="0"/>
                      <a:pt x="160" y="0"/>
                    </a:cubicBezTo>
                    <a:cubicBezTo>
                      <a:pt x="156" y="0"/>
                      <a:pt x="140" y="6"/>
                      <a:pt x="136" y="7"/>
                    </a:cubicBezTo>
                    <a:cubicBezTo>
                      <a:pt x="132" y="7"/>
                      <a:pt x="128" y="9"/>
                      <a:pt x="123" y="9"/>
                    </a:cubicBezTo>
                    <a:cubicBezTo>
                      <a:pt x="119" y="10"/>
                      <a:pt x="111" y="18"/>
                      <a:pt x="107" y="20"/>
                    </a:cubicBezTo>
                    <a:cubicBezTo>
                      <a:pt x="103" y="22"/>
                      <a:pt x="98" y="21"/>
                      <a:pt x="95" y="24"/>
                    </a:cubicBezTo>
                    <a:cubicBezTo>
                      <a:pt x="92" y="26"/>
                      <a:pt x="92" y="26"/>
                      <a:pt x="88" y="30"/>
                    </a:cubicBezTo>
                    <a:cubicBezTo>
                      <a:pt x="85" y="34"/>
                      <a:pt x="82" y="37"/>
                      <a:pt x="82" y="37"/>
                    </a:cubicBezTo>
                    <a:cubicBezTo>
                      <a:pt x="60" y="43"/>
                      <a:pt x="42" y="43"/>
                      <a:pt x="42" y="43"/>
                    </a:cubicBezTo>
                    <a:cubicBezTo>
                      <a:pt x="38" y="46"/>
                      <a:pt x="38" y="46"/>
                      <a:pt x="38" y="46"/>
                    </a:cubicBezTo>
                    <a:cubicBezTo>
                      <a:pt x="24" y="51"/>
                      <a:pt x="24" y="51"/>
                      <a:pt x="24" y="51"/>
                    </a:cubicBezTo>
                    <a:cubicBezTo>
                      <a:pt x="20" y="52"/>
                      <a:pt x="20" y="52"/>
                      <a:pt x="20" y="52"/>
                    </a:cubicBezTo>
                    <a:cubicBezTo>
                      <a:pt x="6" y="60"/>
                      <a:pt x="6" y="60"/>
                      <a:pt x="6" y="60"/>
                    </a:cubicBezTo>
                    <a:cubicBezTo>
                      <a:pt x="7" y="62"/>
                      <a:pt x="7" y="62"/>
                      <a:pt x="7" y="62"/>
                    </a:cubicBezTo>
                    <a:cubicBezTo>
                      <a:pt x="11" y="61"/>
                      <a:pt x="11" y="61"/>
                      <a:pt x="11" y="61"/>
                    </a:cubicBezTo>
                    <a:cubicBezTo>
                      <a:pt x="16" y="63"/>
                      <a:pt x="16" y="63"/>
                      <a:pt x="16" y="63"/>
                    </a:cubicBezTo>
                    <a:cubicBezTo>
                      <a:pt x="20" y="55"/>
                      <a:pt x="20" y="55"/>
                      <a:pt x="20" y="55"/>
                    </a:cubicBezTo>
                    <a:cubicBezTo>
                      <a:pt x="25" y="53"/>
                      <a:pt x="25" y="53"/>
                      <a:pt x="25" y="53"/>
                    </a:cubicBezTo>
                    <a:cubicBezTo>
                      <a:pt x="24" y="58"/>
                      <a:pt x="24" y="58"/>
                      <a:pt x="24" y="58"/>
                    </a:cubicBezTo>
                    <a:cubicBezTo>
                      <a:pt x="24" y="58"/>
                      <a:pt x="19" y="60"/>
                      <a:pt x="19" y="63"/>
                    </a:cubicBezTo>
                    <a:cubicBezTo>
                      <a:pt x="20" y="66"/>
                      <a:pt x="22" y="72"/>
                      <a:pt x="22" y="73"/>
                    </a:cubicBezTo>
                    <a:cubicBezTo>
                      <a:pt x="22" y="74"/>
                      <a:pt x="18" y="77"/>
                      <a:pt x="19" y="80"/>
                    </a:cubicBezTo>
                    <a:cubicBezTo>
                      <a:pt x="21" y="81"/>
                      <a:pt x="30" y="94"/>
                      <a:pt x="26" y="96"/>
                    </a:cubicBezTo>
                    <a:cubicBezTo>
                      <a:pt x="24" y="98"/>
                      <a:pt x="19" y="97"/>
                      <a:pt x="20" y="94"/>
                    </a:cubicBezTo>
                    <a:cubicBezTo>
                      <a:pt x="21" y="91"/>
                      <a:pt x="22" y="88"/>
                      <a:pt x="22" y="88"/>
                    </a:cubicBezTo>
                    <a:cubicBezTo>
                      <a:pt x="19" y="82"/>
                      <a:pt x="19" y="82"/>
                      <a:pt x="19" y="82"/>
                    </a:cubicBezTo>
                    <a:cubicBezTo>
                      <a:pt x="19" y="82"/>
                      <a:pt x="12" y="81"/>
                      <a:pt x="9" y="81"/>
                    </a:cubicBezTo>
                    <a:cubicBezTo>
                      <a:pt x="8" y="81"/>
                      <a:pt x="7" y="82"/>
                      <a:pt x="6" y="83"/>
                    </a:cubicBezTo>
                    <a:cubicBezTo>
                      <a:pt x="7" y="87"/>
                      <a:pt x="7" y="94"/>
                      <a:pt x="9" y="98"/>
                    </a:cubicBezTo>
                    <a:cubicBezTo>
                      <a:pt x="13" y="104"/>
                      <a:pt x="11" y="110"/>
                      <a:pt x="9" y="117"/>
                    </a:cubicBezTo>
                    <a:cubicBezTo>
                      <a:pt x="8" y="121"/>
                      <a:pt x="4" y="121"/>
                      <a:pt x="2" y="124"/>
                    </a:cubicBezTo>
                    <a:cubicBezTo>
                      <a:pt x="1" y="125"/>
                      <a:pt x="1" y="131"/>
                      <a:pt x="0" y="133"/>
                    </a:cubicBezTo>
                    <a:cubicBezTo>
                      <a:pt x="9" y="134"/>
                      <a:pt x="22" y="148"/>
                      <a:pt x="22" y="155"/>
                    </a:cubicBezTo>
                    <a:cubicBezTo>
                      <a:pt x="22" y="159"/>
                      <a:pt x="18" y="157"/>
                      <a:pt x="19" y="163"/>
                    </a:cubicBezTo>
                    <a:cubicBezTo>
                      <a:pt x="20" y="167"/>
                      <a:pt x="20" y="168"/>
                      <a:pt x="24" y="170"/>
                    </a:cubicBezTo>
                    <a:cubicBezTo>
                      <a:pt x="28" y="171"/>
                      <a:pt x="24" y="181"/>
                      <a:pt x="25" y="181"/>
                    </a:cubicBezTo>
                    <a:cubicBezTo>
                      <a:pt x="31" y="182"/>
                      <a:pt x="26" y="192"/>
                      <a:pt x="24" y="195"/>
                    </a:cubicBezTo>
                    <a:cubicBezTo>
                      <a:pt x="20" y="200"/>
                      <a:pt x="28" y="204"/>
                      <a:pt x="30" y="210"/>
                    </a:cubicBezTo>
                    <a:cubicBezTo>
                      <a:pt x="32" y="212"/>
                      <a:pt x="26" y="216"/>
                      <a:pt x="30" y="218"/>
                    </a:cubicBezTo>
                    <a:cubicBezTo>
                      <a:pt x="34" y="220"/>
                      <a:pt x="39" y="219"/>
                      <a:pt x="39" y="226"/>
                    </a:cubicBezTo>
                    <a:cubicBezTo>
                      <a:pt x="39" y="232"/>
                      <a:pt x="45" y="235"/>
                      <a:pt x="42" y="242"/>
                    </a:cubicBezTo>
                    <a:cubicBezTo>
                      <a:pt x="42" y="246"/>
                      <a:pt x="40" y="257"/>
                      <a:pt x="37" y="259"/>
                    </a:cubicBezTo>
                    <a:cubicBezTo>
                      <a:pt x="37" y="260"/>
                      <a:pt x="37" y="260"/>
                      <a:pt x="36" y="261"/>
                    </a:cubicBezTo>
                    <a:cubicBezTo>
                      <a:pt x="44" y="263"/>
                      <a:pt x="44" y="263"/>
                      <a:pt x="44" y="263"/>
                    </a:cubicBezTo>
                    <a:cubicBezTo>
                      <a:pt x="46" y="261"/>
                      <a:pt x="46" y="261"/>
                      <a:pt x="46" y="261"/>
                    </a:cubicBezTo>
                    <a:cubicBezTo>
                      <a:pt x="44" y="258"/>
                      <a:pt x="44" y="258"/>
                      <a:pt x="44" y="258"/>
                    </a:cubicBezTo>
                    <a:cubicBezTo>
                      <a:pt x="46" y="255"/>
                      <a:pt x="46" y="255"/>
                      <a:pt x="46" y="255"/>
                    </a:cubicBezTo>
                    <a:cubicBezTo>
                      <a:pt x="60" y="257"/>
                      <a:pt x="60" y="257"/>
                      <a:pt x="60" y="257"/>
                    </a:cubicBezTo>
                    <a:cubicBezTo>
                      <a:pt x="58" y="264"/>
                      <a:pt x="58" y="264"/>
                      <a:pt x="58" y="264"/>
                    </a:cubicBezTo>
                    <a:cubicBezTo>
                      <a:pt x="66" y="272"/>
                      <a:pt x="66" y="272"/>
                      <a:pt x="66" y="272"/>
                    </a:cubicBezTo>
                    <a:cubicBezTo>
                      <a:pt x="66" y="267"/>
                      <a:pt x="66" y="267"/>
                      <a:pt x="66" y="267"/>
                    </a:cubicBezTo>
                    <a:cubicBezTo>
                      <a:pt x="88" y="275"/>
                      <a:pt x="88" y="275"/>
                      <a:pt x="88" y="275"/>
                    </a:cubicBezTo>
                    <a:cubicBezTo>
                      <a:pt x="89" y="281"/>
                      <a:pt x="89" y="281"/>
                      <a:pt x="89" y="281"/>
                    </a:cubicBezTo>
                    <a:cubicBezTo>
                      <a:pt x="102" y="275"/>
                      <a:pt x="102" y="275"/>
                      <a:pt x="102" y="275"/>
                    </a:cubicBezTo>
                    <a:cubicBezTo>
                      <a:pt x="109" y="280"/>
                      <a:pt x="109" y="280"/>
                      <a:pt x="109" y="280"/>
                    </a:cubicBezTo>
                    <a:cubicBezTo>
                      <a:pt x="109" y="280"/>
                      <a:pt x="96" y="288"/>
                      <a:pt x="98" y="291"/>
                    </a:cubicBezTo>
                    <a:cubicBezTo>
                      <a:pt x="100" y="293"/>
                      <a:pt x="109" y="292"/>
                      <a:pt x="110" y="295"/>
                    </a:cubicBezTo>
                    <a:cubicBezTo>
                      <a:pt x="112" y="298"/>
                      <a:pt x="111" y="306"/>
                      <a:pt x="114" y="308"/>
                    </a:cubicBezTo>
                    <a:cubicBezTo>
                      <a:pt x="117" y="310"/>
                      <a:pt x="123" y="308"/>
                      <a:pt x="124" y="306"/>
                    </a:cubicBezTo>
                    <a:cubicBezTo>
                      <a:pt x="124" y="304"/>
                      <a:pt x="130" y="301"/>
                      <a:pt x="130" y="301"/>
                    </a:cubicBezTo>
                    <a:cubicBezTo>
                      <a:pt x="134" y="302"/>
                      <a:pt x="134" y="302"/>
                      <a:pt x="134" y="302"/>
                    </a:cubicBezTo>
                    <a:cubicBezTo>
                      <a:pt x="134" y="302"/>
                      <a:pt x="136" y="296"/>
                      <a:pt x="134" y="296"/>
                    </a:cubicBezTo>
                    <a:cubicBezTo>
                      <a:pt x="132" y="296"/>
                      <a:pt x="128" y="293"/>
                      <a:pt x="128" y="293"/>
                    </a:cubicBezTo>
                    <a:cubicBezTo>
                      <a:pt x="127" y="287"/>
                      <a:pt x="127" y="287"/>
                      <a:pt x="127" y="287"/>
                    </a:cubicBezTo>
                    <a:cubicBezTo>
                      <a:pt x="127" y="287"/>
                      <a:pt x="134" y="289"/>
                      <a:pt x="140" y="291"/>
                    </a:cubicBezTo>
                    <a:cubicBezTo>
                      <a:pt x="146" y="293"/>
                      <a:pt x="150" y="298"/>
                      <a:pt x="150" y="298"/>
                    </a:cubicBezTo>
                    <a:cubicBezTo>
                      <a:pt x="162" y="293"/>
                      <a:pt x="162" y="293"/>
                      <a:pt x="162" y="293"/>
                    </a:cubicBezTo>
                    <a:cubicBezTo>
                      <a:pt x="166" y="298"/>
                      <a:pt x="166" y="298"/>
                      <a:pt x="166" y="298"/>
                    </a:cubicBezTo>
                    <a:cubicBezTo>
                      <a:pt x="162" y="303"/>
                      <a:pt x="162" y="303"/>
                      <a:pt x="162" y="303"/>
                    </a:cubicBezTo>
                    <a:cubicBezTo>
                      <a:pt x="162" y="303"/>
                      <a:pt x="165" y="307"/>
                      <a:pt x="166" y="308"/>
                    </a:cubicBezTo>
                    <a:cubicBezTo>
                      <a:pt x="168" y="309"/>
                      <a:pt x="170" y="315"/>
                      <a:pt x="170" y="315"/>
                    </a:cubicBezTo>
                    <a:cubicBezTo>
                      <a:pt x="175" y="313"/>
                      <a:pt x="175" y="313"/>
                      <a:pt x="175" y="313"/>
                    </a:cubicBezTo>
                    <a:cubicBezTo>
                      <a:pt x="176" y="309"/>
                      <a:pt x="176" y="309"/>
                      <a:pt x="176" y="309"/>
                    </a:cubicBezTo>
                    <a:cubicBezTo>
                      <a:pt x="192" y="314"/>
                      <a:pt x="192" y="314"/>
                      <a:pt x="192" y="314"/>
                    </a:cubicBezTo>
                    <a:cubicBezTo>
                      <a:pt x="202" y="317"/>
                      <a:pt x="202" y="317"/>
                      <a:pt x="202" y="317"/>
                    </a:cubicBezTo>
                    <a:cubicBezTo>
                      <a:pt x="205" y="329"/>
                      <a:pt x="205" y="329"/>
                      <a:pt x="205" y="329"/>
                    </a:cubicBezTo>
                    <a:cubicBezTo>
                      <a:pt x="214" y="329"/>
                      <a:pt x="214" y="329"/>
                      <a:pt x="214" y="329"/>
                    </a:cubicBezTo>
                    <a:cubicBezTo>
                      <a:pt x="218" y="340"/>
                      <a:pt x="218" y="340"/>
                      <a:pt x="218" y="340"/>
                    </a:cubicBezTo>
                    <a:cubicBezTo>
                      <a:pt x="221" y="340"/>
                      <a:pt x="221" y="340"/>
                      <a:pt x="221" y="340"/>
                    </a:cubicBezTo>
                    <a:cubicBezTo>
                      <a:pt x="221" y="348"/>
                      <a:pt x="221" y="348"/>
                      <a:pt x="221" y="348"/>
                    </a:cubicBezTo>
                    <a:cubicBezTo>
                      <a:pt x="231" y="346"/>
                      <a:pt x="231" y="346"/>
                      <a:pt x="231" y="346"/>
                    </a:cubicBezTo>
                    <a:cubicBezTo>
                      <a:pt x="234" y="339"/>
                      <a:pt x="234" y="339"/>
                      <a:pt x="234" y="339"/>
                    </a:cubicBezTo>
                    <a:cubicBezTo>
                      <a:pt x="237" y="339"/>
                      <a:pt x="237" y="339"/>
                      <a:pt x="237" y="339"/>
                    </a:cubicBezTo>
                    <a:cubicBezTo>
                      <a:pt x="237" y="339"/>
                      <a:pt x="238" y="333"/>
                      <a:pt x="243" y="333"/>
                    </a:cubicBezTo>
                    <a:cubicBezTo>
                      <a:pt x="247" y="334"/>
                      <a:pt x="248" y="341"/>
                      <a:pt x="248" y="341"/>
                    </a:cubicBezTo>
                    <a:cubicBezTo>
                      <a:pt x="252" y="341"/>
                      <a:pt x="252" y="341"/>
                      <a:pt x="252" y="341"/>
                    </a:cubicBezTo>
                    <a:cubicBezTo>
                      <a:pt x="251" y="344"/>
                      <a:pt x="251" y="344"/>
                      <a:pt x="251" y="344"/>
                    </a:cubicBezTo>
                    <a:cubicBezTo>
                      <a:pt x="257" y="342"/>
                      <a:pt x="257" y="342"/>
                      <a:pt x="257" y="342"/>
                    </a:cubicBezTo>
                    <a:cubicBezTo>
                      <a:pt x="260" y="349"/>
                      <a:pt x="260" y="349"/>
                      <a:pt x="260" y="349"/>
                    </a:cubicBezTo>
                    <a:cubicBezTo>
                      <a:pt x="260" y="349"/>
                      <a:pt x="255" y="356"/>
                      <a:pt x="259" y="356"/>
                    </a:cubicBezTo>
                    <a:cubicBezTo>
                      <a:pt x="261" y="356"/>
                      <a:pt x="265" y="353"/>
                      <a:pt x="265" y="353"/>
                    </a:cubicBezTo>
                    <a:cubicBezTo>
                      <a:pt x="273" y="356"/>
                      <a:pt x="273" y="356"/>
                      <a:pt x="273" y="356"/>
                    </a:cubicBezTo>
                    <a:cubicBezTo>
                      <a:pt x="276" y="346"/>
                      <a:pt x="276" y="346"/>
                      <a:pt x="276" y="346"/>
                    </a:cubicBezTo>
                    <a:cubicBezTo>
                      <a:pt x="276" y="346"/>
                      <a:pt x="281" y="340"/>
                      <a:pt x="288" y="339"/>
                    </a:cubicBezTo>
                    <a:cubicBezTo>
                      <a:pt x="300" y="339"/>
                      <a:pt x="300" y="339"/>
                      <a:pt x="300" y="339"/>
                    </a:cubicBezTo>
                    <a:cubicBezTo>
                      <a:pt x="300" y="339"/>
                      <a:pt x="301" y="345"/>
                      <a:pt x="308" y="344"/>
                    </a:cubicBezTo>
                    <a:cubicBezTo>
                      <a:pt x="313" y="343"/>
                      <a:pt x="314" y="337"/>
                      <a:pt x="314" y="337"/>
                    </a:cubicBezTo>
                    <a:cubicBezTo>
                      <a:pt x="314" y="337"/>
                      <a:pt x="319" y="333"/>
                      <a:pt x="327" y="331"/>
                    </a:cubicBezTo>
                    <a:cubicBezTo>
                      <a:pt x="334" y="330"/>
                      <a:pt x="337" y="331"/>
                      <a:pt x="337" y="331"/>
                    </a:cubicBezTo>
                    <a:cubicBezTo>
                      <a:pt x="343" y="335"/>
                      <a:pt x="343" y="335"/>
                      <a:pt x="343" y="335"/>
                    </a:cubicBezTo>
                    <a:cubicBezTo>
                      <a:pt x="343" y="335"/>
                      <a:pt x="355" y="335"/>
                      <a:pt x="356" y="337"/>
                    </a:cubicBezTo>
                    <a:cubicBezTo>
                      <a:pt x="357" y="339"/>
                      <a:pt x="357" y="344"/>
                      <a:pt x="357" y="344"/>
                    </a:cubicBezTo>
                    <a:cubicBezTo>
                      <a:pt x="381" y="348"/>
                      <a:pt x="381" y="348"/>
                      <a:pt x="381" y="348"/>
                    </a:cubicBezTo>
                    <a:cubicBezTo>
                      <a:pt x="395" y="352"/>
                      <a:pt x="395" y="352"/>
                      <a:pt x="395" y="352"/>
                    </a:cubicBezTo>
                    <a:cubicBezTo>
                      <a:pt x="396" y="346"/>
                      <a:pt x="396" y="346"/>
                      <a:pt x="396" y="346"/>
                    </a:cubicBezTo>
                    <a:cubicBezTo>
                      <a:pt x="396" y="346"/>
                      <a:pt x="388" y="344"/>
                      <a:pt x="386" y="341"/>
                    </a:cubicBezTo>
                    <a:cubicBezTo>
                      <a:pt x="385" y="338"/>
                      <a:pt x="386" y="335"/>
                      <a:pt x="385" y="330"/>
                    </a:cubicBezTo>
                    <a:cubicBezTo>
                      <a:pt x="385" y="325"/>
                      <a:pt x="379" y="318"/>
                      <a:pt x="379" y="318"/>
                    </a:cubicBezTo>
                    <a:cubicBezTo>
                      <a:pt x="379" y="318"/>
                      <a:pt x="389" y="308"/>
                      <a:pt x="392" y="301"/>
                    </a:cubicBezTo>
                    <a:cubicBezTo>
                      <a:pt x="396" y="294"/>
                      <a:pt x="397" y="283"/>
                      <a:pt x="400" y="279"/>
                    </a:cubicBezTo>
                    <a:cubicBezTo>
                      <a:pt x="404" y="276"/>
                      <a:pt x="414" y="258"/>
                      <a:pt x="414" y="258"/>
                    </a:cubicBezTo>
                    <a:cubicBezTo>
                      <a:pt x="414" y="258"/>
                      <a:pt x="425" y="261"/>
                      <a:pt x="428" y="254"/>
                    </a:cubicBezTo>
                    <a:cubicBezTo>
                      <a:pt x="431" y="246"/>
                      <a:pt x="431" y="238"/>
                      <a:pt x="428" y="235"/>
                    </a:cubicBezTo>
                    <a:cubicBezTo>
                      <a:pt x="425" y="234"/>
                      <a:pt x="421" y="233"/>
                      <a:pt x="422" y="231"/>
                    </a:cubicBez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55" name="Norway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4508500" y="1143000"/>
                <a:ext cx="1471612" cy="1873250"/>
              </a:xfrm>
              <a:custGeom>
                <a:avLst/>
                <a:gdLst/>
                <a:ahLst/>
                <a:cxnLst>
                  <a:cxn ang="0">
                    <a:pos x="626" y="61"/>
                  </a:cxn>
                  <a:cxn ang="0">
                    <a:pos x="605" y="40"/>
                  </a:cxn>
                  <a:cxn ang="0">
                    <a:pos x="586" y="22"/>
                  </a:cxn>
                  <a:cxn ang="0">
                    <a:pos x="547" y="55"/>
                  </a:cxn>
                  <a:cxn ang="0">
                    <a:pos x="532" y="46"/>
                  </a:cxn>
                  <a:cxn ang="0">
                    <a:pos x="465" y="77"/>
                  </a:cxn>
                  <a:cxn ang="0">
                    <a:pos x="445" y="116"/>
                  </a:cxn>
                  <a:cxn ang="0">
                    <a:pos x="410" y="132"/>
                  </a:cxn>
                  <a:cxn ang="0">
                    <a:pos x="380" y="181"/>
                  </a:cxn>
                  <a:cxn ang="0">
                    <a:pos x="374" y="209"/>
                  </a:cxn>
                  <a:cxn ang="0">
                    <a:pos x="330" y="227"/>
                  </a:cxn>
                  <a:cxn ang="0">
                    <a:pos x="331" y="254"/>
                  </a:cxn>
                  <a:cxn ang="0">
                    <a:pos x="331" y="290"/>
                  </a:cxn>
                  <a:cxn ang="0">
                    <a:pos x="275" y="339"/>
                  </a:cxn>
                  <a:cxn ang="0">
                    <a:pos x="261" y="381"/>
                  </a:cxn>
                  <a:cxn ang="0">
                    <a:pos x="252" y="428"/>
                  </a:cxn>
                  <a:cxn ang="0">
                    <a:pos x="198" y="471"/>
                  </a:cxn>
                  <a:cxn ang="0">
                    <a:pos x="224" y="509"/>
                  </a:cxn>
                  <a:cxn ang="0">
                    <a:pos x="141" y="534"/>
                  </a:cxn>
                  <a:cxn ang="0">
                    <a:pos x="122" y="571"/>
                  </a:cxn>
                  <a:cxn ang="0">
                    <a:pos x="96" y="584"/>
                  </a:cxn>
                  <a:cxn ang="0">
                    <a:pos x="69" y="595"/>
                  </a:cxn>
                  <a:cxn ang="0">
                    <a:pos x="26" y="611"/>
                  </a:cxn>
                  <a:cxn ang="0">
                    <a:pos x="23" y="650"/>
                  </a:cxn>
                  <a:cxn ang="0">
                    <a:pos x="83" y="675"/>
                  </a:cxn>
                  <a:cxn ang="0">
                    <a:pos x="74" y="678"/>
                  </a:cxn>
                  <a:cxn ang="0">
                    <a:pos x="38" y="704"/>
                  </a:cxn>
                  <a:cxn ang="0">
                    <a:pos x="55" y="723"/>
                  </a:cxn>
                  <a:cxn ang="0">
                    <a:pos x="42" y="766"/>
                  </a:cxn>
                  <a:cxn ang="0">
                    <a:pos x="26" y="785"/>
                  </a:cxn>
                  <a:cxn ang="0">
                    <a:pos x="34" y="813"/>
                  </a:cxn>
                  <a:cxn ang="0">
                    <a:pos x="65" y="873"/>
                  </a:cxn>
                  <a:cxn ang="0">
                    <a:pos x="182" y="789"/>
                  </a:cxn>
                  <a:cxn ang="0">
                    <a:pos x="230" y="815"/>
                  </a:cxn>
                  <a:cxn ang="0">
                    <a:pos x="305" y="482"/>
                  </a:cxn>
                  <a:cxn ang="0">
                    <a:pos x="443" y="205"/>
                  </a:cxn>
                  <a:cxn ang="0">
                    <a:pos x="595" y="78"/>
                  </a:cxn>
                  <a:cxn ang="0">
                    <a:pos x="18" y="803"/>
                  </a:cxn>
                  <a:cxn ang="0">
                    <a:pos x="10" y="767"/>
                  </a:cxn>
                  <a:cxn ang="0">
                    <a:pos x="14" y="743"/>
                  </a:cxn>
                  <a:cxn ang="0">
                    <a:pos x="10" y="711"/>
                  </a:cxn>
                  <a:cxn ang="0">
                    <a:pos x="8" y="699"/>
                  </a:cxn>
                  <a:cxn ang="0">
                    <a:pos x="7" y="680"/>
                  </a:cxn>
                  <a:cxn ang="0">
                    <a:pos x="15" y="632"/>
                  </a:cxn>
                  <a:cxn ang="0">
                    <a:pos x="44" y="600"/>
                  </a:cxn>
                  <a:cxn ang="0">
                    <a:pos x="58" y="582"/>
                  </a:cxn>
                  <a:cxn ang="0">
                    <a:pos x="106" y="551"/>
                  </a:cxn>
                  <a:cxn ang="0">
                    <a:pos x="123" y="537"/>
                  </a:cxn>
                  <a:cxn ang="0">
                    <a:pos x="162" y="515"/>
                  </a:cxn>
                  <a:cxn ang="0">
                    <a:pos x="259" y="367"/>
                  </a:cxn>
                  <a:cxn ang="0">
                    <a:pos x="264" y="359"/>
                  </a:cxn>
                  <a:cxn ang="0">
                    <a:pos x="301" y="294"/>
                  </a:cxn>
                  <a:cxn ang="0">
                    <a:pos x="351" y="208"/>
                  </a:cxn>
                  <a:cxn ang="0">
                    <a:pos x="296" y="220"/>
                  </a:cxn>
                  <a:cxn ang="0">
                    <a:pos x="362" y="187"/>
                  </a:cxn>
                  <a:cxn ang="0">
                    <a:pos x="322" y="218"/>
                  </a:cxn>
                  <a:cxn ang="0">
                    <a:pos x="320" y="183"/>
                  </a:cxn>
                  <a:cxn ang="0">
                    <a:pos x="367" y="152"/>
                  </a:cxn>
                  <a:cxn ang="0">
                    <a:pos x="411" y="97"/>
                  </a:cxn>
                  <a:cxn ang="0">
                    <a:pos x="407" y="97"/>
                  </a:cxn>
                  <a:cxn ang="0">
                    <a:pos x="492" y="40"/>
                  </a:cxn>
                  <a:cxn ang="0">
                    <a:pos x="514" y="56"/>
                  </a:cxn>
                  <a:cxn ang="0">
                    <a:pos x="538" y="19"/>
                  </a:cxn>
                </a:cxnLst>
                <a:rect l="0" t="0" r="r" b="b"/>
                <a:pathLst>
                  <a:path w="690" h="880">
                    <a:moveTo>
                      <a:pt x="685" y="71"/>
                    </a:moveTo>
                    <a:cubicBezTo>
                      <a:pt x="685" y="68"/>
                      <a:pt x="685" y="68"/>
                      <a:pt x="685" y="68"/>
                    </a:cubicBezTo>
                    <a:cubicBezTo>
                      <a:pt x="681" y="68"/>
                      <a:pt x="681" y="68"/>
                      <a:pt x="681" y="68"/>
                    </a:cubicBezTo>
                    <a:cubicBezTo>
                      <a:pt x="681" y="68"/>
                      <a:pt x="681" y="66"/>
                      <a:pt x="678" y="66"/>
                    </a:cubicBezTo>
                    <a:cubicBezTo>
                      <a:pt x="673" y="66"/>
                      <a:pt x="673" y="66"/>
                      <a:pt x="673" y="66"/>
                    </a:cubicBezTo>
                    <a:cubicBezTo>
                      <a:pt x="675" y="75"/>
                      <a:pt x="675" y="75"/>
                      <a:pt x="675" y="75"/>
                    </a:cubicBezTo>
                    <a:cubicBezTo>
                      <a:pt x="673" y="76"/>
                      <a:pt x="673" y="76"/>
                      <a:pt x="673" y="76"/>
                    </a:cubicBezTo>
                    <a:cubicBezTo>
                      <a:pt x="673" y="72"/>
                      <a:pt x="673" y="72"/>
                      <a:pt x="673" y="72"/>
                    </a:cubicBezTo>
                    <a:cubicBezTo>
                      <a:pt x="668" y="64"/>
                      <a:pt x="668" y="64"/>
                      <a:pt x="668" y="64"/>
                    </a:cubicBezTo>
                    <a:cubicBezTo>
                      <a:pt x="666" y="64"/>
                      <a:pt x="666" y="64"/>
                      <a:pt x="666" y="64"/>
                    </a:cubicBezTo>
                    <a:cubicBezTo>
                      <a:pt x="668" y="72"/>
                      <a:pt x="668" y="72"/>
                      <a:pt x="668" y="72"/>
                    </a:cubicBezTo>
                    <a:cubicBezTo>
                      <a:pt x="666" y="76"/>
                      <a:pt x="666" y="76"/>
                      <a:pt x="666" y="76"/>
                    </a:cubicBezTo>
                    <a:cubicBezTo>
                      <a:pt x="664" y="73"/>
                      <a:pt x="664" y="73"/>
                      <a:pt x="664" y="73"/>
                    </a:cubicBezTo>
                    <a:cubicBezTo>
                      <a:pt x="662" y="76"/>
                      <a:pt x="662" y="76"/>
                      <a:pt x="662" y="76"/>
                    </a:cubicBezTo>
                    <a:cubicBezTo>
                      <a:pt x="659" y="77"/>
                      <a:pt x="659" y="77"/>
                      <a:pt x="659" y="77"/>
                    </a:cubicBezTo>
                    <a:cubicBezTo>
                      <a:pt x="659" y="77"/>
                      <a:pt x="656" y="81"/>
                      <a:pt x="655" y="81"/>
                    </a:cubicBezTo>
                    <a:cubicBezTo>
                      <a:pt x="654" y="80"/>
                      <a:pt x="655" y="77"/>
                      <a:pt x="656" y="75"/>
                    </a:cubicBezTo>
                    <a:cubicBezTo>
                      <a:pt x="657" y="74"/>
                      <a:pt x="657" y="67"/>
                      <a:pt x="654" y="66"/>
                    </a:cubicBezTo>
                    <a:cubicBezTo>
                      <a:pt x="652" y="64"/>
                      <a:pt x="649" y="71"/>
                      <a:pt x="649" y="71"/>
                    </a:cubicBezTo>
                    <a:cubicBezTo>
                      <a:pt x="647" y="71"/>
                      <a:pt x="647" y="71"/>
                      <a:pt x="647" y="71"/>
                    </a:cubicBezTo>
                    <a:cubicBezTo>
                      <a:pt x="647" y="71"/>
                      <a:pt x="653" y="64"/>
                      <a:pt x="649" y="62"/>
                    </a:cubicBezTo>
                    <a:cubicBezTo>
                      <a:pt x="645" y="59"/>
                      <a:pt x="641" y="62"/>
                      <a:pt x="641" y="62"/>
                    </a:cubicBezTo>
                    <a:cubicBezTo>
                      <a:pt x="637" y="59"/>
                      <a:pt x="637" y="59"/>
                      <a:pt x="637" y="59"/>
                    </a:cubicBezTo>
                    <a:cubicBezTo>
                      <a:pt x="633" y="61"/>
                      <a:pt x="633" y="61"/>
                      <a:pt x="633" y="61"/>
                    </a:cubicBezTo>
                    <a:cubicBezTo>
                      <a:pt x="632" y="59"/>
                      <a:pt x="632" y="59"/>
                      <a:pt x="632" y="59"/>
                    </a:cubicBezTo>
                    <a:cubicBezTo>
                      <a:pt x="632" y="59"/>
                      <a:pt x="629" y="62"/>
                      <a:pt x="626" y="61"/>
                    </a:cubicBezTo>
                    <a:cubicBezTo>
                      <a:pt x="624" y="60"/>
                      <a:pt x="626" y="58"/>
                      <a:pt x="626" y="58"/>
                    </a:cubicBezTo>
                    <a:cubicBezTo>
                      <a:pt x="626" y="57"/>
                      <a:pt x="624" y="56"/>
                      <a:pt x="625" y="53"/>
                    </a:cubicBezTo>
                    <a:cubicBezTo>
                      <a:pt x="625" y="51"/>
                      <a:pt x="646" y="57"/>
                      <a:pt x="646" y="57"/>
                    </a:cubicBezTo>
                    <a:cubicBezTo>
                      <a:pt x="646" y="57"/>
                      <a:pt x="655" y="57"/>
                      <a:pt x="662" y="52"/>
                    </a:cubicBezTo>
                    <a:cubicBezTo>
                      <a:pt x="668" y="47"/>
                      <a:pt x="666" y="41"/>
                      <a:pt x="666" y="41"/>
                    </a:cubicBezTo>
                    <a:cubicBezTo>
                      <a:pt x="666" y="41"/>
                      <a:pt x="678" y="35"/>
                      <a:pt x="677" y="30"/>
                    </a:cubicBezTo>
                    <a:cubicBezTo>
                      <a:pt x="675" y="26"/>
                      <a:pt x="667" y="28"/>
                      <a:pt x="667" y="28"/>
                    </a:cubicBezTo>
                    <a:cubicBezTo>
                      <a:pt x="667" y="28"/>
                      <a:pt x="664" y="24"/>
                      <a:pt x="661" y="24"/>
                    </a:cubicBezTo>
                    <a:cubicBezTo>
                      <a:pt x="656" y="24"/>
                      <a:pt x="652" y="27"/>
                      <a:pt x="652" y="27"/>
                    </a:cubicBezTo>
                    <a:cubicBezTo>
                      <a:pt x="655" y="19"/>
                      <a:pt x="655" y="19"/>
                      <a:pt x="655" y="19"/>
                    </a:cubicBezTo>
                    <a:cubicBezTo>
                      <a:pt x="651" y="19"/>
                      <a:pt x="651" y="19"/>
                      <a:pt x="651" y="19"/>
                    </a:cubicBezTo>
                    <a:cubicBezTo>
                      <a:pt x="651" y="19"/>
                      <a:pt x="652" y="16"/>
                      <a:pt x="648" y="16"/>
                    </a:cubicBezTo>
                    <a:cubicBezTo>
                      <a:pt x="644" y="15"/>
                      <a:pt x="645" y="21"/>
                      <a:pt x="642" y="21"/>
                    </a:cubicBezTo>
                    <a:cubicBezTo>
                      <a:pt x="640" y="22"/>
                      <a:pt x="642" y="16"/>
                      <a:pt x="640" y="16"/>
                    </a:cubicBezTo>
                    <a:cubicBezTo>
                      <a:pt x="639" y="16"/>
                      <a:pt x="632" y="22"/>
                      <a:pt x="632" y="22"/>
                    </a:cubicBezTo>
                    <a:cubicBezTo>
                      <a:pt x="632" y="15"/>
                      <a:pt x="632" y="15"/>
                      <a:pt x="632" y="15"/>
                    </a:cubicBezTo>
                    <a:cubicBezTo>
                      <a:pt x="632" y="15"/>
                      <a:pt x="629" y="10"/>
                      <a:pt x="622" y="11"/>
                    </a:cubicBezTo>
                    <a:cubicBezTo>
                      <a:pt x="615" y="11"/>
                      <a:pt x="616" y="22"/>
                      <a:pt x="616" y="22"/>
                    </a:cubicBezTo>
                    <a:cubicBezTo>
                      <a:pt x="617" y="25"/>
                      <a:pt x="617" y="25"/>
                      <a:pt x="617" y="25"/>
                    </a:cubicBezTo>
                    <a:cubicBezTo>
                      <a:pt x="616" y="36"/>
                      <a:pt x="616" y="36"/>
                      <a:pt x="616" y="36"/>
                    </a:cubicBezTo>
                    <a:cubicBezTo>
                      <a:pt x="619" y="36"/>
                      <a:pt x="619" y="36"/>
                      <a:pt x="619" y="36"/>
                    </a:cubicBezTo>
                    <a:cubicBezTo>
                      <a:pt x="619" y="39"/>
                      <a:pt x="619" y="39"/>
                      <a:pt x="619" y="39"/>
                    </a:cubicBezTo>
                    <a:cubicBezTo>
                      <a:pt x="614" y="39"/>
                      <a:pt x="614" y="39"/>
                      <a:pt x="614" y="39"/>
                    </a:cubicBezTo>
                    <a:cubicBezTo>
                      <a:pt x="613" y="35"/>
                      <a:pt x="613" y="35"/>
                      <a:pt x="613" y="35"/>
                    </a:cubicBezTo>
                    <a:cubicBezTo>
                      <a:pt x="608" y="40"/>
                      <a:pt x="608" y="40"/>
                      <a:pt x="608" y="40"/>
                    </a:cubicBezTo>
                    <a:cubicBezTo>
                      <a:pt x="605" y="40"/>
                      <a:pt x="605" y="40"/>
                      <a:pt x="605" y="40"/>
                    </a:cubicBezTo>
                    <a:cubicBezTo>
                      <a:pt x="605" y="42"/>
                      <a:pt x="605" y="42"/>
                      <a:pt x="605" y="42"/>
                    </a:cubicBezTo>
                    <a:cubicBezTo>
                      <a:pt x="603" y="37"/>
                      <a:pt x="603" y="37"/>
                      <a:pt x="603" y="37"/>
                    </a:cubicBezTo>
                    <a:cubicBezTo>
                      <a:pt x="603" y="37"/>
                      <a:pt x="606" y="34"/>
                      <a:pt x="608" y="33"/>
                    </a:cubicBezTo>
                    <a:cubicBezTo>
                      <a:pt x="610" y="31"/>
                      <a:pt x="612" y="25"/>
                      <a:pt x="610" y="22"/>
                    </a:cubicBezTo>
                    <a:cubicBezTo>
                      <a:pt x="609" y="21"/>
                      <a:pt x="605" y="26"/>
                      <a:pt x="604" y="28"/>
                    </a:cubicBezTo>
                    <a:cubicBezTo>
                      <a:pt x="604" y="30"/>
                      <a:pt x="599" y="32"/>
                      <a:pt x="599" y="32"/>
                    </a:cubicBezTo>
                    <a:cubicBezTo>
                      <a:pt x="599" y="32"/>
                      <a:pt x="601" y="29"/>
                      <a:pt x="602" y="28"/>
                    </a:cubicBezTo>
                    <a:cubicBezTo>
                      <a:pt x="603" y="27"/>
                      <a:pt x="606" y="21"/>
                      <a:pt x="606" y="21"/>
                    </a:cubicBezTo>
                    <a:cubicBezTo>
                      <a:pt x="602" y="21"/>
                      <a:pt x="602" y="21"/>
                      <a:pt x="602" y="21"/>
                    </a:cubicBezTo>
                    <a:cubicBezTo>
                      <a:pt x="601" y="21"/>
                      <a:pt x="598" y="25"/>
                      <a:pt x="598" y="25"/>
                    </a:cubicBezTo>
                    <a:cubicBezTo>
                      <a:pt x="598" y="25"/>
                      <a:pt x="598" y="22"/>
                      <a:pt x="599" y="21"/>
                    </a:cubicBezTo>
                    <a:cubicBezTo>
                      <a:pt x="599" y="19"/>
                      <a:pt x="604" y="19"/>
                      <a:pt x="608" y="18"/>
                    </a:cubicBezTo>
                    <a:cubicBezTo>
                      <a:pt x="613" y="17"/>
                      <a:pt x="612" y="5"/>
                      <a:pt x="612" y="5"/>
                    </a:cubicBezTo>
                    <a:cubicBezTo>
                      <a:pt x="606" y="5"/>
                      <a:pt x="606" y="5"/>
                      <a:pt x="606" y="5"/>
                    </a:cubicBezTo>
                    <a:cubicBezTo>
                      <a:pt x="606" y="5"/>
                      <a:pt x="604" y="8"/>
                      <a:pt x="603" y="6"/>
                    </a:cubicBezTo>
                    <a:cubicBezTo>
                      <a:pt x="601" y="6"/>
                      <a:pt x="604" y="2"/>
                      <a:pt x="602" y="1"/>
                    </a:cubicBezTo>
                    <a:cubicBezTo>
                      <a:pt x="600" y="0"/>
                      <a:pt x="598" y="5"/>
                      <a:pt x="596" y="5"/>
                    </a:cubicBezTo>
                    <a:cubicBezTo>
                      <a:pt x="593" y="6"/>
                      <a:pt x="591" y="1"/>
                      <a:pt x="587" y="2"/>
                    </a:cubicBezTo>
                    <a:cubicBezTo>
                      <a:pt x="584" y="4"/>
                      <a:pt x="591" y="11"/>
                      <a:pt x="589" y="11"/>
                    </a:cubicBezTo>
                    <a:cubicBezTo>
                      <a:pt x="587" y="12"/>
                      <a:pt x="585" y="9"/>
                      <a:pt x="581" y="8"/>
                    </a:cubicBezTo>
                    <a:cubicBezTo>
                      <a:pt x="577" y="8"/>
                      <a:pt x="584" y="13"/>
                      <a:pt x="584" y="13"/>
                    </a:cubicBezTo>
                    <a:cubicBezTo>
                      <a:pt x="581" y="14"/>
                      <a:pt x="581" y="14"/>
                      <a:pt x="581" y="14"/>
                    </a:cubicBezTo>
                    <a:cubicBezTo>
                      <a:pt x="583" y="17"/>
                      <a:pt x="583" y="17"/>
                      <a:pt x="583" y="17"/>
                    </a:cubicBezTo>
                    <a:cubicBezTo>
                      <a:pt x="586" y="17"/>
                      <a:pt x="586" y="17"/>
                      <a:pt x="586" y="17"/>
                    </a:cubicBezTo>
                    <a:cubicBezTo>
                      <a:pt x="593" y="21"/>
                      <a:pt x="593" y="21"/>
                      <a:pt x="593" y="21"/>
                    </a:cubicBezTo>
                    <a:cubicBezTo>
                      <a:pt x="586" y="22"/>
                      <a:pt x="586" y="22"/>
                      <a:pt x="586" y="22"/>
                    </a:cubicBezTo>
                    <a:cubicBezTo>
                      <a:pt x="587" y="27"/>
                      <a:pt x="587" y="27"/>
                      <a:pt x="587" y="27"/>
                    </a:cubicBezTo>
                    <a:cubicBezTo>
                      <a:pt x="583" y="27"/>
                      <a:pt x="583" y="27"/>
                      <a:pt x="583" y="27"/>
                    </a:cubicBezTo>
                    <a:cubicBezTo>
                      <a:pt x="583" y="30"/>
                      <a:pt x="583" y="30"/>
                      <a:pt x="583" y="30"/>
                    </a:cubicBezTo>
                    <a:cubicBezTo>
                      <a:pt x="585" y="31"/>
                      <a:pt x="585" y="31"/>
                      <a:pt x="585" y="31"/>
                    </a:cubicBezTo>
                    <a:cubicBezTo>
                      <a:pt x="585" y="35"/>
                      <a:pt x="585" y="35"/>
                      <a:pt x="585" y="35"/>
                    </a:cubicBezTo>
                    <a:cubicBezTo>
                      <a:pt x="587" y="36"/>
                      <a:pt x="587" y="36"/>
                      <a:pt x="587" y="36"/>
                    </a:cubicBezTo>
                    <a:cubicBezTo>
                      <a:pt x="582" y="37"/>
                      <a:pt x="582" y="37"/>
                      <a:pt x="582" y="37"/>
                    </a:cubicBezTo>
                    <a:cubicBezTo>
                      <a:pt x="587" y="45"/>
                      <a:pt x="587" y="45"/>
                      <a:pt x="587" y="45"/>
                    </a:cubicBezTo>
                    <a:cubicBezTo>
                      <a:pt x="580" y="45"/>
                      <a:pt x="580" y="45"/>
                      <a:pt x="580" y="45"/>
                    </a:cubicBezTo>
                    <a:cubicBezTo>
                      <a:pt x="576" y="55"/>
                      <a:pt x="576" y="55"/>
                      <a:pt x="576" y="55"/>
                    </a:cubicBezTo>
                    <a:cubicBezTo>
                      <a:pt x="574" y="35"/>
                      <a:pt x="574" y="35"/>
                      <a:pt x="574" y="35"/>
                    </a:cubicBezTo>
                    <a:cubicBezTo>
                      <a:pt x="569" y="37"/>
                      <a:pt x="569" y="37"/>
                      <a:pt x="569" y="37"/>
                    </a:cubicBezTo>
                    <a:cubicBezTo>
                      <a:pt x="575" y="26"/>
                      <a:pt x="575" y="26"/>
                      <a:pt x="575" y="26"/>
                    </a:cubicBezTo>
                    <a:cubicBezTo>
                      <a:pt x="573" y="24"/>
                      <a:pt x="573" y="24"/>
                      <a:pt x="573" y="24"/>
                    </a:cubicBezTo>
                    <a:cubicBezTo>
                      <a:pt x="573" y="24"/>
                      <a:pt x="574" y="17"/>
                      <a:pt x="569" y="17"/>
                    </a:cubicBezTo>
                    <a:cubicBezTo>
                      <a:pt x="564" y="18"/>
                      <a:pt x="564" y="32"/>
                      <a:pt x="564" y="32"/>
                    </a:cubicBezTo>
                    <a:cubicBezTo>
                      <a:pt x="560" y="33"/>
                      <a:pt x="560" y="33"/>
                      <a:pt x="560" y="33"/>
                    </a:cubicBezTo>
                    <a:cubicBezTo>
                      <a:pt x="560" y="33"/>
                      <a:pt x="561" y="41"/>
                      <a:pt x="558" y="45"/>
                    </a:cubicBezTo>
                    <a:cubicBezTo>
                      <a:pt x="556" y="50"/>
                      <a:pt x="550" y="60"/>
                      <a:pt x="550" y="60"/>
                    </a:cubicBezTo>
                    <a:cubicBezTo>
                      <a:pt x="550" y="60"/>
                      <a:pt x="555" y="62"/>
                      <a:pt x="554" y="65"/>
                    </a:cubicBezTo>
                    <a:cubicBezTo>
                      <a:pt x="553" y="68"/>
                      <a:pt x="551" y="73"/>
                      <a:pt x="551" y="73"/>
                    </a:cubicBezTo>
                    <a:cubicBezTo>
                      <a:pt x="549" y="78"/>
                      <a:pt x="549" y="78"/>
                      <a:pt x="549" y="78"/>
                    </a:cubicBezTo>
                    <a:cubicBezTo>
                      <a:pt x="546" y="74"/>
                      <a:pt x="546" y="74"/>
                      <a:pt x="546" y="74"/>
                    </a:cubicBezTo>
                    <a:cubicBezTo>
                      <a:pt x="544" y="77"/>
                      <a:pt x="544" y="77"/>
                      <a:pt x="544" y="77"/>
                    </a:cubicBezTo>
                    <a:cubicBezTo>
                      <a:pt x="541" y="71"/>
                      <a:pt x="541" y="71"/>
                      <a:pt x="541" y="71"/>
                    </a:cubicBezTo>
                    <a:cubicBezTo>
                      <a:pt x="547" y="55"/>
                      <a:pt x="547" y="55"/>
                      <a:pt x="547" y="55"/>
                    </a:cubicBezTo>
                    <a:cubicBezTo>
                      <a:pt x="542" y="55"/>
                      <a:pt x="542" y="55"/>
                      <a:pt x="542" y="55"/>
                    </a:cubicBezTo>
                    <a:cubicBezTo>
                      <a:pt x="541" y="52"/>
                      <a:pt x="541" y="52"/>
                      <a:pt x="541" y="52"/>
                    </a:cubicBezTo>
                    <a:cubicBezTo>
                      <a:pt x="553" y="34"/>
                      <a:pt x="553" y="34"/>
                      <a:pt x="553" y="34"/>
                    </a:cubicBezTo>
                    <a:cubicBezTo>
                      <a:pt x="551" y="32"/>
                      <a:pt x="551" y="32"/>
                      <a:pt x="551" y="32"/>
                    </a:cubicBezTo>
                    <a:cubicBezTo>
                      <a:pt x="551" y="32"/>
                      <a:pt x="556" y="25"/>
                      <a:pt x="554" y="24"/>
                    </a:cubicBezTo>
                    <a:cubicBezTo>
                      <a:pt x="552" y="22"/>
                      <a:pt x="546" y="29"/>
                      <a:pt x="546" y="29"/>
                    </a:cubicBezTo>
                    <a:cubicBezTo>
                      <a:pt x="546" y="22"/>
                      <a:pt x="546" y="22"/>
                      <a:pt x="546" y="22"/>
                    </a:cubicBezTo>
                    <a:cubicBezTo>
                      <a:pt x="540" y="22"/>
                      <a:pt x="540" y="22"/>
                      <a:pt x="540" y="22"/>
                    </a:cubicBezTo>
                    <a:cubicBezTo>
                      <a:pt x="542" y="26"/>
                      <a:pt x="542" y="26"/>
                      <a:pt x="542" y="26"/>
                    </a:cubicBezTo>
                    <a:cubicBezTo>
                      <a:pt x="541" y="31"/>
                      <a:pt x="541" y="31"/>
                      <a:pt x="541" y="31"/>
                    </a:cubicBezTo>
                    <a:cubicBezTo>
                      <a:pt x="537" y="26"/>
                      <a:pt x="537" y="26"/>
                      <a:pt x="537" y="26"/>
                    </a:cubicBezTo>
                    <a:cubicBezTo>
                      <a:pt x="534" y="29"/>
                      <a:pt x="534" y="29"/>
                      <a:pt x="534" y="29"/>
                    </a:cubicBezTo>
                    <a:cubicBezTo>
                      <a:pt x="535" y="24"/>
                      <a:pt x="535" y="24"/>
                      <a:pt x="535" y="24"/>
                    </a:cubicBezTo>
                    <a:cubicBezTo>
                      <a:pt x="534" y="22"/>
                      <a:pt x="534" y="22"/>
                      <a:pt x="534" y="22"/>
                    </a:cubicBezTo>
                    <a:cubicBezTo>
                      <a:pt x="532" y="26"/>
                      <a:pt x="532" y="26"/>
                      <a:pt x="532" y="26"/>
                    </a:cubicBezTo>
                    <a:cubicBezTo>
                      <a:pt x="525" y="21"/>
                      <a:pt x="525" y="21"/>
                      <a:pt x="525" y="21"/>
                    </a:cubicBezTo>
                    <a:cubicBezTo>
                      <a:pt x="523" y="27"/>
                      <a:pt x="523" y="27"/>
                      <a:pt x="523" y="27"/>
                    </a:cubicBezTo>
                    <a:cubicBezTo>
                      <a:pt x="530" y="30"/>
                      <a:pt x="530" y="30"/>
                      <a:pt x="530" y="30"/>
                    </a:cubicBezTo>
                    <a:cubicBezTo>
                      <a:pt x="526" y="31"/>
                      <a:pt x="526" y="31"/>
                      <a:pt x="526" y="31"/>
                    </a:cubicBezTo>
                    <a:cubicBezTo>
                      <a:pt x="526" y="35"/>
                      <a:pt x="526" y="35"/>
                      <a:pt x="526" y="35"/>
                    </a:cubicBezTo>
                    <a:cubicBezTo>
                      <a:pt x="523" y="34"/>
                      <a:pt x="523" y="34"/>
                      <a:pt x="523" y="34"/>
                    </a:cubicBezTo>
                    <a:cubicBezTo>
                      <a:pt x="522" y="32"/>
                      <a:pt x="522" y="32"/>
                      <a:pt x="522" y="32"/>
                    </a:cubicBezTo>
                    <a:cubicBezTo>
                      <a:pt x="519" y="32"/>
                      <a:pt x="519" y="32"/>
                      <a:pt x="519" y="32"/>
                    </a:cubicBezTo>
                    <a:cubicBezTo>
                      <a:pt x="519" y="39"/>
                      <a:pt x="519" y="39"/>
                      <a:pt x="519" y="39"/>
                    </a:cubicBezTo>
                    <a:cubicBezTo>
                      <a:pt x="526" y="40"/>
                      <a:pt x="526" y="40"/>
                      <a:pt x="526" y="40"/>
                    </a:cubicBezTo>
                    <a:cubicBezTo>
                      <a:pt x="532" y="46"/>
                      <a:pt x="532" y="46"/>
                      <a:pt x="532" y="46"/>
                    </a:cubicBezTo>
                    <a:cubicBezTo>
                      <a:pt x="532" y="48"/>
                      <a:pt x="532" y="48"/>
                      <a:pt x="532" y="48"/>
                    </a:cubicBezTo>
                    <a:cubicBezTo>
                      <a:pt x="532" y="48"/>
                      <a:pt x="530" y="46"/>
                      <a:pt x="527" y="45"/>
                    </a:cubicBezTo>
                    <a:cubicBezTo>
                      <a:pt x="525" y="43"/>
                      <a:pt x="521" y="43"/>
                      <a:pt x="521" y="43"/>
                    </a:cubicBezTo>
                    <a:cubicBezTo>
                      <a:pt x="520" y="53"/>
                      <a:pt x="520" y="53"/>
                      <a:pt x="520" y="53"/>
                    </a:cubicBezTo>
                    <a:cubicBezTo>
                      <a:pt x="522" y="52"/>
                      <a:pt x="522" y="52"/>
                      <a:pt x="522" y="52"/>
                    </a:cubicBezTo>
                    <a:cubicBezTo>
                      <a:pt x="525" y="58"/>
                      <a:pt x="525" y="58"/>
                      <a:pt x="525" y="58"/>
                    </a:cubicBezTo>
                    <a:cubicBezTo>
                      <a:pt x="525" y="58"/>
                      <a:pt x="522" y="57"/>
                      <a:pt x="519" y="56"/>
                    </a:cubicBezTo>
                    <a:cubicBezTo>
                      <a:pt x="515" y="56"/>
                      <a:pt x="514" y="59"/>
                      <a:pt x="514" y="59"/>
                    </a:cubicBezTo>
                    <a:cubicBezTo>
                      <a:pt x="505" y="75"/>
                      <a:pt x="505" y="75"/>
                      <a:pt x="505" y="75"/>
                    </a:cubicBezTo>
                    <a:cubicBezTo>
                      <a:pt x="507" y="75"/>
                      <a:pt x="507" y="75"/>
                      <a:pt x="507" y="75"/>
                    </a:cubicBezTo>
                    <a:cubicBezTo>
                      <a:pt x="504" y="78"/>
                      <a:pt x="504" y="78"/>
                      <a:pt x="504" y="78"/>
                    </a:cubicBezTo>
                    <a:cubicBezTo>
                      <a:pt x="508" y="83"/>
                      <a:pt x="508" y="83"/>
                      <a:pt x="508" y="83"/>
                    </a:cubicBezTo>
                    <a:cubicBezTo>
                      <a:pt x="505" y="85"/>
                      <a:pt x="505" y="85"/>
                      <a:pt x="505" y="85"/>
                    </a:cubicBezTo>
                    <a:cubicBezTo>
                      <a:pt x="513" y="90"/>
                      <a:pt x="513" y="90"/>
                      <a:pt x="513" y="90"/>
                    </a:cubicBezTo>
                    <a:cubicBezTo>
                      <a:pt x="504" y="92"/>
                      <a:pt x="504" y="92"/>
                      <a:pt x="504" y="92"/>
                    </a:cubicBezTo>
                    <a:cubicBezTo>
                      <a:pt x="499" y="83"/>
                      <a:pt x="499" y="83"/>
                      <a:pt x="499" y="83"/>
                    </a:cubicBezTo>
                    <a:cubicBezTo>
                      <a:pt x="486" y="91"/>
                      <a:pt x="486" y="91"/>
                      <a:pt x="486" y="91"/>
                    </a:cubicBezTo>
                    <a:cubicBezTo>
                      <a:pt x="486" y="89"/>
                      <a:pt x="486" y="89"/>
                      <a:pt x="486" y="89"/>
                    </a:cubicBezTo>
                    <a:cubicBezTo>
                      <a:pt x="486" y="89"/>
                      <a:pt x="497" y="83"/>
                      <a:pt x="498" y="79"/>
                    </a:cubicBezTo>
                    <a:cubicBezTo>
                      <a:pt x="499" y="76"/>
                      <a:pt x="489" y="78"/>
                      <a:pt x="489" y="78"/>
                    </a:cubicBezTo>
                    <a:cubicBezTo>
                      <a:pt x="489" y="78"/>
                      <a:pt x="486" y="75"/>
                      <a:pt x="484" y="78"/>
                    </a:cubicBezTo>
                    <a:cubicBezTo>
                      <a:pt x="481" y="81"/>
                      <a:pt x="487" y="84"/>
                      <a:pt x="487" y="84"/>
                    </a:cubicBezTo>
                    <a:cubicBezTo>
                      <a:pt x="483" y="84"/>
                      <a:pt x="483" y="84"/>
                      <a:pt x="483" y="84"/>
                    </a:cubicBezTo>
                    <a:cubicBezTo>
                      <a:pt x="483" y="84"/>
                      <a:pt x="481" y="76"/>
                      <a:pt x="476" y="76"/>
                    </a:cubicBezTo>
                    <a:cubicBezTo>
                      <a:pt x="472" y="76"/>
                      <a:pt x="472" y="82"/>
                      <a:pt x="472" y="82"/>
                    </a:cubicBezTo>
                    <a:cubicBezTo>
                      <a:pt x="465" y="77"/>
                      <a:pt x="465" y="77"/>
                      <a:pt x="465" y="77"/>
                    </a:cubicBezTo>
                    <a:cubicBezTo>
                      <a:pt x="464" y="80"/>
                      <a:pt x="464" y="80"/>
                      <a:pt x="464" y="80"/>
                    </a:cubicBezTo>
                    <a:cubicBezTo>
                      <a:pt x="464" y="80"/>
                      <a:pt x="460" y="79"/>
                      <a:pt x="458" y="82"/>
                    </a:cubicBezTo>
                    <a:cubicBezTo>
                      <a:pt x="456" y="87"/>
                      <a:pt x="465" y="87"/>
                      <a:pt x="465" y="87"/>
                    </a:cubicBezTo>
                    <a:cubicBezTo>
                      <a:pt x="462" y="90"/>
                      <a:pt x="462" y="90"/>
                      <a:pt x="462" y="90"/>
                    </a:cubicBezTo>
                    <a:cubicBezTo>
                      <a:pt x="472" y="92"/>
                      <a:pt x="472" y="92"/>
                      <a:pt x="472" y="92"/>
                    </a:cubicBezTo>
                    <a:cubicBezTo>
                      <a:pt x="477" y="91"/>
                      <a:pt x="477" y="91"/>
                      <a:pt x="477" y="91"/>
                    </a:cubicBezTo>
                    <a:cubicBezTo>
                      <a:pt x="473" y="94"/>
                      <a:pt x="473" y="94"/>
                      <a:pt x="473" y="94"/>
                    </a:cubicBezTo>
                    <a:cubicBezTo>
                      <a:pt x="474" y="95"/>
                      <a:pt x="474" y="95"/>
                      <a:pt x="474" y="95"/>
                    </a:cubicBezTo>
                    <a:cubicBezTo>
                      <a:pt x="478" y="94"/>
                      <a:pt x="478" y="94"/>
                      <a:pt x="478" y="94"/>
                    </a:cubicBezTo>
                    <a:cubicBezTo>
                      <a:pt x="478" y="97"/>
                      <a:pt x="478" y="97"/>
                      <a:pt x="478" y="97"/>
                    </a:cubicBezTo>
                    <a:cubicBezTo>
                      <a:pt x="475" y="97"/>
                      <a:pt x="475" y="97"/>
                      <a:pt x="475" y="97"/>
                    </a:cubicBezTo>
                    <a:cubicBezTo>
                      <a:pt x="478" y="103"/>
                      <a:pt x="478" y="103"/>
                      <a:pt x="478" y="103"/>
                    </a:cubicBezTo>
                    <a:cubicBezTo>
                      <a:pt x="478" y="106"/>
                      <a:pt x="478" y="106"/>
                      <a:pt x="478" y="106"/>
                    </a:cubicBezTo>
                    <a:cubicBezTo>
                      <a:pt x="478" y="106"/>
                      <a:pt x="484" y="110"/>
                      <a:pt x="482" y="111"/>
                    </a:cubicBezTo>
                    <a:cubicBezTo>
                      <a:pt x="479" y="112"/>
                      <a:pt x="474" y="103"/>
                      <a:pt x="474" y="103"/>
                    </a:cubicBezTo>
                    <a:cubicBezTo>
                      <a:pt x="469" y="100"/>
                      <a:pt x="469" y="100"/>
                      <a:pt x="469" y="100"/>
                    </a:cubicBezTo>
                    <a:cubicBezTo>
                      <a:pt x="469" y="100"/>
                      <a:pt x="465" y="94"/>
                      <a:pt x="460" y="94"/>
                    </a:cubicBezTo>
                    <a:cubicBezTo>
                      <a:pt x="457" y="94"/>
                      <a:pt x="459" y="100"/>
                      <a:pt x="459" y="100"/>
                    </a:cubicBezTo>
                    <a:cubicBezTo>
                      <a:pt x="461" y="104"/>
                      <a:pt x="461" y="104"/>
                      <a:pt x="461" y="104"/>
                    </a:cubicBezTo>
                    <a:cubicBezTo>
                      <a:pt x="458" y="106"/>
                      <a:pt x="458" y="106"/>
                      <a:pt x="458" y="106"/>
                    </a:cubicBezTo>
                    <a:cubicBezTo>
                      <a:pt x="456" y="111"/>
                      <a:pt x="456" y="111"/>
                      <a:pt x="456" y="111"/>
                    </a:cubicBezTo>
                    <a:cubicBezTo>
                      <a:pt x="454" y="106"/>
                      <a:pt x="454" y="106"/>
                      <a:pt x="454" y="106"/>
                    </a:cubicBezTo>
                    <a:cubicBezTo>
                      <a:pt x="457" y="102"/>
                      <a:pt x="457" y="102"/>
                      <a:pt x="457" y="102"/>
                    </a:cubicBezTo>
                    <a:cubicBezTo>
                      <a:pt x="457" y="100"/>
                      <a:pt x="457" y="100"/>
                      <a:pt x="457" y="100"/>
                    </a:cubicBezTo>
                    <a:cubicBezTo>
                      <a:pt x="451" y="106"/>
                      <a:pt x="451" y="106"/>
                      <a:pt x="451" y="106"/>
                    </a:cubicBezTo>
                    <a:cubicBezTo>
                      <a:pt x="445" y="116"/>
                      <a:pt x="445" y="116"/>
                      <a:pt x="445" y="116"/>
                    </a:cubicBezTo>
                    <a:cubicBezTo>
                      <a:pt x="448" y="124"/>
                      <a:pt x="448" y="124"/>
                      <a:pt x="448" y="124"/>
                    </a:cubicBezTo>
                    <a:cubicBezTo>
                      <a:pt x="452" y="129"/>
                      <a:pt x="452" y="129"/>
                      <a:pt x="452" y="129"/>
                    </a:cubicBezTo>
                    <a:cubicBezTo>
                      <a:pt x="444" y="126"/>
                      <a:pt x="444" y="126"/>
                      <a:pt x="444" y="126"/>
                    </a:cubicBezTo>
                    <a:cubicBezTo>
                      <a:pt x="442" y="140"/>
                      <a:pt x="442" y="140"/>
                      <a:pt x="442" y="140"/>
                    </a:cubicBezTo>
                    <a:cubicBezTo>
                      <a:pt x="440" y="140"/>
                      <a:pt x="440" y="140"/>
                      <a:pt x="440" y="140"/>
                    </a:cubicBezTo>
                    <a:cubicBezTo>
                      <a:pt x="436" y="147"/>
                      <a:pt x="436" y="147"/>
                      <a:pt x="436" y="147"/>
                    </a:cubicBezTo>
                    <a:cubicBezTo>
                      <a:pt x="434" y="144"/>
                      <a:pt x="434" y="144"/>
                      <a:pt x="434" y="144"/>
                    </a:cubicBezTo>
                    <a:cubicBezTo>
                      <a:pt x="439" y="138"/>
                      <a:pt x="439" y="138"/>
                      <a:pt x="439" y="138"/>
                    </a:cubicBezTo>
                    <a:cubicBezTo>
                      <a:pt x="441" y="129"/>
                      <a:pt x="441" y="129"/>
                      <a:pt x="441" y="129"/>
                    </a:cubicBezTo>
                    <a:cubicBezTo>
                      <a:pt x="440" y="128"/>
                      <a:pt x="440" y="128"/>
                      <a:pt x="440" y="128"/>
                    </a:cubicBezTo>
                    <a:cubicBezTo>
                      <a:pt x="443" y="125"/>
                      <a:pt x="443" y="125"/>
                      <a:pt x="443" y="125"/>
                    </a:cubicBezTo>
                    <a:cubicBezTo>
                      <a:pt x="441" y="120"/>
                      <a:pt x="441" y="120"/>
                      <a:pt x="441" y="120"/>
                    </a:cubicBezTo>
                    <a:cubicBezTo>
                      <a:pt x="441" y="112"/>
                      <a:pt x="441" y="112"/>
                      <a:pt x="441" y="112"/>
                    </a:cubicBezTo>
                    <a:cubicBezTo>
                      <a:pt x="441" y="109"/>
                      <a:pt x="439" y="102"/>
                      <a:pt x="439" y="102"/>
                    </a:cubicBezTo>
                    <a:cubicBezTo>
                      <a:pt x="434" y="106"/>
                      <a:pt x="434" y="106"/>
                      <a:pt x="434" y="106"/>
                    </a:cubicBezTo>
                    <a:cubicBezTo>
                      <a:pt x="434" y="106"/>
                      <a:pt x="435" y="112"/>
                      <a:pt x="432" y="115"/>
                    </a:cubicBezTo>
                    <a:cubicBezTo>
                      <a:pt x="428" y="118"/>
                      <a:pt x="431" y="124"/>
                      <a:pt x="431" y="124"/>
                    </a:cubicBezTo>
                    <a:cubicBezTo>
                      <a:pt x="434" y="126"/>
                      <a:pt x="434" y="126"/>
                      <a:pt x="434" y="126"/>
                    </a:cubicBezTo>
                    <a:cubicBezTo>
                      <a:pt x="429" y="128"/>
                      <a:pt x="429" y="128"/>
                      <a:pt x="429" y="128"/>
                    </a:cubicBezTo>
                    <a:cubicBezTo>
                      <a:pt x="429" y="137"/>
                      <a:pt x="429" y="137"/>
                      <a:pt x="429" y="137"/>
                    </a:cubicBezTo>
                    <a:cubicBezTo>
                      <a:pt x="424" y="138"/>
                      <a:pt x="424" y="138"/>
                      <a:pt x="424" y="138"/>
                    </a:cubicBezTo>
                    <a:cubicBezTo>
                      <a:pt x="427" y="124"/>
                      <a:pt x="427" y="124"/>
                      <a:pt x="427" y="124"/>
                    </a:cubicBezTo>
                    <a:cubicBezTo>
                      <a:pt x="426" y="124"/>
                      <a:pt x="426" y="124"/>
                      <a:pt x="426" y="124"/>
                    </a:cubicBezTo>
                    <a:cubicBezTo>
                      <a:pt x="426" y="113"/>
                      <a:pt x="426" y="113"/>
                      <a:pt x="426" y="113"/>
                    </a:cubicBezTo>
                    <a:cubicBezTo>
                      <a:pt x="426" y="113"/>
                      <a:pt x="421" y="115"/>
                      <a:pt x="413" y="119"/>
                    </a:cubicBezTo>
                    <a:cubicBezTo>
                      <a:pt x="405" y="121"/>
                      <a:pt x="410" y="132"/>
                      <a:pt x="410" y="132"/>
                    </a:cubicBezTo>
                    <a:cubicBezTo>
                      <a:pt x="413" y="132"/>
                      <a:pt x="413" y="132"/>
                      <a:pt x="413" y="132"/>
                    </a:cubicBezTo>
                    <a:cubicBezTo>
                      <a:pt x="413" y="132"/>
                      <a:pt x="413" y="134"/>
                      <a:pt x="412" y="137"/>
                    </a:cubicBezTo>
                    <a:cubicBezTo>
                      <a:pt x="411" y="139"/>
                      <a:pt x="416" y="142"/>
                      <a:pt x="420" y="142"/>
                    </a:cubicBezTo>
                    <a:cubicBezTo>
                      <a:pt x="424" y="143"/>
                      <a:pt x="424" y="150"/>
                      <a:pt x="424" y="150"/>
                    </a:cubicBezTo>
                    <a:cubicBezTo>
                      <a:pt x="427" y="151"/>
                      <a:pt x="427" y="151"/>
                      <a:pt x="427" y="151"/>
                    </a:cubicBezTo>
                    <a:cubicBezTo>
                      <a:pt x="425" y="152"/>
                      <a:pt x="425" y="152"/>
                      <a:pt x="425" y="152"/>
                    </a:cubicBezTo>
                    <a:cubicBezTo>
                      <a:pt x="425" y="152"/>
                      <a:pt x="421" y="150"/>
                      <a:pt x="421" y="147"/>
                    </a:cubicBezTo>
                    <a:cubicBezTo>
                      <a:pt x="421" y="144"/>
                      <a:pt x="416" y="144"/>
                      <a:pt x="412" y="143"/>
                    </a:cubicBezTo>
                    <a:cubicBezTo>
                      <a:pt x="410" y="143"/>
                      <a:pt x="407" y="134"/>
                      <a:pt x="407" y="134"/>
                    </a:cubicBezTo>
                    <a:cubicBezTo>
                      <a:pt x="399" y="136"/>
                      <a:pt x="399" y="136"/>
                      <a:pt x="399" y="136"/>
                    </a:cubicBezTo>
                    <a:cubicBezTo>
                      <a:pt x="399" y="136"/>
                      <a:pt x="400" y="140"/>
                      <a:pt x="402" y="143"/>
                    </a:cubicBezTo>
                    <a:cubicBezTo>
                      <a:pt x="405" y="146"/>
                      <a:pt x="409" y="147"/>
                      <a:pt x="409" y="147"/>
                    </a:cubicBezTo>
                    <a:cubicBezTo>
                      <a:pt x="409" y="147"/>
                      <a:pt x="405" y="148"/>
                      <a:pt x="402" y="146"/>
                    </a:cubicBezTo>
                    <a:cubicBezTo>
                      <a:pt x="399" y="145"/>
                      <a:pt x="394" y="138"/>
                      <a:pt x="394" y="138"/>
                    </a:cubicBezTo>
                    <a:cubicBezTo>
                      <a:pt x="390" y="139"/>
                      <a:pt x="390" y="139"/>
                      <a:pt x="390" y="139"/>
                    </a:cubicBezTo>
                    <a:cubicBezTo>
                      <a:pt x="392" y="145"/>
                      <a:pt x="392" y="145"/>
                      <a:pt x="392" y="145"/>
                    </a:cubicBezTo>
                    <a:cubicBezTo>
                      <a:pt x="388" y="151"/>
                      <a:pt x="388" y="151"/>
                      <a:pt x="388" y="151"/>
                    </a:cubicBezTo>
                    <a:cubicBezTo>
                      <a:pt x="392" y="159"/>
                      <a:pt x="392" y="159"/>
                      <a:pt x="392" y="159"/>
                    </a:cubicBezTo>
                    <a:cubicBezTo>
                      <a:pt x="380" y="160"/>
                      <a:pt x="380" y="160"/>
                      <a:pt x="380" y="160"/>
                    </a:cubicBezTo>
                    <a:cubicBezTo>
                      <a:pt x="384" y="165"/>
                      <a:pt x="384" y="165"/>
                      <a:pt x="384" y="165"/>
                    </a:cubicBezTo>
                    <a:cubicBezTo>
                      <a:pt x="379" y="169"/>
                      <a:pt x="379" y="169"/>
                      <a:pt x="379" y="169"/>
                    </a:cubicBezTo>
                    <a:cubicBezTo>
                      <a:pt x="379" y="175"/>
                      <a:pt x="379" y="175"/>
                      <a:pt x="379" y="175"/>
                    </a:cubicBezTo>
                    <a:cubicBezTo>
                      <a:pt x="384" y="174"/>
                      <a:pt x="384" y="174"/>
                      <a:pt x="384" y="174"/>
                    </a:cubicBezTo>
                    <a:cubicBezTo>
                      <a:pt x="387" y="176"/>
                      <a:pt x="387" y="176"/>
                      <a:pt x="387" y="176"/>
                    </a:cubicBezTo>
                    <a:cubicBezTo>
                      <a:pt x="383" y="176"/>
                      <a:pt x="383" y="176"/>
                      <a:pt x="383" y="176"/>
                    </a:cubicBezTo>
                    <a:cubicBezTo>
                      <a:pt x="380" y="181"/>
                      <a:pt x="380" y="181"/>
                      <a:pt x="380" y="181"/>
                    </a:cubicBezTo>
                    <a:cubicBezTo>
                      <a:pt x="385" y="183"/>
                      <a:pt x="385" y="183"/>
                      <a:pt x="385" y="183"/>
                    </a:cubicBezTo>
                    <a:cubicBezTo>
                      <a:pt x="377" y="183"/>
                      <a:pt x="377" y="183"/>
                      <a:pt x="377" y="183"/>
                    </a:cubicBezTo>
                    <a:cubicBezTo>
                      <a:pt x="371" y="184"/>
                      <a:pt x="377" y="187"/>
                      <a:pt x="377" y="187"/>
                    </a:cubicBezTo>
                    <a:cubicBezTo>
                      <a:pt x="382" y="189"/>
                      <a:pt x="382" y="189"/>
                      <a:pt x="382" y="189"/>
                    </a:cubicBezTo>
                    <a:cubicBezTo>
                      <a:pt x="382" y="189"/>
                      <a:pt x="375" y="187"/>
                      <a:pt x="372" y="188"/>
                    </a:cubicBezTo>
                    <a:cubicBezTo>
                      <a:pt x="370" y="188"/>
                      <a:pt x="371" y="190"/>
                      <a:pt x="371" y="190"/>
                    </a:cubicBezTo>
                    <a:cubicBezTo>
                      <a:pt x="375" y="191"/>
                      <a:pt x="375" y="191"/>
                      <a:pt x="375" y="191"/>
                    </a:cubicBezTo>
                    <a:cubicBezTo>
                      <a:pt x="374" y="195"/>
                      <a:pt x="374" y="195"/>
                      <a:pt x="374" y="195"/>
                    </a:cubicBezTo>
                    <a:cubicBezTo>
                      <a:pt x="374" y="192"/>
                      <a:pt x="374" y="192"/>
                      <a:pt x="374" y="192"/>
                    </a:cubicBezTo>
                    <a:cubicBezTo>
                      <a:pt x="370" y="191"/>
                      <a:pt x="370" y="191"/>
                      <a:pt x="370" y="191"/>
                    </a:cubicBezTo>
                    <a:cubicBezTo>
                      <a:pt x="368" y="188"/>
                      <a:pt x="368" y="188"/>
                      <a:pt x="368" y="188"/>
                    </a:cubicBezTo>
                    <a:cubicBezTo>
                      <a:pt x="367" y="191"/>
                      <a:pt x="367" y="191"/>
                      <a:pt x="367" y="191"/>
                    </a:cubicBezTo>
                    <a:cubicBezTo>
                      <a:pt x="367" y="191"/>
                      <a:pt x="366" y="192"/>
                      <a:pt x="361" y="192"/>
                    </a:cubicBezTo>
                    <a:cubicBezTo>
                      <a:pt x="357" y="192"/>
                      <a:pt x="357" y="200"/>
                      <a:pt x="357" y="200"/>
                    </a:cubicBezTo>
                    <a:cubicBezTo>
                      <a:pt x="355" y="202"/>
                      <a:pt x="355" y="202"/>
                      <a:pt x="355" y="202"/>
                    </a:cubicBezTo>
                    <a:cubicBezTo>
                      <a:pt x="357" y="206"/>
                      <a:pt x="357" y="206"/>
                      <a:pt x="357" y="206"/>
                    </a:cubicBezTo>
                    <a:cubicBezTo>
                      <a:pt x="368" y="203"/>
                      <a:pt x="368" y="203"/>
                      <a:pt x="368" y="203"/>
                    </a:cubicBezTo>
                    <a:cubicBezTo>
                      <a:pt x="368" y="203"/>
                      <a:pt x="369" y="205"/>
                      <a:pt x="372" y="205"/>
                    </a:cubicBezTo>
                    <a:cubicBezTo>
                      <a:pt x="375" y="205"/>
                      <a:pt x="382" y="199"/>
                      <a:pt x="382" y="199"/>
                    </a:cubicBezTo>
                    <a:cubicBezTo>
                      <a:pt x="380" y="203"/>
                      <a:pt x="380" y="203"/>
                      <a:pt x="380" y="203"/>
                    </a:cubicBezTo>
                    <a:cubicBezTo>
                      <a:pt x="385" y="204"/>
                      <a:pt x="385" y="204"/>
                      <a:pt x="385" y="204"/>
                    </a:cubicBezTo>
                    <a:cubicBezTo>
                      <a:pt x="376" y="207"/>
                      <a:pt x="376" y="207"/>
                      <a:pt x="376" y="207"/>
                    </a:cubicBezTo>
                    <a:cubicBezTo>
                      <a:pt x="376" y="213"/>
                      <a:pt x="376" y="213"/>
                      <a:pt x="376" y="213"/>
                    </a:cubicBezTo>
                    <a:cubicBezTo>
                      <a:pt x="379" y="217"/>
                      <a:pt x="379" y="217"/>
                      <a:pt x="379" y="217"/>
                    </a:cubicBezTo>
                    <a:cubicBezTo>
                      <a:pt x="378" y="218"/>
                      <a:pt x="378" y="218"/>
                      <a:pt x="378" y="218"/>
                    </a:cubicBezTo>
                    <a:cubicBezTo>
                      <a:pt x="374" y="209"/>
                      <a:pt x="374" y="209"/>
                      <a:pt x="374" y="209"/>
                    </a:cubicBezTo>
                    <a:cubicBezTo>
                      <a:pt x="367" y="211"/>
                      <a:pt x="367" y="211"/>
                      <a:pt x="367" y="211"/>
                    </a:cubicBezTo>
                    <a:cubicBezTo>
                      <a:pt x="367" y="211"/>
                      <a:pt x="364" y="208"/>
                      <a:pt x="361" y="208"/>
                    </a:cubicBezTo>
                    <a:cubicBezTo>
                      <a:pt x="358" y="207"/>
                      <a:pt x="353" y="209"/>
                      <a:pt x="351" y="213"/>
                    </a:cubicBezTo>
                    <a:cubicBezTo>
                      <a:pt x="348" y="215"/>
                      <a:pt x="355" y="215"/>
                      <a:pt x="358" y="216"/>
                    </a:cubicBezTo>
                    <a:cubicBezTo>
                      <a:pt x="362" y="217"/>
                      <a:pt x="361" y="221"/>
                      <a:pt x="361" y="221"/>
                    </a:cubicBezTo>
                    <a:cubicBezTo>
                      <a:pt x="364" y="223"/>
                      <a:pt x="364" y="223"/>
                      <a:pt x="364" y="223"/>
                    </a:cubicBezTo>
                    <a:cubicBezTo>
                      <a:pt x="363" y="224"/>
                      <a:pt x="363" y="224"/>
                      <a:pt x="363" y="224"/>
                    </a:cubicBezTo>
                    <a:cubicBezTo>
                      <a:pt x="363" y="224"/>
                      <a:pt x="359" y="221"/>
                      <a:pt x="357" y="219"/>
                    </a:cubicBezTo>
                    <a:cubicBezTo>
                      <a:pt x="355" y="217"/>
                      <a:pt x="348" y="216"/>
                      <a:pt x="348" y="216"/>
                    </a:cubicBezTo>
                    <a:cubicBezTo>
                      <a:pt x="347" y="218"/>
                      <a:pt x="347" y="218"/>
                      <a:pt x="347" y="218"/>
                    </a:cubicBezTo>
                    <a:cubicBezTo>
                      <a:pt x="353" y="219"/>
                      <a:pt x="353" y="219"/>
                      <a:pt x="353" y="219"/>
                    </a:cubicBezTo>
                    <a:cubicBezTo>
                      <a:pt x="350" y="221"/>
                      <a:pt x="350" y="221"/>
                      <a:pt x="350" y="221"/>
                    </a:cubicBezTo>
                    <a:cubicBezTo>
                      <a:pt x="352" y="223"/>
                      <a:pt x="352" y="223"/>
                      <a:pt x="352" y="223"/>
                    </a:cubicBezTo>
                    <a:cubicBezTo>
                      <a:pt x="355" y="222"/>
                      <a:pt x="355" y="222"/>
                      <a:pt x="355" y="222"/>
                    </a:cubicBezTo>
                    <a:cubicBezTo>
                      <a:pt x="358" y="223"/>
                      <a:pt x="358" y="223"/>
                      <a:pt x="358" y="223"/>
                    </a:cubicBezTo>
                    <a:cubicBezTo>
                      <a:pt x="351" y="226"/>
                      <a:pt x="351" y="226"/>
                      <a:pt x="351" y="226"/>
                    </a:cubicBezTo>
                    <a:cubicBezTo>
                      <a:pt x="352" y="230"/>
                      <a:pt x="352" y="230"/>
                      <a:pt x="352" y="230"/>
                    </a:cubicBezTo>
                    <a:cubicBezTo>
                      <a:pt x="352" y="230"/>
                      <a:pt x="354" y="229"/>
                      <a:pt x="356" y="231"/>
                    </a:cubicBezTo>
                    <a:cubicBezTo>
                      <a:pt x="357" y="233"/>
                      <a:pt x="352" y="236"/>
                      <a:pt x="348" y="235"/>
                    </a:cubicBezTo>
                    <a:cubicBezTo>
                      <a:pt x="345" y="233"/>
                      <a:pt x="346" y="221"/>
                      <a:pt x="346" y="221"/>
                    </a:cubicBezTo>
                    <a:cubicBezTo>
                      <a:pt x="343" y="221"/>
                      <a:pt x="343" y="221"/>
                      <a:pt x="343" y="221"/>
                    </a:cubicBezTo>
                    <a:cubicBezTo>
                      <a:pt x="338" y="230"/>
                      <a:pt x="338" y="230"/>
                      <a:pt x="338" y="230"/>
                    </a:cubicBezTo>
                    <a:cubicBezTo>
                      <a:pt x="337" y="224"/>
                      <a:pt x="337" y="224"/>
                      <a:pt x="337" y="224"/>
                    </a:cubicBezTo>
                    <a:cubicBezTo>
                      <a:pt x="335" y="224"/>
                      <a:pt x="335" y="224"/>
                      <a:pt x="335" y="224"/>
                    </a:cubicBezTo>
                    <a:cubicBezTo>
                      <a:pt x="334" y="229"/>
                      <a:pt x="334" y="229"/>
                      <a:pt x="334" y="229"/>
                    </a:cubicBezTo>
                    <a:cubicBezTo>
                      <a:pt x="330" y="227"/>
                      <a:pt x="330" y="227"/>
                      <a:pt x="330" y="227"/>
                    </a:cubicBezTo>
                    <a:cubicBezTo>
                      <a:pt x="327" y="235"/>
                      <a:pt x="327" y="235"/>
                      <a:pt x="327" y="235"/>
                    </a:cubicBezTo>
                    <a:cubicBezTo>
                      <a:pt x="329" y="238"/>
                      <a:pt x="329" y="238"/>
                      <a:pt x="329" y="238"/>
                    </a:cubicBezTo>
                    <a:cubicBezTo>
                      <a:pt x="331" y="237"/>
                      <a:pt x="331" y="237"/>
                      <a:pt x="331" y="237"/>
                    </a:cubicBezTo>
                    <a:cubicBezTo>
                      <a:pt x="331" y="234"/>
                      <a:pt x="331" y="234"/>
                      <a:pt x="331" y="234"/>
                    </a:cubicBezTo>
                    <a:cubicBezTo>
                      <a:pt x="335" y="232"/>
                      <a:pt x="335" y="232"/>
                      <a:pt x="335" y="232"/>
                    </a:cubicBezTo>
                    <a:cubicBezTo>
                      <a:pt x="337" y="234"/>
                      <a:pt x="337" y="234"/>
                      <a:pt x="337" y="234"/>
                    </a:cubicBezTo>
                    <a:cubicBezTo>
                      <a:pt x="333" y="237"/>
                      <a:pt x="333" y="237"/>
                      <a:pt x="333" y="237"/>
                    </a:cubicBezTo>
                    <a:cubicBezTo>
                      <a:pt x="335" y="238"/>
                      <a:pt x="335" y="238"/>
                      <a:pt x="335" y="238"/>
                    </a:cubicBezTo>
                    <a:cubicBezTo>
                      <a:pt x="335" y="238"/>
                      <a:pt x="339" y="238"/>
                      <a:pt x="341" y="239"/>
                    </a:cubicBezTo>
                    <a:cubicBezTo>
                      <a:pt x="343" y="239"/>
                      <a:pt x="340" y="236"/>
                      <a:pt x="340" y="234"/>
                    </a:cubicBezTo>
                    <a:cubicBezTo>
                      <a:pt x="340" y="233"/>
                      <a:pt x="344" y="234"/>
                      <a:pt x="345" y="236"/>
                    </a:cubicBezTo>
                    <a:cubicBezTo>
                      <a:pt x="346" y="238"/>
                      <a:pt x="344" y="242"/>
                      <a:pt x="343" y="242"/>
                    </a:cubicBezTo>
                    <a:cubicBezTo>
                      <a:pt x="341" y="244"/>
                      <a:pt x="342" y="242"/>
                      <a:pt x="339" y="240"/>
                    </a:cubicBezTo>
                    <a:cubicBezTo>
                      <a:pt x="336" y="239"/>
                      <a:pt x="334" y="244"/>
                      <a:pt x="330" y="244"/>
                    </a:cubicBezTo>
                    <a:cubicBezTo>
                      <a:pt x="327" y="244"/>
                      <a:pt x="322" y="245"/>
                      <a:pt x="322" y="245"/>
                    </a:cubicBezTo>
                    <a:cubicBezTo>
                      <a:pt x="320" y="246"/>
                      <a:pt x="320" y="246"/>
                      <a:pt x="320" y="246"/>
                    </a:cubicBezTo>
                    <a:cubicBezTo>
                      <a:pt x="322" y="248"/>
                      <a:pt x="322" y="248"/>
                      <a:pt x="322" y="248"/>
                    </a:cubicBezTo>
                    <a:cubicBezTo>
                      <a:pt x="318" y="248"/>
                      <a:pt x="318" y="248"/>
                      <a:pt x="318" y="248"/>
                    </a:cubicBezTo>
                    <a:cubicBezTo>
                      <a:pt x="315" y="252"/>
                      <a:pt x="315" y="252"/>
                      <a:pt x="315" y="252"/>
                    </a:cubicBezTo>
                    <a:cubicBezTo>
                      <a:pt x="321" y="253"/>
                      <a:pt x="321" y="253"/>
                      <a:pt x="321" y="253"/>
                    </a:cubicBezTo>
                    <a:cubicBezTo>
                      <a:pt x="315" y="256"/>
                      <a:pt x="315" y="256"/>
                      <a:pt x="315" y="256"/>
                    </a:cubicBezTo>
                    <a:cubicBezTo>
                      <a:pt x="315" y="256"/>
                      <a:pt x="318" y="260"/>
                      <a:pt x="322" y="258"/>
                    </a:cubicBezTo>
                    <a:cubicBezTo>
                      <a:pt x="327" y="256"/>
                      <a:pt x="331" y="249"/>
                      <a:pt x="331" y="249"/>
                    </a:cubicBezTo>
                    <a:cubicBezTo>
                      <a:pt x="342" y="256"/>
                      <a:pt x="342" y="256"/>
                      <a:pt x="342" y="256"/>
                    </a:cubicBezTo>
                    <a:cubicBezTo>
                      <a:pt x="334" y="253"/>
                      <a:pt x="334" y="253"/>
                      <a:pt x="334" y="253"/>
                    </a:cubicBezTo>
                    <a:cubicBezTo>
                      <a:pt x="331" y="254"/>
                      <a:pt x="331" y="254"/>
                      <a:pt x="331" y="254"/>
                    </a:cubicBezTo>
                    <a:cubicBezTo>
                      <a:pt x="337" y="257"/>
                      <a:pt x="337" y="257"/>
                      <a:pt x="337" y="257"/>
                    </a:cubicBezTo>
                    <a:cubicBezTo>
                      <a:pt x="329" y="256"/>
                      <a:pt x="329" y="256"/>
                      <a:pt x="329" y="256"/>
                    </a:cubicBezTo>
                    <a:cubicBezTo>
                      <a:pt x="326" y="262"/>
                      <a:pt x="326" y="262"/>
                      <a:pt x="326" y="262"/>
                    </a:cubicBezTo>
                    <a:cubicBezTo>
                      <a:pt x="330" y="263"/>
                      <a:pt x="330" y="263"/>
                      <a:pt x="330" y="263"/>
                    </a:cubicBezTo>
                    <a:cubicBezTo>
                      <a:pt x="328" y="267"/>
                      <a:pt x="328" y="267"/>
                      <a:pt x="328" y="267"/>
                    </a:cubicBezTo>
                    <a:cubicBezTo>
                      <a:pt x="329" y="269"/>
                      <a:pt x="335" y="267"/>
                      <a:pt x="335" y="267"/>
                    </a:cubicBezTo>
                    <a:cubicBezTo>
                      <a:pt x="339" y="265"/>
                      <a:pt x="339" y="265"/>
                      <a:pt x="339" y="265"/>
                    </a:cubicBezTo>
                    <a:cubicBezTo>
                      <a:pt x="336" y="274"/>
                      <a:pt x="336" y="274"/>
                      <a:pt x="336" y="274"/>
                    </a:cubicBezTo>
                    <a:cubicBezTo>
                      <a:pt x="340" y="277"/>
                      <a:pt x="340" y="277"/>
                      <a:pt x="340" y="277"/>
                    </a:cubicBezTo>
                    <a:cubicBezTo>
                      <a:pt x="337" y="278"/>
                      <a:pt x="337" y="278"/>
                      <a:pt x="337" y="278"/>
                    </a:cubicBezTo>
                    <a:cubicBezTo>
                      <a:pt x="340" y="281"/>
                      <a:pt x="340" y="281"/>
                      <a:pt x="340" y="281"/>
                    </a:cubicBezTo>
                    <a:cubicBezTo>
                      <a:pt x="340" y="281"/>
                      <a:pt x="339" y="281"/>
                      <a:pt x="337" y="280"/>
                    </a:cubicBezTo>
                    <a:cubicBezTo>
                      <a:pt x="335" y="280"/>
                      <a:pt x="333" y="271"/>
                      <a:pt x="331" y="270"/>
                    </a:cubicBezTo>
                    <a:cubicBezTo>
                      <a:pt x="329" y="270"/>
                      <a:pt x="327" y="271"/>
                      <a:pt x="327" y="271"/>
                    </a:cubicBezTo>
                    <a:cubicBezTo>
                      <a:pt x="327" y="271"/>
                      <a:pt x="325" y="267"/>
                      <a:pt x="322" y="266"/>
                    </a:cubicBezTo>
                    <a:cubicBezTo>
                      <a:pt x="319" y="266"/>
                      <a:pt x="313" y="273"/>
                      <a:pt x="313" y="273"/>
                    </a:cubicBezTo>
                    <a:cubicBezTo>
                      <a:pt x="321" y="274"/>
                      <a:pt x="321" y="274"/>
                      <a:pt x="321" y="274"/>
                    </a:cubicBezTo>
                    <a:cubicBezTo>
                      <a:pt x="321" y="274"/>
                      <a:pt x="318" y="276"/>
                      <a:pt x="314" y="276"/>
                    </a:cubicBezTo>
                    <a:cubicBezTo>
                      <a:pt x="312" y="276"/>
                      <a:pt x="313" y="279"/>
                      <a:pt x="312" y="281"/>
                    </a:cubicBezTo>
                    <a:cubicBezTo>
                      <a:pt x="310" y="283"/>
                      <a:pt x="306" y="285"/>
                      <a:pt x="306" y="285"/>
                    </a:cubicBezTo>
                    <a:cubicBezTo>
                      <a:pt x="317" y="285"/>
                      <a:pt x="317" y="285"/>
                      <a:pt x="317" y="285"/>
                    </a:cubicBezTo>
                    <a:cubicBezTo>
                      <a:pt x="322" y="285"/>
                      <a:pt x="327" y="282"/>
                      <a:pt x="327" y="282"/>
                    </a:cubicBezTo>
                    <a:cubicBezTo>
                      <a:pt x="325" y="286"/>
                      <a:pt x="325" y="286"/>
                      <a:pt x="325" y="286"/>
                    </a:cubicBezTo>
                    <a:cubicBezTo>
                      <a:pt x="335" y="285"/>
                      <a:pt x="335" y="285"/>
                      <a:pt x="335" y="285"/>
                    </a:cubicBezTo>
                    <a:cubicBezTo>
                      <a:pt x="334" y="295"/>
                      <a:pt x="334" y="295"/>
                      <a:pt x="334" y="295"/>
                    </a:cubicBezTo>
                    <a:cubicBezTo>
                      <a:pt x="331" y="290"/>
                      <a:pt x="331" y="290"/>
                      <a:pt x="331" y="290"/>
                    </a:cubicBezTo>
                    <a:cubicBezTo>
                      <a:pt x="323" y="287"/>
                      <a:pt x="323" y="287"/>
                      <a:pt x="323" y="287"/>
                    </a:cubicBezTo>
                    <a:cubicBezTo>
                      <a:pt x="318" y="294"/>
                      <a:pt x="318" y="294"/>
                      <a:pt x="318" y="294"/>
                    </a:cubicBezTo>
                    <a:cubicBezTo>
                      <a:pt x="321" y="287"/>
                      <a:pt x="321" y="287"/>
                      <a:pt x="321" y="287"/>
                    </a:cubicBezTo>
                    <a:cubicBezTo>
                      <a:pt x="308" y="288"/>
                      <a:pt x="308" y="288"/>
                      <a:pt x="308" y="288"/>
                    </a:cubicBezTo>
                    <a:cubicBezTo>
                      <a:pt x="303" y="302"/>
                      <a:pt x="303" y="302"/>
                      <a:pt x="303" y="302"/>
                    </a:cubicBezTo>
                    <a:cubicBezTo>
                      <a:pt x="297" y="301"/>
                      <a:pt x="297" y="301"/>
                      <a:pt x="297" y="301"/>
                    </a:cubicBezTo>
                    <a:cubicBezTo>
                      <a:pt x="296" y="304"/>
                      <a:pt x="296" y="304"/>
                      <a:pt x="296" y="304"/>
                    </a:cubicBezTo>
                    <a:cubicBezTo>
                      <a:pt x="296" y="304"/>
                      <a:pt x="295" y="303"/>
                      <a:pt x="290" y="305"/>
                    </a:cubicBezTo>
                    <a:cubicBezTo>
                      <a:pt x="284" y="308"/>
                      <a:pt x="284" y="311"/>
                      <a:pt x="284" y="311"/>
                    </a:cubicBezTo>
                    <a:cubicBezTo>
                      <a:pt x="293" y="316"/>
                      <a:pt x="293" y="316"/>
                      <a:pt x="293" y="316"/>
                    </a:cubicBezTo>
                    <a:cubicBezTo>
                      <a:pt x="286" y="316"/>
                      <a:pt x="286" y="316"/>
                      <a:pt x="286" y="316"/>
                    </a:cubicBezTo>
                    <a:cubicBezTo>
                      <a:pt x="281" y="317"/>
                      <a:pt x="281" y="317"/>
                      <a:pt x="281" y="317"/>
                    </a:cubicBezTo>
                    <a:cubicBezTo>
                      <a:pt x="288" y="324"/>
                      <a:pt x="288" y="324"/>
                      <a:pt x="288" y="324"/>
                    </a:cubicBezTo>
                    <a:cubicBezTo>
                      <a:pt x="279" y="321"/>
                      <a:pt x="279" y="321"/>
                      <a:pt x="279" y="321"/>
                    </a:cubicBezTo>
                    <a:cubicBezTo>
                      <a:pt x="276" y="321"/>
                      <a:pt x="276" y="321"/>
                      <a:pt x="276" y="321"/>
                    </a:cubicBezTo>
                    <a:cubicBezTo>
                      <a:pt x="282" y="327"/>
                      <a:pt x="282" y="327"/>
                      <a:pt x="282" y="327"/>
                    </a:cubicBezTo>
                    <a:cubicBezTo>
                      <a:pt x="275" y="326"/>
                      <a:pt x="275" y="326"/>
                      <a:pt x="275" y="326"/>
                    </a:cubicBezTo>
                    <a:cubicBezTo>
                      <a:pt x="275" y="328"/>
                      <a:pt x="275" y="328"/>
                      <a:pt x="275" y="328"/>
                    </a:cubicBezTo>
                    <a:cubicBezTo>
                      <a:pt x="278" y="330"/>
                      <a:pt x="278" y="330"/>
                      <a:pt x="278" y="330"/>
                    </a:cubicBezTo>
                    <a:cubicBezTo>
                      <a:pt x="275" y="331"/>
                      <a:pt x="275" y="331"/>
                      <a:pt x="275" y="331"/>
                    </a:cubicBezTo>
                    <a:cubicBezTo>
                      <a:pt x="277" y="333"/>
                      <a:pt x="277" y="333"/>
                      <a:pt x="277" y="333"/>
                    </a:cubicBezTo>
                    <a:cubicBezTo>
                      <a:pt x="281" y="332"/>
                      <a:pt x="281" y="332"/>
                      <a:pt x="281" y="332"/>
                    </a:cubicBezTo>
                    <a:cubicBezTo>
                      <a:pt x="287" y="335"/>
                      <a:pt x="287" y="335"/>
                      <a:pt x="287" y="335"/>
                    </a:cubicBezTo>
                    <a:cubicBezTo>
                      <a:pt x="287" y="335"/>
                      <a:pt x="282" y="334"/>
                      <a:pt x="279" y="335"/>
                    </a:cubicBezTo>
                    <a:cubicBezTo>
                      <a:pt x="276" y="336"/>
                      <a:pt x="278" y="339"/>
                      <a:pt x="278" y="339"/>
                    </a:cubicBezTo>
                    <a:cubicBezTo>
                      <a:pt x="275" y="339"/>
                      <a:pt x="275" y="339"/>
                      <a:pt x="275" y="339"/>
                    </a:cubicBezTo>
                    <a:cubicBezTo>
                      <a:pt x="275" y="335"/>
                      <a:pt x="275" y="335"/>
                      <a:pt x="275" y="335"/>
                    </a:cubicBezTo>
                    <a:cubicBezTo>
                      <a:pt x="271" y="334"/>
                      <a:pt x="271" y="334"/>
                      <a:pt x="271" y="334"/>
                    </a:cubicBezTo>
                    <a:cubicBezTo>
                      <a:pt x="270" y="336"/>
                      <a:pt x="270" y="336"/>
                      <a:pt x="270" y="336"/>
                    </a:cubicBezTo>
                    <a:cubicBezTo>
                      <a:pt x="273" y="340"/>
                      <a:pt x="273" y="340"/>
                      <a:pt x="273" y="340"/>
                    </a:cubicBezTo>
                    <a:cubicBezTo>
                      <a:pt x="273" y="340"/>
                      <a:pt x="270" y="346"/>
                      <a:pt x="272" y="348"/>
                    </a:cubicBezTo>
                    <a:cubicBezTo>
                      <a:pt x="275" y="350"/>
                      <a:pt x="284" y="347"/>
                      <a:pt x="284" y="348"/>
                    </a:cubicBezTo>
                    <a:cubicBezTo>
                      <a:pt x="284" y="349"/>
                      <a:pt x="275" y="350"/>
                      <a:pt x="275" y="350"/>
                    </a:cubicBezTo>
                    <a:cubicBezTo>
                      <a:pt x="271" y="356"/>
                      <a:pt x="271" y="356"/>
                      <a:pt x="271" y="356"/>
                    </a:cubicBezTo>
                    <a:cubicBezTo>
                      <a:pt x="273" y="356"/>
                      <a:pt x="273" y="356"/>
                      <a:pt x="273" y="356"/>
                    </a:cubicBezTo>
                    <a:cubicBezTo>
                      <a:pt x="276" y="353"/>
                      <a:pt x="276" y="353"/>
                      <a:pt x="276" y="353"/>
                    </a:cubicBezTo>
                    <a:cubicBezTo>
                      <a:pt x="285" y="351"/>
                      <a:pt x="285" y="351"/>
                      <a:pt x="285" y="351"/>
                    </a:cubicBezTo>
                    <a:cubicBezTo>
                      <a:pt x="287" y="351"/>
                      <a:pt x="287" y="351"/>
                      <a:pt x="287" y="351"/>
                    </a:cubicBezTo>
                    <a:cubicBezTo>
                      <a:pt x="300" y="347"/>
                      <a:pt x="300" y="347"/>
                      <a:pt x="300" y="347"/>
                    </a:cubicBezTo>
                    <a:cubicBezTo>
                      <a:pt x="292" y="353"/>
                      <a:pt x="292" y="353"/>
                      <a:pt x="292" y="353"/>
                    </a:cubicBezTo>
                    <a:cubicBezTo>
                      <a:pt x="290" y="353"/>
                      <a:pt x="290" y="353"/>
                      <a:pt x="290" y="353"/>
                    </a:cubicBezTo>
                    <a:cubicBezTo>
                      <a:pt x="288" y="355"/>
                      <a:pt x="288" y="355"/>
                      <a:pt x="288" y="355"/>
                    </a:cubicBezTo>
                    <a:cubicBezTo>
                      <a:pt x="292" y="358"/>
                      <a:pt x="292" y="358"/>
                      <a:pt x="292" y="358"/>
                    </a:cubicBezTo>
                    <a:cubicBezTo>
                      <a:pt x="285" y="360"/>
                      <a:pt x="285" y="360"/>
                      <a:pt x="285" y="360"/>
                    </a:cubicBezTo>
                    <a:cubicBezTo>
                      <a:pt x="285" y="360"/>
                      <a:pt x="286" y="355"/>
                      <a:pt x="285" y="353"/>
                    </a:cubicBezTo>
                    <a:cubicBezTo>
                      <a:pt x="282" y="351"/>
                      <a:pt x="277" y="356"/>
                      <a:pt x="275" y="357"/>
                    </a:cubicBezTo>
                    <a:cubicBezTo>
                      <a:pt x="273" y="359"/>
                      <a:pt x="263" y="360"/>
                      <a:pt x="262" y="363"/>
                    </a:cubicBezTo>
                    <a:cubicBezTo>
                      <a:pt x="260" y="366"/>
                      <a:pt x="269" y="364"/>
                      <a:pt x="269" y="364"/>
                    </a:cubicBezTo>
                    <a:cubicBezTo>
                      <a:pt x="268" y="371"/>
                      <a:pt x="268" y="371"/>
                      <a:pt x="268" y="371"/>
                    </a:cubicBezTo>
                    <a:cubicBezTo>
                      <a:pt x="274" y="375"/>
                      <a:pt x="274" y="375"/>
                      <a:pt x="274" y="375"/>
                    </a:cubicBezTo>
                    <a:cubicBezTo>
                      <a:pt x="274" y="375"/>
                      <a:pt x="262" y="372"/>
                      <a:pt x="261" y="375"/>
                    </a:cubicBezTo>
                    <a:cubicBezTo>
                      <a:pt x="259" y="378"/>
                      <a:pt x="261" y="381"/>
                      <a:pt x="261" y="381"/>
                    </a:cubicBezTo>
                    <a:cubicBezTo>
                      <a:pt x="259" y="381"/>
                      <a:pt x="259" y="381"/>
                      <a:pt x="259" y="381"/>
                    </a:cubicBezTo>
                    <a:cubicBezTo>
                      <a:pt x="257" y="383"/>
                      <a:pt x="257" y="383"/>
                      <a:pt x="257" y="383"/>
                    </a:cubicBezTo>
                    <a:cubicBezTo>
                      <a:pt x="259" y="387"/>
                      <a:pt x="259" y="387"/>
                      <a:pt x="259" y="387"/>
                    </a:cubicBezTo>
                    <a:cubicBezTo>
                      <a:pt x="259" y="387"/>
                      <a:pt x="256" y="386"/>
                      <a:pt x="253" y="389"/>
                    </a:cubicBezTo>
                    <a:cubicBezTo>
                      <a:pt x="249" y="391"/>
                      <a:pt x="254" y="398"/>
                      <a:pt x="254" y="398"/>
                    </a:cubicBezTo>
                    <a:cubicBezTo>
                      <a:pt x="258" y="399"/>
                      <a:pt x="258" y="399"/>
                      <a:pt x="258" y="399"/>
                    </a:cubicBezTo>
                    <a:cubicBezTo>
                      <a:pt x="259" y="405"/>
                      <a:pt x="259" y="405"/>
                      <a:pt x="259" y="405"/>
                    </a:cubicBezTo>
                    <a:cubicBezTo>
                      <a:pt x="256" y="406"/>
                      <a:pt x="256" y="406"/>
                      <a:pt x="256" y="406"/>
                    </a:cubicBezTo>
                    <a:cubicBezTo>
                      <a:pt x="249" y="396"/>
                      <a:pt x="249" y="396"/>
                      <a:pt x="249" y="396"/>
                    </a:cubicBezTo>
                    <a:cubicBezTo>
                      <a:pt x="247" y="404"/>
                      <a:pt x="247" y="404"/>
                      <a:pt x="247" y="404"/>
                    </a:cubicBezTo>
                    <a:cubicBezTo>
                      <a:pt x="252" y="404"/>
                      <a:pt x="252" y="404"/>
                      <a:pt x="252" y="404"/>
                    </a:cubicBezTo>
                    <a:cubicBezTo>
                      <a:pt x="252" y="404"/>
                      <a:pt x="248" y="406"/>
                      <a:pt x="246" y="409"/>
                    </a:cubicBezTo>
                    <a:cubicBezTo>
                      <a:pt x="244" y="411"/>
                      <a:pt x="246" y="416"/>
                      <a:pt x="246" y="416"/>
                    </a:cubicBezTo>
                    <a:cubicBezTo>
                      <a:pt x="241" y="418"/>
                      <a:pt x="241" y="418"/>
                      <a:pt x="241" y="418"/>
                    </a:cubicBezTo>
                    <a:cubicBezTo>
                      <a:pt x="243" y="420"/>
                      <a:pt x="243" y="420"/>
                      <a:pt x="243" y="420"/>
                    </a:cubicBezTo>
                    <a:cubicBezTo>
                      <a:pt x="248" y="416"/>
                      <a:pt x="248" y="416"/>
                      <a:pt x="248" y="416"/>
                    </a:cubicBezTo>
                    <a:cubicBezTo>
                      <a:pt x="248" y="413"/>
                      <a:pt x="248" y="413"/>
                      <a:pt x="248" y="413"/>
                    </a:cubicBezTo>
                    <a:cubicBezTo>
                      <a:pt x="253" y="411"/>
                      <a:pt x="253" y="411"/>
                      <a:pt x="253" y="411"/>
                    </a:cubicBezTo>
                    <a:cubicBezTo>
                      <a:pt x="249" y="415"/>
                      <a:pt x="249" y="415"/>
                      <a:pt x="249" y="415"/>
                    </a:cubicBezTo>
                    <a:cubicBezTo>
                      <a:pt x="254" y="419"/>
                      <a:pt x="254" y="419"/>
                      <a:pt x="254" y="419"/>
                    </a:cubicBezTo>
                    <a:cubicBezTo>
                      <a:pt x="253" y="423"/>
                      <a:pt x="253" y="423"/>
                      <a:pt x="253" y="423"/>
                    </a:cubicBezTo>
                    <a:cubicBezTo>
                      <a:pt x="256" y="425"/>
                      <a:pt x="256" y="425"/>
                      <a:pt x="256" y="425"/>
                    </a:cubicBezTo>
                    <a:cubicBezTo>
                      <a:pt x="268" y="412"/>
                      <a:pt x="268" y="412"/>
                      <a:pt x="268" y="412"/>
                    </a:cubicBezTo>
                    <a:cubicBezTo>
                      <a:pt x="271" y="414"/>
                      <a:pt x="271" y="414"/>
                      <a:pt x="271" y="414"/>
                    </a:cubicBezTo>
                    <a:cubicBezTo>
                      <a:pt x="256" y="427"/>
                      <a:pt x="256" y="427"/>
                      <a:pt x="256" y="427"/>
                    </a:cubicBezTo>
                    <a:cubicBezTo>
                      <a:pt x="252" y="428"/>
                      <a:pt x="252" y="428"/>
                      <a:pt x="252" y="428"/>
                    </a:cubicBezTo>
                    <a:cubicBezTo>
                      <a:pt x="249" y="421"/>
                      <a:pt x="249" y="421"/>
                      <a:pt x="249" y="421"/>
                    </a:cubicBezTo>
                    <a:cubicBezTo>
                      <a:pt x="244" y="422"/>
                      <a:pt x="244" y="422"/>
                      <a:pt x="244" y="422"/>
                    </a:cubicBezTo>
                    <a:cubicBezTo>
                      <a:pt x="243" y="424"/>
                      <a:pt x="243" y="424"/>
                      <a:pt x="243" y="424"/>
                    </a:cubicBezTo>
                    <a:cubicBezTo>
                      <a:pt x="243" y="424"/>
                      <a:pt x="239" y="424"/>
                      <a:pt x="239" y="426"/>
                    </a:cubicBezTo>
                    <a:cubicBezTo>
                      <a:pt x="239" y="427"/>
                      <a:pt x="235" y="435"/>
                      <a:pt x="231" y="435"/>
                    </a:cubicBezTo>
                    <a:cubicBezTo>
                      <a:pt x="228" y="436"/>
                      <a:pt x="222" y="440"/>
                      <a:pt x="222" y="440"/>
                    </a:cubicBezTo>
                    <a:cubicBezTo>
                      <a:pt x="224" y="442"/>
                      <a:pt x="224" y="442"/>
                      <a:pt x="224" y="442"/>
                    </a:cubicBezTo>
                    <a:cubicBezTo>
                      <a:pt x="224" y="442"/>
                      <a:pt x="216" y="446"/>
                      <a:pt x="221" y="450"/>
                    </a:cubicBezTo>
                    <a:cubicBezTo>
                      <a:pt x="224" y="452"/>
                      <a:pt x="231" y="441"/>
                      <a:pt x="231" y="441"/>
                    </a:cubicBezTo>
                    <a:cubicBezTo>
                      <a:pt x="242" y="436"/>
                      <a:pt x="242" y="436"/>
                      <a:pt x="242" y="436"/>
                    </a:cubicBezTo>
                    <a:cubicBezTo>
                      <a:pt x="233" y="443"/>
                      <a:pt x="233" y="443"/>
                      <a:pt x="233" y="443"/>
                    </a:cubicBezTo>
                    <a:cubicBezTo>
                      <a:pt x="238" y="446"/>
                      <a:pt x="238" y="446"/>
                      <a:pt x="238" y="446"/>
                    </a:cubicBezTo>
                    <a:cubicBezTo>
                      <a:pt x="238" y="446"/>
                      <a:pt x="232" y="447"/>
                      <a:pt x="228" y="450"/>
                    </a:cubicBezTo>
                    <a:cubicBezTo>
                      <a:pt x="223" y="452"/>
                      <a:pt x="226" y="457"/>
                      <a:pt x="226" y="457"/>
                    </a:cubicBezTo>
                    <a:cubicBezTo>
                      <a:pt x="223" y="458"/>
                      <a:pt x="223" y="458"/>
                      <a:pt x="223" y="458"/>
                    </a:cubicBezTo>
                    <a:cubicBezTo>
                      <a:pt x="219" y="455"/>
                      <a:pt x="219" y="455"/>
                      <a:pt x="219" y="455"/>
                    </a:cubicBezTo>
                    <a:cubicBezTo>
                      <a:pt x="215" y="457"/>
                      <a:pt x="215" y="457"/>
                      <a:pt x="215" y="457"/>
                    </a:cubicBezTo>
                    <a:cubicBezTo>
                      <a:pt x="215" y="457"/>
                      <a:pt x="219" y="463"/>
                      <a:pt x="221" y="465"/>
                    </a:cubicBezTo>
                    <a:cubicBezTo>
                      <a:pt x="222" y="467"/>
                      <a:pt x="231" y="459"/>
                      <a:pt x="231" y="459"/>
                    </a:cubicBezTo>
                    <a:cubicBezTo>
                      <a:pt x="226" y="468"/>
                      <a:pt x="226" y="468"/>
                      <a:pt x="226" y="468"/>
                    </a:cubicBezTo>
                    <a:cubicBezTo>
                      <a:pt x="221" y="471"/>
                      <a:pt x="221" y="471"/>
                      <a:pt x="221" y="471"/>
                    </a:cubicBezTo>
                    <a:cubicBezTo>
                      <a:pt x="213" y="459"/>
                      <a:pt x="213" y="459"/>
                      <a:pt x="213" y="459"/>
                    </a:cubicBezTo>
                    <a:cubicBezTo>
                      <a:pt x="204" y="467"/>
                      <a:pt x="204" y="467"/>
                      <a:pt x="204" y="467"/>
                    </a:cubicBezTo>
                    <a:cubicBezTo>
                      <a:pt x="207" y="470"/>
                      <a:pt x="207" y="470"/>
                      <a:pt x="207" y="470"/>
                    </a:cubicBezTo>
                    <a:cubicBezTo>
                      <a:pt x="200" y="468"/>
                      <a:pt x="200" y="468"/>
                      <a:pt x="200" y="468"/>
                    </a:cubicBezTo>
                    <a:cubicBezTo>
                      <a:pt x="198" y="471"/>
                      <a:pt x="198" y="471"/>
                      <a:pt x="198" y="471"/>
                    </a:cubicBezTo>
                    <a:cubicBezTo>
                      <a:pt x="203" y="474"/>
                      <a:pt x="203" y="474"/>
                      <a:pt x="203" y="474"/>
                    </a:cubicBezTo>
                    <a:cubicBezTo>
                      <a:pt x="198" y="475"/>
                      <a:pt x="198" y="475"/>
                      <a:pt x="198" y="475"/>
                    </a:cubicBezTo>
                    <a:cubicBezTo>
                      <a:pt x="198" y="475"/>
                      <a:pt x="189" y="485"/>
                      <a:pt x="188" y="486"/>
                    </a:cubicBezTo>
                    <a:cubicBezTo>
                      <a:pt x="188" y="487"/>
                      <a:pt x="191" y="490"/>
                      <a:pt x="191" y="490"/>
                    </a:cubicBezTo>
                    <a:cubicBezTo>
                      <a:pt x="184" y="489"/>
                      <a:pt x="184" y="489"/>
                      <a:pt x="184" y="489"/>
                    </a:cubicBezTo>
                    <a:cubicBezTo>
                      <a:pt x="182" y="498"/>
                      <a:pt x="182" y="498"/>
                      <a:pt x="182" y="498"/>
                    </a:cubicBezTo>
                    <a:cubicBezTo>
                      <a:pt x="182" y="498"/>
                      <a:pt x="188" y="498"/>
                      <a:pt x="188" y="500"/>
                    </a:cubicBezTo>
                    <a:cubicBezTo>
                      <a:pt x="188" y="502"/>
                      <a:pt x="179" y="504"/>
                      <a:pt x="174" y="505"/>
                    </a:cubicBezTo>
                    <a:cubicBezTo>
                      <a:pt x="169" y="507"/>
                      <a:pt x="169" y="517"/>
                      <a:pt x="169" y="517"/>
                    </a:cubicBezTo>
                    <a:cubicBezTo>
                      <a:pt x="169" y="517"/>
                      <a:pt x="184" y="509"/>
                      <a:pt x="183" y="514"/>
                    </a:cubicBezTo>
                    <a:cubicBezTo>
                      <a:pt x="183" y="518"/>
                      <a:pt x="176" y="517"/>
                      <a:pt x="176" y="517"/>
                    </a:cubicBezTo>
                    <a:cubicBezTo>
                      <a:pt x="177" y="520"/>
                      <a:pt x="177" y="520"/>
                      <a:pt x="177" y="520"/>
                    </a:cubicBezTo>
                    <a:cubicBezTo>
                      <a:pt x="182" y="522"/>
                      <a:pt x="182" y="522"/>
                      <a:pt x="182" y="522"/>
                    </a:cubicBezTo>
                    <a:cubicBezTo>
                      <a:pt x="179" y="525"/>
                      <a:pt x="179" y="525"/>
                      <a:pt x="179" y="525"/>
                    </a:cubicBezTo>
                    <a:cubicBezTo>
                      <a:pt x="181" y="529"/>
                      <a:pt x="181" y="529"/>
                      <a:pt x="181" y="529"/>
                    </a:cubicBezTo>
                    <a:cubicBezTo>
                      <a:pt x="198" y="520"/>
                      <a:pt x="198" y="520"/>
                      <a:pt x="198" y="520"/>
                    </a:cubicBezTo>
                    <a:cubicBezTo>
                      <a:pt x="198" y="520"/>
                      <a:pt x="202" y="517"/>
                      <a:pt x="203" y="516"/>
                    </a:cubicBezTo>
                    <a:cubicBezTo>
                      <a:pt x="205" y="515"/>
                      <a:pt x="206" y="513"/>
                      <a:pt x="209" y="512"/>
                    </a:cubicBezTo>
                    <a:cubicBezTo>
                      <a:pt x="211" y="512"/>
                      <a:pt x="213" y="508"/>
                      <a:pt x="213" y="505"/>
                    </a:cubicBezTo>
                    <a:cubicBezTo>
                      <a:pt x="213" y="502"/>
                      <a:pt x="202" y="507"/>
                      <a:pt x="202" y="507"/>
                    </a:cubicBezTo>
                    <a:cubicBezTo>
                      <a:pt x="202" y="507"/>
                      <a:pt x="209" y="502"/>
                      <a:pt x="212" y="500"/>
                    </a:cubicBezTo>
                    <a:cubicBezTo>
                      <a:pt x="214" y="499"/>
                      <a:pt x="215" y="494"/>
                      <a:pt x="221" y="494"/>
                    </a:cubicBezTo>
                    <a:cubicBezTo>
                      <a:pt x="225" y="494"/>
                      <a:pt x="226" y="498"/>
                      <a:pt x="226" y="498"/>
                    </a:cubicBezTo>
                    <a:cubicBezTo>
                      <a:pt x="215" y="503"/>
                      <a:pt x="215" y="503"/>
                      <a:pt x="215" y="503"/>
                    </a:cubicBezTo>
                    <a:cubicBezTo>
                      <a:pt x="214" y="506"/>
                      <a:pt x="214" y="506"/>
                      <a:pt x="214" y="506"/>
                    </a:cubicBezTo>
                    <a:cubicBezTo>
                      <a:pt x="214" y="506"/>
                      <a:pt x="223" y="506"/>
                      <a:pt x="224" y="509"/>
                    </a:cubicBezTo>
                    <a:cubicBezTo>
                      <a:pt x="224" y="513"/>
                      <a:pt x="214" y="515"/>
                      <a:pt x="211" y="516"/>
                    </a:cubicBezTo>
                    <a:cubicBezTo>
                      <a:pt x="208" y="516"/>
                      <a:pt x="203" y="521"/>
                      <a:pt x="202" y="524"/>
                    </a:cubicBezTo>
                    <a:cubicBezTo>
                      <a:pt x="202" y="528"/>
                      <a:pt x="206" y="522"/>
                      <a:pt x="208" y="523"/>
                    </a:cubicBezTo>
                    <a:cubicBezTo>
                      <a:pt x="209" y="525"/>
                      <a:pt x="206" y="526"/>
                      <a:pt x="205" y="528"/>
                    </a:cubicBezTo>
                    <a:cubicBezTo>
                      <a:pt x="203" y="530"/>
                      <a:pt x="208" y="531"/>
                      <a:pt x="208" y="531"/>
                    </a:cubicBezTo>
                    <a:cubicBezTo>
                      <a:pt x="205" y="533"/>
                      <a:pt x="205" y="533"/>
                      <a:pt x="205" y="533"/>
                    </a:cubicBezTo>
                    <a:cubicBezTo>
                      <a:pt x="205" y="533"/>
                      <a:pt x="194" y="530"/>
                      <a:pt x="188" y="532"/>
                    </a:cubicBezTo>
                    <a:cubicBezTo>
                      <a:pt x="181" y="534"/>
                      <a:pt x="187" y="539"/>
                      <a:pt x="187" y="539"/>
                    </a:cubicBezTo>
                    <a:cubicBezTo>
                      <a:pt x="180" y="538"/>
                      <a:pt x="180" y="538"/>
                      <a:pt x="180" y="538"/>
                    </a:cubicBezTo>
                    <a:cubicBezTo>
                      <a:pt x="175" y="540"/>
                      <a:pt x="175" y="540"/>
                      <a:pt x="175" y="540"/>
                    </a:cubicBezTo>
                    <a:cubicBezTo>
                      <a:pt x="180" y="532"/>
                      <a:pt x="180" y="532"/>
                      <a:pt x="180" y="532"/>
                    </a:cubicBezTo>
                    <a:cubicBezTo>
                      <a:pt x="175" y="518"/>
                      <a:pt x="175" y="518"/>
                      <a:pt x="175" y="518"/>
                    </a:cubicBezTo>
                    <a:cubicBezTo>
                      <a:pt x="167" y="521"/>
                      <a:pt x="167" y="521"/>
                      <a:pt x="167" y="521"/>
                    </a:cubicBezTo>
                    <a:cubicBezTo>
                      <a:pt x="166" y="523"/>
                      <a:pt x="166" y="523"/>
                      <a:pt x="166" y="523"/>
                    </a:cubicBezTo>
                    <a:cubicBezTo>
                      <a:pt x="158" y="526"/>
                      <a:pt x="158" y="526"/>
                      <a:pt x="158" y="526"/>
                    </a:cubicBezTo>
                    <a:cubicBezTo>
                      <a:pt x="157" y="530"/>
                      <a:pt x="157" y="530"/>
                      <a:pt x="157" y="530"/>
                    </a:cubicBezTo>
                    <a:cubicBezTo>
                      <a:pt x="164" y="531"/>
                      <a:pt x="164" y="531"/>
                      <a:pt x="164" y="531"/>
                    </a:cubicBezTo>
                    <a:cubicBezTo>
                      <a:pt x="157" y="532"/>
                      <a:pt x="157" y="532"/>
                      <a:pt x="157" y="532"/>
                    </a:cubicBezTo>
                    <a:cubicBezTo>
                      <a:pt x="156" y="536"/>
                      <a:pt x="156" y="536"/>
                      <a:pt x="156" y="536"/>
                    </a:cubicBezTo>
                    <a:cubicBezTo>
                      <a:pt x="162" y="537"/>
                      <a:pt x="162" y="537"/>
                      <a:pt x="162" y="537"/>
                    </a:cubicBezTo>
                    <a:cubicBezTo>
                      <a:pt x="150" y="539"/>
                      <a:pt x="150" y="539"/>
                      <a:pt x="150" y="539"/>
                    </a:cubicBezTo>
                    <a:cubicBezTo>
                      <a:pt x="155" y="532"/>
                      <a:pt x="155" y="532"/>
                      <a:pt x="155" y="532"/>
                    </a:cubicBezTo>
                    <a:cubicBezTo>
                      <a:pt x="153" y="530"/>
                      <a:pt x="153" y="530"/>
                      <a:pt x="153" y="530"/>
                    </a:cubicBezTo>
                    <a:cubicBezTo>
                      <a:pt x="147" y="534"/>
                      <a:pt x="147" y="534"/>
                      <a:pt x="147" y="534"/>
                    </a:cubicBezTo>
                    <a:cubicBezTo>
                      <a:pt x="145" y="532"/>
                      <a:pt x="145" y="532"/>
                      <a:pt x="145" y="532"/>
                    </a:cubicBezTo>
                    <a:cubicBezTo>
                      <a:pt x="141" y="534"/>
                      <a:pt x="141" y="534"/>
                      <a:pt x="141" y="534"/>
                    </a:cubicBezTo>
                    <a:cubicBezTo>
                      <a:pt x="145" y="538"/>
                      <a:pt x="145" y="538"/>
                      <a:pt x="145" y="538"/>
                    </a:cubicBezTo>
                    <a:cubicBezTo>
                      <a:pt x="138" y="538"/>
                      <a:pt x="138" y="538"/>
                      <a:pt x="138" y="538"/>
                    </a:cubicBezTo>
                    <a:cubicBezTo>
                      <a:pt x="134" y="541"/>
                      <a:pt x="134" y="541"/>
                      <a:pt x="134" y="541"/>
                    </a:cubicBezTo>
                    <a:cubicBezTo>
                      <a:pt x="139" y="547"/>
                      <a:pt x="139" y="547"/>
                      <a:pt x="139" y="547"/>
                    </a:cubicBezTo>
                    <a:cubicBezTo>
                      <a:pt x="143" y="548"/>
                      <a:pt x="143" y="548"/>
                      <a:pt x="143" y="548"/>
                    </a:cubicBezTo>
                    <a:cubicBezTo>
                      <a:pt x="138" y="549"/>
                      <a:pt x="138" y="549"/>
                      <a:pt x="138" y="549"/>
                    </a:cubicBezTo>
                    <a:cubicBezTo>
                      <a:pt x="135" y="552"/>
                      <a:pt x="135" y="552"/>
                      <a:pt x="135" y="552"/>
                    </a:cubicBezTo>
                    <a:cubicBezTo>
                      <a:pt x="126" y="551"/>
                      <a:pt x="126" y="551"/>
                      <a:pt x="126" y="551"/>
                    </a:cubicBezTo>
                    <a:cubicBezTo>
                      <a:pt x="126" y="555"/>
                      <a:pt x="126" y="555"/>
                      <a:pt x="126" y="555"/>
                    </a:cubicBezTo>
                    <a:cubicBezTo>
                      <a:pt x="132" y="563"/>
                      <a:pt x="132" y="563"/>
                      <a:pt x="132" y="563"/>
                    </a:cubicBezTo>
                    <a:cubicBezTo>
                      <a:pt x="138" y="561"/>
                      <a:pt x="138" y="561"/>
                      <a:pt x="138" y="561"/>
                    </a:cubicBezTo>
                    <a:cubicBezTo>
                      <a:pt x="139" y="562"/>
                      <a:pt x="139" y="562"/>
                      <a:pt x="139" y="562"/>
                    </a:cubicBezTo>
                    <a:cubicBezTo>
                      <a:pt x="132" y="566"/>
                      <a:pt x="132" y="566"/>
                      <a:pt x="132" y="566"/>
                    </a:cubicBezTo>
                    <a:cubicBezTo>
                      <a:pt x="137" y="568"/>
                      <a:pt x="137" y="568"/>
                      <a:pt x="137" y="568"/>
                    </a:cubicBezTo>
                    <a:cubicBezTo>
                      <a:pt x="135" y="569"/>
                      <a:pt x="135" y="569"/>
                      <a:pt x="135" y="569"/>
                    </a:cubicBezTo>
                    <a:cubicBezTo>
                      <a:pt x="130" y="567"/>
                      <a:pt x="130" y="567"/>
                      <a:pt x="130" y="567"/>
                    </a:cubicBezTo>
                    <a:cubicBezTo>
                      <a:pt x="129" y="561"/>
                      <a:pt x="129" y="561"/>
                      <a:pt x="129" y="561"/>
                    </a:cubicBezTo>
                    <a:cubicBezTo>
                      <a:pt x="123" y="552"/>
                      <a:pt x="123" y="552"/>
                      <a:pt x="123" y="552"/>
                    </a:cubicBezTo>
                    <a:cubicBezTo>
                      <a:pt x="114" y="557"/>
                      <a:pt x="114" y="557"/>
                      <a:pt x="114" y="557"/>
                    </a:cubicBezTo>
                    <a:cubicBezTo>
                      <a:pt x="116" y="558"/>
                      <a:pt x="116" y="558"/>
                      <a:pt x="116" y="558"/>
                    </a:cubicBezTo>
                    <a:cubicBezTo>
                      <a:pt x="118" y="558"/>
                      <a:pt x="118" y="558"/>
                      <a:pt x="118" y="558"/>
                    </a:cubicBezTo>
                    <a:cubicBezTo>
                      <a:pt x="123" y="563"/>
                      <a:pt x="123" y="563"/>
                      <a:pt x="123" y="563"/>
                    </a:cubicBezTo>
                    <a:cubicBezTo>
                      <a:pt x="123" y="570"/>
                      <a:pt x="123" y="570"/>
                      <a:pt x="123" y="570"/>
                    </a:cubicBezTo>
                    <a:cubicBezTo>
                      <a:pt x="132" y="577"/>
                      <a:pt x="132" y="577"/>
                      <a:pt x="132" y="577"/>
                    </a:cubicBezTo>
                    <a:cubicBezTo>
                      <a:pt x="133" y="579"/>
                      <a:pt x="133" y="579"/>
                      <a:pt x="133" y="579"/>
                    </a:cubicBezTo>
                    <a:cubicBezTo>
                      <a:pt x="122" y="571"/>
                      <a:pt x="122" y="571"/>
                      <a:pt x="122" y="571"/>
                    </a:cubicBezTo>
                    <a:cubicBezTo>
                      <a:pt x="122" y="562"/>
                      <a:pt x="122" y="562"/>
                      <a:pt x="122" y="562"/>
                    </a:cubicBezTo>
                    <a:cubicBezTo>
                      <a:pt x="113" y="562"/>
                      <a:pt x="113" y="562"/>
                      <a:pt x="113" y="562"/>
                    </a:cubicBezTo>
                    <a:cubicBezTo>
                      <a:pt x="111" y="565"/>
                      <a:pt x="111" y="565"/>
                      <a:pt x="111" y="565"/>
                    </a:cubicBezTo>
                    <a:cubicBezTo>
                      <a:pt x="112" y="560"/>
                      <a:pt x="112" y="560"/>
                      <a:pt x="112" y="560"/>
                    </a:cubicBezTo>
                    <a:cubicBezTo>
                      <a:pt x="108" y="560"/>
                      <a:pt x="108" y="560"/>
                      <a:pt x="108" y="560"/>
                    </a:cubicBezTo>
                    <a:cubicBezTo>
                      <a:pt x="107" y="563"/>
                      <a:pt x="107" y="563"/>
                      <a:pt x="107" y="563"/>
                    </a:cubicBezTo>
                    <a:cubicBezTo>
                      <a:pt x="101" y="564"/>
                      <a:pt x="101" y="564"/>
                      <a:pt x="101" y="564"/>
                    </a:cubicBezTo>
                    <a:cubicBezTo>
                      <a:pt x="96" y="557"/>
                      <a:pt x="96" y="557"/>
                      <a:pt x="96" y="557"/>
                    </a:cubicBezTo>
                    <a:cubicBezTo>
                      <a:pt x="96" y="557"/>
                      <a:pt x="92" y="557"/>
                      <a:pt x="85" y="562"/>
                    </a:cubicBezTo>
                    <a:cubicBezTo>
                      <a:pt x="80" y="567"/>
                      <a:pt x="93" y="567"/>
                      <a:pt x="94" y="569"/>
                    </a:cubicBezTo>
                    <a:cubicBezTo>
                      <a:pt x="94" y="571"/>
                      <a:pt x="91" y="570"/>
                      <a:pt x="88" y="570"/>
                    </a:cubicBezTo>
                    <a:cubicBezTo>
                      <a:pt x="83" y="571"/>
                      <a:pt x="87" y="577"/>
                      <a:pt x="87" y="577"/>
                    </a:cubicBezTo>
                    <a:cubicBezTo>
                      <a:pt x="87" y="577"/>
                      <a:pt x="104" y="571"/>
                      <a:pt x="105" y="573"/>
                    </a:cubicBezTo>
                    <a:cubicBezTo>
                      <a:pt x="106" y="575"/>
                      <a:pt x="99" y="575"/>
                      <a:pt x="99" y="575"/>
                    </a:cubicBezTo>
                    <a:cubicBezTo>
                      <a:pt x="99" y="578"/>
                      <a:pt x="99" y="578"/>
                      <a:pt x="99" y="578"/>
                    </a:cubicBezTo>
                    <a:cubicBezTo>
                      <a:pt x="99" y="578"/>
                      <a:pt x="108" y="575"/>
                      <a:pt x="113" y="573"/>
                    </a:cubicBezTo>
                    <a:cubicBezTo>
                      <a:pt x="118" y="573"/>
                      <a:pt x="122" y="579"/>
                      <a:pt x="122" y="579"/>
                    </a:cubicBezTo>
                    <a:cubicBezTo>
                      <a:pt x="122" y="579"/>
                      <a:pt x="117" y="576"/>
                      <a:pt x="114" y="575"/>
                    </a:cubicBezTo>
                    <a:cubicBezTo>
                      <a:pt x="112" y="575"/>
                      <a:pt x="104" y="578"/>
                      <a:pt x="104" y="578"/>
                    </a:cubicBezTo>
                    <a:cubicBezTo>
                      <a:pt x="104" y="583"/>
                      <a:pt x="104" y="583"/>
                      <a:pt x="104" y="583"/>
                    </a:cubicBezTo>
                    <a:cubicBezTo>
                      <a:pt x="102" y="581"/>
                      <a:pt x="102" y="581"/>
                      <a:pt x="102" y="581"/>
                    </a:cubicBezTo>
                    <a:cubicBezTo>
                      <a:pt x="100" y="582"/>
                      <a:pt x="100" y="582"/>
                      <a:pt x="100" y="582"/>
                    </a:cubicBezTo>
                    <a:cubicBezTo>
                      <a:pt x="102" y="586"/>
                      <a:pt x="102" y="586"/>
                      <a:pt x="102" y="586"/>
                    </a:cubicBezTo>
                    <a:cubicBezTo>
                      <a:pt x="108" y="586"/>
                      <a:pt x="108" y="586"/>
                      <a:pt x="108" y="586"/>
                    </a:cubicBezTo>
                    <a:cubicBezTo>
                      <a:pt x="104" y="591"/>
                      <a:pt x="104" y="591"/>
                      <a:pt x="104" y="591"/>
                    </a:cubicBezTo>
                    <a:cubicBezTo>
                      <a:pt x="96" y="584"/>
                      <a:pt x="96" y="584"/>
                      <a:pt x="96" y="584"/>
                    </a:cubicBezTo>
                    <a:cubicBezTo>
                      <a:pt x="92" y="582"/>
                      <a:pt x="92" y="582"/>
                      <a:pt x="92" y="582"/>
                    </a:cubicBezTo>
                    <a:cubicBezTo>
                      <a:pt x="92" y="585"/>
                      <a:pt x="92" y="585"/>
                      <a:pt x="92" y="585"/>
                    </a:cubicBezTo>
                    <a:cubicBezTo>
                      <a:pt x="92" y="585"/>
                      <a:pt x="90" y="581"/>
                      <a:pt x="87" y="580"/>
                    </a:cubicBezTo>
                    <a:cubicBezTo>
                      <a:pt x="83" y="579"/>
                      <a:pt x="83" y="583"/>
                      <a:pt x="83" y="583"/>
                    </a:cubicBezTo>
                    <a:cubicBezTo>
                      <a:pt x="83" y="583"/>
                      <a:pt x="81" y="581"/>
                      <a:pt x="80" y="580"/>
                    </a:cubicBezTo>
                    <a:cubicBezTo>
                      <a:pt x="78" y="580"/>
                      <a:pt x="74" y="583"/>
                      <a:pt x="74" y="583"/>
                    </a:cubicBezTo>
                    <a:cubicBezTo>
                      <a:pt x="74" y="583"/>
                      <a:pt x="72" y="582"/>
                      <a:pt x="69" y="581"/>
                    </a:cubicBezTo>
                    <a:cubicBezTo>
                      <a:pt x="66" y="581"/>
                      <a:pt x="65" y="584"/>
                      <a:pt x="63" y="587"/>
                    </a:cubicBezTo>
                    <a:cubicBezTo>
                      <a:pt x="62" y="589"/>
                      <a:pt x="74" y="586"/>
                      <a:pt x="74" y="586"/>
                    </a:cubicBezTo>
                    <a:cubicBezTo>
                      <a:pt x="74" y="586"/>
                      <a:pt x="82" y="592"/>
                      <a:pt x="84" y="594"/>
                    </a:cubicBezTo>
                    <a:cubicBezTo>
                      <a:pt x="85" y="595"/>
                      <a:pt x="84" y="600"/>
                      <a:pt x="84" y="600"/>
                    </a:cubicBezTo>
                    <a:cubicBezTo>
                      <a:pt x="87" y="603"/>
                      <a:pt x="87" y="603"/>
                      <a:pt x="87" y="603"/>
                    </a:cubicBezTo>
                    <a:cubicBezTo>
                      <a:pt x="92" y="604"/>
                      <a:pt x="92" y="604"/>
                      <a:pt x="92" y="604"/>
                    </a:cubicBezTo>
                    <a:cubicBezTo>
                      <a:pt x="94" y="603"/>
                      <a:pt x="94" y="603"/>
                      <a:pt x="94" y="603"/>
                    </a:cubicBezTo>
                    <a:cubicBezTo>
                      <a:pt x="93" y="605"/>
                      <a:pt x="93" y="605"/>
                      <a:pt x="93" y="605"/>
                    </a:cubicBezTo>
                    <a:cubicBezTo>
                      <a:pt x="85" y="605"/>
                      <a:pt x="85" y="605"/>
                      <a:pt x="85" y="605"/>
                    </a:cubicBezTo>
                    <a:cubicBezTo>
                      <a:pt x="87" y="608"/>
                      <a:pt x="87" y="608"/>
                      <a:pt x="87" y="608"/>
                    </a:cubicBezTo>
                    <a:cubicBezTo>
                      <a:pt x="83" y="614"/>
                      <a:pt x="83" y="614"/>
                      <a:pt x="83" y="614"/>
                    </a:cubicBezTo>
                    <a:cubicBezTo>
                      <a:pt x="85" y="616"/>
                      <a:pt x="85" y="616"/>
                      <a:pt x="85" y="616"/>
                    </a:cubicBezTo>
                    <a:cubicBezTo>
                      <a:pt x="80" y="615"/>
                      <a:pt x="80" y="615"/>
                      <a:pt x="80" y="615"/>
                    </a:cubicBezTo>
                    <a:cubicBezTo>
                      <a:pt x="84" y="607"/>
                      <a:pt x="84" y="607"/>
                      <a:pt x="84" y="607"/>
                    </a:cubicBezTo>
                    <a:cubicBezTo>
                      <a:pt x="82" y="602"/>
                      <a:pt x="82" y="602"/>
                      <a:pt x="82" y="602"/>
                    </a:cubicBezTo>
                    <a:cubicBezTo>
                      <a:pt x="82" y="594"/>
                      <a:pt x="82" y="594"/>
                      <a:pt x="82" y="594"/>
                    </a:cubicBezTo>
                    <a:cubicBezTo>
                      <a:pt x="73" y="593"/>
                      <a:pt x="73" y="593"/>
                      <a:pt x="73" y="593"/>
                    </a:cubicBezTo>
                    <a:cubicBezTo>
                      <a:pt x="73" y="597"/>
                      <a:pt x="73" y="597"/>
                      <a:pt x="73" y="597"/>
                    </a:cubicBezTo>
                    <a:cubicBezTo>
                      <a:pt x="69" y="595"/>
                      <a:pt x="69" y="595"/>
                      <a:pt x="69" y="595"/>
                    </a:cubicBezTo>
                    <a:cubicBezTo>
                      <a:pt x="66" y="595"/>
                      <a:pt x="66" y="595"/>
                      <a:pt x="66" y="595"/>
                    </a:cubicBezTo>
                    <a:cubicBezTo>
                      <a:pt x="72" y="611"/>
                      <a:pt x="72" y="611"/>
                      <a:pt x="72" y="611"/>
                    </a:cubicBezTo>
                    <a:cubicBezTo>
                      <a:pt x="71" y="613"/>
                      <a:pt x="71" y="613"/>
                      <a:pt x="71" y="613"/>
                    </a:cubicBezTo>
                    <a:cubicBezTo>
                      <a:pt x="68" y="607"/>
                      <a:pt x="68" y="607"/>
                      <a:pt x="68" y="607"/>
                    </a:cubicBezTo>
                    <a:cubicBezTo>
                      <a:pt x="65" y="602"/>
                      <a:pt x="65" y="602"/>
                      <a:pt x="65" y="602"/>
                    </a:cubicBezTo>
                    <a:cubicBezTo>
                      <a:pt x="65" y="602"/>
                      <a:pt x="66" y="598"/>
                      <a:pt x="63" y="597"/>
                    </a:cubicBezTo>
                    <a:cubicBezTo>
                      <a:pt x="61" y="596"/>
                      <a:pt x="52" y="603"/>
                      <a:pt x="52" y="603"/>
                    </a:cubicBezTo>
                    <a:cubicBezTo>
                      <a:pt x="56" y="607"/>
                      <a:pt x="56" y="607"/>
                      <a:pt x="56" y="607"/>
                    </a:cubicBezTo>
                    <a:cubicBezTo>
                      <a:pt x="50" y="607"/>
                      <a:pt x="50" y="607"/>
                      <a:pt x="50" y="607"/>
                    </a:cubicBezTo>
                    <a:cubicBezTo>
                      <a:pt x="50" y="607"/>
                      <a:pt x="52" y="608"/>
                      <a:pt x="55" y="610"/>
                    </a:cubicBezTo>
                    <a:cubicBezTo>
                      <a:pt x="57" y="613"/>
                      <a:pt x="61" y="616"/>
                      <a:pt x="61" y="616"/>
                    </a:cubicBezTo>
                    <a:cubicBezTo>
                      <a:pt x="55" y="615"/>
                      <a:pt x="55" y="615"/>
                      <a:pt x="55" y="615"/>
                    </a:cubicBezTo>
                    <a:cubicBezTo>
                      <a:pt x="52" y="613"/>
                      <a:pt x="52" y="613"/>
                      <a:pt x="52" y="613"/>
                    </a:cubicBezTo>
                    <a:cubicBezTo>
                      <a:pt x="48" y="617"/>
                      <a:pt x="48" y="617"/>
                      <a:pt x="48" y="617"/>
                    </a:cubicBezTo>
                    <a:cubicBezTo>
                      <a:pt x="51" y="610"/>
                      <a:pt x="51" y="610"/>
                      <a:pt x="51" y="610"/>
                    </a:cubicBezTo>
                    <a:cubicBezTo>
                      <a:pt x="51" y="610"/>
                      <a:pt x="50" y="608"/>
                      <a:pt x="46" y="608"/>
                    </a:cubicBezTo>
                    <a:cubicBezTo>
                      <a:pt x="42" y="608"/>
                      <a:pt x="43" y="612"/>
                      <a:pt x="43" y="612"/>
                    </a:cubicBezTo>
                    <a:cubicBezTo>
                      <a:pt x="43" y="612"/>
                      <a:pt x="40" y="608"/>
                      <a:pt x="38" y="608"/>
                    </a:cubicBezTo>
                    <a:cubicBezTo>
                      <a:pt x="34" y="608"/>
                      <a:pt x="33" y="612"/>
                      <a:pt x="33" y="612"/>
                    </a:cubicBezTo>
                    <a:cubicBezTo>
                      <a:pt x="39" y="615"/>
                      <a:pt x="39" y="615"/>
                      <a:pt x="39" y="615"/>
                    </a:cubicBezTo>
                    <a:cubicBezTo>
                      <a:pt x="38" y="616"/>
                      <a:pt x="38" y="616"/>
                      <a:pt x="38" y="616"/>
                    </a:cubicBezTo>
                    <a:cubicBezTo>
                      <a:pt x="31" y="611"/>
                      <a:pt x="31" y="611"/>
                      <a:pt x="31" y="611"/>
                    </a:cubicBezTo>
                    <a:cubicBezTo>
                      <a:pt x="32" y="609"/>
                      <a:pt x="32" y="609"/>
                      <a:pt x="32" y="609"/>
                    </a:cubicBezTo>
                    <a:cubicBezTo>
                      <a:pt x="28" y="605"/>
                      <a:pt x="28" y="605"/>
                      <a:pt x="28" y="605"/>
                    </a:cubicBezTo>
                    <a:cubicBezTo>
                      <a:pt x="25" y="609"/>
                      <a:pt x="25" y="609"/>
                      <a:pt x="25" y="609"/>
                    </a:cubicBezTo>
                    <a:cubicBezTo>
                      <a:pt x="26" y="611"/>
                      <a:pt x="26" y="611"/>
                      <a:pt x="26" y="611"/>
                    </a:cubicBezTo>
                    <a:cubicBezTo>
                      <a:pt x="26" y="611"/>
                      <a:pt x="32" y="616"/>
                      <a:pt x="32" y="618"/>
                    </a:cubicBezTo>
                    <a:cubicBezTo>
                      <a:pt x="31" y="621"/>
                      <a:pt x="25" y="620"/>
                      <a:pt x="25" y="624"/>
                    </a:cubicBezTo>
                    <a:cubicBezTo>
                      <a:pt x="25" y="627"/>
                      <a:pt x="34" y="623"/>
                      <a:pt x="34" y="623"/>
                    </a:cubicBezTo>
                    <a:cubicBezTo>
                      <a:pt x="50" y="627"/>
                      <a:pt x="50" y="627"/>
                      <a:pt x="50" y="627"/>
                    </a:cubicBezTo>
                    <a:cubicBezTo>
                      <a:pt x="49" y="628"/>
                      <a:pt x="49" y="628"/>
                      <a:pt x="49" y="628"/>
                    </a:cubicBezTo>
                    <a:cubicBezTo>
                      <a:pt x="64" y="632"/>
                      <a:pt x="64" y="632"/>
                      <a:pt x="64" y="632"/>
                    </a:cubicBezTo>
                    <a:cubicBezTo>
                      <a:pt x="71" y="629"/>
                      <a:pt x="71" y="629"/>
                      <a:pt x="71" y="629"/>
                    </a:cubicBezTo>
                    <a:cubicBezTo>
                      <a:pt x="78" y="631"/>
                      <a:pt x="78" y="631"/>
                      <a:pt x="78" y="631"/>
                    </a:cubicBezTo>
                    <a:cubicBezTo>
                      <a:pt x="78" y="632"/>
                      <a:pt x="78" y="632"/>
                      <a:pt x="78" y="632"/>
                    </a:cubicBezTo>
                    <a:cubicBezTo>
                      <a:pt x="72" y="631"/>
                      <a:pt x="72" y="631"/>
                      <a:pt x="72" y="631"/>
                    </a:cubicBezTo>
                    <a:cubicBezTo>
                      <a:pt x="65" y="633"/>
                      <a:pt x="65" y="633"/>
                      <a:pt x="65" y="633"/>
                    </a:cubicBezTo>
                    <a:cubicBezTo>
                      <a:pt x="56" y="631"/>
                      <a:pt x="56" y="631"/>
                      <a:pt x="56" y="631"/>
                    </a:cubicBezTo>
                    <a:cubicBezTo>
                      <a:pt x="55" y="633"/>
                      <a:pt x="55" y="633"/>
                      <a:pt x="55" y="633"/>
                    </a:cubicBezTo>
                    <a:cubicBezTo>
                      <a:pt x="55" y="633"/>
                      <a:pt x="42" y="626"/>
                      <a:pt x="35" y="626"/>
                    </a:cubicBezTo>
                    <a:cubicBezTo>
                      <a:pt x="28" y="626"/>
                      <a:pt x="29" y="629"/>
                      <a:pt x="29" y="629"/>
                    </a:cubicBezTo>
                    <a:cubicBezTo>
                      <a:pt x="29" y="629"/>
                      <a:pt x="28" y="629"/>
                      <a:pt x="25" y="631"/>
                    </a:cubicBezTo>
                    <a:cubicBezTo>
                      <a:pt x="23" y="632"/>
                      <a:pt x="25" y="635"/>
                      <a:pt x="25" y="635"/>
                    </a:cubicBezTo>
                    <a:cubicBezTo>
                      <a:pt x="25" y="635"/>
                      <a:pt x="19" y="634"/>
                      <a:pt x="17" y="638"/>
                    </a:cubicBezTo>
                    <a:cubicBezTo>
                      <a:pt x="16" y="641"/>
                      <a:pt x="19" y="642"/>
                      <a:pt x="19" y="642"/>
                    </a:cubicBezTo>
                    <a:cubicBezTo>
                      <a:pt x="27" y="642"/>
                      <a:pt x="27" y="642"/>
                      <a:pt x="27" y="642"/>
                    </a:cubicBezTo>
                    <a:cubicBezTo>
                      <a:pt x="32" y="646"/>
                      <a:pt x="32" y="646"/>
                      <a:pt x="32" y="646"/>
                    </a:cubicBezTo>
                    <a:cubicBezTo>
                      <a:pt x="26" y="644"/>
                      <a:pt x="26" y="644"/>
                      <a:pt x="26" y="644"/>
                    </a:cubicBezTo>
                    <a:cubicBezTo>
                      <a:pt x="24" y="646"/>
                      <a:pt x="24" y="646"/>
                      <a:pt x="24" y="646"/>
                    </a:cubicBezTo>
                    <a:cubicBezTo>
                      <a:pt x="28" y="648"/>
                      <a:pt x="28" y="648"/>
                      <a:pt x="28" y="648"/>
                    </a:cubicBezTo>
                    <a:cubicBezTo>
                      <a:pt x="23" y="648"/>
                      <a:pt x="23" y="648"/>
                      <a:pt x="23" y="648"/>
                    </a:cubicBezTo>
                    <a:cubicBezTo>
                      <a:pt x="23" y="650"/>
                      <a:pt x="23" y="650"/>
                      <a:pt x="23" y="650"/>
                    </a:cubicBezTo>
                    <a:cubicBezTo>
                      <a:pt x="32" y="652"/>
                      <a:pt x="32" y="652"/>
                      <a:pt x="32" y="652"/>
                    </a:cubicBezTo>
                    <a:cubicBezTo>
                      <a:pt x="17" y="655"/>
                      <a:pt x="17" y="655"/>
                      <a:pt x="17" y="655"/>
                    </a:cubicBezTo>
                    <a:cubicBezTo>
                      <a:pt x="17" y="657"/>
                      <a:pt x="17" y="657"/>
                      <a:pt x="17" y="657"/>
                    </a:cubicBezTo>
                    <a:cubicBezTo>
                      <a:pt x="20" y="657"/>
                      <a:pt x="20" y="657"/>
                      <a:pt x="20" y="657"/>
                    </a:cubicBezTo>
                    <a:cubicBezTo>
                      <a:pt x="20" y="660"/>
                      <a:pt x="20" y="660"/>
                      <a:pt x="20" y="660"/>
                    </a:cubicBezTo>
                    <a:cubicBezTo>
                      <a:pt x="30" y="660"/>
                      <a:pt x="30" y="660"/>
                      <a:pt x="30" y="660"/>
                    </a:cubicBezTo>
                    <a:cubicBezTo>
                      <a:pt x="17" y="663"/>
                      <a:pt x="17" y="663"/>
                      <a:pt x="17" y="663"/>
                    </a:cubicBezTo>
                    <a:cubicBezTo>
                      <a:pt x="15" y="667"/>
                      <a:pt x="15" y="667"/>
                      <a:pt x="15" y="667"/>
                    </a:cubicBezTo>
                    <a:cubicBezTo>
                      <a:pt x="22" y="670"/>
                      <a:pt x="22" y="670"/>
                      <a:pt x="22" y="670"/>
                    </a:cubicBezTo>
                    <a:cubicBezTo>
                      <a:pt x="18" y="670"/>
                      <a:pt x="18" y="670"/>
                      <a:pt x="18" y="670"/>
                    </a:cubicBezTo>
                    <a:cubicBezTo>
                      <a:pt x="23" y="675"/>
                      <a:pt x="23" y="675"/>
                      <a:pt x="23" y="675"/>
                    </a:cubicBezTo>
                    <a:cubicBezTo>
                      <a:pt x="26" y="675"/>
                      <a:pt x="26" y="675"/>
                      <a:pt x="26" y="675"/>
                    </a:cubicBezTo>
                    <a:cubicBezTo>
                      <a:pt x="28" y="677"/>
                      <a:pt x="28" y="677"/>
                      <a:pt x="28" y="677"/>
                    </a:cubicBezTo>
                    <a:cubicBezTo>
                      <a:pt x="48" y="672"/>
                      <a:pt x="48" y="672"/>
                      <a:pt x="48" y="672"/>
                    </a:cubicBezTo>
                    <a:cubicBezTo>
                      <a:pt x="46" y="675"/>
                      <a:pt x="46" y="675"/>
                      <a:pt x="46" y="675"/>
                    </a:cubicBezTo>
                    <a:cubicBezTo>
                      <a:pt x="55" y="674"/>
                      <a:pt x="55" y="674"/>
                      <a:pt x="55" y="674"/>
                    </a:cubicBezTo>
                    <a:cubicBezTo>
                      <a:pt x="55" y="674"/>
                      <a:pt x="56" y="677"/>
                      <a:pt x="61" y="677"/>
                    </a:cubicBezTo>
                    <a:cubicBezTo>
                      <a:pt x="65" y="677"/>
                      <a:pt x="63" y="668"/>
                      <a:pt x="63" y="668"/>
                    </a:cubicBezTo>
                    <a:cubicBezTo>
                      <a:pt x="66" y="667"/>
                      <a:pt x="66" y="667"/>
                      <a:pt x="66" y="667"/>
                    </a:cubicBezTo>
                    <a:cubicBezTo>
                      <a:pt x="71" y="661"/>
                      <a:pt x="71" y="661"/>
                      <a:pt x="71" y="661"/>
                    </a:cubicBezTo>
                    <a:cubicBezTo>
                      <a:pt x="72" y="662"/>
                      <a:pt x="72" y="662"/>
                      <a:pt x="72" y="662"/>
                    </a:cubicBezTo>
                    <a:cubicBezTo>
                      <a:pt x="67" y="670"/>
                      <a:pt x="67" y="670"/>
                      <a:pt x="67" y="670"/>
                    </a:cubicBezTo>
                    <a:cubicBezTo>
                      <a:pt x="69" y="674"/>
                      <a:pt x="69" y="674"/>
                      <a:pt x="69" y="674"/>
                    </a:cubicBezTo>
                    <a:cubicBezTo>
                      <a:pt x="79" y="675"/>
                      <a:pt x="79" y="675"/>
                      <a:pt x="79" y="675"/>
                    </a:cubicBezTo>
                    <a:cubicBezTo>
                      <a:pt x="83" y="671"/>
                      <a:pt x="83" y="671"/>
                      <a:pt x="83" y="671"/>
                    </a:cubicBezTo>
                    <a:cubicBezTo>
                      <a:pt x="83" y="675"/>
                      <a:pt x="83" y="675"/>
                      <a:pt x="83" y="675"/>
                    </a:cubicBezTo>
                    <a:cubicBezTo>
                      <a:pt x="76" y="677"/>
                      <a:pt x="76" y="677"/>
                      <a:pt x="76" y="677"/>
                    </a:cubicBezTo>
                    <a:cubicBezTo>
                      <a:pt x="78" y="679"/>
                      <a:pt x="78" y="679"/>
                      <a:pt x="78" y="679"/>
                    </a:cubicBezTo>
                    <a:cubicBezTo>
                      <a:pt x="90" y="675"/>
                      <a:pt x="90" y="675"/>
                      <a:pt x="90" y="675"/>
                    </a:cubicBezTo>
                    <a:cubicBezTo>
                      <a:pt x="89" y="668"/>
                      <a:pt x="89" y="668"/>
                      <a:pt x="89" y="668"/>
                    </a:cubicBezTo>
                    <a:cubicBezTo>
                      <a:pt x="89" y="668"/>
                      <a:pt x="91" y="664"/>
                      <a:pt x="93" y="661"/>
                    </a:cubicBezTo>
                    <a:cubicBezTo>
                      <a:pt x="94" y="659"/>
                      <a:pt x="98" y="656"/>
                      <a:pt x="98" y="656"/>
                    </a:cubicBezTo>
                    <a:cubicBezTo>
                      <a:pt x="99" y="658"/>
                      <a:pt x="99" y="658"/>
                      <a:pt x="99" y="658"/>
                    </a:cubicBezTo>
                    <a:cubicBezTo>
                      <a:pt x="99" y="658"/>
                      <a:pt x="97" y="660"/>
                      <a:pt x="95" y="662"/>
                    </a:cubicBezTo>
                    <a:cubicBezTo>
                      <a:pt x="93" y="663"/>
                      <a:pt x="90" y="668"/>
                      <a:pt x="90" y="668"/>
                    </a:cubicBezTo>
                    <a:cubicBezTo>
                      <a:pt x="92" y="671"/>
                      <a:pt x="92" y="671"/>
                      <a:pt x="92" y="671"/>
                    </a:cubicBezTo>
                    <a:cubicBezTo>
                      <a:pt x="93" y="675"/>
                      <a:pt x="93" y="675"/>
                      <a:pt x="93" y="675"/>
                    </a:cubicBezTo>
                    <a:cubicBezTo>
                      <a:pt x="102" y="673"/>
                      <a:pt x="102" y="673"/>
                      <a:pt x="102" y="673"/>
                    </a:cubicBezTo>
                    <a:cubicBezTo>
                      <a:pt x="98" y="676"/>
                      <a:pt x="98" y="676"/>
                      <a:pt x="98" y="676"/>
                    </a:cubicBezTo>
                    <a:cubicBezTo>
                      <a:pt x="96" y="676"/>
                      <a:pt x="96" y="676"/>
                      <a:pt x="96" y="676"/>
                    </a:cubicBezTo>
                    <a:cubicBezTo>
                      <a:pt x="92" y="677"/>
                      <a:pt x="92" y="677"/>
                      <a:pt x="92" y="677"/>
                    </a:cubicBezTo>
                    <a:cubicBezTo>
                      <a:pt x="92" y="680"/>
                      <a:pt x="92" y="680"/>
                      <a:pt x="92" y="680"/>
                    </a:cubicBezTo>
                    <a:cubicBezTo>
                      <a:pt x="88" y="678"/>
                      <a:pt x="88" y="678"/>
                      <a:pt x="88" y="678"/>
                    </a:cubicBezTo>
                    <a:cubicBezTo>
                      <a:pt x="80" y="680"/>
                      <a:pt x="80" y="680"/>
                      <a:pt x="80" y="680"/>
                    </a:cubicBezTo>
                    <a:cubicBezTo>
                      <a:pt x="80" y="686"/>
                      <a:pt x="80" y="686"/>
                      <a:pt x="80" y="686"/>
                    </a:cubicBezTo>
                    <a:cubicBezTo>
                      <a:pt x="82" y="691"/>
                      <a:pt x="82" y="691"/>
                      <a:pt x="82" y="691"/>
                    </a:cubicBezTo>
                    <a:cubicBezTo>
                      <a:pt x="79" y="688"/>
                      <a:pt x="79" y="688"/>
                      <a:pt x="79" y="688"/>
                    </a:cubicBezTo>
                    <a:cubicBezTo>
                      <a:pt x="76" y="690"/>
                      <a:pt x="76" y="690"/>
                      <a:pt x="76" y="690"/>
                    </a:cubicBezTo>
                    <a:cubicBezTo>
                      <a:pt x="78" y="686"/>
                      <a:pt x="78" y="686"/>
                      <a:pt x="78" y="686"/>
                    </a:cubicBezTo>
                    <a:cubicBezTo>
                      <a:pt x="77" y="681"/>
                      <a:pt x="77" y="681"/>
                      <a:pt x="77" y="681"/>
                    </a:cubicBezTo>
                    <a:cubicBezTo>
                      <a:pt x="75" y="681"/>
                      <a:pt x="75" y="681"/>
                      <a:pt x="75" y="681"/>
                    </a:cubicBezTo>
                    <a:cubicBezTo>
                      <a:pt x="74" y="678"/>
                      <a:pt x="74" y="678"/>
                      <a:pt x="74" y="678"/>
                    </a:cubicBezTo>
                    <a:cubicBezTo>
                      <a:pt x="74" y="678"/>
                      <a:pt x="67" y="676"/>
                      <a:pt x="66" y="675"/>
                    </a:cubicBezTo>
                    <a:cubicBezTo>
                      <a:pt x="65" y="675"/>
                      <a:pt x="64" y="679"/>
                      <a:pt x="64" y="679"/>
                    </a:cubicBezTo>
                    <a:cubicBezTo>
                      <a:pt x="56" y="680"/>
                      <a:pt x="56" y="680"/>
                      <a:pt x="56" y="680"/>
                    </a:cubicBezTo>
                    <a:cubicBezTo>
                      <a:pt x="56" y="678"/>
                      <a:pt x="56" y="678"/>
                      <a:pt x="56" y="678"/>
                    </a:cubicBezTo>
                    <a:cubicBezTo>
                      <a:pt x="42" y="676"/>
                      <a:pt x="42" y="676"/>
                      <a:pt x="42" y="676"/>
                    </a:cubicBezTo>
                    <a:cubicBezTo>
                      <a:pt x="41" y="678"/>
                      <a:pt x="41" y="678"/>
                      <a:pt x="41" y="678"/>
                    </a:cubicBezTo>
                    <a:cubicBezTo>
                      <a:pt x="39" y="676"/>
                      <a:pt x="39" y="676"/>
                      <a:pt x="39" y="676"/>
                    </a:cubicBezTo>
                    <a:cubicBezTo>
                      <a:pt x="33" y="678"/>
                      <a:pt x="33" y="678"/>
                      <a:pt x="33" y="678"/>
                    </a:cubicBezTo>
                    <a:cubicBezTo>
                      <a:pt x="31" y="681"/>
                      <a:pt x="31" y="681"/>
                      <a:pt x="31" y="681"/>
                    </a:cubicBezTo>
                    <a:cubicBezTo>
                      <a:pt x="24" y="680"/>
                      <a:pt x="24" y="680"/>
                      <a:pt x="24" y="680"/>
                    </a:cubicBezTo>
                    <a:cubicBezTo>
                      <a:pt x="24" y="680"/>
                      <a:pt x="23" y="678"/>
                      <a:pt x="19" y="678"/>
                    </a:cubicBezTo>
                    <a:cubicBezTo>
                      <a:pt x="16" y="678"/>
                      <a:pt x="15" y="682"/>
                      <a:pt x="15" y="682"/>
                    </a:cubicBezTo>
                    <a:cubicBezTo>
                      <a:pt x="18" y="686"/>
                      <a:pt x="18" y="686"/>
                      <a:pt x="18" y="686"/>
                    </a:cubicBezTo>
                    <a:cubicBezTo>
                      <a:pt x="14" y="687"/>
                      <a:pt x="14" y="687"/>
                      <a:pt x="14" y="687"/>
                    </a:cubicBezTo>
                    <a:cubicBezTo>
                      <a:pt x="14" y="687"/>
                      <a:pt x="14" y="692"/>
                      <a:pt x="18" y="693"/>
                    </a:cubicBezTo>
                    <a:cubicBezTo>
                      <a:pt x="22" y="695"/>
                      <a:pt x="24" y="691"/>
                      <a:pt x="24" y="691"/>
                    </a:cubicBezTo>
                    <a:cubicBezTo>
                      <a:pt x="28" y="691"/>
                      <a:pt x="28" y="691"/>
                      <a:pt x="28" y="691"/>
                    </a:cubicBezTo>
                    <a:cubicBezTo>
                      <a:pt x="27" y="692"/>
                      <a:pt x="27" y="692"/>
                      <a:pt x="27" y="692"/>
                    </a:cubicBezTo>
                    <a:cubicBezTo>
                      <a:pt x="27" y="692"/>
                      <a:pt x="23" y="692"/>
                      <a:pt x="22" y="697"/>
                    </a:cubicBezTo>
                    <a:cubicBezTo>
                      <a:pt x="20" y="703"/>
                      <a:pt x="27" y="704"/>
                      <a:pt x="27" y="704"/>
                    </a:cubicBezTo>
                    <a:cubicBezTo>
                      <a:pt x="25" y="705"/>
                      <a:pt x="25" y="705"/>
                      <a:pt x="25" y="705"/>
                    </a:cubicBezTo>
                    <a:cubicBezTo>
                      <a:pt x="27" y="707"/>
                      <a:pt x="27" y="707"/>
                      <a:pt x="27" y="707"/>
                    </a:cubicBezTo>
                    <a:cubicBezTo>
                      <a:pt x="30" y="707"/>
                      <a:pt x="30" y="707"/>
                      <a:pt x="30" y="707"/>
                    </a:cubicBezTo>
                    <a:cubicBezTo>
                      <a:pt x="30" y="707"/>
                      <a:pt x="29" y="705"/>
                      <a:pt x="29" y="703"/>
                    </a:cubicBezTo>
                    <a:cubicBezTo>
                      <a:pt x="29" y="702"/>
                      <a:pt x="32" y="701"/>
                      <a:pt x="32" y="701"/>
                    </a:cubicBezTo>
                    <a:cubicBezTo>
                      <a:pt x="38" y="704"/>
                      <a:pt x="38" y="704"/>
                      <a:pt x="38" y="704"/>
                    </a:cubicBezTo>
                    <a:cubicBezTo>
                      <a:pt x="38" y="704"/>
                      <a:pt x="36" y="708"/>
                      <a:pt x="35" y="711"/>
                    </a:cubicBezTo>
                    <a:cubicBezTo>
                      <a:pt x="34" y="714"/>
                      <a:pt x="34" y="719"/>
                      <a:pt x="34" y="719"/>
                    </a:cubicBezTo>
                    <a:cubicBezTo>
                      <a:pt x="25" y="720"/>
                      <a:pt x="25" y="720"/>
                      <a:pt x="25" y="720"/>
                    </a:cubicBezTo>
                    <a:cubicBezTo>
                      <a:pt x="25" y="720"/>
                      <a:pt x="24" y="713"/>
                      <a:pt x="19" y="714"/>
                    </a:cubicBezTo>
                    <a:cubicBezTo>
                      <a:pt x="15" y="715"/>
                      <a:pt x="19" y="723"/>
                      <a:pt x="19" y="723"/>
                    </a:cubicBezTo>
                    <a:cubicBezTo>
                      <a:pt x="19" y="723"/>
                      <a:pt x="15" y="723"/>
                      <a:pt x="15" y="727"/>
                    </a:cubicBezTo>
                    <a:cubicBezTo>
                      <a:pt x="15" y="731"/>
                      <a:pt x="18" y="730"/>
                      <a:pt x="18" y="730"/>
                    </a:cubicBezTo>
                    <a:cubicBezTo>
                      <a:pt x="17" y="733"/>
                      <a:pt x="17" y="733"/>
                      <a:pt x="17" y="733"/>
                    </a:cubicBezTo>
                    <a:cubicBezTo>
                      <a:pt x="22" y="738"/>
                      <a:pt x="22" y="738"/>
                      <a:pt x="22" y="738"/>
                    </a:cubicBezTo>
                    <a:cubicBezTo>
                      <a:pt x="26" y="735"/>
                      <a:pt x="26" y="735"/>
                      <a:pt x="26" y="735"/>
                    </a:cubicBezTo>
                    <a:cubicBezTo>
                      <a:pt x="29" y="727"/>
                      <a:pt x="29" y="727"/>
                      <a:pt x="29" y="727"/>
                    </a:cubicBezTo>
                    <a:cubicBezTo>
                      <a:pt x="27" y="734"/>
                      <a:pt x="27" y="734"/>
                      <a:pt x="27" y="734"/>
                    </a:cubicBezTo>
                    <a:cubicBezTo>
                      <a:pt x="27" y="738"/>
                      <a:pt x="27" y="738"/>
                      <a:pt x="27" y="738"/>
                    </a:cubicBezTo>
                    <a:cubicBezTo>
                      <a:pt x="32" y="738"/>
                      <a:pt x="32" y="738"/>
                      <a:pt x="32" y="738"/>
                    </a:cubicBezTo>
                    <a:cubicBezTo>
                      <a:pt x="33" y="739"/>
                      <a:pt x="31" y="743"/>
                      <a:pt x="31" y="743"/>
                    </a:cubicBezTo>
                    <a:cubicBezTo>
                      <a:pt x="32" y="744"/>
                      <a:pt x="32" y="744"/>
                      <a:pt x="32" y="744"/>
                    </a:cubicBezTo>
                    <a:cubicBezTo>
                      <a:pt x="30" y="744"/>
                      <a:pt x="30" y="744"/>
                      <a:pt x="30" y="744"/>
                    </a:cubicBezTo>
                    <a:cubicBezTo>
                      <a:pt x="30" y="746"/>
                      <a:pt x="30" y="746"/>
                      <a:pt x="30" y="746"/>
                    </a:cubicBezTo>
                    <a:cubicBezTo>
                      <a:pt x="34" y="750"/>
                      <a:pt x="34" y="750"/>
                      <a:pt x="34" y="750"/>
                    </a:cubicBezTo>
                    <a:cubicBezTo>
                      <a:pt x="38" y="745"/>
                      <a:pt x="38" y="745"/>
                      <a:pt x="38" y="745"/>
                    </a:cubicBezTo>
                    <a:cubicBezTo>
                      <a:pt x="38" y="738"/>
                      <a:pt x="38" y="738"/>
                      <a:pt x="38" y="738"/>
                    </a:cubicBezTo>
                    <a:cubicBezTo>
                      <a:pt x="40" y="737"/>
                      <a:pt x="40" y="737"/>
                      <a:pt x="40" y="737"/>
                    </a:cubicBezTo>
                    <a:cubicBezTo>
                      <a:pt x="42" y="731"/>
                      <a:pt x="42" y="731"/>
                      <a:pt x="42" y="731"/>
                    </a:cubicBezTo>
                    <a:cubicBezTo>
                      <a:pt x="42" y="731"/>
                      <a:pt x="45" y="734"/>
                      <a:pt x="47" y="731"/>
                    </a:cubicBezTo>
                    <a:cubicBezTo>
                      <a:pt x="48" y="730"/>
                      <a:pt x="47" y="726"/>
                      <a:pt x="47" y="726"/>
                    </a:cubicBezTo>
                    <a:cubicBezTo>
                      <a:pt x="47" y="726"/>
                      <a:pt x="49" y="725"/>
                      <a:pt x="55" y="723"/>
                    </a:cubicBezTo>
                    <a:cubicBezTo>
                      <a:pt x="59" y="720"/>
                      <a:pt x="64" y="720"/>
                      <a:pt x="64" y="720"/>
                    </a:cubicBezTo>
                    <a:cubicBezTo>
                      <a:pt x="64" y="722"/>
                      <a:pt x="64" y="722"/>
                      <a:pt x="64" y="722"/>
                    </a:cubicBezTo>
                    <a:cubicBezTo>
                      <a:pt x="71" y="719"/>
                      <a:pt x="71" y="719"/>
                      <a:pt x="71" y="719"/>
                    </a:cubicBezTo>
                    <a:cubicBezTo>
                      <a:pt x="72" y="715"/>
                      <a:pt x="72" y="715"/>
                      <a:pt x="72" y="715"/>
                    </a:cubicBezTo>
                    <a:cubicBezTo>
                      <a:pt x="74" y="715"/>
                      <a:pt x="74" y="715"/>
                      <a:pt x="74" y="715"/>
                    </a:cubicBezTo>
                    <a:cubicBezTo>
                      <a:pt x="73" y="719"/>
                      <a:pt x="73" y="719"/>
                      <a:pt x="73" y="719"/>
                    </a:cubicBezTo>
                    <a:cubicBezTo>
                      <a:pt x="77" y="720"/>
                      <a:pt x="77" y="720"/>
                      <a:pt x="77" y="720"/>
                    </a:cubicBezTo>
                    <a:cubicBezTo>
                      <a:pt x="77" y="720"/>
                      <a:pt x="68" y="721"/>
                      <a:pt x="65" y="726"/>
                    </a:cubicBezTo>
                    <a:cubicBezTo>
                      <a:pt x="62" y="731"/>
                      <a:pt x="63" y="735"/>
                      <a:pt x="62" y="738"/>
                    </a:cubicBezTo>
                    <a:cubicBezTo>
                      <a:pt x="62" y="740"/>
                      <a:pt x="58" y="743"/>
                      <a:pt x="58" y="743"/>
                    </a:cubicBezTo>
                    <a:cubicBezTo>
                      <a:pt x="62" y="726"/>
                      <a:pt x="62" y="726"/>
                      <a:pt x="62" y="726"/>
                    </a:cubicBezTo>
                    <a:cubicBezTo>
                      <a:pt x="62" y="723"/>
                      <a:pt x="62" y="723"/>
                      <a:pt x="62" y="723"/>
                    </a:cubicBezTo>
                    <a:cubicBezTo>
                      <a:pt x="62" y="723"/>
                      <a:pt x="58" y="724"/>
                      <a:pt x="56" y="726"/>
                    </a:cubicBezTo>
                    <a:cubicBezTo>
                      <a:pt x="52" y="727"/>
                      <a:pt x="47" y="735"/>
                      <a:pt x="47" y="735"/>
                    </a:cubicBezTo>
                    <a:cubicBezTo>
                      <a:pt x="47" y="735"/>
                      <a:pt x="44" y="736"/>
                      <a:pt x="44" y="739"/>
                    </a:cubicBezTo>
                    <a:cubicBezTo>
                      <a:pt x="45" y="742"/>
                      <a:pt x="50" y="740"/>
                      <a:pt x="48" y="742"/>
                    </a:cubicBezTo>
                    <a:cubicBezTo>
                      <a:pt x="47" y="743"/>
                      <a:pt x="43" y="743"/>
                      <a:pt x="41" y="745"/>
                    </a:cubicBezTo>
                    <a:cubicBezTo>
                      <a:pt x="39" y="747"/>
                      <a:pt x="39" y="752"/>
                      <a:pt x="39" y="752"/>
                    </a:cubicBezTo>
                    <a:cubicBezTo>
                      <a:pt x="32" y="752"/>
                      <a:pt x="32" y="752"/>
                      <a:pt x="32" y="752"/>
                    </a:cubicBezTo>
                    <a:cubicBezTo>
                      <a:pt x="28" y="757"/>
                      <a:pt x="28" y="757"/>
                      <a:pt x="28" y="757"/>
                    </a:cubicBezTo>
                    <a:cubicBezTo>
                      <a:pt x="33" y="762"/>
                      <a:pt x="33" y="762"/>
                      <a:pt x="33" y="762"/>
                    </a:cubicBezTo>
                    <a:cubicBezTo>
                      <a:pt x="39" y="759"/>
                      <a:pt x="39" y="759"/>
                      <a:pt x="39" y="759"/>
                    </a:cubicBezTo>
                    <a:cubicBezTo>
                      <a:pt x="38" y="764"/>
                      <a:pt x="38" y="764"/>
                      <a:pt x="38" y="764"/>
                    </a:cubicBezTo>
                    <a:cubicBezTo>
                      <a:pt x="40" y="765"/>
                      <a:pt x="40" y="765"/>
                      <a:pt x="40" y="765"/>
                    </a:cubicBezTo>
                    <a:cubicBezTo>
                      <a:pt x="46" y="760"/>
                      <a:pt x="46" y="760"/>
                      <a:pt x="46" y="760"/>
                    </a:cubicBezTo>
                    <a:cubicBezTo>
                      <a:pt x="42" y="766"/>
                      <a:pt x="42" y="766"/>
                      <a:pt x="42" y="766"/>
                    </a:cubicBezTo>
                    <a:cubicBezTo>
                      <a:pt x="44" y="768"/>
                      <a:pt x="44" y="768"/>
                      <a:pt x="44" y="768"/>
                    </a:cubicBezTo>
                    <a:cubicBezTo>
                      <a:pt x="34" y="765"/>
                      <a:pt x="34" y="765"/>
                      <a:pt x="34" y="765"/>
                    </a:cubicBezTo>
                    <a:cubicBezTo>
                      <a:pt x="31" y="769"/>
                      <a:pt x="31" y="769"/>
                      <a:pt x="31" y="769"/>
                    </a:cubicBezTo>
                    <a:cubicBezTo>
                      <a:pt x="34" y="772"/>
                      <a:pt x="34" y="772"/>
                      <a:pt x="34" y="772"/>
                    </a:cubicBezTo>
                    <a:cubicBezTo>
                      <a:pt x="26" y="768"/>
                      <a:pt x="26" y="768"/>
                      <a:pt x="26" y="768"/>
                    </a:cubicBezTo>
                    <a:cubicBezTo>
                      <a:pt x="23" y="770"/>
                      <a:pt x="23" y="770"/>
                      <a:pt x="23" y="770"/>
                    </a:cubicBezTo>
                    <a:cubicBezTo>
                      <a:pt x="20" y="778"/>
                      <a:pt x="20" y="778"/>
                      <a:pt x="20" y="778"/>
                    </a:cubicBezTo>
                    <a:cubicBezTo>
                      <a:pt x="18" y="780"/>
                      <a:pt x="18" y="780"/>
                      <a:pt x="18" y="780"/>
                    </a:cubicBezTo>
                    <a:cubicBezTo>
                      <a:pt x="22" y="766"/>
                      <a:pt x="22" y="766"/>
                      <a:pt x="22" y="766"/>
                    </a:cubicBezTo>
                    <a:cubicBezTo>
                      <a:pt x="19" y="767"/>
                      <a:pt x="19" y="767"/>
                      <a:pt x="19" y="767"/>
                    </a:cubicBezTo>
                    <a:cubicBezTo>
                      <a:pt x="18" y="771"/>
                      <a:pt x="18" y="771"/>
                      <a:pt x="18" y="771"/>
                    </a:cubicBezTo>
                    <a:cubicBezTo>
                      <a:pt x="15" y="771"/>
                      <a:pt x="15" y="771"/>
                      <a:pt x="15" y="771"/>
                    </a:cubicBezTo>
                    <a:cubicBezTo>
                      <a:pt x="10" y="780"/>
                      <a:pt x="10" y="780"/>
                      <a:pt x="10" y="780"/>
                    </a:cubicBezTo>
                    <a:cubicBezTo>
                      <a:pt x="13" y="793"/>
                      <a:pt x="13" y="793"/>
                      <a:pt x="13" y="793"/>
                    </a:cubicBezTo>
                    <a:cubicBezTo>
                      <a:pt x="14" y="792"/>
                      <a:pt x="14" y="792"/>
                      <a:pt x="14" y="792"/>
                    </a:cubicBezTo>
                    <a:cubicBezTo>
                      <a:pt x="14" y="800"/>
                      <a:pt x="14" y="800"/>
                      <a:pt x="14" y="800"/>
                    </a:cubicBezTo>
                    <a:cubicBezTo>
                      <a:pt x="17" y="800"/>
                      <a:pt x="17" y="800"/>
                      <a:pt x="17" y="800"/>
                    </a:cubicBezTo>
                    <a:cubicBezTo>
                      <a:pt x="17" y="793"/>
                      <a:pt x="17" y="793"/>
                      <a:pt x="17" y="793"/>
                    </a:cubicBezTo>
                    <a:cubicBezTo>
                      <a:pt x="22" y="792"/>
                      <a:pt x="22" y="792"/>
                      <a:pt x="22" y="792"/>
                    </a:cubicBezTo>
                    <a:cubicBezTo>
                      <a:pt x="22" y="789"/>
                      <a:pt x="22" y="789"/>
                      <a:pt x="22" y="789"/>
                    </a:cubicBezTo>
                    <a:cubicBezTo>
                      <a:pt x="25" y="791"/>
                      <a:pt x="25" y="791"/>
                      <a:pt x="25" y="791"/>
                    </a:cubicBezTo>
                    <a:cubicBezTo>
                      <a:pt x="23" y="794"/>
                      <a:pt x="23" y="794"/>
                      <a:pt x="23" y="794"/>
                    </a:cubicBezTo>
                    <a:cubicBezTo>
                      <a:pt x="24" y="796"/>
                      <a:pt x="24" y="796"/>
                      <a:pt x="24" y="796"/>
                    </a:cubicBezTo>
                    <a:cubicBezTo>
                      <a:pt x="32" y="788"/>
                      <a:pt x="32" y="788"/>
                      <a:pt x="32" y="788"/>
                    </a:cubicBezTo>
                    <a:cubicBezTo>
                      <a:pt x="30" y="784"/>
                      <a:pt x="30" y="784"/>
                      <a:pt x="30" y="784"/>
                    </a:cubicBezTo>
                    <a:cubicBezTo>
                      <a:pt x="26" y="785"/>
                      <a:pt x="26" y="785"/>
                      <a:pt x="26" y="785"/>
                    </a:cubicBezTo>
                    <a:cubicBezTo>
                      <a:pt x="31" y="782"/>
                      <a:pt x="31" y="782"/>
                      <a:pt x="31" y="782"/>
                    </a:cubicBezTo>
                    <a:cubicBezTo>
                      <a:pt x="32" y="778"/>
                      <a:pt x="32" y="778"/>
                      <a:pt x="32" y="778"/>
                    </a:cubicBezTo>
                    <a:cubicBezTo>
                      <a:pt x="34" y="783"/>
                      <a:pt x="34" y="783"/>
                      <a:pt x="34" y="783"/>
                    </a:cubicBezTo>
                    <a:cubicBezTo>
                      <a:pt x="39" y="784"/>
                      <a:pt x="39" y="784"/>
                      <a:pt x="39" y="784"/>
                    </a:cubicBezTo>
                    <a:cubicBezTo>
                      <a:pt x="35" y="785"/>
                      <a:pt x="35" y="785"/>
                      <a:pt x="35" y="785"/>
                    </a:cubicBezTo>
                    <a:cubicBezTo>
                      <a:pt x="36" y="788"/>
                      <a:pt x="36" y="788"/>
                      <a:pt x="36" y="788"/>
                    </a:cubicBezTo>
                    <a:cubicBezTo>
                      <a:pt x="41" y="786"/>
                      <a:pt x="41" y="786"/>
                      <a:pt x="41" y="786"/>
                    </a:cubicBezTo>
                    <a:cubicBezTo>
                      <a:pt x="43" y="780"/>
                      <a:pt x="43" y="780"/>
                      <a:pt x="43" y="780"/>
                    </a:cubicBezTo>
                    <a:cubicBezTo>
                      <a:pt x="45" y="778"/>
                      <a:pt x="45" y="778"/>
                      <a:pt x="45" y="778"/>
                    </a:cubicBezTo>
                    <a:cubicBezTo>
                      <a:pt x="47" y="773"/>
                      <a:pt x="47" y="773"/>
                      <a:pt x="47" y="773"/>
                    </a:cubicBezTo>
                    <a:cubicBezTo>
                      <a:pt x="48" y="774"/>
                      <a:pt x="48" y="774"/>
                      <a:pt x="48" y="774"/>
                    </a:cubicBezTo>
                    <a:cubicBezTo>
                      <a:pt x="47" y="780"/>
                      <a:pt x="47" y="780"/>
                      <a:pt x="47" y="780"/>
                    </a:cubicBezTo>
                    <a:cubicBezTo>
                      <a:pt x="52" y="777"/>
                      <a:pt x="52" y="777"/>
                      <a:pt x="52" y="777"/>
                    </a:cubicBezTo>
                    <a:cubicBezTo>
                      <a:pt x="52" y="778"/>
                      <a:pt x="52" y="778"/>
                      <a:pt x="52" y="778"/>
                    </a:cubicBezTo>
                    <a:cubicBezTo>
                      <a:pt x="45" y="782"/>
                      <a:pt x="45" y="782"/>
                      <a:pt x="45" y="782"/>
                    </a:cubicBezTo>
                    <a:cubicBezTo>
                      <a:pt x="44" y="788"/>
                      <a:pt x="44" y="788"/>
                      <a:pt x="44" y="788"/>
                    </a:cubicBezTo>
                    <a:cubicBezTo>
                      <a:pt x="38" y="790"/>
                      <a:pt x="38" y="790"/>
                      <a:pt x="38" y="790"/>
                    </a:cubicBezTo>
                    <a:cubicBezTo>
                      <a:pt x="40" y="792"/>
                      <a:pt x="40" y="792"/>
                      <a:pt x="40" y="792"/>
                    </a:cubicBezTo>
                    <a:cubicBezTo>
                      <a:pt x="40" y="792"/>
                      <a:pt x="41" y="790"/>
                      <a:pt x="44" y="791"/>
                    </a:cubicBezTo>
                    <a:cubicBezTo>
                      <a:pt x="46" y="792"/>
                      <a:pt x="41" y="796"/>
                      <a:pt x="41" y="796"/>
                    </a:cubicBezTo>
                    <a:cubicBezTo>
                      <a:pt x="49" y="793"/>
                      <a:pt x="49" y="793"/>
                      <a:pt x="49" y="793"/>
                    </a:cubicBezTo>
                    <a:cubicBezTo>
                      <a:pt x="49" y="793"/>
                      <a:pt x="42" y="797"/>
                      <a:pt x="41" y="798"/>
                    </a:cubicBezTo>
                    <a:cubicBezTo>
                      <a:pt x="39" y="799"/>
                      <a:pt x="36" y="803"/>
                      <a:pt x="36" y="803"/>
                    </a:cubicBezTo>
                    <a:cubicBezTo>
                      <a:pt x="38" y="805"/>
                      <a:pt x="38" y="805"/>
                      <a:pt x="38" y="805"/>
                    </a:cubicBezTo>
                    <a:cubicBezTo>
                      <a:pt x="31" y="807"/>
                      <a:pt x="31" y="807"/>
                      <a:pt x="31" y="807"/>
                    </a:cubicBezTo>
                    <a:cubicBezTo>
                      <a:pt x="34" y="813"/>
                      <a:pt x="34" y="813"/>
                      <a:pt x="34" y="813"/>
                    </a:cubicBezTo>
                    <a:cubicBezTo>
                      <a:pt x="35" y="817"/>
                      <a:pt x="35" y="817"/>
                      <a:pt x="35" y="817"/>
                    </a:cubicBezTo>
                    <a:cubicBezTo>
                      <a:pt x="43" y="813"/>
                      <a:pt x="43" y="813"/>
                      <a:pt x="43" y="813"/>
                    </a:cubicBezTo>
                    <a:cubicBezTo>
                      <a:pt x="50" y="814"/>
                      <a:pt x="50" y="814"/>
                      <a:pt x="50" y="814"/>
                    </a:cubicBezTo>
                    <a:cubicBezTo>
                      <a:pt x="44" y="815"/>
                      <a:pt x="44" y="815"/>
                      <a:pt x="44" y="815"/>
                    </a:cubicBezTo>
                    <a:cubicBezTo>
                      <a:pt x="38" y="819"/>
                      <a:pt x="38" y="819"/>
                      <a:pt x="38" y="819"/>
                    </a:cubicBezTo>
                    <a:cubicBezTo>
                      <a:pt x="38" y="822"/>
                      <a:pt x="38" y="822"/>
                      <a:pt x="38" y="822"/>
                    </a:cubicBezTo>
                    <a:cubicBezTo>
                      <a:pt x="30" y="816"/>
                      <a:pt x="30" y="816"/>
                      <a:pt x="30" y="816"/>
                    </a:cubicBezTo>
                    <a:cubicBezTo>
                      <a:pt x="25" y="820"/>
                      <a:pt x="25" y="820"/>
                      <a:pt x="25" y="820"/>
                    </a:cubicBezTo>
                    <a:cubicBezTo>
                      <a:pt x="25" y="814"/>
                      <a:pt x="25" y="814"/>
                      <a:pt x="25" y="814"/>
                    </a:cubicBezTo>
                    <a:cubicBezTo>
                      <a:pt x="19" y="812"/>
                      <a:pt x="19" y="812"/>
                      <a:pt x="19" y="812"/>
                    </a:cubicBezTo>
                    <a:cubicBezTo>
                      <a:pt x="20" y="820"/>
                      <a:pt x="20" y="820"/>
                      <a:pt x="20" y="820"/>
                    </a:cubicBezTo>
                    <a:cubicBezTo>
                      <a:pt x="18" y="821"/>
                      <a:pt x="18" y="821"/>
                      <a:pt x="18" y="821"/>
                    </a:cubicBezTo>
                    <a:cubicBezTo>
                      <a:pt x="17" y="824"/>
                      <a:pt x="17" y="824"/>
                      <a:pt x="17" y="824"/>
                    </a:cubicBezTo>
                    <a:cubicBezTo>
                      <a:pt x="14" y="829"/>
                      <a:pt x="14" y="829"/>
                      <a:pt x="14" y="829"/>
                    </a:cubicBezTo>
                    <a:cubicBezTo>
                      <a:pt x="14" y="829"/>
                      <a:pt x="18" y="841"/>
                      <a:pt x="23" y="844"/>
                    </a:cubicBezTo>
                    <a:cubicBezTo>
                      <a:pt x="26" y="847"/>
                      <a:pt x="29" y="849"/>
                      <a:pt x="31" y="853"/>
                    </a:cubicBezTo>
                    <a:cubicBezTo>
                      <a:pt x="33" y="857"/>
                      <a:pt x="49" y="863"/>
                      <a:pt x="49" y="863"/>
                    </a:cubicBezTo>
                    <a:cubicBezTo>
                      <a:pt x="50" y="866"/>
                      <a:pt x="50" y="866"/>
                      <a:pt x="50" y="866"/>
                    </a:cubicBezTo>
                    <a:cubicBezTo>
                      <a:pt x="53" y="862"/>
                      <a:pt x="53" y="862"/>
                      <a:pt x="53" y="862"/>
                    </a:cubicBezTo>
                    <a:cubicBezTo>
                      <a:pt x="58" y="865"/>
                      <a:pt x="58" y="865"/>
                      <a:pt x="58" y="865"/>
                    </a:cubicBezTo>
                    <a:cubicBezTo>
                      <a:pt x="48" y="872"/>
                      <a:pt x="48" y="872"/>
                      <a:pt x="48" y="872"/>
                    </a:cubicBezTo>
                    <a:cubicBezTo>
                      <a:pt x="50" y="876"/>
                      <a:pt x="50" y="876"/>
                      <a:pt x="50" y="876"/>
                    </a:cubicBezTo>
                    <a:cubicBezTo>
                      <a:pt x="58" y="876"/>
                      <a:pt x="58" y="876"/>
                      <a:pt x="58" y="876"/>
                    </a:cubicBezTo>
                    <a:cubicBezTo>
                      <a:pt x="56" y="873"/>
                      <a:pt x="56" y="873"/>
                      <a:pt x="56" y="873"/>
                    </a:cubicBezTo>
                    <a:cubicBezTo>
                      <a:pt x="60" y="871"/>
                      <a:pt x="60" y="871"/>
                      <a:pt x="60" y="871"/>
                    </a:cubicBezTo>
                    <a:cubicBezTo>
                      <a:pt x="65" y="873"/>
                      <a:pt x="65" y="873"/>
                      <a:pt x="65" y="873"/>
                    </a:cubicBezTo>
                    <a:cubicBezTo>
                      <a:pt x="60" y="875"/>
                      <a:pt x="60" y="875"/>
                      <a:pt x="60" y="875"/>
                    </a:cubicBezTo>
                    <a:cubicBezTo>
                      <a:pt x="64" y="879"/>
                      <a:pt x="64" y="879"/>
                      <a:pt x="64" y="879"/>
                    </a:cubicBezTo>
                    <a:cubicBezTo>
                      <a:pt x="68" y="877"/>
                      <a:pt x="68" y="877"/>
                      <a:pt x="68" y="877"/>
                    </a:cubicBezTo>
                    <a:cubicBezTo>
                      <a:pt x="68" y="877"/>
                      <a:pt x="74" y="880"/>
                      <a:pt x="80" y="880"/>
                    </a:cubicBezTo>
                    <a:cubicBezTo>
                      <a:pt x="85" y="880"/>
                      <a:pt x="88" y="878"/>
                      <a:pt x="92" y="877"/>
                    </a:cubicBezTo>
                    <a:cubicBezTo>
                      <a:pt x="96" y="876"/>
                      <a:pt x="101" y="870"/>
                      <a:pt x="101" y="870"/>
                    </a:cubicBezTo>
                    <a:cubicBezTo>
                      <a:pt x="101" y="877"/>
                      <a:pt x="101" y="877"/>
                      <a:pt x="101" y="877"/>
                    </a:cubicBezTo>
                    <a:cubicBezTo>
                      <a:pt x="124" y="857"/>
                      <a:pt x="124" y="857"/>
                      <a:pt x="124" y="857"/>
                    </a:cubicBezTo>
                    <a:cubicBezTo>
                      <a:pt x="124" y="853"/>
                      <a:pt x="124" y="853"/>
                      <a:pt x="124" y="853"/>
                    </a:cubicBezTo>
                    <a:cubicBezTo>
                      <a:pt x="142" y="839"/>
                      <a:pt x="142" y="839"/>
                      <a:pt x="142" y="839"/>
                    </a:cubicBezTo>
                    <a:cubicBezTo>
                      <a:pt x="141" y="835"/>
                      <a:pt x="141" y="835"/>
                      <a:pt x="141" y="835"/>
                    </a:cubicBezTo>
                    <a:cubicBezTo>
                      <a:pt x="145" y="836"/>
                      <a:pt x="145" y="836"/>
                      <a:pt x="145" y="836"/>
                    </a:cubicBezTo>
                    <a:cubicBezTo>
                      <a:pt x="150" y="830"/>
                      <a:pt x="150" y="830"/>
                      <a:pt x="150" y="830"/>
                    </a:cubicBezTo>
                    <a:cubicBezTo>
                      <a:pt x="146" y="828"/>
                      <a:pt x="146" y="828"/>
                      <a:pt x="146" y="828"/>
                    </a:cubicBezTo>
                    <a:cubicBezTo>
                      <a:pt x="161" y="817"/>
                      <a:pt x="161" y="817"/>
                      <a:pt x="161" y="817"/>
                    </a:cubicBezTo>
                    <a:cubicBezTo>
                      <a:pt x="156" y="810"/>
                      <a:pt x="156" y="810"/>
                      <a:pt x="156" y="810"/>
                    </a:cubicBezTo>
                    <a:cubicBezTo>
                      <a:pt x="159" y="812"/>
                      <a:pt x="159" y="812"/>
                      <a:pt x="159" y="812"/>
                    </a:cubicBezTo>
                    <a:cubicBezTo>
                      <a:pt x="167" y="821"/>
                      <a:pt x="167" y="821"/>
                      <a:pt x="167" y="821"/>
                    </a:cubicBezTo>
                    <a:cubicBezTo>
                      <a:pt x="180" y="817"/>
                      <a:pt x="180" y="817"/>
                      <a:pt x="180" y="817"/>
                    </a:cubicBezTo>
                    <a:cubicBezTo>
                      <a:pt x="181" y="805"/>
                      <a:pt x="181" y="805"/>
                      <a:pt x="181" y="805"/>
                    </a:cubicBezTo>
                    <a:cubicBezTo>
                      <a:pt x="184" y="808"/>
                      <a:pt x="184" y="808"/>
                      <a:pt x="184" y="808"/>
                    </a:cubicBezTo>
                    <a:cubicBezTo>
                      <a:pt x="188" y="806"/>
                      <a:pt x="188" y="806"/>
                      <a:pt x="188" y="806"/>
                    </a:cubicBezTo>
                    <a:cubicBezTo>
                      <a:pt x="186" y="803"/>
                      <a:pt x="186" y="803"/>
                      <a:pt x="186" y="803"/>
                    </a:cubicBezTo>
                    <a:cubicBezTo>
                      <a:pt x="189" y="803"/>
                      <a:pt x="189" y="803"/>
                      <a:pt x="189" y="803"/>
                    </a:cubicBezTo>
                    <a:cubicBezTo>
                      <a:pt x="188" y="791"/>
                      <a:pt x="188" y="791"/>
                      <a:pt x="188" y="791"/>
                    </a:cubicBezTo>
                    <a:cubicBezTo>
                      <a:pt x="182" y="789"/>
                      <a:pt x="182" y="789"/>
                      <a:pt x="182" y="789"/>
                    </a:cubicBezTo>
                    <a:cubicBezTo>
                      <a:pt x="179" y="782"/>
                      <a:pt x="179" y="782"/>
                      <a:pt x="179" y="782"/>
                    </a:cubicBezTo>
                    <a:cubicBezTo>
                      <a:pt x="183" y="785"/>
                      <a:pt x="183" y="785"/>
                      <a:pt x="183" y="785"/>
                    </a:cubicBezTo>
                    <a:cubicBezTo>
                      <a:pt x="183" y="776"/>
                      <a:pt x="183" y="776"/>
                      <a:pt x="183" y="776"/>
                    </a:cubicBezTo>
                    <a:cubicBezTo>
                      <a:pt x="178" y="771"/>
                      <a:pt x="178" y="771"/>
                      <a:pt x="178" y="771"/>
                    </a:cubicBezTo>
                    <a:cubicBezTo>
                      <a:pt x="181" y="770"/>
                      <a:pt x="181" y="770"/>
                      <a:pt x="181" y="770"/>
                    </a:cubicBezTo>
                    <a:cubicBezTo>
                      <a:pt x="186" y="773"/>
                      <a:pt x="186" y="773"/>
                      <a:pt x="186" y="773"/>
                    </a:cubicBezTo>
                    <a:cubicBezTo>
                      <a:pt x="186" y="785"/>
                      <a:pt x="186" y="785"/>
                      <a:pt x="186" y="785"/>
                    </a:cubicBezTo>
                    <a:cubicBezTo>
                      <a:pt x="186" y="785"/>
                      <a:pt x="191" y="784"/>
                      <a:pt x="192" y="781"/>
                    </a:cubicBezTo>
                    <a:cubicBezTo>
                      <a:pt x="192" y="776"/>
                      <a:pt x="189" y="773"/>
                      <a:pt x="189" y="773"/>
                    </a:cubicBezTo>
                    <a:cubicBezTo>
                      <a:pt x="189" y="773"/>
                      <a:pt x="189" y="767"/>
                      <a:pt x="190" y="762"/>
                    </a:cubicBezTo>
                    <a:cubicBezTo>
                      <a:pt x="190" y="758"/>
                      <a:pt x="197" y="759"/>
                      <a:pt x="199" y="762"/>
                    </a:cubicBezTo>
                    <a:cubicBezTo>
                      <a:pt x="200" y="765"/>
                      <a:pt x="197" y="769"/>
                      <a:pt x="197" y="769"/>
                    </a:cubicBezTo>
                    <a:cubicBezTo>
                      <a:pt x="195" y="764"/>
                      <a:pt x="195" y="764"/>
                      <a:pt x="195" y="764"/>
                    </a:cubicBezTo>
                    <a:cubicBezTo>
                      <a:pt x="193" y="769"/>
                      <a:pt x="193" y="769"/>
                      <a:pt x="193" y="769"/>
                    </a:cubicBezTo>
                    <a:cubicBezTo>
                      <a:pt x="194" y="776"/>
                      <a:pt x="194" y="776"/>
                      <a:pt x="194" y="776"/>
                    </a:cubicBezTo>
                    <a:cubicBezTo>
                      <a:pt x="194" y="788"/>
                      <a:pt x="194" y="788"/>
                      <a:pt x="194" y="788"/>
                    </a:cubicBezTo>
                    <a:cubicBezTo>
                      <a:pt x="192" y="789"/>
                      <a:pt x="192" y="789"/>
                      <a:pt x="192" y="789"/>
                    </a:cubicBezTo>
                    <a:cubicBezTo>
                      <a:pt x="195" y="800"/>
                      <a:pt x="195" y="800"/>
                      <a:pt x="195" y="800"/>
                    </a:cubicBezTo>
                    <a:cubicBezTo>
                      <a:pt x="198" y="798"/>
                      <a:pt x="198" y="798"/>
                      <a:pt x="198" y="798"/>
                    </a:cubicBezTo>
                    <a:cubicBezTo>
                      <a:pt x="199" y="809"/>
                      <a:pt x="199" y="809"/>
                      <a:pt x="199" y="809"/>
                    </a:cubicBezTo>
                    <a:cubicBezTo>
                      <a:pt x="208" y="810"/>
                      <a:pt x="208" y="810"/>
                      <a:pt x="208" y="810"/>
                    </a:cubicBezTo>
                    <a:cubicBezTo>
                      <a:pt x="211" y="808"/>
                      <a:pt x="211" y="808"/>
                      <a:pt x="211" y="808"/>
                    </a:cubicBezTo>
                    <a:cubicBezTo>
                      <a:pt x="212" y="814"/>
                      <a:pt x="212" y="814"/>
                      <a:pt x="212" y="814"/>
                    </a:cubicBezTo>
                    <a:cubicBezTo>
                      <a:pt x="212" y="814"/>
                      <a:pt x="220" y="809"/>
                      <a:pt x="221" y="814"/>
                    </a:cubicBezTo>
                    <a:cubicBezTo>
                      <a:pt x="222" y="819"/>
                      <a:pt x="219" y="828"/>
                      <a:pt x="223" y="828"/>
                    </a:cubicBezTo>
                    <a:cubicBezTo>
                      <a:pt x="227" y="828"/>
                      <a:pt x="228" y="822"/>
                      <a:pt x="230" y="815"/>
                    </a:cubicBezTo>
                    <a:cubicBezTo>
                      <a:pt x="232" y="808"/>
                      <a:pt x="236" y="800"/>
                      <a:pt x="236" y="800"/>
                    </a:cubicBezTo>
                    <a:cubicBezTo>
                      <a:pt x="236" y="800"/>
                      <a:pt x="227" y="782"/>
                      <a:pt x="230" y="780"/>
                    </a:cubicBezTo>
                    <a:cubicBezTo>
                      <a:pt x="232" y="776"/>
                      <a:pt x="238" y="777"/>
                      <a:pt x="238" y="773"/>
                    </a:cubicBezTo>
                    <a:cubicBezTo>
                      <a:pt x="239" y="768"/>
                      <a:pt x="232" y="767"/>
                      <a:pt x="237" y="764"/>
                    </a:cubicBezTo>
                    <a:cubicBezTo>
                      <a:pt x="241" y="760"/>
                      <a:pt x="252" y="766"/>
                      <a:pt x="256" y="754"/>
                    </a:cubicBezTo>
                    <a:cubicBezTo>
                      <a:pt x="259" y="741"/>
                      <a:pt x="255" y="738"/>
                      <a:pt x="256" y="734"/>
                    </a:cubicBezTo>
                    <a:cubicBezTo>
                      <a:pt x="257" y="729"/>
                      <a:pt x="265" y="733"/>
                      <a:pt x="262" y="725"/>
                    </a:cubicBezTo>
                    <a:cubicBezTo>
                      <a:pt x="260" y="718"/>
                      <a:pt x="254" y="704"/>
                      <a:pt x="254" y="704"/>
                    </a:cubicBezTo>
                    <a:cubicBezTo>
                      <a:pt x="252" y="695"/>
                      <a:pt x="252" y="695"/>
                      <a:pt x="252" y="695"/>
                    </a:cubicBezTo>
                    <a:cubicBezTo>
                      <a:pt x="247" y="689"/>
                      <a:pt x="247" y="689"/>
                      <a:pt x="247" y="689"/>
                    </a:cubicBezTo>
                    <a:cubicBezTo>
                      <a:pt x="256" y="686"/>
                      <a:pt x="256" y="686"/>
                      <a:pt x="256" y="686"/>
                    </a:cubicBezTo>
                    <a:cubicBezTo>
                      <a:pt x="256" y="686"/>
                      <a:pt x="264" y="692"/>
                      <a:pt x="266" y="680"/>
                    </a:cubicBezTo>
                    <a:cubicBezTo>
                      <a:pt x="270" y="668"/>
                      <a:pt x="269" y="664"/>
                      <a:pt x="265" y="660"/>
                    </a:cubicBezTo>
                    <a:cubicBezTo>
                      <a:pt x="261" y="657"/>
                      <a:pt x="256" y="654"/>
                      <a:pt x="256" y="654"/>
                    </a:cubicBezTo>
                    <a:cubicBezTo>
                      <a:pt x="246" y="644"/>
                      <a:pt x="246" y="644"/>
                      <a:pt x="246" y="644"/>
                    </a:cubicBezTo>
                    <a:cubicBezTo>
                      <a:pt x="252" y="609"/>
                      <a:pt x="252" y="609"/>
                      <a:pt x="252" y="609"/>
                    </a:cubicBezTo>
                    <a:cubicBezTo>
                      <a:pt x="244" y="586"/>
                      <a:pt x="244" y="586"/>
                      <a:pt x="244" y="586"/>
                    </a:cubicBezTo>
                    <a:cubicBezTo>
                      <a:pt x="247" y="578"/>
                      <a:pt x="247" y="578"/>
                      <a:pt x="247" y="578"/>
                    </a:cubicBezTo>
                    <a:cubicBezTo>
                      <a:pt x="244" y="567"/>
                      <a:pt x="244" y="567"/>
                      <a:pt x="244" y="567"/>
                    </a:cubicBezTo>
                    <a:cubicBezTo>
                      <a:pt x="248" y="561"/>
                      <a:pt x="248" y="561"/>
                      <a:pt x="248" y="561"/>
                    </a:cubicBezTo>
                    <a:cubicBezTo>
                      <a:pt x="241" y="542"/>
                      <a:pt x="241" y="542"/>
                      <a:pt x="241" y="542"/>
                    </a:cubicBezTo>
                    <a:cubicBezTo>
                      <a:pt x="249" y="531"/>
                      <a:pt x="249" y="531"/>
                      <a:pt x="249" y="531"/>
                    </a:cubicBezTo>
                    <a:cubicBezTo>
                      <a:pt x="246" y="522"/>
                      <a:pt x="246" y="522"/>
                      <a:pt x="246" y="522"/>
                    </a:cubicBezTo>
                    <a:cubicBezTo>
                      <a:pt x="246" y="522"/>
                      <a:pt x="258" y="494"/>
                      <a:pt x="270" y="491"/>
                    </a:cubicBezTo>
                    <a:cubicBezTo>
                      <a:pt x="280" y="488"/>
                      <a:pt x="300" y="494"/>
                      <a:pt x="300" y="494"/>
                    </a:cubicBezTo>
                    <a:cubicBezTo>
                      <a:pt x="305" y="482"/>
                      <a:pt x="305" y="482"/>
                      <a:pt x="305" y="482"/>
                    </a:cubicBezTo>
                    <a:cubicBezTo>
                      <a:pt x="304" y="467"/>
                      <a:pt x="304" y="467"/>
                      <a:pt x="304" y="467"/>
                    </a:cubicBezTo>
                    <a:cubicBezTo>
                      <a:pt x="290" y="457"/>
                      <a:pt x="290" y="457"/>
                      <a:pt x="290" y="457"/>
                    </a:cubicBezTo>
                    <a:cubicBezTo>
                      <a:pt x="309" y="425"/>
                      <a:pt x="309" y="425"/>
                      <a:pt x="309" y="425"/>
                    </a:cubicBezTo>
                    <a:cubicBezTo>
                      <a:pt x="310" y="415"/>
                      <a:pt x="310" y="415"/>
                      <a:pt x="310" y="415"/>
                    </a:cubicBezTo>
                    <a:cubicBezTo>
                      <a:pt x="314" y="410"/>
                      <a:pt x="314" y="410"/>
                      <a:pt x="314" y="410"/>
                    </a:cubicBezTo>
                    <a:cubicBezTo>
                      <a:pt x="313" y="390"/>
                      <a:pt x="313" y="390"/>
                      <a:pt x="313" y="390"/>
                    </a:cubicBezTo>
                    <a:cubicBezTo>
                      <a:pt x="315" y="378"/>
                      <a:pt x="315" y="378"/>
                      <a:pt x="315" y="378"/>
                    </a:cubicBezTo>
                    <a:cubicBezTo>
                      <a:pt x="311" y="358"/>
                      <a:pt x="311" y="358"/>
                      <a:pt x="311" y="358"/>
                    </a:cubicBezTo>
                    <a:cubicBezTo>
                      <a:pt x="324" y="356"/>
                      <a:pt x="324" y="356"/>
                      <a:pt x="324" y="356"/>
                    </a:cubicBezTo>
                    <a:cubicBezTo>
                      <a:pt x="337" y="346"/>
                      <a:pt x="337" y="346"/>
                      <a:pt x="337" y="346"/>
                    </a:cubicBezTo>
                    <a:cubicBezTo>
                      <a:pt x="334" y="333"/>
                      <a:pt x="334" y="333"/>
                      <a:pt x="334" y="333"/>
                    </a:cubicBezTo>
                    <a:cubicBezTo>
                      <a:pt x="334" y="333"/>
                      <a:pt x="339" y="332"/>
                      <a:pt x="341" y="326"/>
                    </a:cubicBezTo>
                    <a:cubicBezTo>
                      <a:pt x="343" y="319"/>
                      <a:pt x="341" y="314"/>
                      <a:pt x="347" y="308"/>
                    </a:cubicBezTo>
                    <a:cubicBezTo>
                      <a:pt x="355" y="300"/>
                      <a:pt x="361" y="298"/>
                      <a:pt x="359" y="292"/>
                    </a:cubicBezTo>
                    <a:cubicBezTo>
                      <a:pt x="358" y="284"/>
                      <a:pt x="351" y="273"/>
                      <a:pt x="351" y="273"/>
                    </a:cubicBezTo>
                    <a:cubicBezTo>
                      <a:pt x="351" y="266"/>
                      <a:pt x="351" y="266"/>
                      <a:pt x="351" y="266"/>
                    </a:cubicBezTo>
                    <a:cubicBezTo>
                      <a:pt x="351" y="266"/>
                      <a:pt x="359" y="268"/>
                      <a:pt x="360" y="263"/>
                    </a:cubicBezTo>
                    <a:cubicBezTo>
                      <a:pt x="360" y="258"/>
                      <a:pt x="364" y="241"/>
                      <a:pt x="364" y="241"/>
                    </a:cubicBezTo>
                    <a:cubicBezTo>
                      <a:pt x="378" y="226"/>
                      <a:pt x="378" y="226"/>
                      <a:pt x="378" y="226"/>
                    </a:cubicBezTo>
                    <a:cubicBezTo>
                      <a:pt x="394" y="234"/>
                      <a:pt x="394" y="234"/>
                      <a:pt x="394" y="234"/>
                    </a:cubicBezTo>
                    <a:cubicBezTo>
                      <a:pt x="394" y="234"/>
                      <a:pt x="397" y="223"/>
                      <a:pt x="399" y="218"/>
                    </a:cubicBezTo>
                    <a:cubicBezTo>
                      <a:pt x="400" y="213"/>
                      <a:pt x="397" y="198"/>
                      <a:pt x="397" y="198"/>
                    </a:cubicBezTo>
                    <a:cubicBezTo>
                      <a:pt x="405" y="193"/>
                      <a:pt x="405" y="193"/>
                      <a:pt x="405" y="193"/>
                    </a:cubicBezTo>
                    <a:cubicBezTo>
                      <a:pt x="409" y="198"/>
                      <a:pt x="409" y="198"/>
                      <a:pt x="409" y="198"/>
                    </a:cubicBezTo>
                    <a:cubicBezTo>
                      <a:pt x="421" y="195"/>
                      <a:pt x="421" y="195"/>
                      <a:pt x="421" y="195"/>
                    </a:cubicBezTo>
                    <a:cubicBezTo>
                      <a:pt x="443" y="205"/>
                      <a:pt x="443" y="205"/>
                      <a:pt x="443" y="205"/>
                    </a:cubicBezTo>
                    <a:cubicBezTo>
                      <a:pt x="450" y="195"/>
                      <a:pt x="450" y="195"/>
                      <a:pt x="450" y="195"/>
                    </a:cubicBezTo>
                    <a:cubicBezTo>
                      <a:pt x="442" y="191"/>
                      <a:pt x="442" y="191"/>
                      <a:pt x="442" y="191"/>
                    </a:cubicBezTo>
                    <a:cubicBezTo>
                      <a:pt x="442" y="191"/>
                      <a:pt x="450" y="182"/>
                      <a:pt x="449" y="174"/>
                    </a:cubicBezTo>
                    <a:cubicBezTo>
                      <a:pt x="448" y="168"/>
                      <a:pt x="441" y="159"/>
                      <a:pt x="441" y="159"/>
                    </a:cubicBezTo>
                    <a:cubicBezTo>
                      <a:pt x="453" y="157"/>
                      <a:pt x="453" y="157"/>
                      <a:pt x="453" y="157"/>
                    </a:cubicBezTo>
                    <a:cubicBezTo>
                      <a:pt x="455" y="154"/>
                      <a:pt x="455" y="154"/>
                      <a:pt x="455" y="154"/>
                    </a:cubicBezTo>
                    <a:cubicBezTo>
                      <a:pt x="455" y="154"/>
                      <a:pt x="464" y="159"/>
                      <a:pt x="466" y="157"/>
                    </a:cubicBezTo>
                    <a:cubicBezTo>
                      <a:pt x="467" y="155"/>
                      <a:pt x="459" y="148"/>
                      <a:pt x="465" y="144"/>
                    </a:cubicBezTo>
                    <a:cubicBezTo>
                      <a:pt x="469" y="139"/>
                      <a:pt x="478" y="142"/>
                      <a:pt x="478" y="142"/>
                    </a:cubicBezTo>
                    <a:cubicBezTo>
                      <a:pt x="478" y="142"/>
                      <a:pt x="485" y="152"/>
                      <a:pt x="490" y="157"/>
                    </a:cubicBezTo>
                    <a:cubicBezTo>
                      <a:pt x="497" y="163"/>
                      <a:pt x="499" y="172"/>
                      <a:pt x="499" y="172"/>
                    </a:cubicBezTo>
                    <a:cubicBezTo>
                      <a:pt x="504" y="171"/>
                      <a:pt x="504" y="171"/>
                      <a:pt x="504" y="171"/>
                    </a:cubicBezTo>
                    <a:cubicBezTo>
                      <a:pt x="515" y="171"/>
                      <a:pt x="515" y="171"/>
                      <a:pt x="515" y="171"/>
                    </a:cubicBezTo>
                    <a:cubicBezTo>
                      <a:pt x="522" y="175"/>
                      <a:pt x="522" y="175"/>
                      <a:pt x="522" y="175"/>
                    </a:cubicBezTo>
                    <a:cubicBezTo>
                      <a:pt x="531" y="169"/>
                      <a:pt x="531" y="169"/>
                      <a:pt x="531" y="169"/>
                    </a:cubicBezTo>
                    <a:cubicBezTo>
                      <a:pt x="531" y="169"/>
                      <a:pt x="533" y="161"/>
                      <a:pt x="539" y="161"/>
                    </a:cubicBezTo>
                    <a:cubicBezTo>
                      <a:pt x="544" y="161"/>
                      <a:pt x="546" y="166"/>
                      <a:pt x="546" y="166"/>
                    </a:cubicBezTo>
                    <a:cubicBezTo>
                      <a:pt x="558" y="167"/>
                      <a:pt x="558" y="167"/>
                      <a:pt x="558" y="167"/>
                    </a:cubicBezTo>
                    <a:cubicBezTo>
                      <a:pt x="565" y="174"/>
                      <a:pt x="565" y="174"/>
                      <a:pt x="565" y="174"/>
                    </a:cubicBezTo>
                    <a:cubicBezTo>
                      <a:pt x="565" y="174"/>
                      <a:pt x="567" y="161"/>
                      <a:pt x="570" y="157"/>
                    </a:cubicBezTo>
                    <a:cubicBezTo>
                      <a:pt x="572" y="154"/>
                      <a:pt x="575" y="150"/>
                      <a:pt x="575" y="144"/>
                    </a:cubicBezTo>
                    <a:cubicBezTo>
                      <a:pt x="574" y="139"/>
                      <a:pt x="572" y="130"/>
                      <a:pt x="572" y="130"/>
                    </a:cubicBezTo>
                    <a:cubicBezTo>
                      <a:pt x="574" y="97"/>
                      <a:pt x="574" y="97"/>
                      <a:pt x="574" y="97"/>
                    </a:cubicBezTo>
                    <a:cubicBezTo>
                      <a:pt x="577" y="93"/>
                      <a:pt x="577" y="93"/>
                      <a:pt x="577" y="93"/>
                    </a:cubicBezTo>
                    <a:cubicBezTo>
                      <a:pt x="577" y="93"/>
                      <a:pt x="576" y="81"/>
                      <a:pt x="582" y="79"/>
                    </a:cubicBezTo>
                    <a:cubicBezTo>
                      <a:pt x="588" y="76"/>
                      <a:pt x="595" y="78"/>
                      <a:pt x="595" y="78"/>
                    </a:cubicBezTo>
                    <a:cubicBezTo>
                      <a:pt x="595" y="78"/>
                      <a:pt x="604" y="66"/>
                      <a:pt x="610" y="65"/>
                    </a:cubicBezTo>
                    <a:cubicBezTo>
                      <a:pt x="616" y="64"/>
                      <a:pt x="625" y="77"/>
                      <a:pt x="625" y="77"/>
                    </a:cubicBezTo>
                    <a:cubicBezTo>
                      <a:pt x="648" y="80"/>
                      <a:pt x="648" y="80"/>
                      <a:pt x="648" y="80"/>
                    </a:cubicBezTo>
                    <a:cubicBezTo>
                      <a:pt x="655" y="91"/>
                      <a:pt x="655" y="91"/>
                      <a:pt x="655" y="91"/>
                    </a:cubicBezTo>
                    <a:cubicBezTo>
                      <a:pt x="655" y="91"/>
                      <a:pt x="647" y="105"/>
                      <a:pt x="647" y="110"/>
                    </a:cubicBezTo>
                    <a:cubicBezTo>
                      <a:pt x="647" y="116"/>
                      <a:pt x="650" y="121"/>
                      <a:pt x="650" y="121"/>
                    </a:cubicBezTo>
                    <a:cubicBezTo>
                      <a:pt x="650" y="121"/>
                      <a:pt x="654" y="125"/>
                      <a:pt x="656" y="123"/>
                    </a:cubicBezTo>
                    <a:cubicBezTo>
                      <a:pt x="659" y="121"/>
                      <a:pt x="658" y="107"/>
                      <a:pt x="658" y="107"/>
                    </a:cubicBezTo>
                    <a:cubicBezTo>
                      <a:pt x="658" y="107"/>
                      <a:pt x="655" y="108"/>
                      <a:pt x="656" y="105"/>
                    </a:cubicBezTo>
                    <a:cubicBezTo>
                      <a:pt x="657" y="102"/>
                      <a:pt x="661" y="102"/>
                      <a:pt x="663" y="100"/>
                    </a:cubicBezTo>
                    <a:cubicBezTo>
                      <a:pt x="666" y="98"/>
                      <a:pt x="665" y="93"/>
                      <a:pt x="666" y="93"/>
                    </a:cubicBezTo>
                    <a:cubicBezTo>
                      <a:pt x="668" y="92"/>
                      <a:pt x="674" y="94"/>
                      <a:pt x="674" y="90"/>
                    </a:cubicBezTo>
                    <a:cubicBezTo>
                      <a:pt x="674" y="85"/>
                      <a:pt x="669" y="78"/>
                      <a:pt x="669" y="78"/>
                    </a:cubicBezTo>
                    <a:cubicBezTo>
                      <a:pt x="669" y="78"/>
                      <a:pt x="673" y="78"/>
                      <a:pt x="675" y="79"/>
                    </a:cubicBezTo>
                    <a:cubicBezTo>
                      <a:pt x="678" y="79"/>
                      <a:pt x="685" y="87"/>
                      <a:pt x="687" y="80"/>
                    </a:cubicBezTo>
                    <a:cubicBezTo>
                      <a:pt x="690" y="74"/>
                      <a:pt x="685" y="71"/>
                      <a:pt x="685" y="71"/>
                    </a:cubicBezTo>
                    <a:close/>
                    <a:moveTo>
                      <a:pt x="8" y="787"/>
                    </a:moveTo>
                    <a:cubicBezTo>
                      <a:pt x="8" y="787"/>
                      <a:pt x="7" y="793"/>
                      <a:pt x="8" y="794"/>
                    </a:cubicBezTo>
                    <a:cubicBezTo>
                      <a:pt x="9" y="796"/>
                      <a:pt x="6" y="800"/>
                      <a:pt x="6" y="800"/>
                    </a:cubicBezTo>
                    <a:cubicBezTo>
                      <a:pt x="9" y="800"/>
                      <a:pt x="9" y="800"/>
                      <a:pt x="9" y="800"/>
                    </a:cubicBezTo>
                    <a:cubicBezTo>
                      <a:pt x="11" y="798"/>
                      <a:pt x="11" y="798"/>
                      <a:pt x="11" y="798"/>
                    </a:cubicBezTo>
                    <a:cubicBezTo>
                      <a:pt x="11" y="792"/>
                      <a:pt x="11" y="792"/>
                      <a:pt x="11" y="792"/>
                    </a:cubicBezTo>
                    <a:cubicBezTo>
                      <a:pt x="10" y="785"/>
                      <a:pt x="10" y="785"/>
                      <a:pt x="10" y="785"/>
                    </a:cubicBezTo>
                    <a:lnTo>
                      <a:pt x="8" y="787"/>
                    </a:lnTo>
                    <a:close/>
                    <a:moveTo>
                      <a:pt x="27" y="805"/>
                    </a:moveTo>
                    <a:cubicBezTo>
                      <a:pt x="18" y="803"/>
                      <a:pt x="18" y="803"/>
                      <a:pt x="18" y="803"/>
                    </a:cubicBezTo>
                    <a:cubicBezTo>
                      <a:pt x="26" y="808"/>
                      <a:pt x="26" y="808"/>
                      <a:pt x="26" y="808"/>
                    </a:cubicBezTo>
                    <a:lnTo>
                      <a:pt x="27" y="805"/>
                    </a:lnTo>
                    <a:close/>
                    <a:moveTo>
                      <a:pt x="36" y="794"/>
                    </a:moveTo>
                    <a:cubicBezTo>
                      <a:pt x="32" y="794"/>
                      <a:pt x="32" y="794"/>
                      <a:pt x="32" y="794"/>
                    </a:cubicBezTo>
                    <a:cubicBezTo>
                      <a:pt x="30" y="799"/>
                      <a:pt x="30" y="799"/>
                      <a:pt x="30" y="799"/>
                    </a:cubicBezTo>
                    <a:cubicBezTo>
                      <a:pt x="38" y="798"/>
                      <a:pt x="38" y="798"/>
                      <a:pt x="38" y="798"/>
                    </a:cubicBezTo>
                    <a:lnTo>
                      <a:pt x="36" y="794"/>
                    </a:lnTo>
                    <a:close/>
                    <a:moveTo>
                      <a:pt x="16" y="750"/>
                    </a:moveTo>
                    <a:cubicBezTo>
                      <a:pt x="16" y="753"/>
                      <a:pt x="16" y="753"/>
                      <a:pt x="16" y="753"/>
                    </a:cubicBezTo>
                    <a:cubicBezTo>
                      <a:pt x="14" y="754"/>
                      <a:pt x="14" y="754"/>
                      <a:pt x="14" y="754"/>
                    </a:cubicBezTo>
                    <a:cubicBezTo>
                      <a:pt x="14" y="754"/>
                      <a:pt x="16" y="762"/>
                      <a:pt x="20" y="762"/>
                    </a:cubicBezTo>
                    <a:cubicBezTo>
                      <a:pt x="26" y="762"/>
                      <a:pt x="22" y="753"/>
                      <a:pt x="22" y="753"/>
                    </a:cubicBezTo>
                    <a:cubicBezTo>
                      <a:pt x="17" y="750"/>
                      <a:pt x="17" y="750"/>
                      <a:pt x="17" y="750"/>
                    </a:cubicBezTo>
                    <a:lnTo>
                      <a:pt x="16" y="750"/>
                    </a:lnTo>
                    <a:close/>
                    <a:moveTo>
                      <a:pt x="15" y="768"/>
                    </a:moveTo>
                    <a:cubicBezTo>
                      <a:pt x="17" y="766"/>
                      <a:pt x="17" y="766"/>
                      <a:pt x="17" y="766"/>
                    </a:cubicBezTo>
                    <a:cubicBezTo>
                      <a:pt x="15" y="762"/>
                      <a:pt x="15" y="762"/>
                      <a:pt x="15" y="762"/>
                    </a:cubicBezTo>
                    <a:cubicBezTo>
                      <a:pt x="15" y="758"/>
                      <a:pt x="15" y="758"/>
                      <a:pt x="15" y="758"/>
                    </a:cubicBezTo>
                    <a:cubicBezTo>
                      <a:pt x="11" y="756"/>
                      <a:pt x="11" y="756"/>
                      <a:pt x="11" y="756"/>
                    </a:cubicBezTo>
                    <a:cubicBezTo>
                      <a:pt x="11" y="757"/>
                      <a:pt x="11" y="757"/>
                      <a:pt x="11" y="757"/>
                    </a:cubicBezTo>
                    <a:cubicBezTo>
                      <a:pt x="11" y="757"/>
                      <a:pt x="10" y="758"/>
                      <a:pt x="9" y="760"/>
                    </a:cubicBezTo>
                    <a:cubicBezTo>
                      <a:pt x="8" y="762"/>
                      <a:pt x="12" y="764"/>
                      <a:pt x="12" y="764"/>
                    </a:cubicBezTo>
                    <a:cubicBezTo>
                      <a:pt x="9" y="767"/>
                      <a:pt x="9" y="767"/>
                      <a:pt x="9" y="767"/>
                    </a:cubicBezTo>
                    <a:cubicBezTo>
                      <a:pt x="9" y="773"/>
                      <a:pt x="9" y="773"/>
                      <a:pt x="9" y="773"/>
                    </a:cubicBezTo>
                    <a:cubicBezTo>
                      <a:pt x="13" y="772"/>
                      <a:pt x="13" y="772"/>
                      <a:pt x="13" y="772"/>
                    </a:cubicBezTo>
                    <a:cubicBezTo>
                      <a:pt x="10" y="767"/>
                      <a:pt x="10" y="767"/>
                      <a:pt x="10" y="767"/>
                    </a:cubicBezTo>
                    <a:cubicBezTo>
                      <a:pt x="14" y="764"/>
                      <a:pt x="14" y="764"/>
                      <a:pt x="14" y="764"/>
                    </a:cubicBezTo>
                    <a:cubicBezTo>
                      <a:pt x="15" y="764"/>
                      <a:pt x="15" y="764"/>
                      <a:pt x="15" y="764"/>
                    </a:cubicBezTo>
                    <a:cubicBezTo>
                      <a:pt x="14" y="766"/>
                      <a:pt x="14" y="766"/>
                      <a:pt x="14" y="766"/>
                    </a:cubicBezTo>
                    <a:lnTo>
                      <a:pt x="15" y="768"/>
                    </a:lnTo>
                    <a:close/>
                    <a:moveTo>
                      <a:pt x="29" y="766"/>
                    </a:moveTo>
                    <a:cubicBezTo>
                      <a:pt x="33" y="764"/>
                      <a:pt x="33" y="764"/>
                      <a:pt x="33" y="764"/>
                    </a:cubicBezTo>
                    <a:cubicBezTo>
                      <a:pt x="27" y="759"/>
                      <a:pt x="27" y="759"/>
                      <a:pt x="27" y="759"/>
                    </a:cubicBezTo>
                    <a:cubicBezTo>
                      <a:pt x="25" y="761"/>
                      <a:pt x="25" y="761"/>
                      <a:pt x="25" y="761"/>
                    </a:cubicBezTo>
                    <a:lnTo>
                      <a:pt x="29" y="766"/>
                    </a:lnTo>
                    <a:close/>
                    <a:moveTo>
                      <a:pt x="28" y="743"/>
                    </a:moveTo>
                    <a:cubicBezTo>
                      <a:pt x="23" y="744"/>
                      <a:pt x="23" y="744"/>
                      <a:pt x="23" y="744"/>
                    </a:cubicBezTo>
                    <a:cubicBezTo>
                      <a:pt x="23" y="747"/>
                      <a:pt x="23" y="747"/>
                      <a:pt x="23" y="747"/>
                    </a:cubicBezTo>
                    <a:cubicBezTo>
                      <a:pt x="20" y="749"/>
                      <a:pt x="20" y="749"/>
                      <a:pt x="20" y="749"/>
                    </a:cubicBezTo>
                    <a:cubicBezTo>
                      <a:pt x="23" y="751"/>
                      <a:pt x="23" y="751"/>
                      <a:pt x="23" y="751"/>
                    </a:cubicBezTo>
                    <a:cubicBezTo>
                      <a:pt x="25" y="754"/>
                      <a:pt x="25" y="754"/>
                      <a:pt x="25" y="754"/>
                    </a:cubicBezTo>
                    <a:cubicBezTo>
                      <a:pt x="27" y="754"/>
                      <a:pt x="27" y="754"/>
                      <a:pt x="27" y="754"/>
                    </a:cubicBezTo>
                    <a:cubicBezTo>
                      <a:pt x="27" y="751"/>
                      <a:pt x="27" y="751"/>
                      <a:pt x="27" y="751"/>
                    </a:cubicBezTo>
                    <a:cubicBezTo>
                      <a:pt x="29" y="749"/>
                      <a:pt x="29" y="749"/>
                      <a:pt x="29" y="749"/>
                    </a:cubicBezTo>
                    <a:lnTo>
                      <a:pt x="28" y="743"/>
                    </a:lnTo>
                    <a:close/>
                    <a:moveTo>
                      <a:pt x="19" y="743"/>
                    </a:moveTo>
                    <a:cubicBezTo>
                      <a:pt x="16" y="746"/>
                      <a:pt x="19" y="747"/>
                      <a:pt x="20" y="746"/>
                    </a:cubicBezTo>
                    <a:cubicBezTo>
                      <a:pt x="23" y="744"/>
                      <a:pt x="22" y="740"/>
                      <a:pt x="19" y="743"/>
                    </a:cubicBezTo>
                    <a:close/>
                    <a:moveTo>
                      <a:pt x="10" y="738"/>
                    </a:moveTo>
                    <a:cubicBezTo>
                      <a:pt x="11" y="740"/>
                      <a:pt x="11" y="740"/>
                      <a:pt x="11" y="740"/>
                    </a:cubicBezTo>
                    <a:cubicBezTo>
                      <a:pt x="12" y="740"/>
                      <a:pt x="12" y="740"/>
                      <a:pt x="12" y="740"/>
                    </a:cubicBezTo>
                    <a:cubicBezTo>
                      <a:pt x="14" y="743"/>
                      <a:pt x="14" y="743"/>
                      <a:pt x="14" y="743"/>
                    </a:cubicBezTo>
                    <a:cubicBezTo>
                      <a:pt x="12" y="745"/>
                      <a:pt x="12" y="745"/>
                      <a:pt x="12" y="745"/>
                    </a:cubicBezTo>
                    <a:cubicBezTo>
                      <a:pt x="15" y="746"/>
                      <a:pt x="15" y="746"/>
                      <a:pt x="15" y="746"/>
                    </a:cubicBezTo>
                    <a:cubicBezTo>
                      <a:pt x="16" y="742"/>
                      <a:pt x="16" y="742"/>
                      <a:pt x="16" y="742"/>
                    </a:cubicBezTo>
                    <a:cubicBezTo>
                      <a:pt x="12" y="737"/>
                      <a:pt x="12" y="737"/>
                      <a:pt x="12" y="737"/>
                    </a:cubicBezTo>
                    <a:lnTo>
                      <a:pt x="10" y="738"/>
                    </a:lnTo>
                    <a:close/>
                    <a:moveTo>
                      <a:pt x="13" y="749"/>
                    </a:moveTo>
                    <a:cubicBezTo>
                      <a:pt x="11" y="746"/>
                      <a:pt x="11" y="746"/>
                      <a:pt x="11" y="746"/>
                    </a:cubicBezTo>
                    <a:cubicBezTo>
                      <a:pt x="8" y="749"/>
                      <a:pt x="8" y="749"/>
                      <a:pt x="8" y="749"/>
                    </a:cubicBezTo>
                    <a:cubicBezTo>
                      <a:pt x="9" y="751"/>
                      <a:pt x="9" y="751"/>
                      <a:pt x="9" y="751"/>
                    </a:cubicBezTo>
                    <a:lnTo>
                      <a:pt x="13" y="749"/>
                    </a:lnTo>
                    <a:close/>
                    <a:moveTo>
                      <a:pt x="41" y="738"/>
                    </a:moveTo>
                    <a:cubicBezTo>
                      <a:pt x="39" y="740"/>
                      <a:pt x="39" y="740"/>
                      <a:pt x="39" y="740"/>
                    </a:cubicBezTo>
                    <a:cubicBezTo>
                      <a:pt x="40" y="744"/>
                      <a:pt x="40" y="744"/>
                      <a:pt x="40" y="744"/>
                    </a:cubicBezTo>
                    <a:cubicBezTo>
                      <a:pt x="43" y="741"/>
                      <a:pt x="43" y="741"/>
                      <a:pt x="43" y="741"/>
                    </a:cubicBezTo>
                    <a:lnTo>
                      <a:pt x="41" y="738"/>
                    </a:lnTo>
                    <a:close/>
                    <a:moveTo>
                      <a:pt x="9" y="733"/>
                    </a:moveTo>
                    <a:cubicBezTo>
                      <a:pt x="11" y="734"/>
                      <a:pt x="13" y="734"/>
                      <a:pt x="13" y="734"/>
                    </a:cubicBezTo>
                    <a:cubicBezTo>
                      <a:pt x="11" y="729"/>
                      <a:pt x="11" y="729"/>
                      <a:pt x="11" y="729"/>
                    </a:cubicBezTo>
                    <a:cubicBezTo>
                      <a:pt x="13" y="727"/>
                      <a:pt x="13" y="727"/>
                      <a:pt x="13" y="727"/>
                    </a:cubicBezTo>
                    <a:cubicBezTo>
                      <a:pt x="10" y="719"/>
                      <a:pt x="10" y="719"/>
                      <a:pt x="10" y="719"/>
                    </a:cubicBezTo>
                    <a:cubicBezTo>
                      <a:pt x="9" y="722"/>
                      <a:pt x="9" y="722"/>
                      <a:pt x="9" y="722"/>
                    </a:cubicBezTo>
                    <a:cubicBezTo>
                      <a:pt x="11" y="726"/>
                      <a:pt x="11" y="726"/>
                      <a:pt x="11" y="726"/>
                    </a:cubicBezTo>
                    <a:cubicBezTo>
                      <a:pt x="7" y="727"/>
                      <a:pt x="7" y="727"/>
                      <a:pt x="7" y="727"/>
                    </a:cubicBezTo>
                    <a:cubicBezTo>
                      <a:pt x="7" y="727"/>
                      <a:pt x="7" y="731"/>
                      <a:pt x="9" y="733"/>
                    </a:cubicBezTo>
                    <a:close/>
                    <a:moveTo>
                      <a:pt x="16" y="715"/>
                    </a:moveTo>
                    <a:cubicBezTo>
                      <a:pt x="10" y="711"/>
                      <a:pt x="10" y="711"/>
                      <a:pt x="10" y="711"/>
                    </a:cubicBezTo>
                    <a:cubicBezTo>
                      <a:pt x="9" y="712"/>
                      <a:pt x="9" y="712"/>
                      <a:pt x="9" y="712"/>
                    </a:cubicBezTo>
                    <a:cubicBezTo>
                      <a:pt x="12" y="714"/>
                      <a:pt x="12" y="714"/>
                      <a:pt x="12" y="714"/>
                    </a:cubicBezTo>
                    <a:cubicBezTo>
                      <a:pt x="12" y="718"/>
                      <a:pt x="12" y="718"/>
                      <a:pt x="12" y="718"/>
                    </a:cubicBezTo>
                    <a:cubicBezTo>
                      <a:pt x="14" y="721"/>
                      <a:pt x="14" y="721"/>
                      <a:pt x="14" y="721"/>
                    </a:cubicBezTo>
                    <a:cubicBezTo>
                      <a:pt x="17" y="721"/>
                      <a:pt x="17" y="721"/>
                      <a:pt x="17" y="721"/>
                    </a:cubicBezTo>
                    <a:lnTo>
                      <a:pt x="16" y="715"/>
                    </a:lnTo>
                    <a:close/>
                    <a:moveTo>
                      <a:pt x="24" y="713"/>
                    </a:moveTo>
                    <a:cubicBezTo>
                      <a:pt x="28" y="719"/>
                      <a:pt x="28" y="719"/>
                      <a:pt x="28" y="719"/>
                    </a:cubicBezTo>
                    <a:cubicBezTo>
                      <a:pt x="32" y="717"/>
                      <a:pt x="32" y="717"/>
                      <a:pt x="32" y="717"/>
                    </a:cubicBezTo>
                    <a:cubicBezTo>
                      <a:pt x="34" y="706"/>
                      <a:pt x="34" y="706"/>
                      <a:pt x="34" y="706"/>
                    </a:cubicBezTo>
                    <a:cubicBezTo>
                      <a:pt x="33" y="705"/>
                      <a:pt x="33" y="705"/>
                      <a:pt x="33" y="705"/>
                    </a:cubicBezTo>
                    <a:cubicBezTo>
                      <a:pt x="29" y="710"/>
                      <a:pt x="29" y="710"/>
                      <a:pt x="29" y="710"/>
                    </a:cubicBezTo>
                    <a:cubicBezTo>
                      <a:pt x="29" y="710"/>
                      <a:pt x="28" y="710"/>
                      <a:pt x="26" y="711"/>
                    </a:cubicBezTo>
                    <a:cubicBezTo>
                      <a:pt x="24" y="711"/>
                      <a:pt x="24" y="713"/>
                      <a:pt x="24" y="713"/>
                    </a:cubicBezTo>
                    <a:close/>
                    <a:moveTo>
                      <a:pt x="22" y="703"/>
                    </a:moveTo>
                    <a:cubicBezTo>
                      <a:pt x="13" y="694"/>
                      <a:pt x="13" y="694"/>
                      <a:pt x="13" y="694"/>
                    </a:cubicBezTo>
                    <a:cubicBezTo>
                      <a:pt x="12" y="695"/>
                      <a:pt x="12" y="695"/>
                      <a:pt x="12" y="695"/>
                    </a:cubicBezTo>
                    <a:cubicBezTo>
                      <a:pt x="18" y="703"/>
                      <a:pt x="18" y="703"/>
                      <a:pt x="18" y="703"/>
                    </a:cubicBezTo>
                    <a:cubicBezTo>
                      <a:pt x="17" y="705"/>
                      <a:pt x="17" y="705"/>
                      <a:pt x="17" y="705"/>
                    </a:cubicBezTo>
                    <a:cubicBezTo>
                      <a:pt x="15" y="704"/>
                      <a:pt x="15" y="704"/>
                      <a:pt x="15" y="704"/>
                    </a:cubicBezTo>
                    <a:cubicBezTo>
                      <a:pt x="20" y="711"/>
                      <a:pt x="20" y="711"/>
                      <a:pt x="20" y="711"/>
                    </a:cubicBezTo>
                    <a:cubicBezTo>
                      <a:pt x="23" y="711"/>
                      <a:pt x="25" y="708"/>
                      <a:pt x="25" y="708"/>
                    </a:cubicBezTo>
                    <a:cubicBezTo>
                      <a:pt x="23" y="705"/>
                      <a:pt x="23" y="705"/>
                      <a:pt x="23" y="705"/>
                    </a:cubicBezTo>
                    <a:lnTo>
                      <a:pt x="22" y="703"/>
                    </a:lnTo>
                    <a:close/>
                    <a:moveTo>
                      <a:pt x="9" y="699"/>
                    </a:moveTo>
                    <a:cubicBezTo>
                      <a:pt x="8" y="699"/>
                      <a:pt x="8" y="699"/>
                      <a:pt x="8" y="699"/>
                    </a:cubicBezTo>
                    <a:cubicBezTo>
                      <a:pt x="8" y="699"/>
                      <a:pt x="10" y="703"/>
                      <a:pt x="11" y="704"/>
                    </a:cubicBezTo>
                    <a:cubicBezTo>
                      <a:pt x="12" y="705"/>
                      <a:pt x="14" y="707"/>
                      <a:pt x="14" y="707"/>
                    </a:cubicBezTo>
                    <a:cubicBezTo>
                      <a:pt x="14" y="707"/>
                      <a:pt x="15" y="705"/>
                      <a:pt x="13" y="703"/>
                    </a:cubicBezTo>
                    <a:cubicBezTo>
                      <a:pt x="12" y="701"/>
                      <a:pt x="9" y="699"/>
                      <a:pt x="9" y="699"/>
                    </a:cubicBezTo>
                    <a:close/>
                    <a:moveTo>
                      <a:pt x="10" y="707"/>
                    </a:moveTo>
                    <a:cubicBezTo>
                      <a:pt x="9" y="707"/>
                      <a:pt x="10" y="709"/>
                      <a:pt x="11" y="710"/>
                    </a:cubicBezTo>
                    <a:cubicBezTo>
                      <a:pt x="12" y="710"/>
                      <a:pt x="16" y="712"/>
                      <a:pt x="16" y="712"/>
                    </a:cubicBezTo>
                    <a:cubicBezTo>
                      <a:pt x="16" y="710"/>
                      <a:pt x="16" y="710"/>
                      <a:pt x="16" y="710"/>
                    </a:cubicBezTo>
                    <a:cubicBezTo>
                      <a:pt x="16" y="710"/>
                      <a:pt x="11" y="707"/>
                      <a:pt x="10" y="707"/>
                    </a:cubicBezTo>
                    <a:close/>
                    <a:moveTo>
                      <a:pt x="9" y="693"/>
                    </a:moveTo>
                    <a:cubicBezTo>
                      <a:pt x="7" y="695"/>
                      <a:pt x="7" y="695"/>
                      <a:pt x="7" y="695"/>
                    </a:cubicBezTo>
                    <a:cubicBezTo>
                      <a:pt x="11" y="698"/>
                      <a:pt x="11" y="698"/>
                      <a:pt x="11" y="698"/>
                    </a:cubicBezTo>
                    <a:lnTo>
                      <a:pt x="9" y="693"/>
                    </a:lnTo>
                    <a:close/>
                    <a:moveTo>
                      <a:pt x="10" y="692"/>
                    </a:moveTo>
                    <a:cubicBezTo>
                      <a:pt x="9" y="687"/>
                      <a:pt x="9" y="687"/>
                      <a:pt x="9" y="687"/>
                    </a:cubicBezTo>
                    <a:cubicBezTo>
                      <a:pt x="7" y="689"/>
                      <a:pt x="7" y="689"/>
                      <a:pt x="7" y="689"/>
                    </a:cubicBezTo>
                    <a:lnTo>
                      <a:pt x="10" y="692"/>
                    </a:lnTo>
                    <a:close/>
                    <a:moveTo>
                      <a:pt x="9" y="678"/>
                    </a:moveTo>
                    <a:cubicBezTo>
                      <a:pt x="11" y="676"/>
                      <a:pt x="11" y="676"/>
                      <a:pt x="11" y="676"/>
                    </a:cubicBezTo>
                    <a:cubicBezTo>
                      <a:pt x="12" y="678"/>
                      <a:pt x="12" y="678"/>
                      <a:pt x="12" y="678"/>
                    </a:cubicBezTo>
                    <a:cubicBezTo>
                      <a:pt x="12" y="678"/>
                      <a:pt x="15" y="676"/>
                      <a:pt x="15" y="674"/>
                    </a:cubicBezTo>
                    <a:cubicBezTo>
                      <a:pt x="15" y="671"/>
                      <a:pt x="12" y="670"/>
                      <a:pt x="12" y="670"/>
                    </a:cubicBezTo>
                    <a:cubicBezTo>
                      <a:pt x="10" y="671"/>
                      <a:pt x="10" y="671"/>
                      <a:pt x="10" y="671"/>
                    </a:cubicBezTo>
                    <a:cubicBezTo>
                      <a:pt x="10" y="671"/>
                      <a:pt x="8" y="675"/>
                      <a:pt x="9" y="678"/>
                    </a:cubicBezTo>
                    <a:close/>
                    <a:moveTo>
                      <a:pt x="6" y="680"/>
                    </a:moveTo>
                    <a:cubicBezTo>
                      <a:pt x="7" y="680"/>
                      <a:pt x="7" y="680"/>
                      <a:pt x="7" y="680"/>
                    </a:cubicBezTo>
                    <a:cubicBezTo>
                      <a:pt x="8" y="676"/>
                      <a:pt x="8" y="676"/>
                      <a:pt x="8" y="676"/>
                    </a:cubicBezTo>
                    <a:cubicBezTo>
                      <a:pt x="7" y="676"/>
                      <a:pt x="7" y="676"/>
                      <a:pt x="7" y="676"/>
                    </a:cubicBezTo>
                    <a:lnTo>
                      <a:pt x="6" y="680"/>
                    </a:lnTo>
                    <a:close/>
                    <a:moveTo>
                      <a:pt x="3" y="678"/>
                    </a:moveTo>
                    <a:cubicBezTo>
                      <a:pt x="0" y="678"/>
                      <a:pt x="1" y="681"/>
                      <a:pt x="2" y="681"/>
                    </a:cubicBezTo>
                    <a:cubicBezTo>
                      <a:pt x="4" y="682"/>
                      <a:pt x="7" y="677"/>
                      <a:pt x="3" y="678"/>
                    </a:cubicBezTo>
                    <a:close/>
                    <a:moveTo>
                      <a:pt x="7" y="661"/>
                    </a:moveTo>
                    <a:cubicBezTo>
                      <a:pt x="3" y="661"/>
                      <a:pt x="4" y="663"/>
                      <a:pt x="6" y="663"/>
                    </a:cubicBezTo>
                    <a:cubicBezTo>
                      <a:pt x="9" y="663"/>
                      <a:pt x="10" y="662"/>
                      <a:pt x="7" y="661"/>
                    </a:cubicBezTo>
                    <a:close/>
                    <a:moveTo>
                      <a:pt x="17" y="658"/>
                    </a:moveTo>
                    <a:cubicBezTo>
                      <a:pt x="14" y="657"/>
                      <a:pt x="14" y="657"/>
                      <a:pt x="14" y="657"/>
                    </a:cubicBezTo>
                    <a:cubicBezTo>
                      <a:pt x="11" y="660"/>
                      <a:pt x="11" y="660"/>
                      <a:pt x="11" y="660"/>
                    </a:cubicBezTo>
                    <a:cubicBezTo>
                      <a:pt x="13" y="662"/>
                      <a:pt x="13" y="662"/>
                      <a:pt x="13" y="662"/>
                    </a:cubicBezTo>
                    <a:lnTo>
                      <a:pt x="17" y="658"/>
                    </a:lnTo>
                    <a:close/>
                    <a:moveTo>
                      <a:pt x="18" y="649"/>
                    </a:moveTo>
                    <a:cubicBezTo>
                      <a:pt x="14" y="646"/>
                      <a:pt x="14" y="646"/>
                      <a:pt x="14" y="646"/>
                    </a:cubicBezTo>
                    <a:cubicBezTo>
                      <a:pt x="15" y="650"/>
                      <a:pt x="15" y="650"/>
                      <a:pt x="15" y="650"/>
                    </a:cubicBezTo>
                    <a:lnTo>
                      <a:pt x="18" y="649"/>
                    </a:lnTo>
                    <a:close/>
                    <a:moveTo>
                      <a:pt x="22" y="643"/>
                    </a:moveTo>
                    <a:cubicBezTo>
                      <a:pt x="17" y="645"/>
                      <a:pt x="17" y="645"/>
                      <a:pt x="17" y="645"/>
                    </a:cubicBezTo>
                    <a:cubicBezTo>
                      <a:pt x="22" y="647"/>
                      <a:pt x="22" y="647"/>
                      <a:pt x="22" y="647"/>
                    </a:cubicBezTo>
                    <a:lnTo>
                      <a:pt x="22" y="643"/>
                    </a:lnTo>
                    <a:close/>
                    <a:moveTo>
                      <a:pt x="14" y="639"/>
                    </a:moveTo>
                    <a:cubicBezTo>
                      <a:pt x="14" y="635"/>
                      <a:pt x="11" y="635"/>
                      <a:pt x="12" y="638"/>
                    </a:cubicBezTo>
                    <a:cubicBezTo>
                      <a:pt x="12" y="641"/>
                      <a:pt x="14" y="641"/>
                      <a:pt x="14" y="639"/>
                    </a:cubicBezTo>
                    <a:close/>
                    <a:moveTo>
                      <a:pt x="15" y="632"/>
                    </a:moveTo>
                    <a:cubicBezTo>
                      <a:pt x="24" y="629"/>
                      <a:pt x="24" y="629"/>
                      <a:pt x="24" y="629"/>
                    </a:cubicBezTo>
                    <a:cubicBezTo>
                      <a:pt x="25" y="626"/>
                      <a:pt x="25" y="626"/>
                      <a:pt x="25" y="626"/>
                    </a:cubicBezTo>
                    <a:cubicBezTo>
                      <a:pt x="19" y="626"/>
                      <a:pt x="19" y="626"/>
                      <a:pt x="19" y="626"/>
                    </a:cubicBezTo>
                    <a:cubicBezTo>
                      <a:pt x="15" y="623"/>
                      <a:pt x="15" y="623"/>
                      <a:pt x="15" y="623"/>
                    </a:cubicBezTo>
                    <a:cubicBezTo>
                      <a:pt x="15" y="626"/>
                      <a:pt x="15" y="626"/>
                      <a:pt x="15" y="626"/>
                    </a:cubicBezTo>
                    <a:cubicBezTo>
                      <a:pt x="12" y="627"/>
                      <a:pt x="12" y="627"/>
                      <a:pt x="12" y="627"/>
                    </a:cubicBezTo>
                    <a:cubicBezTo>
                      <a:pt x="16" y="628"/>
                      <a:pt x="16" y="628"/>
                      <a:pt x="16" y="628"/>
                    </a:cubicBezTo>
                    <a:lnTo>
                      <a:pt x="15" y="632"/>
                    </a:lnTo>
                    <a:close/>
                    <a:moveTo>
                      <a:pt x="12" y="630"/>
                    </a:moveTo>
                    <a:cubicBezTo>
                      <a:pt x="13" y="632"/>
                      <a:pt x="13" y="632"/>
                      <a:pt x="13" y="632"/>
                    </a:cubicBezTo>
                    <a:cubicBezTo>
                      <a:pt x="14" y="633"/>
                      <a:pt x="14" y="633"/>
                      <a:pt x="14" y="633"/>
                    </a:cubicBezTo>
                    <a:cubicBezTo>
                      <a:pt x="14" y="629"/>
                      <a:pt x="14" y="629"/>
                      <a:pt x="14" y="629"/>
                    </a:cubicBezTo>
                    <a:lnTo>
                      <a:pt x="12" y="630"/>
                    </a:lnTo>
                    <a:close/>
                    <a:moveTo>
                      <a:pt x="20" y="618"/>
                    </a:moveTo>
                    <a:cubicBezTo>
                      <a:pt x="22" y="619"/>
                      <a:pt x="22" y="623"/>
                      <a:pt x="22" y="623"/>
                    </a:cubicBezTo>
                    <a:cubicBezTo>
                      <a:pt x="25" y="623"/>
                      <a:pt x="25" y="623"/>
                      <a:pt x="25" y="623"/>
                    </a:cubicBezTo>
                    <a:cubicBezTo>
                      <a:pt x="25" y="616"/>
                      <a:pt x="25" y="616"/>
                      <a:pt x="25" y="616"/>
                    </a:cubicBezTo>
                    <a:cubicBezTo>
                      <a:pt x="20" y="615"/>
                      <a:pt x="20" y="615"/>
                      <a:pt x="20" y="615"/>
                    </a:cubicBezTo>
                    <a:cubicBezTo>
                      <a:pt x="20" y="615"/>
                      <a:pt x="18" y="617"/>
                      <a:pt x="20" y="618"/>
                    </a:cubicBezTo>
                    <a:close/>
                    <a:moveTo>
                      <a:pt x="36" y="604"/>
                    </a:moveTo>
                    <a:cubicBezTo>
                      <a:pt x="36" y="601"/>
                      <a:pt x="36" y="601"/>
                      <a:pt x="36" y="601"/>
                    </a:cubicBezTo>
                    <a:cubicBezTo>
                      <a:pt x="34" y="602"/>
                      <a:pt x="34" y="602"/>
                      <a:pt x="34" y="602"/>
                    </a:cubicBezTo>
                    <a:cubicBezTo>
                      <a:pt x="34" y="604"/>
                      <a:pt x="34" y="604"/>
                      <a:pt x="34" y="604"/>
                    </a:cubicBezTo>
                    <a:lnTo>
                      <a:pt x="36" y="604"/>
                    </a:lnTo>
                    <a:close/>
                    <a:moveTo>
                      <a:pt x="45" y="607"/>
                    </a:moveTo>
                    <a:cubicBezTo>
                      <a:pt x="48" y="605"/>
                      <a:pt x="48" y="601"/>
                      <a:pt x="44" y="600"/>
                    </a:cubicBezTo>
                    <a:cubicBezTo>
                      <a:pt x="40" y="598"/>
                      <a:pt x="40" y="603"/>
                      <a:pt x="40" y="603"/>
                    </a:cubicBezTo>
                    <a:cubicBezTo>
                      <a:pt x="39" y="604"/>
                      <a:pt x="39" y="604"/>
                      <a:pt x="39" y="604"/>
                    </a:cubicBezTo>
                    <a:cubicBezTo>
                      <a:pt x="39" y="607"/>
                      <a:pt x="42" y="608"/>
                      <a:pt x="45" y="607"/>
                    </a:cubicBezTo>
                    <a:close/>
                    <a:moveTo>
                      <a:pt x="42" y="598"/>
                    </a:moveTo>
                    <a:cubicBezTo>
                      <a:pt x="45" y="598"/>
                      <a:pt x="45" y="598"/>
                      <a:pt x="45" y="598"/>
                    </a:cubicBezTo>
                    <a:cubicBezTo>
                      <a:pt x="46" y="596"/>
                      <a:pt x="46" y="596"/>
                      <a:pt x="46" y="596"/>
                    </a:cubicBezTo>
                    <a:cubicBezTo>
                      <a:pt x="43" y="593"/>
                      <a:pt x="43" y="593"/>
                      <a:pt x="43" y="593"/>
                    </a:cubicBezTo>
                    <a:cubicBezTo>
                      <a:pt x="41" y="593"/>
                      <a:pt x="41" y="593"/>
                      <a:pt x="41" y="593"/>
                    </a:cubicBezTo>
                    <a:cubicBezTo>
                      <a:pt x="42" y="596"/>
                      <a:pt x="42" y="596"/>
                      <a:pt x="42" y="596"/>
                    </a:cubicBezTo>
                    <a:lnTo>
                      <a:pt x="42" y="598"/>
                    </a:lnTo>
                    <a:close/>
                    <a:moveTo>
                      <a:pt x="53" y="593"/>
                    </a:moveTo>
                    <a:cubicBezTo>
                      <a:pt x="49" y="594"/>
                      <a:pt x="49" y="594"/>
                      <a:pt x="49" y="594"/>
                    </a:cubicBezTo>
                    <a:cubicBezTo>
                      <a:pt x="49" y="603"/>
                      <a:pt x="49" y="603"/>
                      <a:pt x="49" y="603"/>
                    </a:cubicBezTo>
                    <a:cubicBezTo>
                      <a:pt x="57" y="598"/>
                      <a:pt x="57" y="598"/>
                      <a:pt x="57" y="598"/>
                    </a:cubicBezTo>
                    <a:lnTo>
                      <a:pt x="53" y="593"/>
                    </a:lnTo>
                    <a:close/>
                    <a:moveTo>
                      <a:pt x="57" y="593"/>
                    </a:moveTo>
                    <a:cubicBezTo>
                      <a:pt x="60" y="596"/>
                      <a:pt x="60" y="596"/>
                      <a:pt x="60" y="596"/>
                    </a:cubicBezTo>
                    <a:cubicBezTo>
                      <a:pt x="65" y="594"/>
                      <a:pt x="65" y="594"/>
                      <a:pt x="65" y="594"/>
                    </a:cubicBezTo>
                    <a:cubicBezTo>
                      <a:pt x="61" y="592"/>
                      <a:pt x="61" y="592"/>
                      <a:pt x="61" y="592"/>
                    </a:cubicBezTo>
                    <a:lnTo>
                      <a:pt x="57" y="593"/>
                    </a:lnTo>
                    <a:close/>
                    <a:moveTo>
                      <a:pt x="55" y="587"/>
                    </a:moveTo>
                    <a:cubicBezTo>
                      <a:pt x="51" y="591"/>
                      <a:pt x="51" y="591"/>
                      <a:pt x="51" y="591"/>
                    </a:cubicBezTo>
                    <a:cubicBezTo>
                      <a:pt x="58" y="591"/>
                      <a:pt x="58" y="591"/>
                      <a:pt x="58" y="591"/>
                    </a:cubicBezTo>
                    <a:lnTo>
                      <a:pt x="55" y="587"/>
                    </a:lnTo>
                    <a:close/>
                    <a:moveTo>
                      <a:pt x="57" y="586"/>
                    </a:moveTo>
                    <a:cubicBezTo>
                      <a:pt x="59" y="586"/>
                      <a:pt x="61" y="581"/>
                      <a:pt x="58" y="582"/>
                    </a:cubicBezTo>
                    <a:cubicBezTo>
                      <a:pt x="55" y="583"/>
                      <a:pt x="56" y="586"/>
                      <a:pt x="57" y="586"/>
                    </a:cubicBezTo>
                    <a:close/>
                    <a:moveTo>
                      <a:pt x="63" y="580"/>
                    </a:moveTo>
                    <a:cubicBezTo>
                      <a:pt x="59" y="579"/>
                      <a:pt x="59" y="579"/>
                      <a:pt x="59" y="579"/>
                    </a:cubicBezTo>
                    <a:cubicBezTo>
                      <a:pt x="62" y="582"/>
                      <a:pt x="62" y="582"/>
                      <a:pt x="62" y="582"/>
                    </a:cubicBezTo>
                    <a:lnTo>
                      <a:pt x="63" y="580"/>
                    </a:lnTo>
                    <a:close/>
                    <a:moveTo>
                      <a:pt x="63" y="577"/>
                    </a:moveTo>
                    <a:cubicBezTo>
                      <a:pt x="62" y="578"/>
                      <a:pt x="62" y="578"/>
                      <a:pt x="62" y="578"/>
                    </a:cubicBezTo>
                    <a:cubicBezTo>
                      <a:pt x="65" y="580"/>
                      <a:pt x="65" y="580"/>
                      <a:pt x="65" y="580"/>
                    </a:cubicBezTo>
                    <a:lnTo>
                      <a:pt x="63" y="577"/>
                    </a:lnTo>
                    <a:close/>
                    <a:moveTo>
                      <a:pt x="71" y="575"/>
                    </a:moveTo>
                    <a:cubicBezTo>
                      <a:pt x="71" y="571"/>
                      <a:pt x="71" y="571"/>
                      <a:pt x="71" y="571"/>
                    </a:cubicBezTo>
                    <a:cubicBezTo>
                      <a:pt x="69" y="571"/>
                      <a:pt x="69" y="571"/>
                      <a:pt x="69" y="571"/>
                    </a:cubicBezTo>
                    <a:cubicBezTo>
                      <a:pt x="69" y="575"/>
                      <a:pt x="69" y="575"/>
                      <a:pt x="69" y="575"/>
                    </a:cubicBezTo>
                    <a:lnTo>
                      <a:pt x="71" y="575"/>
                    </a:lnTo>
                    <a:close/>
                    <a:moveTo>
                      <a:pt x="80" y="578"/>
                    </a:moveTo>
                    <a:cubicBezTo>
                      <a:pt x="85" y="576"/>
                      <a:pt x="85" y="575"/>
                      <a:pt x="82" y="575"/>
                    </a:cubicBezTo>
                    <a:cubicBezTo>
                      <a:pt x="78" y="573"/>
                      <a:pt x="77" y="576"/>
                      <a:pt x="77" y="577"/>
                    </a:cubicBezTo>
                    <a:cubicBezTo>
                      <a:pt x="77" y="578"/>
                      <a:pt x="80" y="578"/>
                      <a:pt x="80" y="578"/>
                    </a:cubicBezTo>
                    <a:close/>
                    <a:moveTo>
                      <a:pt x="87" y="568"/>
                    </a:moveTo>
                    <a:cubicBezTo>
                      <a:pt x="82" y="567"/>
                      <a:pt x="82" y="567"/>
                      <a:pt x="82" y="567"/>
                    </a:cubicBezTo>
                    <a:cubicBezTo>
                      <a:pt x="80" y="568"/>
                      <a:pt x="80" y="568"/>
                      <a:pt x="80" y="568"/>
                    </a:cubicBezTo>
                    <a:cubicBezTo>
                      <a:pt x="83" y="571"/>
                      <a:pt x="83" y="571"/>
                      <a:pt x="83" y="571"/>
                    </a:cubicBezTo>
                    <a:lnTo>
                      <a:pt x="87" y="568"/>
                    </a:lnTo>
                    <a:close/>
                    <a:moveTo>
                      <a:pt x="110" y="557"/>
                    </a:moveTo>
                    <a:cubicBezTo>
                      <a:pt x="109" y="551"/>
                      <a:pt x="109" y="551"/>
                      <a:pt x="109" y="551"/>
                    </a:cubicBezTo>
                    <a:cubicBezTo>
                      <a:pt x="106" y="551"/>
                      <a:pt x="106" y="551"/>
                      <a:pt x="106" y="551"/>
                    </a:cubicBezTo>
                    <a:cubicBezTo>
                      <a:pt x="107" y="554"/>
                      <a:pt x="107" y="554"/>
                      <a:pt x="107" y="554"/>
                    </a:cubicBezTo>
                    <a:cubicBezTo>
                      <a:pt x="104" y="554"/>
                      <a:pt x="104" y="554"/>
                      <a:pt x="104" y="554"/>
                    </a:cubicBezTo>
                    <a:cubicBezTo>
                      <a:pt x="100" y="558"/>
                      <a:pt x="100" y="558"/>
                      <a:pt x="100" y="558"/>
                    </a:cubicBezTo>
                    <a:cubicBezTo>
                      <a:pt x="105" y="562"/>
                      <a:pt x="105" y="562"/>
                      <a:pt x="105" y="562"/>
                    </a:cubicBezTo>
                    <a:lnTo>
                      <a:pt x="110" y="557"/>
                    </a:lnTo>
                    <a:close/>
                    <a:moveTo>
                      <a:pt x="116" y="555"/>
                    </a:moveTo>
                    <a:cubicBezTo>
                      <a:pt x="116" y="552"/>
                      <a:pt x="116" y="552"/>
                      <a:pt x="116" y="552"/>
                    </a:cubicBezTo>
                    <a:cubicBezTo>
                      <a:pt x="111" y="553"/>
                      <a:pt x="111" y="553"/>
                      <a:pt x="111" y="553"/>
                    </a:cubicBezTo>
                    <a:cubicBezTo>
                      <a:pt x="112" y="557"/>
                      <a:pt x="112" y="557"/>
                      <a:pt x="112" y="557"/>
                    </a:cubicBezTo>
                    <a:lnTo>
                      <a:pt x="116" y="555"/>
                    </a:lnTo>
                    <a:close/>
                    <a:moveTo>
                      <a:pt x="113" y="548"/>
                    </a:moveTo>
                    <a:cubicBezTo>
                      <a:pt x="111" y="552"/>
                      <a:pt x="111" y="552"/>
                      <a:pt x="111" y="552"/>
                    </a:cubicBezTo>
                    <a:cubicBezTo>
                      <a:pt x="115" y="551"/>
                      <a:pt x="115" y="551"/>
                      <a:pt x="115" y="551"/>
                    </a:cubicBezTo>
                    <a:lnTo>
                      <a:pt x="113" y="548"/>
                    </a:lnTo>
                    <a:close/>
                    <a:moveTo>
                      <a:pt x="124" y="545"/>
                    </a:moveTo>
                    <a:cubicBezTo>
                      <a:pt x="117" y="545"/>
                      <a:pt x="121" y="549"/>
                      <a:pt x="123" y="549"/>
                    </a:cubicBezTo>
                    <a:cubicBezTo>
                      <a:pt x="126" y="550"/>
                      <a:pt x="130" y="545"/>
                      <a:pt x="124" y="545"/>
                    </a:cubicBezTo>
                    <a:close/>
                    <a:moveTo>
                      <a:pt x="135" y="547"/>
                    </a:moveTo>
                    <a:cubicBezTo>
                      <a:pt x="133" y="542"/>
                      <a:pt x="133" y="542"/>
                      <a:pt x="133" y="542"/>
                    </a:cubicBezTo>
                    <a:cubicBezTo>
                      <a:pt x="132" y="544"/>
                      <a:pt x="132" y="544"/>
                      <a:pt x="132" y="544"/>
                    </a:cubicBezTo>
                    <a:cubicBezTo>
                      <a:pt x="129" y="541"/>
                      <a:pt x="129" y="541"/>
                      <a:pt x="129" y="541"/>
                    </a:cubicBezTo>
                    <a:cubicBezTo>
                      <a:pt x="127" y="542"/>
                      <a:pt x="127" y="542"/>
                      <a:pt x="127" y="542"/>
                    </a:cubicBezTo>
                    <a:cubicBezTo>
                      <a:pt x="132" y="549"/>
                      <a:pt x="132" y="549"/>
                      <a:pt x="132" y="549"/>
                    </a:cubicBezTo>
                    <a:lnTo>
                      <a:pt x="135" y="547"/>
                    </a:lnTo>
                    <a:close/>
                    <a:moveTo>
                      <a:pt x="118" y="535"/>
                    </a:moveTo>
                    <a:cubicBezTo>
                      <a:pt x="123" y="537"/>
                      <a:pt x="123" y="537"/>
                      <a:pt x="123" y="537"/>
                    </a:cubicBezTo>
                    <a:cubicBezTo>
                      <a:pt x="127" y="536"/>
                      <a:pt x="127" y="536"/>
                      <a:pt x="127" y="536"/>
                    </a:cubicBezTo>
                    <a:cubicBezTo>
                      <a:pt x="127" y="536"/>
                      <a:pt x="127" y="529"/>
                      <a:pt x="123" y="530"/>
                    </a:cubicBezTo>
                    <a:cubicBezTo>
                      <a:pt x="117" y="530"/>
                      <a:pt x="115" y="531"/>
                      <a:pt x="115" y="531"/>
                    </a:cubicBezTo>
                    <a:cubicBezTo>
                      <a:pt x="116" y="535"/>
                      <a:pt x="116" y="535"/>
                      <a:pt x="116" y="535"/>
                    </a:cubicBezTo>
                    <a:lnTo>
                      <a:pt x="118" y="535"/>
                    </a:lnTo>
                    <a:close/>
                    <a:moveTo>
                      <a:pt x="138" y="522"/>
                    </a:moveTo>
                    <a:cubicBezTo>
                      <a:pt x="138" y="522"/>
                      <a:pt x="131" y="524"/>
                      <a:pt x="131" y="528"/>
                    </a:cubicBezTo>
                    <a:cubicBezTo>
                      <a:pt x="131" y="533"/>
                      <a:pt x="138" y="530"/>
                      <a:pt x="145" y="529"/>
                    </a:cubicBezTo>
                    <a:cubicBezTo>
                      <a:pt x="154" y="526"/>
                      <a:pt x="158" y="523"/>
                      <a:pt x="156" y="522"/>
                    </a:cubicBezTo>
                    <a:cubicBezTo>
                      <a:pt x="154" y="521"/>
                      <a:pt x="150" y="521"/>
                      <a:pt x="150" y="521"/>
                    </a:cubicBezTo>
                    <a:cubicBezTo>
                      <a:pt x="150" y="518"/>
                      <a:pt x="150" y="518"/>
                      <a:pt x="150" y="518"/>
                    </a:cubicBezTo>
                    <a:cubicBezTo>
                      <a:pt x="150" y="518"/>
                      <a:pt x="147" y="518"/>
                      <a:pt x="143" y="519"/>
                    </a:cubicBezTo>
                    <a:cubicBezTo>
                      <a:pt x="139" y="519"/>
                      <a:pt x="138" y="522"/>
                      <a:pt x="138" y="522"/>
                    </a:cubicBezTo>
                    <a:close/>
                    <a:moveTo>
                      <a:pt x="139" y="516"/>
                    </a:moveTo>
                    <a:cubicBezTo>
                      <a:pt x="147" y="514"/>
                      <a:pt x="147" y="514"/>
                      <a:pt x="147" y="514"/>
                    </a:cubicBezTo>
                    <a:cubicBezTo>
                      <a:pt x="146" y="508"/>
                      <a:pt x="146" y="508"/>
                      <a:pt x="146" y="508"/>
                    </a:cubicBezTo>
                    <a:cubicBezTo>
                      <a:pt x="146" y="508"/>
                      <a:pt x="142" y="513"/>
                      <a:pt x="139" y="513"/>
                    </a:cubicBezTo>
                    <a:cubicBezTo>
                      <a:pt x="137" y="514"/>
                      <a:pt x="131" y="515"/>
                      <a:pt x="131" y="515"/>
                    </a:cubicBezTo>
                    <a:cubicBezTo>
                      <a:pt x="132" y="516"/>
                      <a:pt x="132" y="516"/>
                      <a:pt x="132" y="516"/>
                    </a:cubicBezTo>
                    <a:lnTo>
                      <a:pt x="139" y="516"/>
                    </a:lnTo>
                    <a:close/>
                    <a:moveTo>
                      <a:pt x="159" y="517"/>
                    </a:moveTo>
                    <a:cubicBezTo>
                      <a:pt x="154" y="518"/>
                      <a:pt x="154" y="518"/>
                      <a:pt x="154" y="518"/>
                    </a:cubicBezTo>
                    <a:cubicBezTo>
                      <a:pt x="153" y="519"/>
                      <a:pt x="153" y="519"/>
                      <a:pt x="153" y="519"/>
                    </a:cubicBezTo>
                    <a:cubicBezTo>
                      <a:pt x="159" y="519"/>
                      <a:pt x="159" y="519"/>
                      <a:pt x="159" y="519"/>
                    </a:cubicBezTo>
                    <a:lnTo>
                      <a:pt x="159" y="517"/>
                    </a:lnTo>
                    <a:close/>
                    <a:moveTo>
                      <a:pt x="162" y="515"/>
                    </a:moveTo>
                    <a:cubicBezTo>
                      <a:pt x="162" y="521"/>
                      <a:pt x="162" y="521"/>
                      <a:pt x="162" y="521"/>
                    </a:cubicBezTo>
                    <a:cubicBezTo>
                      <a:pt x="166" y="519"/>
                      <a:pt x="166" y="519"/>
                      <a:pt x="166" y="519"/>
                    </a:cubicBezTo>
                    <a:lnTo>
                      <a:pt x="162" y="515"/>
                    </a:lnTo>
                    <a:close/>
                    <a:moveTo>
                      <a:pt x="235" y="425"/>
                    </a:moveTo>
                    <a:cubicBezTo>
                      <a:pt x="235" y="425"/>
                      <a:pt x="232" y="424"/>
                      <a:pt x="230" y="425"/>
                    </a:cubicBezTo>
                    <a:cubicBezTo>
                      <a:pt x="227" y="427"/>
                      <a:pt x="229" y="430"/>
                      <a:pt x="229" y="430"/>
                    </a:cubicBezTo>
                    <a:lnTo>
                      <a:pt x="235" y="425"/>
                    </a:lnTo>
                    <a:close/>
                    <a:moveTo>
                      <a:pt x="215" y="439"/>
                    </a:moveTo>
                    <a:cubicBezTo>
                      <a:pt x="216" y="439"/>
                      <a:pt x="214" y="441"/>
                      <a:pt x="214" y="441"/>
                    </a:cubicBezTo>
                    <a:cubicBezTo>
                      <a:pt x="216" y="443"/>
                      <a:pt x="216" y="443"/>
                      <a:pt x="216" y="443"/>
                    </a:cubicBezTo>
                    <a:cubicBezTo>
                      <a:pt x="222" y="439"/>
                      <a:pt x="222" y="439"/>
                      <a:pt x="222" y="439"/>
                    </a:cubicBezTo>
                    <a:cubicBezTo>
                      <a:pt x="222" y="439"/>
                      <a:pt x="220" y="434"/>
                      <a:pt x="214" y="435"/>
                    </a:cubicBezTo>
                    <a:cubicBezTo>
                      <a:pt x="210" y="436"/>
                      <a:pt x="207" y="440"/>
                      <a:pt x="207" y="440"/>
                    </a:cubicBezTo>
                    <a:cubicBezTo>
                      <a:pt x="210" y="442"/>
                      <a:pt x="210" y="442"/>
                      <a:pt x="210" y="442"/>
                    </a:cubicBezTo>
                    <a:cubicBezTo>
                      <a:pt x="210" y="442"/>
                      <a:pt x="214" y="438"/>
                      <a:pt x="215" y="439"/>
                    </a:cubicBezTo>
                    <a:close/>
                    <a:moveTo>
                      <a:pt x="239" y="396"/>
                    </a:moveTo>
                    <a:cubicBezTo>
                      <a:pt x="244" y="390"/>
                      <a:pt x="244" y="390"/>
                      <a:pt x="244" y="390"/>
                    </a:cubicBezTo>
                    <a:cubicBezTo>
                      <a:pt x="242" y="387"/>
                      <a:pt x="242" y="387"/>
                      <a:pt x="242" y="387"/>
                    </a:cubicBezTo>
                    <a:cubicBezTo>
                      <a:pt x="242" y="387"/>
                      <a:pt x="236" y="386"/>
                      <a:pt x="237" y="391"/>
                    </a:cubicBezTo>
                    <a:cubicBezTo>
                      <a:pt x="237" y="396"/>
                      <a:pt x="239" y="396"/>
                      <a:pt x="239" y="396"/>
                    </a:cubicBezTo>
                    <a:close/>
                    <a:moveTo>
                      <a:pt x="242" y="408"/>
                    </a:moveTo>
                    <a:cubicBezTo>
                      <a:pt x="244" y="408"/>
                      <a:pt x="244" y="408"/>
                      <a:pt x="244" y="408"/>
                    </a:cubicBezTo>
                    <a:cubicBezTo>
                      <a:pt x="245" y="406"/>
                      <a:pt x="245" y="406"/>
                      <a:pt x="245" y="406"/>
                    </a:cubicBezTo>
                    <a:cubicBezTo>
                      <a:pt x="244" y="402"/>
                      <a:pt x="244" y="402"/>
                      <a:pt x="244" y="402"/>
                    </a:cubicBezTo>
                    <a:lnTo>
                      <a:pt x="242" y="408"/>
                    </a:lnTo>
                    <a:close/>
                    <a:moveTo>
                      <a:pt x="259" y="367"/>
                    </a:moveTo>
                    <a:cubicBezTo>
                      <a:pt x="259" y="367"/>
                      <a:pt x="254" y="371"/>
                      <a:pt x="253" y="373"/>
                    </a:cubicBezTo>
                    <a:cubicBezTo>
                      <a:pt x="252" y="374"/>
                      <a:pt x="255" y="378"/>
                      <a:pt x="255" y="378"/>
                    </a:cubicBezTo>
                    <a:cubicBezTo>
                      <a:pt x="260" y="373"/>
                      <a:pt x="260" y="373"/>
                      <a:pt x="260" y="373"/>
                    </a:cubicBezTo>
                    <a:cubicBezTo>
                      <a:pt x="265" y="370"/>
                      <a:pt x="265" y="370"/>
                      <a:pt x="265" y="370"/>
                    </a:cubicBezTo>
                    <a:cubicBezTo>
                      <a:pt x="266" y="367"/>
                      <a:pt x="266" y="367"/>
                      <a:pt x="266" y="367"/>
                    </a:cubicBezTo>
                    <a:cubicBezTo>
                      <a:pt x="260" y="370"/>
                      <a:pt x="260" y="370"/>
                      <a:pt x="260" y="370"/>
                    </a:cubicBezTo>
                    <a:lnTo>
                      <a:pt x="259" y="367"/>
                    </a:lnTo>
                    <a:close/>
                    <a:moveTo>
                      <a:pt x="253" y="366"/>
                    </a:moveTo>
                    <a:cubicBezTo>
                      <a:pt x="259" y="363"/>
                      <a:pt x="259" y="363"/>
                      <a:pt x="259" y="363"/>
                    </a:cubicBezTo>
                    <a:cubicBezTo>
                      <a:pt x="260" y="360"/>
                      <a:pt x="260" y="360"/>
                      <a:pt x="260" y="360"/>
                    </a:cubicBezTo>
                    <a:cubicBezTo>
                      <a:pt x="258" y="359"/>
                      <a:pt x="258" y="359"/>
                      <a:pt x="258" y="359"/>
                    </a:cubicBezTo>
                    <a:cubicBezTo>
                      <a:pt x="260" y="357"/>
                      <a:pt x="260" y="357"/>
                      <a:pt x="260" y="357"/>
                    </a:cubicBezTo>
                    <a:cubicBezTo>
                      <a:pt x="259" y="353"/>
                      <a:pt x="259" y="353"/>
                      <a:pt x="259" y="353"/>
                    </a:cubicBezTo>
                    <a:cubicBezTo>
                      <a:pt x="255" y="356"/>
                      <a:pt x="255" y="356"/>
                      <a:pt x="255" y="356"/>
                    </a:cubicBezTo>
                    <a:cubicBezTo>
                      <a:pt x="255" y="358"/>
                      <a:pt x="255" y="358"/>
                      <a:pt x="255" y="358"/>
                    </a:cubicBezTo>
                    <a:cubicBezTo>
                      <a:pt x="252" y="363"/>
                      <a:pt x="252" y="363"/>
                      <a:pt x="252" y="363"/>
                    </a:cubicBezTo>
                    <a:lnTo>
                      <a:pt x="253" y="366"/>
                    </a:lnTo>
                    <a:close/>
                    <a:moveTo>
                      <a:pt x="263" y="349"/>
                    </a:moveTo>
                    <a:cubicBezTo>
                      <a:pt x="262" y="352"/>
                      <a:pt x="262" y="352"/>
                      <a:pt x="262" y="352"/>
                    </a:cubicBezTo>
                    <a:cubicBezTo>
                      <a:pt x="264" y="355"/>
                      <a:pt x="264" y="355"/>
                      <a:pt x="264" y="355"/>
                    </a:cubicBezTo>
                    <a:cubicBezTo>
                      <a:pt x="268" y="350"/>
                      <a:pt x="268" y="350"/>
                      <a:pt x="268" y="350"/>
                    </a:cubicBezTo>
                    <a:lnTo>
                      <a:pt x="263" y="349"/>
                    </a:lnTo>
                    <a:close/>
                    <a:moveTo>
                      <a:pt x="264" y="359"/>
                    </a:moveTo>
                    <a:cubicBezTo>
                      <a:pt x="265" y="357"/>
                      <a:pt x="265" y="357"/>
                      <a:pt x="265" y="357"/>
                    </a:cubicBezTo>
                    <a:cubicBezTo>
                      <a:pt x="262" y="357"/>
                      <a:pt x="262" y="357"/>
                      <a:pt x="262" y="357"/>
                    </a:cubicBezTo>
                    <a:lnTo>
                      <a:pt x="264" y="359"/>
                    </a:lnTo>
                    <a:close/>
                    <a:moveTo>
                      <a:pt x="266" y="343"/>
                    </a:moveTo>
                    <a:cubicBezTo>
                      <a:pt x="269" y="340"/>
                      <a:pt x="269" y="340"/>
                      <a:pt x="269" y="340"/>
                    </a:cubicBezTo>
                    <a:cubicBezTo>
                      <a:pt x="265" y="339"/>
                      <a:pt x="265" y="339"/>
                      <a:pt x="265" y="339"/>
                    </a:cubicBezTo>
                    <a:lnTo>
                      <a:pt x="266" y="343"/>
                    </a:lnTo>
                    <a:close/>
                    <a:moveTo>
                      <a:pt x="261" y="330"/>
                    </a:moveTo>
                    <a:cubicBezTo>
                      <a:pt x="258" y="329"/>
                      <a:pt x="258" y="329"/>
                      <a:pt x="258" y="329"/>
                    </a:cubicBezTo>
                    <a:cubicBezTo>
                      <a:pt x="257" y="333"/>
                      <a:pt x="257" y="333"/>
                      <a:pt x="257" y="333"/>
                    </a:cubicBezTo>
                    <a:cubicBezTo>
                      <a:pt x="260" y="332"/>
                      <a:pt x="260" y="332"/>
                      <a:pt x="260" y="332"/>
                    </a:cubicBezTo>
                    <a:lnTo>
                      <a:pt x="261" y="330"/>
                    </a:lnTo>
                    <a:close/>
                    <a:moveTo>
                      <a:pt x="272" y="351"/>
                    </a:moveTo>
                    <a:cubicBezTo>
                      <a:pt x="269" y="350"/>
                      <a:pt x="269" y="350"/>
                      <a:pt x="269" y="350"/>
                    </a:cubicBezTo>
                    <a:cubicBezTo>
                      <a:pt x="268" y="356"/>
                      <a:pt x="268" y="356"/>
                      <a:pt x="268" y="356"/>
                    </a:cubicBezTo>
                    <a:lnTo>
                      <a:pt x="272" y="351"/>
                    </a:lnTo>
                    <a:close/>
                    <a:moveTo>
                      <a:pt x="280" y="319"/>
                    </a:moveTo>
                    <a:cubicBezTo>
                      <a:pt x="278" y="317"/>
                      <a:pt x="278" y="317"/>
                      <a:pt x="278" y="317"/>
                    </a:cubicBezTo>
                    <a:cubicBezTo>
                      <a:pt x="276" y="320"/>
                      <a:pt x="276" y="320"/>
                      <a:pt x="276" y="320"/>
                    </a:cubicBezTo>
                    <a:lnTo>
                      <a:pt x="280" y="319"/>
                    </a:lnTo>
                    <a:close/>
                    <a:moveTo>
                      <a:pt x="284" y="313"/>
                    </a:moveTo>
                    <a:cubicBezTo>
                      <a:pt x="279" y="312"/>
                      <a:pt x="279" y="312"/>
                      <a:pt x="279" y="312"/>
                    </a:cubicBezTo>
                    <a:cubicBezTo>
                      <a:pt x="276" y="315"/>
                      <a:pt x="276" y="315"/>
                      <a:pt x="276" y="315"/>
                    </a:cubicBezTo>
                    <a:cubicBezTo>
                      <a:pt x="284" y="315"/>
                      <a:pt x="284" y="315"/>
                      <a:pt x="284" y="315"/>
                    </a:cubicBezTo>
                    <a:lnTo>
                      <a:pt x="284" y="313"/>
                    </a:lnTo>
                    <a:close/>
                    <a:moveTo>
                      <a:pt x="301" y="300"/>
                    </a:moveTo>
                    <a:cubicBezTo>
                      <a:pt x="304" y="290"/>
                      <a:pt x="304" y="290"/>
                      <a:pt x="304" y="290"/>
                    </a:cubicBezTo>
                    <a:cubicBezTo>
                      <a:pt x="302" y="289"/>
                      <a:pt x="302" y="289"/>
                      <a:pt x="302" y="289"/>
                    </a:cubicBezTo>
                    <a:cubicBezTo>
                      <a:pt x="301" y="294"/>
                      <a:pt x="301" y="294"/>
                      <a:pt x="301" y="294"/>
                    </a:cubicBezTo>
                    <a:cubicBezTo>
                      <a:pt x="297" y="292"/>
                      <a:pt x="297" y="292"/>
                      <a:pt x="297" y="292"/>
                    </a:cubicBezTo>
                    <a:cubicBezTo>
                      <a:pt x="296" y="297"/>
                      <a:pt x="296" y="297"/>
                      <a:pt x="296" y="297"/>
                    </a:cubicBezTo>
                    <a:cubicBezTo>
                      <a:pt x="300" y="298"/>
                      <a:pt x="300" y="298"/>
                      <a:pt x="300" y="298"/>
                    </a:cubicBezTo>
                    <a:cubicBezTo>
                      <a:pt x="300" y="300"/>
                      <a:pt x="300" y="300"/>
                      <a:pt x="300" y="300"/>
                    </a:cubicBezTo>
                    <a:lnTo>
                      <a:pt x="301" y="300"/>
                    </a:lnTo>
                    <a:close/>
                    <a:moveTo>
                      <a:pt x="305" y="276"/>
                    </a:moveTo>
                    <a:cubicBezTo>
                      <a:pt x="298" y="279"/>
                      <a:pt x="304" y="279"/>
                      <a:pt x="306" y="278"/>
                    </a:cubicBezTo>
                    <a:cubicBezTo>
                      <a:pt x="311" y="276"/>
                      <a:pt x="310" y="273"/>
                      <a:pt x="305" y="276"/>
                    </a:cubicBezTo>
                    <a:close/>
                    <a:moveTo>
                      <a:pt x="262" y="260"/>
                    </a:moveTo>
                    <a:cubicBezTo>
                      <a:pt x="260" y="266"/>
                      <a:pt x="260" y="266"/>
                      <a:pt x="260" y="266"/>
                    </a:cubicBezTo>
                    <a:cubicBezTo>
                      <a:pt x="265" y="263"/>
                      <a:pt x="265" y="263"/>
                      <a:pt x="265" y="263"/>
                    </a:cubicBezTo>
                    <a:lnTo>
                      <a:pt x="262" y="260"/>
                    </a:lnTo>
                    <a:close/>
                    <a:moveTo>
                      <a:pt x="320" y="244"/>
                    </a:moveTo>
                    <a:cubicBezTo>
                      <a:pt x="327" y="242"/>
                      <a:pt x="327" y="242"/>
                      <a:pt x="327" y="242"/>
                    </a:cubicBezTo>
                    <a:cubicBezTo>
                      <a:pt x="327" y="241"/>
                      <a:pt x="327" y="241"/>
                      <a:pt x="327" y="241"/>
                    </a:cubicBezTo>
                    <a:cubicBezTo>
                      <a:pt x="320" y="239"/>
                      <a:pt x="320" y="239"/>
                      <a:pt x="320" y="239"/>
                    </a:cubicBezTo>
                    <a:lnTo>
                      <a:pt x="320" y="244"/>
                    </a:lnTo>
                    <a:close/>
                    <a:moveTo>
                      <a:pt x="323" y="236"/>
                    </a:moveTo>
                    <a:cubicBezTo>
                      <a:pt x="327" y="239"/>
                      <a:pt x="327" y="239"/>
                      <a:pt x="327" y="239"/>
                    </a:cubicBezTo>
                    <a:cubicBezTo>
                      <a:pt x="327" y="238"/>
                      <a:pt x="324" y="234"/>
                      <a:pt x="324" y="234"/>
                    </a:cubicBezTo>
                    <a:lnTo>
                      <a:pt x="323" y="236"/>
                    </a:lnTo>
                    <a:close/>
                    <a:moveTo>
                      <a:pt x="353" y="201"/>
                    </a:moveTo>
                    <a:cubicBezTo>
                      <a:pt x="346" y="195"/>
                      <a:pt x="347" y="207"/>
                      <a:pt x="347" y="207"/>
                    </a:cubicBezTo>
                    <a:cubicBezTo>
                      <a:pt x="344" y="210"/>
                      <a:pt x="344" y="210"/>
                      <a:pt x="344" y="210"/>
                    </a:cubicBezTo>
                    <a:cubicBezTo>
                      <a:pt x="345" y="210"/>
                      <a:pt x="345" y="210"/>
                      <a:pt x="345" y="210"/>
                    </a:cubicBezTo>
                    <a:cubicBezTo>
                      <a:pt x="351" y="208"/>
                      <a:pt x="351" y="208"/>
                      <a:pt x="351" y="208"/>
                    </a:cubicBezTo>
                    <a:cubicBezTo>
                      <a:pt x="351" y="208"/>
                      <a:pt x="358" y="206"/>
                      <a:pt x="353" y="201"/>
                    </a:cubicBezTo>
                    <a:close/>
                    <a:moveTo>
                      <a:pt x="343" y="217"/>
                    </a:moveTo>
                    <a:cubicBezTo>
                      <a:pt x="348" y="213"/>
                      <a:pt x="348" y="213"/>
                      <a:pt x="348" y="213"/>
                    </a:cubicBezTo>
                    <a:cubicBezTo>
                      <a:pt x="343" y="214"/>
                      <a:pt x="343" y="214"/>
                      <a:pt x="343" y="214"/>
                    </a:cubicBezTo>
                    <a:lnTo>
                      <a:pt x="343" y="217"/>
                    </a:lnTo>
                    <a:close/>
                    <a:moveTo>
                      <a:pt x="350" y="229"/>
                    </a:moveTo>
                    <a:cubicBezTo>
                      <a:pt x="348" y="232"/>
                      <a:pt x="348" y="232"/>
                      <a:pt x="348" y="232"/>
                    </a:cubicBezTo>
                    <a:cubicBezTo>
                      <a:pt x="354" y="232"/>
                      <a:pt x="354" y="232"/>
                      <a:pt x="354" y="232"/>
                    </a:cubicBezTo>
                    <a:lnTo>
                      <a:pt x="350" y="229"/>
                    </a:lnTo>
                    <a:close/>
                    <a:moveTo>
                      <a:pt x="265" y="251"/>
                    </a:moveTo>
                    <a:cubicBezTo>
                      <a:pt x="265" y="251"/>
                      <a:pt x="270" y="250"/>
                      <a:pt x="271" y="247"/>
                    </a:cubicBezTo>
                    <a:cubicBezTo>
                      <a:pt x="271" y="245"/>
                      <a:pt x="270" y="242"/>
                      <a:pt x="271" y="242"/>
                    </a:cubicBezTo>
                    <a:cubicBezTo>
                      <a:pt x="272" y="242"/>
                      <a:pt x="275" y="238"/>
                      <a:pt x="275" y="238"/>
                    </a:cubicBezTo>
                    <a:cubicBezTo>
                      <a:pt x="275" y="238"/>
                      <a:pt x="281" y="237"/>
                      <a:pt x="281" y="232"/>
                    </a:cubicBezTo>
                    <a:cubicBezTo>
                      <a:pt x="281" y="226"/>
                      <a:pt x="278" y="227"/>
                      <a:pt x="278" y="227"/>
                    </a:cubicBezTo>
                    <a:cubicBezTo>
                      <a:pt x="274" y="235"/>
                      <a:pt x="274" y="235"/>
                      <a:pt x="274" y="235"/>
                    </a:cubicBezTo>
                    <a:cubicBezTo>
                      <a:pt x="272" y="232"/>
                      <a:pt x="272" y="232"/>
                      <a:pt x="272" y="232"/>
                    </a:cubicBezTo>
                    <a:cubicBezTo>
                      <a:pt x="272" y="232"/>
                      <a:pt x="266" y="239"/>
                      <a:pt x="266" y="242"/>
                    </a:cubicBezTo>
                    <a:cubicBezTo>
                      <a:pt x="265" y="245"/>
                      <a:pt x="266" y="247"/>
                      <a:pt x="266" y="248"/>
                    </a:cubicBezTo>
                    <a:cubicBezTo>
                      <a:pt x="266" y="249"/>
                      <a:pt x="264" y="250"/>
                      <a:pt x="265" y="251"/>
                    </a:cubicBezTo>
                    <a:close/>
                    <a:moveTo>
                      <a:pt x="282" y="233"/>
                    </a:moveTo>
                    <a:cubicBezTo>
                      <a:pt x="282" y="233"/>
                      <a:pt x="287" y="233"/>
                      <a:pt x="289" y="232"/>
                    </a:cubicBezTo>
                    <a:cubicBezTo>
                      <a:pt x="292" y="231"/>
                      <a:pt x="290" y="226"/>
                      <a:pt x="290" y="226"/>
                    </a:cubicBezTo>
                    <a:cubicBezTo>
                      <a:pt x="290" y="226"/>
                      <a:pt x="297" y="222"/>
                      <a:pt x="301" y="221"/>
                    </a:cubicBezTo>
                    <a:cubicBezTo>
                      <a:pt x="303" y="220"/>
                      <a:pt x="298" y="215"/>
                      <a:pt x="296" y="215"/>
                    </a:cubicBezTo>
                    <a:cubicBezTo>
                      <a:pt x="293" y="215"/>
                      <a:pt x="298" y="219"/>
                      <a:pt x="296" y="220"/>
                    </a:cubicBezTo>
                    <a:cubicBezTo>
                      <a:pt x="294" y="221"/>
                      <a:pt x="292" y="215"/>
                      <a:pt x="292" y="215"/>
                    </a:cubicBezTo>
                    <a:cubicBezTo>
                      <a:pt x="288" y="219"/>
                      <a:pt x="288" y="219"/>
                      <a:pt x="288" y="219"/>
                    </a:cubicBezTo>
                    <a:cubicBezTo>
                      <a:pt x="285" y="220"/>
                      <a:pt x="285" y="220"/>
                      <a:pt x="285" y="220"/>
                    </a:cubicBezTo>
                    <a:cubicBezTo>
                      <a:pt x="285" y="223"/>
                      <a:pt x="285" y="223"/>
                      <a:pt x="285" y="223"/>
                    </a:cubicBezTo>
                    <a:cubicBezTo>
                      <a:pt x="282" y="224"/>
                      <a:pt x="282" y="224"/>
                      <a:pt x="282" y="224"/>
                    </a:cubicBezTo>
                    <a:cubicBezTo>
                      <a:pt x="282" y="227"/>
                      <a:pt x="282" y="227"/>
                      <a:pt x="282" y="227"/>
                    </a:cubicBezTo>
                    <a:cubicBezTo>
                      <a:pt x="284" y="229"/>
                      <a:pt x="284" y="229"/>
                      <a:pt x="284" y="229"/>
                    </a:cubicBezTo>
                    <a:lnTo>
                      <a:pt x="282" y="233"/>
                    </a:lnTo>
                    <a:close/>
                    <a:moveTo>
                      <a:pt x="303" y="221"/>
                    </a:moveTo>
                    <a:cubicBezTo>
                      <a:pt x="303" y="223"/>
                      <a:pt x="301" y="226"/>
                      <a:pt x="301" y="226"/>
                    </a:cubicBezTo>
                    <a:cubicBezTo>
                      <a:pt x="310" y="222"/>
                      <a:pt x="310" y="222"/>
                      <a:pt x="310" y="222"/>
                    </a:cubicBezTo>
                    <a:cubicBezTo>
                      <a:pt x="311" y="216"/>
                      <a:pt x="311" y="216"/>
                      <a:pt x="311" y="216"/>
                    </a:cubicBezTo>
                    <a:cubicBezTo>
                      <a:pt x="313" y="220"/>
                      <a:pt x="313" y="220"/>
                      <a:pt x="313" y="220"/>
                    </a:cubicBezTo>
                    <a:cubicBezTo>
                      <a:pt x="322" y="207"/>
                      <a:pt x="322" y="207"/>
                      <a:pt x="322" y="207"/>
                    </a:cubicBezTo>
                    <a:cubicBezTo>
                      <a:pt x="322" y="207"/>
                      <a:pt x="317" y="208"/>
                      <a:pt x="317" y="207"/>
                    </a:cubicBezTo>
                    <a:cubicBezTo>
                      <a:pt x="317" y="213"/>
                      <a:pt x="317" y="213"/>
                      <a:pt x="317" y="213"/>
                    </a:cubicBezTo>
                    <a:cubicBezTo>
                      <a:pt x="312" y="209"/>
                      <a:pt x="312" y="209"/>
                      <a:pt x="312" y="209"/>
                    </a:cubicBezTo>
                    <a:cubicBezTo>
                      <a:pt x="305" y="213"/>
                      <a:pt x="305" y="213"/>
                      <a:pt x="305" y="213"/>
                    </a:cubicBezTo>
                    <a:cubicBezTo>
                      <a:pt x="306" y="217"/>
                      <a:pt x="306" y="217"/>
                      <a:pt x="306" y="217"/>
                    </a:cubicBezTo>
                    <a:cubicBezTo>
                      <a:pt x="303" y="216"/>
                      <a:pt x="303" y="216"/>
                      <a:pt x="303" y="216"/>
                    </a:cubicBezTo>
                    <a:cubicBezTo>
                      <a:pt x="303" y="216"/>
                      <a:pt x="304" y="219"/>
                      <a:pt x="303" y="221"/>
                    </a:cubicBezTo>
                    <a:close/>
                    <a:moveTo>
                      <a:pt x="362" y="187"/>
                    </a:moveTo>
                    <a:cubicBezTo>
                      <a:pt x="362" y="187"/>
                      <a:pt x="366" y="187"/>
                      <a:pt x="367" y="186"/>
                    </a:cubicBezTo>
                    <a:cubicBezTo>
                      <a:pt x="369" y="186"/>
                      <a:pt x="372" y="184"/>
                      <a:pt x="372" y="184"/>
                    </a:cubicBezTo>
                    <a:cubicBezTo>
                      <a:pt x="367" y="178"/>
                      <a:pt x="367" y="178"/>
                      <a:pt x="367" y="178"/>
                    </a:cubicBezTo>
                    <a:lnTo>
                      <a:pt x="362" y="187"/>
                    </a:lnTo>
                    <a:close/>
                    <a:moveTo>
                      <a:pt x="378" y="177"/>
                    </a:moveTo>
                    <a:cubicBezTo>
                      <a:pt x="377" y="175"/>
                      <a:pt x="376" y="174"/>
                      <a:pt x="374" y="174"/>
                    </a:cubicBezTo>
                    <a:cubicBezTo>
                      <a:pt x="371" y="173"/>
                      <a:pt x="369" y="175"/>
                      <a:pt x="369" y="175"/>
                    </a:cubicBezTo>
                    <a:cubicBezTo>
                      <a:pt x="369" y="175"/>
                      <a:pt x="370" y="182"/>
                      <a:pt x="373" y="182"/>
                    </a:cubicBezTo>
                    <a:cubicBezTo>
                      <a:pt x="375" y="183"/>
                      <a:pt x="379" y="178"/>
                      <a:pt x="378" y="177"/>
                    </a:cubicBezTo>
                    <a:close/>
                    <a:moveTo>
                      <a:pt x="352" y="177"/>
                    </a:moveTo>
                    <a:cubicBezTo>
                      <a:pt x="355" y="179"/>
                      <a:pt x="357" y="179"/>
                      <a:pt x="357" y="179"/>
                    </a:cubicBezTo>
                    <a:cubicBezTo>
                      <a:pt x="357" y="174"/>
                      <a:pt x="357" y="174"/>
                      <a:pt x="357" y="174"/>
                    </a:cubicBezTo>
                    <a:cubicBezTo>
                      <a:pt x="350" y="171"/>
                      <a:pt x="350" y="171"/>
                      <a:pt x="350" y="171"/>
                    </a:cubicBezTo>
                    <a:cubicBezTo>
                      <a:pt x="348" y="173"/>
                      <a:pt x="348" y="173"/>
                      <a:pt x="348" y="173"/>
                    </a:cubicBezTo>
                    <a:cubicBezTo>
                      <a:pt x="348" y="173"/>
                      <a:pt x="350" y="177"/>
                      <a:pt x="352" y="177"/>
                    </a:cubicBezTo>
                    <a:close/>
                    <a:moveTo>
                      <a:pt x="348" y="178"/>
                    </a:moveTo>
                    <a:cubicBezTo>
                      <a:pt x="344" y="183"/>
                      <a:pt x="344" y="183"/>
                      <a:pt x="344" y="183"/>
                    </a:cubicBezTo>
                    <a:cubicBezTo>
                      <a:pt x="348" y="188"/>
                      <a:pt x="348" y="188"/>
                      <a:pt x="348" y="188"/>
                    </a:cubicBezTo>
                    <a:cubicBezTo>
                      <a:pt x="344" y="189"/>
                      <a:pt x="344" y="189"/>
                      <a:pt x="344" y="189"/>
                    </a:cubicBezTo>
                    <a:cubicBezTo>
                      <a:pt x="337" y="201"/>
                      <a:pt x="337" y="201"/>
                      <a:pt x="337" y="201"/>
                    </a:cubicBezTo>
                    <a:cubicBezTo>
                      <a:pt x="343" y="185"/>
                      <a:pt x="343" y="185"/>
                      <a:pt x="343" y="185"/>
                    </a:cubicBezTo>
                    <a:cubicBezTo>
                      <a:pt x="341" y="184"/>
                      <a:pt x="341" y="184"/>
                      <a:pt x="341" y="184"/>
                    </a:cubicBezTo>
                    <a:cubicBezTo>
                      <a:pt x="341" y="184"/>
                      <a:pt x="342" y="177"/>
                      <a:pt x="338" y="175"/>
                    </a:cubicBezTo>
                    <a:cubicBezTo>
                      <a:pt x="333" y="173"/>
                      <a:pt x="333" y="185"/>
                      <a:pt x="333" y="185"/>
                    </a:cubicBezTo>
                    <a:cubicBezTo>
                      <a:pt x="330" y="186"/>
                      <a:pt x="330" y="186"/>
                      <a:pt x="330" y="186"/>
                    </a:cubicBezTo>
                    <a:cubicBezTo>
                      <a:pt x="331" y="197"/>
                      <a:pt x="331" y="197"/>
                      <a:pt x="331" y="197"/>
                    </a:cubicBezTo>
                    <a:cubicBezTo>
                      <a:pt x="324" y="202"/>
                      <a:pt x="324" y="202"/>
                      <a:pt x="324" y="202"/>
                    </a:cubicBezTo>
                    <a:cubicBezTo>
                      <a:pt x="325" y="206"/>
                      <a:pt x="325" y="206"/>
                      <a:pt x="325" y="206"/>
                    </a:cubicBezTo>
                    <a:cubicBezTo>
                      <a:pt x="319" y="218"/>
                      <a:pt x="319" y="218"/>
                      <a:pt x="319" y="218"/>
                    </a:cubicBezTo>
                    <a:cubicBezTo>
                      <a:pt x="322" y="218"/>
                      <a:pt x="322" y="218"/>
                      <a:pt x="322" y="218"/>
                    </a:cubicBezTo>
                    <a:cubicBezTo>
                      <a:pt x="331" y="208"/>
                      <a:pt x="331" y="208"/>
                      <a:pt x="331" y="208"/>
                    </a:cubicBezTo>
                    <a:cubicBezTo>
                      <a:pt x="328" y="214"/>
                      <a:pt x="328" y="214"/>
                      <a:pt x="328" y="214"/>
                    </a:cubicBezTo>
                    <a:cubicBezTo>
                      <a:pt x="335" y="215"/>
                      <a:pt x="335" y="215"/>
                      <a:pt x="335" y="215"/>
                    </a:cubicBezTo>
                    <a:cubicBezTo>
                      <a:pt x="336" y="215"/>
                      <a:pt x="337" y="209"/>
                      <a:pt x="337" y="209"/>
                    </a:cubicBezTo>
                    <a:cubicBezTo>
                      <a:pt x="340" y="211"/>
                      <a:pt x="340" y="211"/>
                      <a:pt x="340" y="211"/>
                    </a:cubicBezTo>
                    <a:cubicBezTo>
                      <a:pt x="340" y="211"/>
                      <a:pt x="345" y="202"/>
                      <a:pt x="346" y="200"/>
                    </a:cubicBezTo>
                    <a:cubicBezTo>
                      <a:pt x="347" y="198"/>
                      <a:pt x="354" y="198"/>
                      <a:pt x="354" y="198"/>
                    </a:cubicBezTo>
                    <a:cubicBezTo>
                      <a:pt x="354" y="198"/>
                      <a:pt x="357" y="193"/>
                      <a:pt x="358" y="188"/>
                    </a:cubicBezTo>
                    <a:cubicBezTo>
                      <a:pt x="359" y="184"/>
                      <a:pt x="348" y="178"/>
                      <a:pt x="348" y="178"/>
                    </a:cubicBezTo>
                    <a:close/>
                    <a:moveTo>
                      <a:pt x="330" y="179"/>
                    </a:moveTo>
                    <a:cubicBezTo>
                      <a:pt x="330" y="174"/>
                      <a:pt x="330" y="174"/>
                      <a:pt x="330" y="174"/>
                    </a:cubicBezTo>
                    <a:cubicBezTo>
                      <a:pt x="335" y="174"/>
                      <a:pt x="335" y="174"/>
                      <a:pt x="335" y="174"/>
                    </a:cubicBezTo>
                    <a:cubicBezTo>
                      <a:pt x="343" y="162"/>
                      <a:pt x="343" y="162"/>
                      <a:pt x="343" y="162"/>
                    </a:cubicBezTo>
                    <a:cubicBezTo>
                      <a:pt x="343" y="162"/>
                      <a:pt x="351" y="146"/>
                      <a:pt x="341" y="155"/>
                    </a:cubicBezTo>
                    <a:cubicBezTo>
                      <a:pt x="331" y="162"/>
                      <a:pt x="326" y="174"/>
                      <a:pt x="327" y="177"/>
                    </a:cubicBezTo>
                    <a:cubicBezTo>
                      <a:pt x="328" y="181"/>
                      <a:pt x="330" y="179"/>
                      <a:pt x="330" y="179"/>
                    </a:cubicBezTo>
                    <a:close/>
                    <a:moveTo>
                      <a:pt x="312" y="197"/>
                    </a:moveTo>
                    <a:cubicBezTo>
                      <a:pt x="315" y="194"/>
                      <a:pt x="319" y="192"/>
                      <a:pt x="319" y="192"/>
                    </a:cubicBezTo>
                    <a:cubicBezTo>
                      <a:pt x="313" y="199"/>
                      <a:pt x="313" y="199"/>
                      <a:pt x="313" y="199"/>
                    </a:cubicBezTo>
                    <a:cubicBezTo>
                      <a:pt x="317" y="201"/>
                      <a:pt x="317" y="201"/>
                      <a:pt x="317" y="201"/>
                    </a:cubicBezTo>
                    <a:cubicBezTo>
                      <a:pt x="327" y="191"/>
                      <a:pt x="327" y="191"/>
                      <a:pt x="327" y="191"/>
                    </a:cubicBezTo>
                    <a:cubicBezTo>
                      <a:pt x="325" y="187"/>
                      <a:pt x="325" y="187"/>
                      <a:pt x="325" y="187"/>
                    </a:cubicBezTo>
                    <a:cubicBezTo>
                      <a:pt x="327" y="185"/>
                      <a:pt x="327" y="185"/>
                      <a:pt x="327" y="185"/>
                    </a:cubicBezTo>
                    <a:cubicBezTo>
                      <a:pt x="322" y="171"/>
                      <a:pt x="322" y="171"/>
                      <a:pt x="322" y="171"/>
                    </a:cubicBezTo>
                    <a:cubicBezTo>
                      <a:pt x="315" y="172"/>
                      <a:pt x="315" y="172"/>
                      <a:pt x="315" y="172"/>
                    </a:cubicBezTo>
                    <a:cubicBezTo>
                      <a:pt x="320" y="183"/>
                      <a:pt x="320" y="183"/>
                      <a:pt x="320" y="183"/>
                    </a:cubicBezTo>
                    <a:cubicBezTo>
                      <a:pt x="317" y="183"/>
                      <a:pt x="317" y="183"/>
                      <a:pt x="317" y="183"/>
                    </a:cubicBezTo>
                    <a:cubicBezTo>
                      <a:pt x="317" y="188"/>
                      <a:pt x="317" y="188"/>
                      <a:pt x="317" y="188"/>
                    </a:cubicBezTo>
                    <a:cubicBezTo>
                      <a:pt x="309" y="186"/>
                      <a:pt x="309" y="186"/>
                      <a:pt x="309" y="186"/>
                    </a:cubicBezTo>
                    <a:cubicBezTo>
                      <a:pt x="309" y="186"/>
                      <a:pt x="306" y="191"/>
                      <a:pt x="305" y="194"/>
                    </a:cubicBezTo>
                    <a:cubicBezTo>
                      <a:pt x="303" y="199"/>
                      <a:pt x="308" y="198"/>
                      <a:pt x="312" y="197"/>
                    </a:cubicBezTo>
                    <a:close/>
                    <a:moveTo>
                      <a:pt x="309" y="186"/>
                    </a:moveTo>
                    <a:cubicBezTo>
                      <a:pt x="309" y="186"/>
                      <a:pt x="309" y="186"/>
                      <a:pt x="309" y="186"/>
                    </a:cubicBezTo>
                    <a:moveTo>
                      <a:pt x="313" y="206"/>
                    </a:moveTo>
                    <a:cubicBezTo>
                      <a:pt x="322" y="206"/>
                      <a:pt x="319" y="202"/>
                      <a:pt x="313" y="202"/>
                    </a:cubicBezTo>
                    <a:cubicBezTo>
                      <a:pt x="307" y="202"/>
                      <a:pt x="306" y="206"/>
                      <a:pt x="313" y="206"/>
                    </a:cubicBezTo>
                    <a:close/>
                    <a:moveTo>
                      <a:pt x="361" y="157"/>
                    </a:moveTo>
                    <a:cubicBezTo>
                      <a:pt x="367" y="159"/>
                      <a:pt x="367" y="159"/>
                      <a:pt x="367" y="159"/>
                    </a:cubicBezTo>
                    <a:cubicBezTo>
                      <a:pt x="360" y="165"/>
                      <a:pt x="360" y="165"/>
                      <a:pt x="360" y="165"/>
                    </a:cubicBezTo>
                    <a:cubicBezTo>
                      <a:pt x="362" y="168"/>
                      <a:pt x="362" y="168"/>
                      <a:pt x="362" y="168"/>
                    </a:cubicBezTo>
                    <a:cubicBezTo>
                      <a:pt x="362" y="168"/>
                      <a:pt x="368" y="170"/>
                      <a:pt x="371" y="168"/>
                    </a:cubicBezTo>
                    <a:cubicBezTo>
                      <a:pt x="376" y="157"/>
                      <a:pt x="376" y="157"/>
                      <a:pt x="376" y="157"/>
                    </a:cubicBezTo>
                    <a:cubicBezTo>
                      <a:pt x="387" y="158"/>
                      <a:pt x="387" y="158"/>
                      <a:pt x="387" y="158"/>
                    </a:cubicBezTo>
                    <a:cubicBezTo>
                      <a:pt x="385" y="151"/>
                      <a:pt x="385" y="151"/>
                      <a:pt x="385" y="151"/>
                    </a:cubicBezTo>
                    <a:cubicBezTo>
                      <a:pt x="389" y="144"/>
                      <a:pt x="389" y="144"/>
                      <a:pt x="389" y="144"/>
                    </a:cubicBezTo>
                    <a:cubicBezTo>
                      <a:pt x="389" y="144"/>
                      <a:pt x="391" y="135"/>
                      <a:pt x="384" y="132"/>
                    </a:cubicBezTo>
                    <a:cubicBezTo>
                      <a:pt x="376" y="129"/>
                      <a:pt x="370" y="139"/>
                      <a:pt x="370" y="139"/>
                    </a:cubicBezTo>
                    <a:cubicBezTo>
                      <a:pt x="375" y="145"/>
                      <a:pt x="375" y="145"/>
                      <a:pt x="375" y="145"/>
                    </a:cubicBezTo>
                    <a:cubicBezTo>
                      <a:pt x="371" y="143"/>
                      <a:pt x="371" y="143"/>
                      <a:pt x="371" y="143"/>
                    </a:cubicBezTo>
                    <a:cubicBezTo>
                      <a:pt x="371" y="143"/>
                      <a:pt x="362" y="144"/>
                      <a:pt x="362" y="145"/>
                    </a:cubicBezTo>
                    <a:cubicBezTo>
                      <a:pt x="362" y="150"/>
                      <a:pt x="362" y="150"/>
                      <a:pt x="362" y="150"/>
                    </a:cubicBezTo>
                    <a:cubicBezTo>
                      <a:pt x="367" y="152"/>
                      <a:pt x="367" y="152"/>
                      <a:pt x="367" y="152"/>
                    </a:cubicBezTo>
                    <a:cubicBezTo>
                      <a:pt x="360" y="155"/>
                      <a:pt x="360" y="155"/>
                      <a:pt x="360" y="155"/>
                    </a:cubicBezTo>
                    <a:lnTo>
                      <a:pt x="361" y="157"/>
                    </a:lnTo>
                    <a:close/>
                    <a:moveTo>
                      <a:pt x="401" y="132"/>
                    </a:moveTo>
                    <a:cubicBezTo>
                      <a:pt x="406" y="130"/>
                      <a:pt x="406" y="127"/>
                      <a:pt x="406" y="127"/>
                    </a:cubicBezTo>
                    <a:cubicBezTo>
                      <a:pt x="404" y="127"/>
                      <a:pt x="404" y="127"/>
                      <a:pt x="404" y="127"/>
                    </a:cubicBezTo>
                    <a:cubicBezTo>
                      <a:pt x="404" y="127"/>
                      <a:pt x="405" y="121"/>
                      <a:pt x="407" y="120"/>
                    </a:cubicBezTo>
                    <a:cubicBezTo>
                      <a:pt x="408" y="119"/>
                      <a:pt x="410" y="118"/>
                      <a:pt x="410" y="118"/>
                    </a:cubicBezTo>
                    <a:cubicBezTo>
                      <a:pt x="410" y="118"/>
                      <a:pt x="408" y="111"/>
                      <a:pt x="403" y="112"/>
                    </a:cubicBezTo>
                    <a:cubicBezTo>
                      <a:pt x="399" y="112"/>
                      <a:pt x="401" y="119"/>
                      <a:pt x="401" y="119"/>
                    </a:cubicBezTo>
                    <a:cubicBezTo>
                      <a:pt x="397" y="118"/>
                      <a:pt x="397" y="118"/>
                      <a:pt x="397" y="118"/>
                    </a:cubicBezTo>
                    <a:cubicBezTo>
                      <a:pt x="393" y="121"/>
                      <a:pt x="393" y="121"/>
                      <a:pt x="393" y="121"/>
                    </a:cubicBezTo>
                    <a:cubicBezTo>
                      <a:pt x="394" y="124"/>
                      <a:pt x="394" y="124"/>
                      <a:pt x="394" y="124"/>
                    </a:cubicBezTo>
                    <a:cubicBezTo>
                      <a:pt x="390" y="123"/>
                      <a:pt x="390" y="123"/>
                      <a:pt x="390" y="123"/>
                    </a:cubicBezTo>
                    <a:cubicBezTo>
                      <a:pt x="389" y="126"/>
                      <a:pt x="389" y="126"/>
                      <a:pt x="389" y="126"/>
                    </a:cubicBezTo>
                    <a:cubicBezTo>
                      <a:pt x="390" y="129"/>
                      <a:pt x="390" y="129"/>
                      <a:pt x="390" y="129"/>
                    </a:cubicBezTo>
                    <a:cubicBezTo>
                      <a:pt x="388" y="128"/>
                      <a:pt x="388" y="128"/>
                      <a:pt x="388" y="128"/>
                    </a:cubicBezTo>
                    <a:cubicBezTo>
                      <a:pt x="388" y="132"/>
                      <a:pt x="388" y="132"/>
                      <a:pt x="388" y="132"/>
                    </a:cubicBezTo>
                    <a:cubicBezTo>
                      <a:pt x="388" y="132"/>
                      <a:pt x="395" y="134"/>
                      <a:pt x="401" y="132"/>
                    </a:cubicBezTo>
                    <a:close/>
                    <a:moveTo>
                      <a:pt x="408" y="111"/>
                    </a:moveTo>
                    <a:cubicBezTo>
                      <a:pt x="410" y="112"/>
                      <a:pt x="411" y="112"/>
                      <a:pt x="411" y="112"/>
                    </a:cubicBezTo>
                    <a:cubicBezTo>
                      <a:pt x="412" y="115"/>
                      <a:pt x="412" y="115"/>
                      <a:pt x="412" y="115"/>
                    </a:cubicBezTo>
                    <a:cubicBezTo>
                      <a:pt x="412" y="115"/>
                      <a:pt x="420" y="113"/>
                      <a:pt x="420" y="109"/>
                    </a:cubicBezTo>
                    <a:cubicBezTo>
                      <a:pt x="420" y="106"/>
                      <a:pt x="420" y="106"/>
                      <a:pt x="420" y="106"/>
                    </a:cubicBezTo>
                    <a:cubicBezTo>
                      <a:pt x="420" y="106"/>
                      <a:pt x="426" y="104"/>
                      <a:pt x="424" y="102"/>
                    </a:cubicBezTo>
                    <a:cubicBezTo>
                      <a:pt x="423" y="99"/>
                      <a:pt x="418" y="100"/>
                      <a:pt x="418" y="100"/>
                    </a:cubicBezTo>
                    <a:cubicBezTo>
                      <a:pt x="418" y="100"/>
                      <a:pt x="416" y="96"/>
                      <a:pt x="411" y="97"/>
                    </a:cubicBezTo>
                    <a:cubicBezTo>
                      <a:pt x="408" y="98"/>
                      <a:pt x="403" y="106"/>
                      <a:pt x="403" y="106"/>
                    </a:cubicBezTo>
                    <a:cubicBezTo>
                      <a:pt x="403" y="106"/>
                      <a:pt x="406" y="110"/>
                      <a:pt x="408" y="111"/>
                    </a:cubicBezTo>
                    <a:close/>
                    <a:moveTo>
                      <a:pt x="424" y="106"/>
                    </a:moveTo>
                    <a:cubicBezTo>
                      <a:pt x="421" y="111"/>
                      <a:pt x="421" y="111"/>
                      <a:pt x="421" y="111"/>
                    </a:cubicBezTo>
                    <a:cubicBezTo>
                      <a:pt x="428" y="111"/>
                      <a:pt x="428" y="111"/>
                      <a:pt x="428" y="111"/>
                    </a:cubicBezTo>
                    <a:cubicBezTo>
                      <a:pt x="433" y="100"/>
                      <a:pt x="433" y="100"/>
                      <a:pt x="433" y="100"/>
                    </a:cubicBezTo>
                    <a:cubicBezTo>
                      <a:pt x="429" y="100"/>
                      <a:pt x="429" y="100"/>
                      <a:pt x="429" y="100"/>
                    </a:cubicBezTo>
                    <a:lnTo>
                      <a:pt x="424" y="106"/>
                    </a:lnTo>
                    <a:close/>
                    <a:moveTo>
                      <a:pt x="426" y="97"/>
                    </a:moveTo>
                    <a:cubicBezTo>
                      <a:pt x="433" y="98"/>
                      <a:pt x="434" y="97"/>
                      <a:pt x="433" y="93"/>
                    </a:cubicBezTo>
                    <a:cubicBezTo>
                      <a:pt x="431" y="90"/>
                      <a:pt x="427" y="87"/>
                      <a:pt x="427" y="87"/>
                    </a:cubicBezTo>
                    <a:cubicBezTo>
                      <a:pt x="426" y="91"/>
                      <a:pt x="426" y="91"/>
                      <a:pt x="426" y="91"/>
                    </a:cubicBezTo>
                    <a:cubicBezTo>
                      <a:pt x="422" y="83"/>
                      <a:pt x="422" y="83"/>
                      <a:pt x="422" y="83"/>
                    </a:cubicBezTo>
                    <a:cubicBezTo>
                      <a:pt x="420" y="87"/>
                      <a:pt x="420" y="87"/>
                      <a:pt x="420" y="87"/>
                    </a:cubicBezTo>
                    <a:cubicBezTo>
                      <a:pt x="424" y="94"/>
                      <a:pt x="424" y="94"/>
                      <a:pt x="424" y="94"/>
                    </a:cubicBezTo>
                    <a:cubicBezTo>
                      <a:pt x="424" y="94"/>
                      <a:pt x="422" y="96"/>
                      <a:pt x="426" y="97"/>
                    </a:cubicBezTo>
                    <a:close/>
                    <a:moveTo>
                      <a:pt x="421" y="95"/>
                    </a:moveTo>
                    <a:cubicBezTo>
                      <a:pt x="417" y="91"/>
                      <a:pt x="417" y="91"/>
                      <a:pt x="417" y="91"/>
                    </a:cubicBezTo>
                    <a:cubicBezTo>
                      <a:pt x="417" y="94"/>
                      <a:pt x="417" y="94"/>
                      <a:pt x="417" y="94"/>
                    </a:cubicBezTo>
                    <a:lnTo>
                      <a:pt x="421" y="95"/>
                    </a:lnTo>
                    <a:close/>
                    <a:moveTo>
                      <a:pt x="413" y="95"/>
                    </a:moveTo>
                    <a:cubicBezTo>
                      <a:pt x="415" y="87"/>
                      <a:pt x="415" y="87"/>
                      <a:pt x="415" y="87"/>
                    </a:cubicBezTo>
                    <a:cubicBezTo>
                      <a:pt x="409" y="84"/>
                      <a:pt x="409" y="84"/>
                      <a:pt x="409" y="84"/>
                    </a:cubicBezTo>
                    <a:cubicBezTo>
                      <a:pt x="409" y="95"/>
                      <a:pt x="409" y="95"/>
                      <a:pt x="409" y="95"/>
                    </a:cubicBezTo>
                    <a:lnTo>
                      <a:pt x="413" y="95"/>
                    </a:lnTo>
                    <a:close/>
                    <a:moveTo>
                      <a:pt x="407" y="97"/>
                    </a:moveTo>
                    <a:cubicBezTo>
                      <a:pt x="403" y="94"/>
                      <a:pt x="403" y="94"/>
                      <a:pt x="403" y="94"/>
                    </a:cubicBezTo>
                    <a:cubicBezTo>
                      <a:pt x="403" y="98"/>
                      <a:pt x="403" y="98"/>
                      <a:pt x="403" y="98"/>
                    </a:cubicBezTo>
                    <a:cubicBezTo>
                      <a:pt x="397" y="96"/>
                      <a:pt x="397" y="96"/>
                      <a:pt x="397" y="96"/>
                    </a:cubicBezTo>
                    <a:cubicBezTo>
                      <a:pt x="400" y="103"/>
                      <a:pt x="400" y="103"/>
                      <a:pt x="400" y="103"/>
                    </a:cubicBezTo>
                    <a:lnTo>
                      <a:pt x="407" y="97"/>
                    </a:lnTo>
                    <a:close/>
                    <a:moveTo>
                      <a:pt x="443" y="96"/>
                    </a:moveTo>
                    <a:cubicBezTo>
                      <a:pt x="449" y="97"/>
                      <a:pt x="452" y="90"/>
                      <a:pt x="449" y="84"/>
                    </a:cubicBezTo>
                    <a:cubicBezTo>
                      <a:pt x="446" y="79"/>
                      <a:pt x="441" y="83"/>
                      <a:pt x="440" y="90"/>
                    </a:cubicBezTo>
                    <a:cubicBezTo>
                      <a:pt x="439" y="95"/>
                      <a:pt x="443" y="96"/>
                      <a:pt x="443" y="96"/>
                    </a:cubicBezTo>
                    <a:close/>
                    <a:moveTo>
                      <a:pt x="455" y="99"/>
                    </a:moveTo>
                    <a:cubicBezTo>
                      <a:pt x="451" y="96"/>
                      <a:pt x="451" y="96"/>
                      <a:pt x="451" y="96"/>
                    </a:cubicBezTo>
                    <a:cubicBezTo>
                      <a:pt x="451" y="96"/>
                      <a:pt x="449" y="99"/>
                      <a:pt x="448" y="100"/>
                    </a:cubicBezTo>
                    <a:lnTo>
                      <a:pt x="455" y="99"/>
                    </a:lnTo>
                    <a:close/>
                    <a:moveTo>
                      <a:pt x="445" y="105"/>
                    </a:moveTo>
                    <a:cubicBezTo>
                      <a:pt x="444" y="111"/>
                      <a:pt x="444" y="111"/>
                      <a:pt x="444" y="111"/>
                    </a:cubicBezTo>
                    <a:cubicBezTo>
                      <a:pt x="449" y="109"/>
                      <a:pt x="449" y="109"/>
                      <a:pt x="449" y="109"/>
                    </a:cubicBezTo>
                    <a:cubicBezTo>
                      <a:pt x="448" y="104"/>
                      <a:pt x="448" y="104"/>
                      <a:pt x="448" y="104"/>
                    </a:cubicBezTo>
                    <a:lnTo>
                      <a:pt x="445" y="105"/>
                    </a:lnTo>
                    <a:close/>
                    <a:moveTo>
                      <a:pt x="474" y="58"/>
                    </a:moveTo>
                    <a:cubicBezTo>
                      <a:pt x="479" y="58"/>
                      <a:pt x="479" y="58"/>
                      <a:pt x="479" y="58"/>
                    </a:cubicBezTo>
                    <a:cubicBezTo>
                      <a:pt x="476" y="63"/>
                      <a:pt x="476" y="63"/>
                      <a:pt x="476" y="63"/>
                    </a:cubicBezTo>
                    <a:cubicBezTo>
                      <a:pt x="478" y="65"/>
                      <a:pt x="484" y="64"/>
                      <a:pt x="492" y="60"/>
                    </a:cubicBezTo>
                    <a:cubicBezTo>
                      <a:pt x="500" y="56"/>
                      <a:pt x="497" y="50"/>
                      <a:pt x="497" y="50"/>
                    </a:cubicBezTo>
                    <a:cubicBezTo>
                      <a:pt x="504" y="41"/>
                      <a:pt x="504" y="41"/>
                      <a:pt x="504" y="41"/>
                    </a:cubicBezTo>
                    <a:cubicBezTo>
                      <a:pt x="500" y="36"/>
                      <a:pt x="500" y="36"/>
                      <a:pt x="500" y="36"/>
                    </a:cubicBezTo>
                    <a:cubicBezTo>
                      <a:pt x="492" y="40"/>
                      <a:pt x="492" y="40"/>
                      <a:pt x="492" y="40"/>
                    </a:cubicBezTo>
                    <a:cubicBezTo>
                      <a:pt x="493" y="48"/>
                      <a:pt x="493" y="48"/>
                      <a:pt x="493" y="48"/>
                    </a:cubicBezTo>
                    <a:cubicBezTo>
                      <a:pt x="488" y="44"/>
                      <a:pt x="488" y="44"/>
                      <a:pt x="488" y="44"/>
                    </a:cubicBezTo>
                    <a:cubicBezTo>
                      <a:pt x="486" y="46"/>
                      <a:pt x="486" y="46"/>
                      <a:pt x="486" y="46"/>
                    </a:cubicBezTo>
                    <a:cubicBezTo>
                      <a:pt x="490" y="52"/>
                      <a:pt x="490" y="52"/>
                      <a:pt x="490" y="52"/>
                    </a:cubicBezTo>
                    <a:cubicBezTo>
                      <a:pt x="483" y="48"/>
                      <a:pt x="483" y="48"/>
                      <a:pt x="483" y="48"/>
                    </a:cubicBezTo>
                    <a:cubicBezTo>
                      <a:pt x="478" y="48"/>
                      <a:pt x="478" y="48"/>
                      <a:pt x="478" y="48"/>
                    </a:cubicBezTo>
                    <a:cubicBezTo>
                      <a:pt x="479" y="53"/>
                      <a:pt x="479" y="53"/>
                      <a:pt x="479" y="53"/>
                    </a:cubicBezTo>
                    <a:cubicBezTo>
                      <a:pt x="472" y="55"/>
                      <a:pt x="472" y="55"/>
                      <a:pt x="472" y="55"/>
                    </a:cubicBezTo>
                    <a:lnTo>
                      <a:pt x="474" y="58"/>
                    </a:lnTo>
                    <a:close/>
                    <a:moveTo>
                      <a:pt x="484" y="73"/>
                    </a:moveTo>
                    <a:cubicBezTo>
                      <a:pt x="484" y="76"/>
                      <a:pt x="489" y="76"/>
                      <a:pt x="489" y="76"/>
                    </a:cubicBezTo>
                    <a:cubicBezTo>
                      <a:pt x="489" y="76"/>
                      <a:pt x="498" y="77"/>
                      <a:pt x="497" y="73"/>
                    </a:cubicBezTo>
                    <a:cubicBezTo>
                      <a:pt x="497" y="68"/>
                      <a:pt x="482" y="66"/>
                      <a:pt x="484" y="73"/>
                    </a:cubicBezTo>
                    <a:close/>
                    <a:moveTo>
                      <a:pt x="503" y="55"/>
                    </a:moveTo>
                    <a:cubicBezTo>
                      <a:pt x="501" y="59"/>
                      <a:pt x="501" y="59"/>
                      <a:pt x="501" y="59"/>
                    </a:cubicBezTo>
                    <a:cubicBezTo>
                      <a:pt x="499" y="57"/>
                      <a:pt x="499" y="57"/>
                      <a:pt x="499" y="57"/>
                    </a:cubicBezTo>
                    <a:cubicBezTo>
                      <a:pt x="493" y="66"/>
                      <a:pt x="493" y="66"/>
                      <a:pt x="493" y="66"/>
                    </a:cubicBezTo>
                    <a:cubicBezTo>
                      <a:pt x="499" y="68"/>
                      <a:pt x="499" y="68"/>
                      <a:pt x="499" y="68"/>
                    </a:cubicBezTo>
                    <a:cubicBezTo>
                      <a:pt x="500" y="66"/>
                      <a:pt x="500" y="66"/>
                      <a:pt x="500" y="66"/>
                    </a:cubicBezTo>
                    <a:cubicBezTo>
                      <a:pt x="500" y="72"/>
                      <a:pt x="500" y="72"/>
                      <a:pt x="500" y="72"/>
                    </a:cubicBezTo>
                    <a:cubicBezTo>
                      <a:pt x="504" y="72"/>
                      <a:pt x="504" y="72"/>
                      <a:pt x="504" y="72"/>
                    </a:cubicBezTo>
                    <a:cubicBezTo>
                      <a:pt x="509" y="59"/>
                      <a:pt x="509" y="59"/>
                      <a:pt x="509" y="59"/>
                    </a:cubicBezTo>
                    <a:cubicBezTo>
                      <a:pt x="505" y="48"/>
                      <a:pt x="505" y="48"/>
                      <a:pt x="505" y="48"/>
                    </a:cubicBezTo>
                    <a:cubicBezTo>
                      <a:pt x="501" y="50"/>
                      <a:pt x="501" y="50"/>
                      <a:pt x="501" y="50"/>
                    </a:cubicBezTo>
                    <a:lnTo>
                      <a:pt x="503" y="55"/>
                    </a:lnTo>
                    <a:close/>
                    <a:moveTo>
                      <a:pt x="514" y="56"/>
                    </a:moveTo>
                    <a:cubicBezTo>
                      <a:pt x="517" y="56"/>
                      <a:pt x="521" y="48"/>
                      <a:pt x="516" y="43"/>
                    </a:cubicBezTo>
                    <a:cubicBezTo>
                      <a:pt x="509" y="37"/>
                      <a:pt x="505" y="43"/>
                      <a:pt x="508" y="50"/>
                    </a:cubicBezTo>
                    <a:cubicBezTo>
                      <a:pt x="508" y="50"/>
                      <a:pt x="510" y="56"/>
                      <a:pt x="514" y="56"/>
                    </a:cubicBezTo>
                    <a:close/>
                    <a:moveTo>
                      <a:pt x="513" y="22"/>
                    </a:moveTo>
                    <a:cubicBezTo>
                      <a:pt x="506" y="22"/>
                      <a:pt x="511" y="30"/>
                      <a:pt x="511" y="30"/>
                    </a:cubicBezTo>
                    <a:cubicBezTo>
                      <a:pt x="517" y="29"/>
                      <a:pt x="518" y="22"/>
                      <a:pt x="513" y="22"/>
                    </a:cubicBezTo>
                    <a:close/>
                    <a:moveTo>
                      <a:pt x="528" y="14"/>
                    </a:moveTo>
                    <a:cubicBezTo>
                      <a:pt x="523" y="17"/>
                      <a:pt x="523" y="17"/>
                      <a:pt x="523" y="17"/>
                    </a:cubicBezTo>
                    <a:cubicBezTo>
                      <a:pt x="531" y="19"/>
                      <a:pt x="531" y="19"/>
                      <a:pt x="531" y="19"/>
                    </a:cubicBezTo>
                    <a:lnTo>
                      <a:pt x="528" y="14"/>
                    </a:lnTo>
                    <a:close/>
                    <a:moveTo>
                      <a:pt x="538" y="19"/>
                    </a:moveTo>
                    <a:cubicBezTo>
                      <a:pt x="539" y="19"/>
                      <a:pt x="541" y="17"/>
                      <a:pt x="541" y="17"/>
                    </a:cubicBezTo>
                    <a:cubicBezTo>
                      <a:pt x="541" y="20"/>
                      <a:pt x="541" y="20"/>
                      <a:pt x="541" y="20"/>
                    </a:cubicBezTo>
                    <a:cubicBezTo>
                      <a:pt x="548" y="22"/>
                      <a:pt x="548" y="22"/>
                      <a:pt x="548" y="22"/>
                    </a:cubicBezTo>
                    <a:cubicBezTo>
                      <a:pt x="559" y="16"/>
                      <a:pt x="559" y="16"/>
                      <a:pt x="559" y="16"/>
                    </a:cubicBezTo>
                    <a:cubicBezTo>
                      <a:pt x="559" y="12"/>
                      <a:pt x="559" y="12"/>
                      <a:pt x="559" y="12"/>
                    </a:cubicBezTo>
                    <a:cubicBezTo>
                      <a:pt x="553" y="16"/>
                      <a:pt x="553" y="16"/>
                      <a:pt x="553" y="16"/>
                    </a:cubicBezTo>
                    <a:cubicBezTo>
                      <a:pt x="550" y="14"/>
                      <a:pt x="550" y="14"/>
                      <a:pt x="550" y="14"/>
                    </a:cubicBezTo>
                    <a:cubicBezTo>
                      <a:pt x="555" y="10"/>
                      <a:pt x="555" y="10"/>
                      <a:pt x="555" y="10"/>
                    </a:cubicBezTo>
                    <a:cubicBezTo>
                      <a:pt x="552" y="6"/>
                      <a:pt x="552" y="6"/>
                      <a:pt x="552" y="6"/>
                    </a:cubicBezTo>
                    <a:cubicBezTo>
                      <a:pt x="550" y="10"/>
                      <a:pt x="550" y="10"/>
                      <a:pt x="550" y="10"/>
                    </a:cubicBezTo>
                    <a:cubicBezTo>
                      <a:pt x="548" y="5"/>
                      <a:pt x="548" y="5"/>
                      <a:pt x="548" y="5"/>
                    </a:cubicBezTo>
                    <a:cubicBezTo>
                      <a:pt x="544" y="8"/>
                      <a:pt x="544" y="8"/>
                      <a:pt x="544" y="8"/>
                    </a:cubicBezTo>
                    <a:cubicBezTo>
                      <a:pt x="546" y="12"/>
                      <a:pt x="546" y="12"/>
                      <a:pt x="546" y="12"/>
                    </a:cubicBezTo>
                    <a:cubicBezTo>
                      <a:pt x="537" y="14"/>
                      <a:pt x="537" y="14"/>
                      <a:pt x="537" y="14"/>
                    </a:cubicBezTo>
                    <a:lnTo>
                      <a:pt x="538" y="19"/>
                    </a:lnTo>
                    <a:close/>
                    <a:moveTo>
                      <a:pt x="658" y="62"/>
                    </a:moveTo>
                    <a:cubicBezTo>
                      <a:pt x="659" y="72"/>
                      <a:pt x="659" y="72"/>
                      <a:pt x="659" y="72"/>
                    </a:cubicBezTo>
                    <a:cubicBezTo>
                      <a:pt x="665" y="68"/>
                      <a:pt x="665" y="68"/>
                      <a:pt x="665" y="68"/>
                    </a:cubicBezTo>
                    <a:cubicBezTo>
                      <a:pt x="662" y="60"/>
                      <a:pt x="662" y="60"/>
                      <a:pt x="662" y="60"/>
                    </a:cubicBezTo>
                    <a:lnTo>
                      <a:pt x="658" y="6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56" name="Netherlands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4254500" y="3632200"/>
                <a:ext cx="358775" cy="376237"/>
              </a:xfrm>
              <a:custGeom>
                <a:avLst/>
                <a:gdLst/>
                <a:ahLst/>
                <a:cxnLst>
                  <a:cxn ang="0">
                    <a:pos x="154" y="5"/>
                  </a:cxn>
                  <a:cxn ang="0">
                    <a:pos x="131" y="10"/>
                  </a:cxn>
                  <a:cxn ang="0">
                    <a:pos x="96" y="34"/>
                  </a:cxn>
                  <a:cxn ang="0">
                    <a:pos x="105" y="45"/>
                  </a:cxn>
                  <a:cxn ang="0">
                    <a:pos x="104" y="55"/>
                  </a:cxn>
                  <a:cxn ang="0">
                    <a:pos x="101" y="57"/>
                  </a:cxn>
                  <a:cxn ang="0">
                    <a:pos x="83" y="73"/>
                  </a:cxn>
                  <a:cxn ang="0">
                    <a:pos x="99" y="72"/>
                  </a:cxn>
                  <a:cxn ang="0">
                    <a:pos x="109" y="72"/>
                  </a:cxn>
                  <a:cxn ang="0">
                    <a:pos x="76" y="71"/>
                  </a:cxn>
                  <a:cxn ang="0">
                    <a:pos x="82" y="64"/>
                  </a:cxn>
                  <a:cxn ang="0">
                    <a:pos x="84" y="44"/>
                  </a:cxn>
                  <a:cxn ang="0">
                    <a:pos x="67" y="32"/>
                  </a:cxn>
                  <a:cxn ang="0">
                    <a:pos x="47" y="101"/>
                  </a:cxn>
                  <a:cxn ang="0">
                    <a:pos x="33" y="94"/>
                  </a:cxn>
                  <a:cxn ang="0">
                    <a:pos x="61" y="109"/>
                  </a:cxn>
                  <a:cxn ang="0">
                    <a:pos x="48" y="113"/>
                  </a:cxn>
                  <a:cxn ang="0">
                    <a:pos x="40" y="119"/>
                  </a:cxn>
                  <a:cxn ang="0">
                    <a:pos x="32" y="119"/>
                  </a:cxn>
                  <a:cxn ang="0">
                    <a:pos x="40" y="126"/>
                  </a:cxn>
                  <a:cxn ang="0">
                    <a:pos x="19" y="121"/>
                  </a:cxn>
                  <a:cxn ang="0">
                    <a:pos x="10" y="124"/>
                  </a:cxn>
                  <a:cxn ang="0">
                    <a:pos x="26" y="127"/>
                  </a:cxn>
                  <a:cxn ang="0">
                    <a:pos x="33" y="135"/>
                  </a:cxn>
                  <a:cxn ang="0">
                    <a:pos x="23" y="133"/>
                  </a:cxn>
                  <a:cxn ang="0">
                    <a:pos x="2" y="129"/>
                  </a:cxn>
                  <a:cxn ang="0">
                    <a:pos x="7" y="139"/>
                  </a:cxn>
                  <a:cxn ang="0">
                    <a:pos x="22" y="143"/>
                  </a:cxn>
                  <a:cxn ang="0">
                    <a:pos x="46" y="135"/>
                  </a:cxn>
                  <a:cxn ang="0">
                    <a:pos x="54" y="131"/>
                  </a:cxn>
                  <a:cxn ang="0">
                    <a:pos x="67" y="134"/>
                  </a:cxn>
                  <a:cxn ang="0">
                    <a:pos x="76" y="138"/>
                  </a:cxn>
                  <a:cxn ang="0">
                    <a:pos x="92" y="145"/>
                  </a:cxn>
                  <a:cxn ang="0">
                    <a:pos x="99" y="159"/>
                  </a:cxn>
                  <a:cxn ang="0">
                    <a:pos x="93" y="170"/>
                  </a:cxn>
                  <a:cxn ang="0">
                    <a:pos x="110" y="175"/>
                  </a:cxn>
                  <a:cxn ang="0">
                    <a:pos x="106" y="161"/>
                  </a:cxn>
                  <a:cxn ang="0">
                    <a:pos x="118" y="149"/>
                  </a:cxn>
                  <a:cxn ang="0">
                    <a:pos x="119" y="124"/>
                  </a:cxn>
                  <a:cxn ang="0">
                    <a:pos x="120" y="106"/>
                  </a:cxn>
                  <a:cxn ang="0">
                    <a:pos x="131" y="104"/>
                  </a:cxn>
                  <a:cxn ang="0">
                    <a:pos x="150" y="88"/>
                  </a:cxn>
                  <a:cxn ang="0">
                    <a:pos x="147" y="58"/>
                  </a:cxn>
                  <a:cxn ang="0">
                    <a:pos x="166" y="29"/>
                  </a:cxn>
                  <a:cxn ang="0">
                    <a:pos x="76" y="17"/>
                  </a:cxn>
                  <a:cxn ang="0">
                    <a:pos x="70" y="29"/>
                  </a:cxn>
                  <a:cxn ang="0">
                    <a:pos x="27" y="115"/>
                  </a:cxn>
                  <a:cxn ang="0">
                    <a:pos x="31" y="112"/>
                  </a:cxn>
                  <a:cxn ang="0">
                    <a:pos x="22" y="110"/>
                  </a:cxn>
                  <a:cxn ang="0">
                    <a:pos x="24" y="116"/>
                  </a:cxn>
                  <a:cxn ang="0">
                    <a:pos x="18" y="118"/>
                  </a:cxn>
                  <a:cxn ang="0">
                    <a:pos x="32" y="106"/>
                  </a:cxn>
                  <a:cxn ang="0">
                    <a:pos x="45" y="112"/>
                  </a:cxn>
                  <a:cxn ang="0">
                    <a:pos x="27" y="105"/>
                  </a:cxn>
                  <a:cxn ang="0">
                    <a:pos x="82" y="13"/>
                  </a:cxn>
                  <a:cxn ang="0">
                    <a:pos x="99" y="7"/>
                  </a:cxn>
                  <a:cxn ang="0">
                    <a:pos x="98" y="3"/>
                  </a:cxn>
                  <a:cxn ang="0">
                    <a:pos x="90" y="9"/>
                  </a:cxn>
                  <a:cxn ang="0">
                    <a:pos x="109" y="3"/>
                  </a:cxn>
                  <a:cxn ang="0">
                    <a:pos x="135" y="0"/>
                  </a:cxn>
                  <a:cxn ang="0">
                    <a:pos x="136" y="2"/>
                  </a:cxn>
                </a:cxnLst>
                <a:rect l="0" t="0" r="r" b="b"/>
                <a:pathLst>
                  <a:path w="168" h="177">
                    <a:moveTo>
                      <a:pt x="168" y="18"/>
                    </a:moveTo>
                    <a:cubicBezTo>
                      <a:pt x="164" y="17"/>
                      <a:pt x="160" y="15"/>
                      <a:pt x="159" y="14"/>
                    </a:cubicBezTo>
                    <a:cubicBezTo>
                      <a:pt x="155" y="12"/>
                      <a:pt x="155" y="7"/>
                      <a:pt x="154" y="5"/>
                    </a:cubicBezTo>
                    <a:cubicBezTo>
                      <a:pt x="153" y="3"/>
                      <a:pt x="149" y="7"/>
                      <a:pt x="149" y="7"/>
                    </a:cubicBezTo>
                    <a:cubicBezTo>
                      <a:pt x="130" y="8"/>
                      <a:pt x="130" y="8"/>
                      <a:pt x="130" y="8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28" y="10"/>
                      <a:pt x="127" y="8"/>
                    </a:cubicBezTo>
                    <a:cubicBezTo>
                      <a:pt x="125" y="6"/>
                      <a:pt x="108" y="11"/>
                      <a:pt x="102" y="14"/>
                    </a:cubicBezTo>
                    <a:cubicBezTo>
                      <a:pt x="96" y="16"/>
                      <a:pt x="95" y="29"/>
                      <a:pt x="96" y="34"/>
                    </a:cubicBezTo>
                    <a:cubicBezTo>
                      <a:pt x="96" y="40"/>
                      <a:pt x="95" y="39"/>
                      <a:pt x="95" y="39"/>
                    </a:cubicBezTo>
                    <a:cubicBezTo>
                      <a:pt x="95" y="39"/>
                      <a:pt x="96" y="40"/>
                      <a:pt x="99" y="41"/>
                    </a:cubicBezTo>
                    <a:cubicBezTo>
                      <a:pt x="102" y="43"/>
                      <a:pt x="105" y="45"/>
                      <a:pt x="105" y="45"/>
                    </a:cubicBezTo>
                    <a:cubicBezTo>
                      <a:pt x="105" y="45"/>
                      <a:pt x="101" y="47"/>
                      <a:pt x="101" y="48"/>
                    </a:cubicBezTo>
                    <a:cubicBezTo>
                      <a:pt x="101" y="50"/>
                      <a:pt x="104" y="50"/>
                      <a:pt x="104" y="50"/>
                    </a:cubicBezTo>
                    <a:cubicBezTo>
                      <a:pt x="104" y="50"/>
                      <a:pt x="101" y="54"/>
                      <a:pt x="104" y="55"/>
                    </a:cubicBezTo>
                    <a:cubicBezTo>
                      <a:pt x="109" y="56"/>
                      <a:pt x="113" y="57"/>
                      <a:pt x="113" y="57"/>
                    </a:cubicBezTo>
                    <a:cubicBezTo>
                      <a:pt x="112" y="59"/>
                      <a:pt x="112" y="59"/>
                      <a:pt x="112" y="59"/>
                    </a:cubicBezTo>
                    <a:cubicBezTo>
                      <a:pt x="112" y="59"/>
                      <a:pt x="105" y="57"/>
                      <a:pt x="101" y="57"/>
                    </a:cubicBezTo>
                    <a:cubicBezTo>
                      <a:pt x="98" y="57"/>
                      <a:pt x="94" y="62"/>
                      <a:pt x="90" y="64"/>
                    </a:cubicBezTo>
                    <a:cubicBezTo>
                      <a:pt x="87" y="66"/>
                      <a:pt x="79" y="70"/>
                      <a:pt x="79" y="70"/>
                    </a:cubicBezTo>
                    <a:cubicBezTo>
                      <a:pt x="79" y="70"/>
                      <a:pt x="81" y="73"/>
                      <a:pt x="83" y="73"/>
                    </a:cubicBezTo>
                    <a:cubicBezTo>
                      <a:pt x="87" y="73"/>
                      <a:pt x="87" y="73"/>
                      <a:pt x="87" y="73"/>
                    </a:cubicBezTo>
                    <a:cubicBezTo>
                      <a:pt x="87" y="73"/>
                      <a:pt x="94" y="77"/>
                      <a:pt x="96" y="76"/>
                    </a:cubicBezTo>
                    <a:cubicBezTo>
                      <a:pt x="99" y="74"/>
                      <a:pt x="99" y="72"/>
                      <a:pt x="99" y="72"/>
                    </a:cubicBezTo>
                    <a:cubicBezTo>
                      <a:pt x="99" y="72"/>
                      <a:pt x="106" y="69"/>
                      <a:pt x="108" y="66"/>
                    </a:cubicBezTo>
                    <a:cubicBezTo>
                      <a:pt x="109" y="65"/>
                      <a:pt x="111" y="65"/>
                      <a:pt x="112" y="65"/>
                    </a:cubicBezTo>
                    <a:cubicBezTo>
                      <a:pt x="113" y="66"/>
                      <a:pt x="109" y="72"/>
                      <a:pt x="109" y="72"/>
                    </a:cubicBezTo>
                    <a:cubicBezTo>
                      <a:pt x="96" y="78"/>
                      <a:pt x="96" y="78"/>
                      <a:pt x="96" y="78"/>
                    </a:cubicBezTo>
                    <a:cubicBezTo>
                      <a:pt x="86" y="77"/>
                      <a:pt x="86" y="77"/>
                      <a:pt x="86" y="77"/>
                    </a:cubicBezTo>
                    <a:cubicBezTo>
                      <a:pt x="76" y="71"/>
                      <a:pt x="76" y="71"/>
                      <a:pt x="76" y="71"/>
                    </a:cubicBezTo>
                    <a:cubicBezTo>
                      <a:pt x="73" y="69"/>
                      <a:pt x="73" y="69"/>
                      <a:pt x="73" y="69"/>
                    </a:cubicBezTo>
                    <a:cubicBezTo>
                      <a:pt x="80" y="68"/>
                      <a:pt x="80" y="68"/>
                      <a:pt x="80" y="68"/>
                    </a:cubicBezTo>
                    <a:cubicBezTo>
                      <a:pt x="82" y="64"/>
                      <a:pt x="82" y="64"/>
                      <a:pt x="82" y="64"/>
                    </a:cubicBezTo>
                    <a:cubicBezTo>
                      <a:pt x="82" y="64"/>
                      <a:pt x="79" y="55"/>
                      <a:pt x="79" y="53"/>
                    </a:cubicBezTo>
                    <a:cubicBezTo>
                      <a:pt x="78" y="50"/>
                      <a:pt x="85" y="54"/>
                      <a:pt x="88" y="50"/>
                    </a:cubicBezTo>
                    <a:cubicBezTo>
                      <a:pt x="90" y="48"/>
                      <a:pt x="87" y="45"/>
                      <a:pt x="84" y="44"/>
                    </a:cubicBezTo>
                    <a:cubicBezTo>
                      <a:pt x="80" y="43"/>
                      <a:pt x="82" y="33"/>
                      <a:pt x="78" y="33"/>
                    </a:cubicBezTo>
                    <a:cubicBezTo>
                      <a:pt x="74" y="32"/>
                      <a:pt x="77" y="35"/>
                      <a:pt x="73" y="34"/>
                    </a:cubicBezTo>
                    <a:cubicBezTo>
                      <a:pt x="71" y="33"/>
                      <a:pt x="69" y="30"/>
                      <a:pt x="67" y="32"/>
                    </a:cubicBezTo>
                    <a:cubicBezTo>
                      <a:pt x="65" y="33"/>
                      <a:pt x="60" y="63"/>
                      <a:pt x="56" y="70"/>
                    </a:cubicBezTo>
                    <a:cubicBezTo>
                      <a:pt x="53" y="76"/>
                      <a:pt x="37" y="91"/>
                      <a:pt x="37" y="91"/>
                    </a:cubicBezTo>
                    <a:cubicBezTo>
                      <a:pt x="47" y="101"/>
                      <a:pt x="47" y="101"/>
                      <a:pt x="47" y="101"/>
                    </a:cubicBezTo>
                    <a:cubicBezTo>
                      <a:pt x="47" y="104"/>
                      <a:pt x="47" y="104"/>
                      <a:pt x="47" y="104"/>
                    </a:cubicBezTo>
                    <a:cubicBezTo>
                      <a:pt x="47" y="104"/>
                      <a:pt x="40" y="97"/>
                      <a:pt x="39" y="97"/>
                    </a:cubicBezTo>
                    <a:cubicBezTo>
                      <a:pt x="37" y="96"/>
                      <a:pt x="35" y="94"/>
                      <a:pt x="33" y="94"/>
                    </a:cubicBezTo>
                    <a:cubicBezTo>
                      <a:pt x="32" y="94"/>
                      <a:pt x="34" y="101"/>
                      <a:pt x="34" y="101"/>
                    </a:cubicBezTo>
                    <a:cubicBezTo>
                      <a:pt x="34" y="101"/>
                      <a:pt x="50" y="112"/>
                      <a:pt x="51" y="112"/>
                    </a:cubicBezTo>
                    <a:cubicBezTo>
                      <a:pt x="53" y="112"/>
                      <a:pt x="56" y="110"/>
                      <a:pt x="61" y="109"/>
                    </a:cubicBezTo>
                    <a:cubicBezTo>
                      <a:pt x="65" y="109"/>
                      <a:pt x="64" y="112"/>
                      <a:pt x="62" y="112"/>
                    </a:cubicBezTo>
                    <a:cubicBezTo>
                      <a:pt x="60" y="112"/>
                      <a:pt x="52" y="115"/>
                      <a:pt x="52" y="115"/>
                    </a:cubicBezTo>
                    <a:cubicBezTo>
                      <a:pt x="52" y="115"/>
                      <a:pt x="50" y="113"/>
                      <a:pt x="48" y="113"/>
                    </a:cubicBezTo>
                    <a:cubicBezTo>
                      <a:pt x="45" y="113"/>
                      <a:pt x="43" y="116"/>
                      <a:pt x="43" y="116"/>
                    </a:cubicBezTo>
                    <a:cubicBezTo>
                      <a:pt x="36" y="115"/>
                      <a:pt x="36" y="115"/>
                      <a:pt x="36" y="115"/>
                    </a:cubicBezTo>
                    <a:cubicBezTo>
                      <a:pt x="40" y="119"/>
                      <a:pt x="40" y="119"/>
                      <a:pt x="40" y="119"/>
                    </a:cubicBezTo>
                    <a:cubicBezTo>
                      <a:pt x="40" y="119"/>
                      <a:pt x="35" y="117"/>
                      <a:pt x="34" y="117"/>
                    </a:cubicBezTo>
                    <a:cubicBezTo>
                      <a:pt x="32" y="116"/>
                      <a:pt x="29" y="119"/>
                      <a:pt x="29" y="119"/>
                    </a:cubicBezTo>
                    <a:cubicBezTo>
                      <a:pt x="32" y="119"/>
                      <a:pt x="32" y="119"/>
                      <a:pt x="32" y="119"/>
                    </a:cubicBezTo>
                    <a:cubicBezTo>
                      <a:pt x="33" y="120"/>
                      <a:pt x="33" y="120"/>
                      <a:pt x="33" y="120"/>
                    </a:cubicBezTo>
                    <a:cubicBezTo>
                      <a:pt x="40" y="124"/>
                      <a:pt x="40" y="124"/>
                      <a:pt x="40" y="124"/>
                    </a:cubicBezTo>
                    <a:cubicBezTo>
                      <a:pt x="40" y="126"/>
                      <a:pt x="40" y="126"/>
                      <a:pt x="40" y="126"/>
                    </a:cubicBezTo>
                    <a:cubicBezTo>
                      <a:pt x="35" y="126"/>
                      <a:pt x="35" y="126"/>
                      <a:pt x="35" y="126"/>
                    </a:cubicBezTo>
                    <a:cubicBezTo>
                      <a:pt x="35" y="126"/>
                      <a:pt x="31" y="122"/>
                      <a:pt x="27" y="121"/>
                    </a:cubicBezTo>
                    <a:cubicBezTo>
                      <a:pt x="19" y="121"/>
                      <a:pt x="19" y="121"/>
                      <a:pt x="19" y="121"/>
                    </a:cubicBezTo>
                    <a:cubicBezTo>
                      <a:pt x="19" y="121"/>
                      <a:pt x="17" y="120"/>
                      <a:pt x="15" y="118"/>
                    </a:cubicBezTo>
                    <a:cubicBezTo>
                      <a:pt x="14" y="117"/>
                      <a:pt x="7" y="119"/>
                      <a:pt x="7" y="119"/>
                    </a:cubicBezTo>
                    <a:cubicBezTo>
                      <a:pt x="7" y="119"/>
                      <a:pt x="7" y="122"/>
                      <a:pt x="10" y="124"/>
                    </a:cubicBezTo>
                    <a:cubicBezTo>
                      <a:pt x="13" y="126"/>
                      <a:pt x="17" y="125"/>
                      <a:pt x="17" y="125"/>
                    </a:cubicBezTo>
                    <a:cubicBezTo>
                      <a:pt x="17" y="125"/>
                      <a:pt x="17" y="128"/>
                      <a:pt x="19" y="129"/>
                    </a:cubicBezTo>
                    <a:cubicBezTo>
                      <a:pt x="22" y="131"/>
                      <a:pt x="26" y="127"/>
                      <a:pt x="26" y="127"/>
                    </a:cubicBezTo>
                    <a:cubicBezTo>
                      <a:pt x="29" y="127"/>
                      <a:pt x="29" y="127"/>
                      <a:pt x="29" y="127"/>
                    </a:cubicBezTo>
                    <a:cubicBezTo>
                      <a:pt x="29" y="127"/>
                      <a:pt x="35" y="131"/>
                      <a:pt x="38" y="132"/>
                    </a:cubicBezTo>
                    <a:cubicBezTo>
                      <a:pt x="41" y="132"/>
                      <a:pt x="33" y="135"/>
                      <a:pt x="33" y="135"/>
                    </a:cubicBezTo>
                    <a:cubicBezTo>
                      <a:pt x="31" y="134"/>
                      <a:pt x="31" y="134"/>
                      <a:pt x="31" y="134"/>
                    </a:cubicBezTo>
                    <a:cubicBezTo>
                      <a:pt x="31" y="134"/>
                      <a:pt x="30" y="131"/>
                      <a:pt x="28" y="131"/>
                    </a:cubicBezTo>
                    <a:cubicBezTo>
                      <a:pt x="26" y="129"/>
                      <a:pt x="23" y="133"/>
                      <a:pt x="23" y="133"/>
                    </a:cubicBezTo>
                    <a:cubicBezTo>
                      <a:pt x="23" y="133"/>
                      <a:pt x="19" y="133"/>
                      <a:pt x="16" y="132"/>
                    </a:cubicBezTo>
                    <a:cubicBezTo>
                      <a:pt x="14" y="132"/>
                      <a:pt x="11" y="127"/>
                      <a:pt x="8" y="127"/>
                    </a:cubicBezTo>
                    <a:cubicBezTo>
                      <a:pt x="7" y="127"/>
                      <a:pt x="2" y="129"/>
                      <a:pt x="2" y="129"/>
                    </a:cubicBezTo>
                    <a:cubicBezTo>
                      <a:pt x="2" y="129"/>
                      <a:pt x="1" y="133"/>
                      <a:pt x="0" y="134"/>
                    </a:cubicBezTo>
                    <a:cubicBezTo>
                      <a:pt x="0" y="135"/>
                      <a:pt x="1" y="138"/>
                      <a:pt x="1" y="138"/>
                    </a:cubicBezTo>
                    <a:cubicBezTo>
                      <a:pt x="7" y="139"/>
                      <a:pt x="7" y="139"/>
                      <a:pt x="7" y="139"/>
                    </a:cubicBezTo>
                    <a:cubicBezTo>
                      <a:pt x="8" y="135"/>
                      <a:pt x="8" y="135"/>
                      <a:pt x="8" y="135"/>
                    </a:cubicBezTo>
                    <a:cubicBezTo>
                      <a:pt x="18" y="138"/>
                      <a:pt x="18" y="138"/>
                      <a:pt x="18" y="138"/>
                    </a:cubicBezTo>
                    <a:cubicBezTo>
                      <a:pt x="18" y="138"/>
                      <a:pt x="15" y="143"/>
                      <a:pt x="22" y="143"/>
                    </a:cubicBezTo>
                    <a:cubicBezTo>
                      <a:pt x="29" y="144"/>
                      <a:pt x="39" y="134"/>
                      <a:pt x="39" y="134"/>
                    </a:cubicBezTo>
                    <a:cubicBezTo>
                      <a:pt x="43" y="135"/>
                      <a:pt x="43" y="135"/>
                      <a:pt x="43" y="135"/>
                    </a:cubicBezTo>
                    <a:cubicBezTo>
                      <a:pt x="46" y="135"/>
                      <a:pt x="46" y="135"/>
                      <a:pt x="46" y="135"/>
                    </a:cubicBezTo>
                    <a:cubicBezTo>
                      <a:pt x="46" y="135"/>
                      <a:pt x="44" y="129"/>
                      <a:pt x="48" y="128"/>
                    </a:cubicBezTo>
                    <a:cubicBezTo>
                      <a:pt x="51" y="126"/>
                      <a:pt x="51" y="131"/>
                      <a:pt x="51" y="131"/>
                    </a:cubicBezTo>
                    <a:cubicBezTo>
                      <a:pt x="54" y="131"/>
                      <a:pt x="54" y="131"/>
                      <a:pt x="54" y="131"/>
                    </a:cubicBezTo>
                    <a:cubicBezTo>
                      <a:pt x="54" y="131"/>
                      <a:pt x="59" y="127"/>
                      <a:pt x="63" y="127"/>
                    </a:cubicBezTo>
                    <a:cubicBezTo>
                      <a:pt x="66" y="127"/>
                      <a:pt x="62" y="134"/>
                      <a:pt x="62" y="134"/>
                    </a:cubicBezTo>
                    <a:cubicBezTo>
                      <a:pt x="67" y="134"/>
                      <a:pt x="67" y="134"/>
                      <a:pt x="67" y="134"/>
                    </a:cubicBezTo>
                    <a:cubicBezTo>
                      <a:pt x="67" y="134"/>
                      <a:pt x="69" y="128"/>
                      <a:pt x="72" y="129"/>
                    </a:cubicBezTo>
                    <a:cubicBezTo>
                      <a:pt x="74" y="131"/>
                      <a:pt x="71" y="136"/>
                      <a:pt x="71" y="136"/>
                    </a:cubicBezTo>
                    <a:cubicBezTo>
                      <a:pt x="76" y="138"/>
                      <a:pt x="76" y="138"/>
                      <a:pt x="76" y="138"/>
                    </a:cubicBezTo>
                    <a:cubicBezTo>
                      <a:pt x="76" y="138"/>
                      <a:pt x="77" y="143"/>
                      <a:pt x="80" y="143"/>
                    </a:cubicBezTo>
                    <a:cubicBezTo>
                      <a:pt x="83" y="144"/>
                      <a:pt x="86" y="141"/>
                      <a:pt x="89" y="142"/>
                    </a:cubicBezTo>
                    <a:cubicBezTo>
                      <a:pt x="93" y="142"/>
                      <a:pt x="92" y="145"/>
                      <a:pt x="92" y="145"/>
                    </a:cubicBezTo>
                    <a:cubicBezTo>
                      <a:pt x="96" y="150"/>
                      <a:pt x="96" y="150"/>
                      <a:pt x="96" y="150"/>
                    </a:cubicBezTo>
                    <a:cubicBezTo>
                      <a:pt x="96" y="150"/>
                      <a:pt x="99" y="150"/>
                      <a:pt x="102" y="153"/>
                    </a:cubicBezTo>
                    <a:cubicBezTo>
                      <a:pt x="104" y="155"/>
                      <a:pt x="101" y="157"/>
                      <a:pt x="99" y="159"/>
                    </a:cubicBezTo>
                    <a:cubicBezTo>
                      <a:pt x="98" y="160"/>
                      <a:pt x="99" y="163"/>
                      <a:pt x="99" y="163"/>
                    </a:cubicBezTo>
                    <a:cubicBezTo>
                      <a:pt x="98" y="168"/>
                      <a:pt x="98" y="168"/>
                      <a:pt x="98" y="168"/>
                    </a:cubicBezTo>
                    <a:cubicBezTo>
                      <a:pt x="98" y="168"/>
                      <a:pt x="94" y="168"/>
                      <a:pt x="93" y="170"/>
                    </a:cubicBezTo>
                    <a:cubicBezTo>
                      <a:pt x="90" y="173"/>
                      <a:pt x="94" y="174"/>
                      <a:pt x="94" y="174"/>
                    </a:cubicBezTo>
                    <a:cubicBezTo>
                      <a:pt x="94" y="174"/>
                      <a:pt x="98" y="176"/>
                      <a:pt x="102" y="176"/>
                    </a:cubicBezTo>
                    <a:cubicBezTo>
                      <a:pt x="105" y="177"/>
                      <a:pt x="109" y="175"/>
                      <a:pt x="110" y="175"/>
                    </a:cubicBezTo>
                    <a:cubicBezTo>
                      <a:pt x="110" y="174"/>
                      <a:pt x="109" y="173"/>
                      <a:pt x="109" y="173"/>
                    </a:cubicBezTo>
                    <a:cubicBezTo>
                      <a:pt x="111" y="171"/>
                      <a:pt x="112" y="170"/>
                      <a:pt x="114" y="170"/>
                    </a:cubicBezTo>
                    <a:cubicBezTo>
                      <a:pt x="113" y="166"/>
                      <a:pt x="113" y="159"/>
                      <a:pt x="106" y="161"/>
                    </a:cubicBezTo>
                    <a:cubicBezTo>
                      <a:pt x="105" y="159"/>
                      <a:pt x="105" y="156"/>
                      <a:pt x="108" y="155"/>
                    </a:cubicBezTo>
                    <a:cubicBezTo>
                      <a:pt x="109" y="156"/>
                      <a:pt x="109" y="157"/>
                      <a:pt x="110" y="158"/>
                    </a:cubicBezTo>
                    <a:cubicBezTo>
                      <a:pt x="111" y="153"/>
                      <a:pt x="117" y="154"/>
                      <a:pt x="118" y="149"/>
                    </a:cubicBezTo>
                    <a:cubicBezTo>
                      <a:pt x="115" y="150"/>
                      <a:pt x="115" y="150"/>
                      <a:pt x="115" y="150"/>
                    </a:cubicBezTo>
                    <a:cubicBezTo>
                      <a:pt x="113" y="142"/>
                      <a:pt x="121" y="141"/>
                      <a:pt x="121" y="136"/>
                    </a:cubicBezTo>
                    <a:cubicBezTo>
                      <a:pt x="121" y="132"/>
                      <a:pt x="121" y="127"/>
                      <a:pt x="119" y="124"/>
                    </a:cubicBezTo>
                    <a:cubicBezTo>
                      <a:pt x="117" y="121"/>
                      <a:pt x="115" y="117"/>
                      <a:pt x="115" y="113"/>
                    </a:cubicBezTo>
                    <a:cubicBezTo>
                      <a:pt x="115" y="115"/>
                      <a:pt x="112" y="105"/>
                      <a:pt x="112" y="105"/>
                    </a:cubicBezTo>
                    <a:cubicBezTo>
                      <a:pt x="115" y="105"/>
                      <a:pt x="117" y="104"/>
                      <a:pt x="120" y="106"/>
                    </a:cubicBezTo>
                    <a:cubicBezTo>
                      <a:pt x="119" y="105"/>
                      <a:pt x="119" y="103"/>
                      <a:pt x="118" y="102"/>
                    </a:cubicBezTo>
                    <a:cubicBezTo>
                      <a:pt x="122" y="102"/>
                      <a:pt x="128" y="104"/>
                      <a:pt x="131" y="106"/>
                    </a:cubicBezTo>
                    <a:cubicBezTo>
                      <a:pt x="131" y="104"/>
                      <a:pt x="131" y="104"/>
                      <a:pt x="131" y="104"/>
                    </a:cubicBezTo>
                    <a:cubicBezTo>
                      <a:pt x="135" y="105"/>
                      <a:pt x="139" y="98"/>
                      <a:pt x="144" y="102"/>
                    </a:cubicBezTo>
                    <a:cubicBezTo>
                      <a:pt x="146" y="103"/>
                      <a:pt x="150" y="93"/>
                      <a:pt x="142" y="93"/>
                    </a:cubicBezTo>
                    <a:cubicBezTo>
                      <a:pt x="144" y="90"/>
                      <a:pt x="146" y="88"/>
                      <a:pt x="150" y="88"/>
                    </a:cubicBezTo>
                    <a:cubicBezTo>
                      <a:pt x="150" y="88"/>
                      <a:pt x="157" y="81"/>
                      <a:pt x="159" y="80"/>
                    </a:cubicBezTo>
                    <a:cubicBezTo>
                      <a:pt x="154" y="77"/>
                      <a:pt x="161" y="71"/>
                      <a:pt x="155" y="65"/>
                    </a:cubicBezTo>
                    <a:cubicBezTo>
                      <a:pt x="152" y="72"/>
                      <a:pt x="138" y="62"/>
                      <a:pt x="147" y="58"/>
                    </a:cubicBezTo>
                    <a:cubicBezTo>
                      <a:pt x="142" y="49"/>
                      <a:pt x="154" y="56"/>
                      <a:pt x="157" y="55"/>
                    </a:cubicBezTo>
                    <a:cubicBezTo>
                      <a:pt x="162" y="53"/>
                      <a:pt x="159" y="45"/>
                      <a:pt x="162" y="41"/>
                    </a:cubicBezTo>
                    <a:cubicBezTo>
                      <a:pt x="164" y="38"/>
                      <a:pt x="167" y="33"/>
                      <a:pt x="166" y="29"/>
                    </a:cubicBezTo>
                    <a:cubicBezTo>
                      <a:pt x="166" y="26"/>
                      <a:pt x="168" y="22"/>
                      <a:pt x="168" y="18"/>
                    </a:cubicBezTo>
                    <a:close/>
                    <a:moveTo>
                      <a:pt x="77" y="26"/>
                    </a:moveTo>
                    <a:cubicBezTo>
                      <a:pt x="81" y="19"/>
                      <a:pt x="77" y="18"/>
                      <a:pt x="76" y="17"/>
                    </a:cubicBezTo>
                    <a:cubicBezTo>
                      <a:pt x="74" y="16"/>
                      <a:pt x="72" y="18"/>
                      <a:pt x="72" y="18"/>
                    </a:cubicBezTo>
                    <a:cubicBezTo>
                      <a:pt x="68" y="26"/>
                      <a:pt x="68" y="26"/>
                      <a:pt x="68" y="26"/>
                    </a:cubicBezTo>
                    <a:cubicBezTo>
                      <a:pt x="70" y="29"/>
                      <a:pt x="70" y="29"/>
                      <a:pt x="70" y="29"/>
                    </a:cubicBezTo>
                    <a:cubicBezTo>
                      <a:pt x="70" y="29"/>
                      <a:pt x="73" y="30"/>
                      <a:pt x="77" y="26"/>
                    </a:cubicBezTo>
                    <a:close/>
                    <a:moveTo>
                      <a:pt x="22" y="110"/>
                    </a:moveTo>
                    <a:cubicBezTo>
                      <a:pt x="24" y="111"/>
                      <a:pt x="27" y="115"/>
                      <a:pt x="27" y="115"/>
                    </a:cubicBezTo>
                    <a:cubicBezTo>
                      <a:pt x="33" y="115"/>
                      <a:pt x="33" y="115"/>
                      <a:pt x="33" y="115"/>
                    </a:cubicBezTo>
                    <a:cubicBezTo>
                      <a:pt x="33" y="113"/>
                      <a:pt x="33" y="113"/>
                      <a:pt x="33" y="113"/>
                    </a:cubicBezTo>
                    <a:cubicBezTo>
                      <a:pt x="31" y="112"/>
                      <a:pt x="31" y="112"/>
                      <a:pt x="31" y="112"/>
                    </a:cubicBezTo>
                    <a:cubicBezTo>
                      <a:pt x="31" y="112"/>
                      <a:pt x="31" y="108"/>
                      <a:pt x="27" y="108"/>
                    </a:cubicBezTo>
                    <a:cubicBezTo>
                      <a:pt x="22" y="107"/>
                      <a:pt x="18" y="107"/>
                      <a:pt x="18" y="108"/>
                    </a:cubicBezTo>
                    <a:cubicBezTo>
                      <a:pt x="18" y="110"/>
                      <a:pt x="22" y="110"/>
                      <a:pt x="22" y="110"/>
                    </a:cubicBezTo>
                    <a:close/>
                    <a:moveTo>
                      <a:pt x="23" y="119"/>
                    </a:moveTo>
                    <a:cubicBezTo>
                      <a:pt x="27" y="119"/>
                      <a:pt x="27" y="119"/>
                      <a:pt x="27" y="119"/>
                    </a:cubicBezTo>
                    <a:cubicBezTo>
                      <a:pt x="28" y="119"/>
                      <a:pt x="24" y="116"/>
                      <a:pt x="24" y="116"/>
                    </a:cubicBezTo>
                    <a:cubicBezTo>
                      <a:pt x="21" y="117"/>
                      <a:pt x="21" y="117"/>
                      <a:pt x="21" y="117"/>
                    </a:cubicBezTo>
                    <a:cubicBezTo>
                      <a:pt x="19" y="115"/>
                      <a:pt x="19" y="115"/>
                      <a:pt x="19" y="115"/>
                    </a:cubicBezTo>
                    <a:cubicBezTo>
                      <a:pt x="19" y="115"/>
                      <a:pt x="16" y="116"/>
                      <a:pt x="18" y="118"/>
                    </a:cubicBezTo>
                    <a:cubicBezTo>
                      <a:pt x="21" y="120"/>
                      <a:pt x="22" y="119"/>
                      <a:pt x="23" y="119"/>
                    </a:cubicBezTo>
                    <a:close/>
                    <a:moveTo>
                      <a:pt x="27" y="105"/>
                    </a:moveTo>
                    <a:cubicBezTo>
                      <a:pt x="29" y="106"/>
                      <a:pt x="32" y="106"/>
                      <a:pt x="32" y="106"/>
                    </a:cubicBezTo>
                    <a:cubicBezTo>
                      <a:pt x="32" y="106"/>
                      <a:pt x="32" y="108"/>
                      <a:pt x="36" y="110"/>
                    </a:cubicBezTo>
                    <a:cubicBezTo>
                      <a:pt x="39" y="112"/>
                      <a:pt x="40" y="113"/>
                      <a:pt x="43" y="113"/>
                    </a:cubicBezTo>
                    <a:cubicBezTo>
                      <a:pt x="45" y="113"/>
                      <a:pt x="45" y="112"/>
                      <a:pt x="45" y="112"/>
                    </a:cubicBezTo>
                    <a:cubicBezTo>
                      <a:pt x="34" y="103"/>
                      <a:pt x="34" y="103"/>
                      <a:pt x="34" y="103"/>
                    </a:cubicBezTo>
                    <a:cubicBezTo>
                      <a:pt x="27" y="103"/>
                      <a:pt x="27" y="103"/>
                      <a:pt x="27" y="103"/>
                    </a:cubicBezTo>
                    <a:cubicBezTo>
                      <a:pt x="27" y="103"/>
                      <a:pt x="26" y="105"/>
                      <a:pt x="27" y="105"/>
                    </a:cubicBezTo>
                    <a:close/>
                    <a:moveTo>
                      <a:pt x="82" y="13"/>
                    </a:moveTo>
                    <a:cubicBezTo>
                      <a:pt x="87" y="10"/>
                      <a:pt x="86" y="7"/>
                      <a:pt x="81" y="11"/>
                    </a:cubicBezTo>
                    <a:cubicBezTo>
                      <a:pt x="77" y="14"/>
                      <a:pt x="82" y="13"/>
                      <a:pt x="82" y="13"/>
                    </a:cubicBezTo>
                    <a:close/>
                    <a:moveTo>
                      <a:pt x="90" y="9"/>
                    </a:moveTo>
                    <a:cubicBezTo>
                      <a:pt x="93" y="7"/>
                      <a:pt x="93" y="7"/>
                      <a:pt x="93" y="7"/>
                    </a:cubicBezTo>
                    <a:cubicBezTo>
                      <a:pt x="99" y="7"/>
                      <a:pt x="99" y="7"/>
                      <a:pt x="99" y="7"/>
                    </a:cubicBezTo>
                    <a:cubicBezTo>
                      <a:pt x="105" y="2"/>
                      <a:pt x="105" y="2"/>
                      <a:pt x="105" y="2"/>
                    </a:cubicBezTo>
                    <a:cubicBezTo>
                      <a:pt x="103" y="2"/>
                      <a:pt x="103" y="2"/>
                      <a:pt x="103" y="2"/>
                    </a:cubicBezTo>
                    <a:cubicBezTo>
                      <a:pt x="98" y="3"/>
                      <a:pt x="98" y="3"/>
                      <a:pt x="98" y="3"/>
                    </a:cubicBezTo>
                    <a:cubicBezTo>
                      <a:pt x="93" y="3"/>
                      <a:pt x="93" y="3"/>
                      <a:pt x="93" y="3"/>
                    </a:cubicBezTo>
                    <a:cubicBezTo>
                      <a:pt x="93" y="3"/>
                      <a:pt x="89" y="5"/>
                      <a:pt x="88" y="7"/>
                    </a:cubicBezTo>
                    <a:cubicBezTo>
                      <a:pt x="87" y="9"/>
                      <a:pt x="90" y="9"/>
                      <a:pt x="90" y="9"/>
                    </a:cubicBezTo>
                    <a:close/>
                    <a:moveTo>
                      <a:pt x="115" y="5"/>
                    </a:moveTo>
                    <a:cubicBezTo>
                      <a:pt x="118" y="5"/>
                      <a:pt x="126" y="2"/>
                      <a:pt x="118" y="2"/>
                    </a:cubicBezTo>
                    <a:cubicBezTo>
                      <a:pt x="112" y="2"/>
                      <a:pt x="109" y="3"/>
                      <a:pt x="109" y="3"/>
                    </a:cubicBezTo>
                    <a:cubicBezTo>
                      <a:pt x="109" y="6"/>
                      <a:pt x="112" y="5"/>
                      <a:pt x="115" y="5"/>
                    </a:cubicBezTo>
                    <a:close/>
                    <a:moveTo>
                      <a:pt x="136" y="2"/>
                    </a:moveTo>
                    <a:cubicBezTo>
                      <a:pt x="135" y="0"/>
                      <a:pt x="135" y="0"/>
                      <a:pt x="135" y="0"/>
                    </a:cubicBezTo>
                    <a:cubicBezTo>
                      <a:pt x="129" y="1"/>
                      <a:pt x="129" y="1"/>
                      <a:pt x="129" y="1"/>
                    </a:cubicBezTo>
                    <a:cubicBezTo>
                      <a:pt x="129" y="5"/>
                      <a:pt x="129" y="5"/>
                      <a:pt x="129" y="5"/>
                    </a:cubicBezTo>
                    <a:lnTo>
                      <a:pt x="136" y="2"/>
                    </a:lnTo>
                    <a:close/>
                  </a:path>
                </a:pathLst>
              </a:custGeom>
              <a:solidFill>
                <a:schemeClr val="accent2">
                  <a:lumMod val="40000"/>
                  <a:lumOff val="60000"/>
                </a:schemeClr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57" name="Montenegro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710238" y="4976813"/>
                <a:ext cx="187325" cy="233362"/>
              </a:xfrm>
              <a:custGeom>
                <a:avLst/>
                <a:gdLst/>
                <a:ahLst/>
                <a:cxnLst>
                  <a:cxn ang="0">
                    <a:pos x="60" y="0"/>
                  </a:cxn>
                  <a:cxn ang="0">
                    <a:pos x="59" y="9"/>
                  </a:cxn>
                  <a:cxn ang="0">
                    <a:pos x="44" y="9"/>
                  </a:cxn>
                  <a:cxn ang="0">
                    <a:pos x="34" y="2"/>
                  </a:cxn>
                  <a:cxn ang="0">
                    <a:pos x="32" y="13"/>
                  </a:cxn>
                  <a:cxn ang="0">
                    <a:pos x="49" y="36"/>
                  </a:cxn>
                  <a:cxn ang="0">
                    <a:pos x="30" y="32"/>
                  </a:cxn>
                  <a:cxn ang="0">
                    <a:pos x="13" y="43"/>
                  </a:cxn>
                  <a:cxn ang="0">
                    <a:pos x="15" y="70"/>
                  </a:cxn>
                  <a:cxn ang="0">
                    <a:pos x="2" y="78"/>
                  </a:cxn>
                  <a:cxn ang="0">
                    <a:pos x="3" y="108"/>
                  </a:cxn>
                  <a:cxn ang="0">
                    <a:pos x="9" y="108"/>
                  </a:cxn>
                  <a:cxn ang="0">
                    <a:pos x="9" y="127"/>
                  </a:cxn>
                  <a:cxn ang="0">
                    <a:pos x="0" y="133"/>
                  </a:cxn>
                  <a:cxn ang="0">
                    <a:pos x="0" y="144"/>
                  </a:cxn>
                  <a:cxn ang="0">
                    <a:pos x="7" y="148"/>
                  </a:cxn>
                  <a:cxn ang="0">
                    <a:pos x="19" y="136"/>
                  </a:cxn>
                  <a:cxn ang="0">
                    <a:pos x="28" y="138"/>
                  </a:cxn>
                  <a:cxn ang="0">
                    <a:pos x="25" y="159"/>
                  </a:cxn>
                  <a:cxn ang="0">
                    <a:pos x="34" y="165"/>
                  </a:cxn>
                  <a:cxn ang="0">
                    <a:pos x="47" y="163"/>
                  </a:cxn>
                  <a:cxn ang="0">
                    <a:pos x="49" y="170"/>
                  </a:cxn>
                  <a:cxn ang="0">
                    <a:pos x="72" y="189"/>
                  </a:cxn>
                  <a:cxn ang="0">
                    <a:pos x="72" y="199"/>
                  </a:cxn>
                  <a:cxn ang="0">
                    <a:pos x="82" y="205"/>
                  </a:cxn>
                  <a:cxn ang="0">
                    <a:pos x="93" y="208"/>
                  </a:cxn>
                  <a:cxn ang="0">
                    <a:pos x="91" y="193"/>
                  </a:cxn>
                  <a:cxn ang="0">
                    <a:pos x="87" y="174"/>
                  </a:cxn>
                  <a:cxn ang="0">
                    <a:pos x="82" y="172"/>
                  </a:cxn>
                  <a:cxn ang="0">
                    <a:pos x="116" y="106"/>
                  </a:cxn>
                  <a:cxn ang="0">
                    <a:pos x="121" y="108"/>
                  </a:cxn>
                  <a:cxn ang="0">
                    <a:pos x="121" y="121"/>
                  </a:cxn>
                  <a:cxn ang="0">
                    <a:pos x="135" y="129"/>
                  </a:cxn>
                  <a:cxn ang="0">
                    <a:pos x="145" y="122"/>
                  </a:cxn>
                  <a:cxn ang="0">
                    <a:pos x="140" y="116"/>
                  </a:cxn>
                  <a:cxn ang="0">
                    <a:pos x="130" y="96"/>
                  </a:cxn>
                  <a:cxn ang="0">
                    <a:pos x="138" y="90"/>
                  </a:cxn>
                  <a:cxn ang="0">
                    <a:pos x="146" y="90"/>
                  </a:cxn>
                  <a:cxn ang="0">
                    <a:pos x="153" y="92"/>
                  </a:cxn>
                  <a:cxn ang="0">
                    <a:pos x="158" y="83"/>
                  </a:cxn>
                  <a:cxn ang="0">
                    <a:pos x="164" y="78"/>
                  </a:cxn>
                  <a:cxn ang="0">
                    <a:pos x="166" y="66"/>
                  </a:cxn>
                  <a:cxn ang="0">
                    <a:pos x="153" y="63"/>
                  </a:cxn>
                  <a:cxn ang="0">
                    <a:pos x="120" y="47"/>
                  </a:cxn>
                  <a:cxn ang="0">
                    <a:pos x="109" y="43"/>
                  </a:cxn>
                  <a:cxn ang="0">
                    <a:pos x="94" y="30"/>
                  </a:cxn>
                  <a:cxn ang="0">
                    <a:pos x="78" y="19"/>
                  </a:cxn>
                  <a:cxn ang="0">
                    <a:pos x="66" y="10"/>
                  </a:cxn>
                  <a:cxn ang="0">
                    <a:pos x="60" y="0"/>
                  </a:cxn>
                </a:cxnLst>
                <a:rect l="0" t="0" r="r" b="b"/>
                <a:pathLst>
                  <a:path w="166" h="208">
                    <a:moveTo>
                      <a:pt x="60" y="0"/>
                    </a:moveTo>
                    <a:cubicBezTo>
                      <a:pt x="59" y="9"/>
                      <a:pt x="59" y="9"/>
                      <a:pt x="59" y="9"/>
                    </a:cubicBezTo>
                    <a:cubicBezTo>
                      <a:pt x="44" y="9"/>
                      <a:pt x="44" y="9"/>
                      <a:pt x="44" y="9"/>
                    </a:cubicBezTo>
                    <a:cubicBezTo>
                      <a:pt x="34" y="2"/>
                      <a:pt x="34" y="2"/>
                      <a:pt x="34" y="2"/>
                    </a:cubicBezTo>
                    <a:cubicBezTo>
                      <a:pt x="32" y="13"/>
                      <a:pt x="32" y="13"/>
                      <a:pt x="32" y="13"/>
                    </a:cubicBezTo>
                    <a:cubicBezTo>
                      <a:pt x="32" y="13"/>
                      <a:pt x="53" y="30"/>
                      <a:pt x="49" y="36"/>
                    </a:cubicBezTo>
                    <a:cubicBezTo>
                      <a:pt x="44" y="42"/>
                      <a:pt x="36" y="32"/>
                      <a:pt x="30" y="32"/>
                    </a:cubicBezTo>
                    <a:cubicBezTo>
                      <a:pt x="21" y="32"/>
                      <a:pt x="15" y="40"/>
                      <a:pt x="13" y="43"/>
                    </a:cubicBezTo>
                    <a:cubicBezTo>
                      <a:pt x="9" y="49"/>
                      <a:pt x="19" y="66"/>
                      <a:pt x="15" y="70"/>
                    </a:cubicBezTo>
                    <a:cubicBezTo>
                      <a:pt x="11" y="72"/>
                      <a:pt x="6" y="72"/>
                      <a:pt x="2" y="78"/>
                    </a:cubicBezTo>
                    <a:cubicBezTo>
                      <a:pt x="0" y="83"/>
                      <a:pt x="3" y="108"/>
                      <a:pt x="3" y="108"/>
                    </a:cubicBezTo>
                    <a:cubicBezTo>
                      <a:pt x="9" y="108"/>
                      <a:pt x="9" y="108"/>
                      <a:pt x="9" y="108"/>
                    </a:cubicBezTo>
                    <a:cubicBezTo>
                      <a:pt x="9" y="127"/>
                      <a:pt x="9" y="127"/>
                      <a:pt x="9" y="127"/>
                    </a:cubicBezTo>
                    <a:cubicBezTo>
                      <a:pt x="0" y="133"/>
                      <a:pt x="0" y="133"/>
                      <a:pt x="0" y="133"/>
                    </a:cubicBezTo>
                    <a:cubicBezTo>
                      <a:pt x="0" y="144"/>
                      <a:pt x="0" y="144"/>
                      <a:pt x="0" y="144"/>
                    </a:cubicBezTo>
                    <a:cubicBezTo>
                      <a:pt x="7" y="148"/>
                      <a:pt x="7" y="148"/>
                      <a:pt x="7" y="148"/>
                    </a:cubicBezTo>
                    <a:cubicBezTo>
                      <a:pt x="19" y="136"/>
                      <a:pt x="19" y="136"/>
                      <a:pt x="19" y="136"/>
                    </a:cubicBezTo>
                    <a:cubicBezTo>
                      <a:pt x="28" y="138"/>
                      <a:pt x="28" y="138"/>
                      <a:pt x="28" y="138"/>
                    </a:cubicBezTo>
                    <a:cubicBezTo>
                      <a:pt x="25" y="159"/>
                      <a:pt x="25" y="159"/>
                      <a:pt x="25" y="159"/>
                    </a:cubicBezTo>
                    <a:cubicBezTo>
                      <a:pt x="34" y="165"/>
                      <a:pt x="34" y="165"/>
                      <a:pt x="34" y="165"/>
                    </a:cubicBezTo>
                    <a:cubicBezTo>
                      <a:pt x="47" y="163"/>
                      <a:pt x="47" y="163"/>
                      <a:pt x="47" y="163"/>
                    </a:cubicBezTo>
                    <a:cubicBezTo>
                      <a:pt x="49" y="170"/>
                      <a:pt x="49" y="170"/>
                      <a:pt x="49" y="170"/>
                    </a:cubicBezTo>
                    <a:cubicBezTo>
                      <a:pt x="72" y="189"/>
                      <a:pt x="72" y="189"/>
                      <a:pt x="72" y="189"/>
                    </a:cubicBezTo>
                    <a:cubicBezTo>
                      <a:pt x="72" y="199"/>
                      <a:pt x="72" y="199"/>
                      <a:pt x="72" y="199"/>
                    </a:cubicBezTo>
                    <a:cubicBezTo>
                      <a:pt x="82" y="205"/>
                      <a:pt x="82" y="205"/>
                      <a:pt x="82" y="205"/>
                    </a:cubicBezTo>
                    <a:cubicBezTo>
                      <a:pt x="93" y="208"/>
                      <a:pt x="93" y="208"/>
                      <a:pt x="93" y="208"/>
                    </a:cubicBezTo>
                    <a:cubicBezTo>
                      <a:pt x="91" y="193"/>
                      <a:pt x="91" y="193"/>
                      <a:pt x="91" y="193"/>
                    </a:cubicBezTo>
                    <a:cubicBezTo>
                      <a:pt x="87" y="174"/>
                      <a:pt x="87" y="174"/>
                      <a:pt x="87" y="174"/>
                    </a:cubicBezTo>
                    <a:cubicBezTo>
                      <a:pt x="82" y="172"/>
                      <a:pt x="82" y="172"/>
                      <a:pt x="82" y="172"/>
                    </a:cubicBezTo>
                    <a:cubicBezTo>
                      <a:pt x="116" y="106"/>
                      <a:pt x="116" y="106"/>
                      <a:pt x="116" y="106"/>
                    </a:cubicBezTo>
                    <a:cubicBezTo>
                      <a:pt x="121" y="108"/>
                      <a:pt x="121" y="108"/>
                      <a:pt x="121" y="108"/>
                    </a:cubicBezTo>
                    <a:cubicBezTo>
                      <a:pt x="121" y="121"/>
                      <a:pt x="121" y="121"/>
                      <a:pt x="121" y="121"/>
                    </a:cubicBezTo>
                    <a:cubicBezTo>
                      <a:pt x="135" y="129"/>
                      <a:pt x="135" y="129"/>
                      <a:pt x="135" y="129"/>
                    </a:cubicBezTo>
                    <a:cubicBezTo>
                      <a:pt x="145" y="122"/>
                      <a:pt x="145" y="122"/>
                      <a:pt x="145" y="122"/>
                    </a:cubicBezTo>
                    <a:cubicBezTo>
                      <a:pt x="140" y="116"/>
                      <a:pt x="140" y="116"/>
                      <a:pt x="140" y="116"/>
                    </a:cubicBezTo>
                    <a:cubicBezTo>
                      <a:pt x="130" y="96"/>
                      <a:pt x="130" y="96"/>
                      <a:pt x="130" y="96"/>
                    </a:cubicBezTo>
                    <a:cubicBezTo>
                      <a:pt x="138" y="90"/>
                      <a:pt x="138" y="90"/>
                      <a:pt x="138" y="90"/>
                    </a:cubicBezTo>
                    <a:cubicBezTo>
                      <a:pt x="146" y="90"/>
                      <a:pt x="146" y="90"/>
                      <a:pt x="146" y="90"/>
                    </a:cubicBezTo>
                    <a:cubicBezTo>
                      <a:pt x="153" y="92"/>
                      <a:pt x="153" y="92"/>
                      <a:pt x="153" y="92"/>
                    </a:cubicBezTo>
                    <a:cubicBezTo>
                      <a:pt x="158" y="83"/>
                      <a:pt x="158" y="83"/>
                      <a:pt x="158" y="83"/>
                    </a:cubicBezTo>
                    <a:cubicBezTo>
                      <a:pt x="164" y="78"/>
                      <a:pt x="164" y="78"/>
                      <a:pt x="164" y="78"/>
                    </a:cubicBezTo>
                    <a:cubicBezTo>
                      <a:pt x="166" y="66"/>
                      <a:pt x="166" y="66"/>
                      <a:pt x="166" y="66"/>
                    </a:cubicBezTo>
                    <a:cubicBezTo>
                      <a:pt x="153" y="63"/>
                      <a:pt x="153" y="63"/>
                      <a:pt x="153" y="63"/>
                    </a:cubicBezTo>
                    <a:cubicBezTo>
                      <a:pt x="120" y="47"/>
                      <a:pt x="120" y="47"/>
                      <a:pt x="120" y="47"/>
                    </a:cubicBezTo>
                    <a:cubicBezTo>
                      <a:pt x="109" y="43"/>
                      <a:pt x="109" y="43"/>
                      <a:pt x="109" y="43"/>
                    </a:cubicBezTo>
                    <a:cubicBezTo>
                      <a:pt x="94" y="30"/>
                      <a:pt x="94" y="30"/>
                      <a:pt x="94" y="30"/>
                    </a:cubicBezTo>
                    <a:cubicBezTo>
                      <a:pt x="78" y="19"/>
                      <a:pt x="78" y="19"/>
                      <a:pt x="78" y="19"/>
                    </a:cubicBezTo>
                    <a:cubicBezTo>
                      <a:pt x="66" y="10"/>
                      <a:pt x="66" y="10"/>
                      <a:pt x="66" y="10"/>
                    </a:cubicBezTo>
                    <a:lnTo>
                      <a:pt x="60" y="0"/>
                    </a:lnTo>
                    <a:close/>
                  </a:path>
                </a:pathLst>
              </a:custGeom>
              <a:solidFill>
                <a:schemeClr val="bg1"/>
              </a:solidFill>
              <a:ln w="3175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58" name="Macedonia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937250" y="5105400"/>
                <a:ext cx="268287" cy="225425"/>
              </a:xfrm>
              <a:custGeom>
                <a:avLst/>
                <a:gdLst/>
                <a:ahLst/>
                <a:cxnLst>
                  <a:cxn ang="0">
                    <a:pos x="122" y="42"/>
                  </a:cxn>
                  <a:cxn ang="0">
                    <a:pos x="125" y="33"/>
                  </a:cxn>
                  <a:cxn ang="0">
                    <a:pos x="116" y="29"/>
                  </a:cxn>
                  <a:cxn ang="0">
                    <a:pos x="115" y="16"/>
                  </a:cxn>
                  <a:cxn ang="0">
                    <a:pos x="105" y="16"/>
                  </a:cxn>
                  <a:cxn ang="0">
                    <a:pos x="95" y="9"/>
                  </a:cxn>
                  <a:cxn ang="0">
                    <a:pos x="86" y="3"/>
                  </a:cxn>
                  <a:cxn ang="0">
                    <a:pos x="82" y="0"/>
                  </a:cxn>
                  <a:cxn ang="0">
                    <a:pos x="75" y="7"/>
                  </a:cxn>
                  <a:cxn ang="0">
                    <a:pos x="65" y="5"/>
                  </a:cxn>
                  <a:cxn ang="0">
                    <a:pos x="53" y="12"/>
                  </a:cxn>
                  <a:cxn ang="0">
                    <a:pos x="43" y="12"/>
                  </a:cxn>
                  <a:cxn ang="0">
                    <a:pos x="35" y="27"/>
                  </a:cxn>
                  <a:cxn ang="0">
                    <a:pos x="26" y="18"/>
                  </a:cxn>
                  <a:cxn ang="0">
                    <a:pos x="21" y="24"/>
                  </a:cxn>
                  <a:cxn ang="0">
                    <a:pos x="11" y="29"/>
                  </a:cxn>
                  <a:cxn ang="0">
                    <a:pos x="13" y="43"/>
                  </a:cxn>
                  <a:cxn ang="0">
                    <a:pos x="3" y="49"/>
                  </a:cxn>
                  <a:cxn ang="0">
                    <a:pos x="5" y="61"/>
                  </a:cxn>
                  <a:cxn ang="0">
                    <a:pos x="0" y="65"/>
                  </a:cxn>
                  <a:cxn ang="0">
                    <a:pos x="7" y="74"/>
                  </a:cxn>
                  <a:cxn ang="0">
                    <a:pos x="3" y="79"/>
                  </a:cxn>
                  <a:cxn ang="0">
                    <a:pos x="10" y="93"/>
                  </a:cxn>
                  <a:cxn ang="0">
                    <a:pos x="15" y="94"/>
                  </a:cxn>
                  <a:cxn ang="0">
                    <a:pos x="19" y="106"/>
                  </a:cxn>
                  <a:cxn ang="0">
                    <a:pos x="26" y="102"/>
                  </a:cxn>
                  <a:cxn ang="0">
                    <a:pos x="31" y="103"/>
                  </a:cxn>
                  <a:cxn ang="0">
                    <a:pos x="32" y="106"/>
                  </a:cxn>
                  <a:cxn ang="0">
                    <a:pos x="48" y="105"/>
                  </a:cxn>
                  <a:cxn ang="0">
                    <a:pos x="57" y="99"/>
                  </a:cxn>
                  <a:cxn ang="0">
                    <a:pos x="63" y="101"/>
                  </a:cxn>
                  <a:cxn ang="0">
                    <a:pos x="73" y="95"/>
                  </a:cxn>
                  <a:cxn ang="0">
                    <a:pos x="76" y="83"/>
                  </a:cxn>
                  <a:cxn ang="0">
                    <a:pos x="82" y="79"/>
                  </a:cxn>
                  <a:cxn ang="0">
                    <a:pos x="89" y="80"/>
                  </a:cxn>
                  <a:cxn ang="0">
                    <a:pos x="93" y="77"/>
                  </a:cxn>
                  <a:cxn ang="0">
                    <a:pos x="112" y="78"/>
                  </a:cxn>
                  <a:cxn ang="0">
                    <a:pos x="113" y="74"/>
                  </a:cxn>
                  <a:cxn ang="0">
                    <a:pos x="117" y="77"/>
                  </a:cxn>
                  <a:cxn ang="0">
                    <a:pos x="117" y="63"/>
                  </a:cxn>
                  <a:cxn ang="0">
                    <a:pos x="126" y="62"/>
                  </a:cxn>
                  <a:cxn ang="0">
                    <a:pos x="122" y="42"/>
                  </a:cxn>
                </a:cxnLst>
                <a:rect l="0" t="0" r="r" b="b"/>
                <a:pathLst>
                  <a:path w="126" h="106">
                    <a:moveTo>
                      <a:pt x="122" y="42"/>
                    </a:moveTo>
                    <a:cubicBezTo>
                      <a:pt x="125" y="33"/>
                      <a:pt x="125" y="33"/>
                      <a:pt x="125" y="33"/>
                    </a:cubicBezTo>
                    <a:cubicBezTo>
                      <a:pt x="116" y="29"/>
                      <a:pt x="116" y="29"/>
                      <a:pt x="116" y="29"/>
                    </a:cubicBezTo>
                    <a:cubicBezTo>
                      <a:pt x="115" y="16"/>
                      <a:pt x="115" y="16"/>
                      <a:pt x="115" y="16"/>
                    </a:cubicBezTo>
                    <a:cubicBezTo>
                      <a:pt x="105" y="16"/>
                      <a:pt x="105" y="16"/>
                      <a:pt x="105" y="16"/>
                    </a:cubicBezTo>
                    <a:cubicBezTo>
                      <a:pt x="100" y="17"/>
                      <a:pt x="97" y="12"/>
                      <a:pt x="95" y="9"/>
                    </a:cubicBezTo>
                    <a:cubicBezTo>
                      <a:pt x="93" y="7"/>
                      <a:pt x="86" y="3"/>
                      <a:pt x="86" y="3"/>
                    </a:cubicBezTo>
                    <a:cubicBezTo>
                      <a:pt x="82" y="0"/>
                      <a:pt x="82" y="0"/>
                      <a:pt x="82" y="0"/>
                    </a:cubicBezTo>
                    <a:cubicBezTo>
                      <a:pt x="75" y="7"/>
                      <a:pt x="75" y="7"/>
                      <a:pt x="75" y="7"/>
                    </a:cubicBezTo>
                    <a:cubicBezTo>
                      <a:pt x="65" y="5"/>
                      <a:pt x="65" y="5"/>
                      <a:pt x="65" y="5"/>
                    </a:cubicBezTo>
                    <a:cubicBezTo>
                      <a:pt x="65" y="5"/>
                      <a:pt x="58" y="12"/>
                      <a:pt x="53" y="12"/>
                    </a:cubicBezTo>
                    <a:cubicBezTo>
                      <a:pt x="49" y="13"/>
                      <a:pt x="43" y="12"/>
                      <a:pt x="43" y="12"/>
                    </a:cubicBezTo>
                    <a:cubicBezTo>
                      <a:pt x="35" y="27"/>
                      <a:pt x="35" y="27"/>
                      <a:pt x="35" y="27"/>
                    </a:cubicBezTo>
                    <a:cubicBezTo>
                      <a:pt x="26" y="18"/>
                      <a:pt x="26" y="18"/>
                      <a:pt x="26" y="18"/>
                    </a:cubicBezTo>
                    <a:cubicBezTo>
                      <a:pt x="21" y="24"/>
                      <a:pt x="21" y="24"/>
                      <a:pt x="21" y="24"/>
                    </a:cubicBezTo>
                    <a:cubicBezTo>
                      <a:pt x="21" y="24"/>
                      <a:pt x="14" y="24"/>
                      <a:pt x="11" y="29"/>
                    </a:cubicBezTo>
                    <a:cubicBezTo>
                      <a:pt x="9" y="33"/>
                      <a:pt x="13" y="43"/>
                      <a:pt x="13" y="43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5" y="61"/>
                      <a:pt x="5" y="61"/>
                      <a:pt x="5" y="61"/>
                    </a:cubicBezTo>
                    <a:cubicBezTo>
                      <a:pt x="0" y="65"/>
                      <a:pt x="0" y="65"/>
                      <a:pt x="0" y="65"/>
                    </a:cubicBezTo>
                    <a:cubicBezTo>
                      <a:pt x="7" y="74"/>
                      <a:pt x="7" y="74"/>
                      <a:pt x="7" y="74"/>
                    </a:cubicBezTo>
                    <a:cubicBezTo>
                      <a:pt x="3" y="79"/>
                      <a:pt x="3" y="79"/>
                      <a:pt x="3" y="79"/>
                    </a:cubicBezTo>
                    <a:cubicBezTo>
                      <a:pt x="10" y="93"/>
                      <a:pt x="10" y="93"/>
                      <a:pt x="10" y="93"/>
                    </a:cubicBezTo>
                    <a:cubicBezTo>
                      <a:pt x="15" y="94"/>
                      <a:pt x="15" y="94"/>
                      <a:pt x="15" y="94"/>
                    </a:cubicBezTo>
                    <a:cubicBezTo>
                      <a:pt x="19" y="106"/>
                      <a:pt x="19" y="106"/>
                      <a:pt x="19" y="106"/>
                    </a:cubicBezTo>
                    <a:cubicBezTo>
                      <a:pt x="26" y="102"/>
                      <a:pt x="26" y="102"/>
                      <a:pt x="26" y="102"/>
                    </a:cubicBezTo>
                    <a:cubicBezTo>
                      <a:pt x="31" y="103"/>
                      <a:pt x="31" y="103"/>
                      <a:pt x="31" y="103"/>
                    </a:cubicBezTo>
                    <a:cubicBezTo>
                      <a:pt x="32" y="106"/>
                      <a:pt x="32" y="106"/>
                      <a:pt x="32" y="106"/>
                    </a:cubicBezTo>
                    <a:cubicBezTo>
                      <a:pt x="48" y="105"/>
                      <a:pt x="48" y="105"/>
                      <a:pt x="48" y="105"/>
                    </a:cubicBezTo>
                    <a:cubicBezTo>
                      <a:pt x="48" y="105"/>
                      <a:pt x="53" y="99"/>
                      <a:pt x="57" y="99"/>
                    </a:cubicBezTo>
                    <a:cubicBezTo>
                      <a:pt x="59" y="99"/>
                      <a:pt x="63" y="101"/>
                      <a:pt x="63" y="101"/>
                    </a:cubicBezTo>
                    <a:cubicBezTo>
                      <a:pt x="63" y="101"/>
                      <a:pt x="69" y="97"/>
                      <a:pt x="73" y="95"/>
                    </a:cubicBezTo>
                    <a:cubicBezTo>
                      <a:pt x="76" y="92"/>
                      <a:pt x="74" y="88"/>
                      <a:pt x="76" y="83"/>
                    </a:cubicBezTo>
                    <a:cubicBezTo>
                      <a:pt x="78" y="80"/>
                      <a:pt x="82" y="79"/>
                      <a:pt x="82" y="79"/>
                    </a:cubicBezTo>
                    <a:cubicBezTo>
                      <a:pt x="89" y="80"/>
                      <a:pt x="89" y="80"/>
                      <a:pt x="89" y="80"/>
                    </a:cubicBezTo>
                    <a:cubicBezTo>
                      <a:pt x="93" y="77"/>
                      <a:pt x="93" y="77"/>
                      <a:pt x="93" y="77"/>
                    </a:cubicBezTo>
                    <a:cubicBezTo>
                      <a:pt x="112" y="78"/>
                      <a:pt x="112" y="78"/>
                      <a:pt x="112" y="78"/>
                    </a:cubicBezTo>
                    <a:cubicBezTo>
                      <a:pt x="113" y="74"/>
                      <a:pt x="113" y="74"/>
                      <a:pt x="113" y="74"/>
                    </a:cubicBezTo>
                    <a:cubicBezTo>
                      <a:pt x="117" y="77"/>
                      <a:pt x="117" y="77"/>
                      <a:pt x="117" y="77"/>
                    </a:cubicBezTo>
                    <a:cubicBezTo>
                      <a:pt x="117" y="77"/>
                      <a:pt x="116" y="67"/>
                      <a:pt x="117" y="63"/>
                    </a:cubicBezTo>
                    <a:cubicBezTo>
                      <a:pt x="117" y="60"/>
                      <a:pt x="126" y="62"/>
                      <a:pt x="126" y="62"/>
                    </a:cubicBezTo>
                    <a:lnTo>
                      <a:pt x="122" y="42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59" name="Malta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5295900" y="6042026"/>
                <a:ext cx="134893" cy="92074"/>
              </a:xfrm>
              <a:custGeom>
                <a:avLst/>
                <a:gdLst/>
                <a:ahLst/>
                <a:cxnLst>
                  <a:cxn ang="0">
                    <a:pos x="7" y="3"/>
                  </a:cxn>
                  <a:cxn ang="0">
                    <a:pos x="2" y="4"/>
                  </a:cxn>
                  <a:cxn ang="0">
                    <a:pos x="5" y="8"/>
                  </a:cxn>
                  <a:cxn ang="0">
                    <a:pos x="7" y="3"/>
                  </a:cxn>
                  <a:cxn ang="0">
                    <a:pos x="16" y="11"/>
                  </a:cxn>
                  <a:cxn ang="0">
                    <a:pos x="14" y="12"/>
                  </a:cxn>
                  <a:cxn ang="0">
                    <a:pos x="11" y="9"/>
                  </a:cxn>
                  <a:cxn ang="0">
                    <a:pos x="9" y="11"/>
                  </a:cxn>
                  <a:cxn ang="0">
                    <a:pos x="10" y="15"/>
                  </a:cxn>
                  <a:cxn ang="0">
                    <a:pos x="19" y="20"/>
                  </a:cxn>
                  <a:cxn ang="0">
                    <a:pos x="23" y="15"/>
                  </a:cxn>
                  <a:cxn ang="0">
                    <a:pos x="16" y="11"/>
                  </a:cxn>
                </a:cxnLst>
                <a:rect l="0" t="0" r="r" b="b"/>
                <a:pathLst>
                  <a:path w="23" h="20">
                    <a:moveTo>
                      <a:pt x="7" y="3"/>
                    </a:moveTo>
                    <a:cubicBezTo>
                      <a:pt x="0" y="0"/>
                      <a:pt x="2" y="4"/>
                      <a:pt x="2" y="4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9" y="9"/>
                      <a:pt x="15" y="5"/>
                      <a:pt x="7" y="3"/>
                    </a:cubicBezTo>
                    <a:close/>
                    <a:moveTo>
                      <a:pt x="16" y="11"/>
                    </a:moveTo>
                    <a:cubicBezTo>
                      <a:pt x="14" y="12"/>
                      <a:pt x="14" y="12"/>
                      <a:pt x="14" y="12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10" y="15"/>
                      <a:pt x="10" y="15"/>
                      <a:pt x="10" y="15"/>
                    </a:cubicBezTo>
                    <a:cubicBezTo>
                      <a:pt x="10" y="15"/>
                      <a:pt x="15" y="20"/>
                      <a:pt x="19" y="20"/>
                    </a:cubicBezTo>
                    <a:cubicBezTo>
                      <a:pt x="23" y="20"/>
                      <a:pt x="23" y="15"/>
                      <a:pt x="23" y="15"/>
                    </a:cubicBezTo>
                    <a:lnTo>
                      <a:pt x="16" y="11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60" name="Luxembourg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4456113" y="4092575"/>
                <a:ext cx="74612" cy="106362"/>
              </a:xfrm>
              <a:custGeom>
                <a:avLst/>
                <a:gdLst/>
                <a:ahLst/>
                <a:cxnLst>
                  <a:cxn ang="0">
                    <a:pos x="34" y="30"/>
                  </a:cxn>
                  <a:cxn ang="0">
                    <a:pos x="28" y="21"/>
                  </a:cxn>
                  <a:cxn ang="0">
                    <a:pos x="19" y="5"/>
                  </a:cxn>
                  <a:cxn ang="0">
                    <a:pos x="19" y="2"/>
                  </a:cxn>
                  <a:cxn ang="0">
                    <a:pos x="10" y="0"/>
                  </a:cxn>
                  <a:cxn ang="0">
                    <a:pos x="3" y="14"/>
                  </a:cxn>
                  <a:cxn ang="0">
                    <a:pos x="0" y="15"/>
                  </a:cxn>
                  <a:cxn ang="0">
                    <a:pos x="4" y="34"/>
                  </a:cxn>
                  <a:cxn ang="0">
                    <a:pos x="1" y="42"/>
                  </a:cxn>
                  <a:cxn ang="0">
                    <a:pos x="0" y="42"/>
                  </a:cxn>
                  <a:cxn ang="0">
                    <a:pos x="5" y="44"/>
                  </a:cxn>
                  <a:cxn ang="0">
                    <a:pos x="10" y="49"/>
                  </a:cxn>
                  <a:cxn ang="0">
                    <a:pos x="18" y="45"/>
                  </a:cxn>
                  <a:cxn ang="0">
                    <a:pos x="23" y="47"/>
                  </a:cxn>
                  <a:cxn ang="0">
                    <a:pos x="27" y="46"/>
                  </a:cxn>
                  <a:cxn ang="0">
                    <a:pos x="26" y="43"/>
                  </a:cxn>
                  <a:cxn ang="0">
                    <a:pos x="27" y="37"/>
                  </a:cxn>
                  <a:cxn ang="0">
                    <a:pos x="34" y="30"/>
                  </a:cxn>
                </a:cxnLst>
                <a:rect l="0" t="0" r="r" b="b"/>
                <a:pathLst>
                  <a:path w="35" h="50">
                    <a:moveTo>
                      <a:pt x="34" y="30"/>
                    </a:moveTo>
                    <a:cubicBezTo>
                      <a:pt x="35" y="22"/>
                      <a:pt x="29" y="26"/>
                      <a:pt x="28" y="21"/>
                    </a:cubicBezTo>
                    <a:cubicBezTo>
                      <a:pt x="23" y="22"/>
                      <a:pt x="19" y="12"/>
                      <a:pt x="19" y="5"/>
                    </a:cubicBezTo>
                    <a:cubicBezTo>
                      <a:pt x="19" y="2"/>
                      <a:pt x="19" y="2"/>
                      <a:pt x="19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3" y="14"/>
                      <a:pt x="3" y="14"/>
                      <a:pt x="3" y="14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4" y="34"/>
                      <a:pt x="4" y="34"/>
                      <a:pt x="4" y="34"/>
                    </a:cubicBezTo>
                    <a:cubicBezTo>
                      <a:pt x="1" y="42"/>
                      <a:pt x="1" y="42"/>
                      <a:pt x="1" y="42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5" y="44"/>
                      <a:pt x="5" y="44"/>
                      <a:pt x="5" y="44"/>
                    </a:cubicBezTo>
                    <a:cubicBezTo>
                      <a:pt x="5" y="44"/>
                      <a:pt x="5" y="50"/>
                      <a:pt x="10" y="49"/>
                    </a:cubicBezTo>
                    <a:cubicBezTo>
                      <a:pt x="17" y="49"/>
                      <a:pt x="15" y="44"/>
                      <a:pt x="18" y="45"/>
                    </a:cubicBezTo>
                    <a:cubicBezTo>
                      <a:pt x="21" y="45"/>
                      <a:pt x="21" y="47"/>
                      <a:pt x="23" y="47"/>
                    </a:cubicBezTo>
                    <a:cubicBezTo>
                      <a:pt x="24" y="47"/>
                      <a:pt x="25" y="47"/>
                      <a:pt x="27" y="46"/>
                    </a:cubicBezTo>
                    <a:cubicBezTo>
                      <a:pt x="26" y="46"/>
                      <a:pt x="26" y="45"/>
                      <a:pt x="26" y="43"/>
                    </a:cubicBezTo>
                    <a:cubicBezTo>
                      <a:pt x="26" y="41"/>
                      <a:pt x="25" y="38"/>
                      <a:pt x="27" y="37"/>
                    </a:cubicBezTo>
                    <a:cubicBezTo>
                      <a:pt x="28" y="36"/>
                      <a:pt x="33" y="31"/>
                      <a:pt x="34" y="30"/>
                    </a:cubicBez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61" name="Lithonia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737225" y="3146425"/>
                <a:ext cx="473075" cy="357187"/>
              </a:xfrm>
              <a:custGeom>
                <a:avLst/>
                <a:gdLst/>
                <a:ahLst/>
                <a:cxnLst>
                  <a:cxn ang="0">
                    <a:pos x="87" y="142"/>
                  </a:cxn>
                  <a:cxn ang="0">
                    <a:pos x="110" y="154"/>
                  </a:cxn>
                  <a:cxn ang="0">
                    <a:pos x="114" y="168"/>
                  </a:cxn>
                  <a:cxn ang="0">
                    <a:pos x="127" y="163"/>
                  </a:cxn>
                  <a:cxn ang="0">
                    <a:pos x="141" y="163"/>
                  </a:cxn>
                  <a:cxn ang="0">
                    <a:pos x="155" y="158"/>
                  </a:cxn>
                  <a:cxn ang="0">
                    <a:pos x="161" y="146"/>
                  </a:cxn>
                  <a:cxn ang="0">
                    <a:pos x="175" y="136"/>
                  </a:cxn>
                  <a:cxn ang="0">
                    <a:pos x="189" y="142"/>
                  </a:cxn>
                  <a:cxn ang="0">
                    <a:pos x="188" y="129"/>
                  </a:cxn>
                  <a:cxn ang="0">
                    <a:pos x="188" y="96"/>
                  </a:cxn>
                  <a:cxn ang="0">
                    <a:pos x="203" y="74"/>
                  </a:cxn>
                  <a:cxn ang="0">
                    <a:pos x="218" y="65"/>
                  </a:cxn>
                  <a:cxn ang="0">
                    <a:pos x="207" y="58"/>
                  </a:cxn>
                  <a:cxn ang="0">
                    <a:pos x="210" y="42"/>
                  </a:cxn>
                  <a:cxn ang="0">
                    <a:pos x="197" y="33"/>
                  </a:cxn>
                  <a:cxn ang="0">
                    <a:pos x="191" y="29"/>
                  </a:cxn>
                  <a:cxn ang="0">
                    <a:pos x="169" y="15"/>
                  </a:cxn>
                  <a:cxn ang="0">
                    <a:pos x="148" y="14"/>
                  </a:cxn>
                  <a:cxn ang="0">
                    <a:pos x="137" y="0"/>
                  </a:cxn>
                  <a:cxn ang="0">
                    <a:pos x="127" y="12"/>
                  </a:cxn>
                  <a:cxn ang="0">
                    <a:pos x="120" y="12"/>
                  </a:cxn>
                  <a:cxn ang="0">
                    <a:pos x="107" y="10"/>
                  </a:cxn>
                  <a:cxn ang="0">
                    <a:pos x="90" y="15"/>
                  </a:cxn>
                  <a:cxn ang="0">
                    <a:pos x="77" y="13"/>
                  </a:cxn>
                  <a:cxn ang="0">
                    <a:pos x="71" y="18"/>
                  </a:cxn>
                  <a:cxn ang="0">
                    <a:pos x="66" y="13"/>
                  </a:cxn>
                  <a:cxn ang="0">
                    <a:pos x="54" y="15"/>
                  </a:cxn>
                  <a:cxn ang="0">
                    <a:pos x="31" y="21"/>
                  </a:cxn>
                  <a:cxn ang="0">
                    <a:pos x="23" y="24"/>
                  </a:cxn>
                  <a:cxn ang="0">
                    <a:pos x="7" y="40"/>
                  </a:cxn>
                  <a:cxn ang="0">
                    <a:pos x="4" y="40"/>
                  </a:cxn>
                  <a:cxn ang="0">
                    <a:pos x="5" y="62"/>
                  </a:cxn>
                  <a:cxn ang="0">
                    <a:pos x="6" y="72"/>
                  </a:cxn>
                  <a:cxn ang="0">
                    <a:pos x="5" y="94"/>
                  </a:cxn>
                  <a:cxn ang="0">
                    <a:pos x="9" y="86"/>
                  </a:cxn>
                  <a:cxn ang="0">
                    <a:pos x="9" y="71"/>
                  </a:cxn>
                  <a:cxn ang="0">
                    <a:pos x="14" y="87"/>
                  </a:cxn>
                  <a:cxn ang="0">
                    <a:pos x="16" y="92"/>
                  </a:cxn>
                  <a:cxn ang="0">
                    <a:pos x="24" y="100"/>
                  </a:cxn>
                  <a:cxn ang="0">
                    <a:pos x="37" y="102"/>
                  </a:cxn>
                  <a:cxn ang="0">
                    <a:pos x="48" y="107"/>
                  </a:cxn>
                  <a:cxn ang="0">
                    <a:pos x="69" y="103"/>
                  </a:cxn>
                  <a:cxn ang="0">
                    <a:pos x="77" y="120"/>
                  </a:cxn>
                  <a:cxn ang="0">
                    <a:pos x="81" y="146"/>
                  </a:cxn>
                </a:cxnLst>
                <a:rect l="0" t="0" r="r" b="b"/>
                <a:pathLst>
                  <a:path w="222" h="168">
                    <a:moveTo>
                      <a:pt x="83" y="146"/>
                    </a:moveTo>
                    <a:cubicBezTo>
                      <a:pt x="83" y="146"/>
                      <a:pt x="84" y="141"/>
                      <a:pt x="87" y="142"/>
                    </a:cubicBezTo>
                    <a:cubicBezTo>
                      <a:pt x="90" y="143"/>
                      <a:pt x="89" y="147"/>
                      <a:pt x="93" y="148"/>
                    </a:cubicBezTo>
                    <a:cubicBezTo>
                      <a:pt x="97" y="148"/>
                      <a:pt x="105" y="146"/>
                      <a:pt x="110" y="154"/>
                    </a:cubicBezTo>
                    <a:cubicBezTo>
                      <a:pt x="114" y="162"/>
                      <a:pt x="111" y="165"/>
                      <a:pt x="111" y="165"/>
                    </a:cubicBezTo>
                    <a:cubicBezTo>
                      <a:pt x="114" y="168"/>
                      <a:pt x="114" y="168"/>
                      <a:pt x="114" y="168"/>
                    </a:cubicBezTo>
                    <a:cubicBezTo>
                      <a:pt x="126" y="167"/>
                      <a:pt x="126" y="167"/>
                      <a:pt x="126" y="167"/>
                    </a:cubicBezTo>
                    <a:cubicBezTo>
                      <a:pt x="127" y="163"/>
                      <a:pt x="127" y="163"/>
                      <a:pt x="127" y="163"/>
                    </a:cubicBezTo>
                    <a:cubicBezTo>
                      <a:pt x="134" y="165"/>
                      <a:pt x="134" y="165"/>
                      <a:pt x="134" y="165"/>
                    </a:cubicBezTo>
                    <a:cubicBezTo>
                      <a:pt x="141" y="163"/>
                      <a:pt x="141" y="163"/>
                      <a:pt x="141" y="163"/>
                    </a:cubicBezTo>
                    <a:cubicBezTo>
                      <a:pt x="148" y="166"/>
                      <a:pt x="148" y="166"/>
                      <a:pt x="148" y="166"/>
                    </a:cubicBezTo>
                    <a:cubicBezTo>
                      <a:pt x="155" y="158"/>
                      <a:pt x="155" y="158"/>
                      <a:pt x="155" y="158"/>
                    </a:cubicBezTo>
                    <a:cubicBezTo>
                      <a:pt x="155" y="158"/>
                      <a:pt x="159" y="160"/>
                      <a:pt x="163" y="158"/>
                    </a:cubicBezTo>
                    <a:cubicBezTo>
                      <a:pt x="167" y="157"/>
                      <a:pt x="160" y="148"/>
                      <a:pt x="161" y="146"/>
                    </a:cubicBezTo>
                    <a:cubicBezTo>
                      <a:pt x="163" y="143"/>
                      <a:pt x="171" y="146"/>
                      <a:pt x="171" y="146"/>
                    </a:cubicBezTo>
                    <a:cubicBezTo>
                      <a:pt x="175" y="136"/>
                      <a:pt x="175" y="136"/>
                      <a:pt x="175" y="136"/>
                    </a:cubicBezTo>
                    <a:cubicBezTo>
                      <a:pt x="175" y="136"/>
                      <a:pt x="181" y="134"/>
                      <a:pt x="186" y="134"/>
                    </a:cubicBezTo>
                    <a:cubicBezTo>
                      <a:pt x="190" y="133"/>
                      <a:pt x="186" y="139"/>
                      <a:pt x="189" y="142"/>
                    </a:cubicBezTo>
                    <a:cubicBezTo>
                      <a:pt x="192" y="145"/>
                      <a:pt x="199" y="140"/>
                      <a:pt x="197" y="133"/>
                    </a:cubicBezTo>
                    <a:cubicBezTo>
                      <a:pt x="197" y="128"/>
                      <a:pt x="188" y="129"/>
                      <a:pt x="188" y="129"/>
                    </a:cubicBezTo>
                    <a:cubicBezTo>
                      <a:pt x="191" y="113"/>
                      <a:pt x="191" y="113"/>
                      <a:pt x="191" y="113"/>
                    </a:cubicBezTo>
                    <a:cubicBezTo>
                      <a:pt x="191" y="113"/>
                      <a:pt x="188" y="101"/>
                      <a:pt x="188" y="96"/>
                    </a:cubicBezTo>
                    <a:cubicBezTo>
                      <a:pt x="188" y="92"/>
                      <a:pt x="195" y="87"/>
                      <a:pt x="200" y="86"/>
                    </a:cubicBezTo>
                    <a:cubicBezTo>
                      <a:pt x="204" y="84"/>
                      <a:pt x="203" y="74"/>
                      <a:pt x="203" y="74"/>
                    </a:cubicBezTo>
                    <a:cubicBezTo>
                      <a:pt x="218" y="70"/>
                      <a:pt x="218" y="70"/>
                      <a:pt x="218" y="70"/>
                    </a:cubicBezTo>
                    <a:cubicBezTo>
                      <a:pt x="218" y="65"/>
                      <a:pt x="218" y="65"/>
                      <a:pt x="218" y="65"/>
                    </a:cubicBezTo>
                    <a:cubicBezTo>
                      <a:pt x="218" y="65"/>
                      <a:pt x="222" y="60"/>
                      <a:pt x="221" y="56"/>
                    </a:cubicBezTo>
                    <a:cubicBezTo>
                      <a:pt x="220" y="53"/>
                      <a:pt x="207" y="58"/>
                      <a:pt x="207" y="58"/>
                    </a:cubicBezTo>
                    <a:cubicBezTo>
                      <a:pt x="208" y="48"/>
                      <a:pt x="208" y="48"/>
                      <a:pt x="208" y="48"/>
                    </a:cubicBezTo>
                    <a:cubicBezTo>
                      <a:pt x="210" y="42"/>
                      <a:pt x="210" y="42"/>
                      <a:pt x="210" y="42"/>
                    </a:cubicBezTo>
                    <a:cubicBezTo>
                      <a:pt x="210" y="36"/>
                      <a:pt x="210" y="36"/>
                      <a:pt x="210" y="36"/>
                    </a:cubicBezTo>
                    <a:cubicBezTo>
                      <a:pt x="197" y="33"/>
                      <a:pt x="197" y="33"/>
                      <a:pt x="197" y="33"/>
                    </a:cubicBezTo>
                    <a:cubicBezTo>
                      <a:pt x="196" y="29"/>
                      <a:pt x="196" y="29"/>
                      <a:pt x="196" y="29"/>
                    </a:cubicBezTo>
                    <a:cubicBezTo>
                      <a:pt x="191" y="29"/>
                      <a:pt x="191" y="29"/>
                      <a:pt x="191" y="29"/>
                    </a:cubicBezTo>
                    <a:cubicBezTo>
                      <a:pt x="191" y="29"/>
                      <a:pt x="188" y="22"/>
                      <a:pt x="186" y="19"/>
                    </a:cubicBezTo>
                    <a:cubicBezTo>
                      <a:pt x="183" y="16"/>
                      <a:pt x="169" y="15"/>
                      <a:pt x="169" y="15"/>
                    </a:cubicBezTo>
                    <a:cubicBezTo>
                      <a:pt x="169" y="12"/>
                      <a:pt x="169" y="12"/>
                      <a:pt x="169" y="12"/>
                    </a:cubicBezTo>
                    <a:cubicBezTo>
                      <a:pt x="148" y="14"/>
                      <a:pt x="148" y="14"/>
                      <a:pt x="148" y="14"/>
                    </a:cubicBezTo>
                    <a:cubicBezTo>
                      <a:pt x="142" y="2"/>
                      <a:pt x="142" y="2"/>
                      <a:pt x="142" y="2"/>
                    </a:cubicBezTo>
                    <a:cubicBezTo>
                      <a:pt x="137" y="0"/>
                      <a:pt x="137" y="0"/>
                      <a:pt x="137" y="0"/>
                    </a:cubicBezTo>
                    <a:cubicBezTo>
                      <a:pt x="130" y="5"/>
                      <a:pt x="130" y="5"/>
                      <a:pt x="130" y="5"/>
                    </a:cubicBezTo>
                    <a:cubicBezTo>
                      <a:pt x="127" y="12"/>
                      <a:pt x="127" y="12"/>
                      <a:pt x="127" y="12"/>
                    </a:cubicBezTo>
                    <a:cubicBezTo>
                      <a:pt x="124" y="13"/>
                      <a:pt x="124" y="13"/>
                      <a:pt x="124" y="13"/>
                    </a:cubicBezTo>
                    <a:cubicBezTo>
                      <a:pt x="120" y="12"/>
                      <a:pt x="120" y="12"/>
                      <a:pt x="120" y="12"/>
                    </a:cubicBezTo>
                    <a:cubicBezTo>
                      <a:pt x="113" y="15"/>
                      <a:pt x="113" y="15"/>
                      <a:pt x="113" y="15"/>
                    </a:cubicBezTo>
                    <a:cubicBezTo>
                      <a:pt x="107" y="10"/>
                      <a:pt x="107" y="10"/>
                      <a:pt x="107" y="10"/>
                    </a:cubicBezTo>
                    <a:cubicBezTo>
                      <a:pt x="94" y="10"/>
                      <a:pt x="94" y="10"/>
                      <a:pt x="94" y="10"/>
                    </a:cubicBezTo>
                    <a:cubicBezTo>
                      <a:pt x="90" y="15"/>
                      <a:pt x="90" y="15"/>
                      <a:pt x="90" y="15"/>
                    </a:cubicBezTo>
                    <a:cubicBezTo>
                      <a:pt x="83" y="12"/>
                      <a:pt x="83" y="12"/>
                      <a:pt x="83" y="12"/>
                    </a:cubicBezTo>
                    <a:cubicBezTo>
                      <a:pt x="77" y="13"/>
                      <a:pt x="77" y="13"/>
                      <a:pt x="77" y="13"/>
                    </a:cubicBezTo>
                    <a:cubicBezTo>
                      <a:pt x="75" y="18"/>
                      <a:pt x="75" y="18"/>
                      <a:pt x="75" y="18"/>
                    </a:cubicBezTo>
                    <a:cubicBezTo>
                      <a:pt x="71" y="18"/>
                      <a:pt x="71" y="18"/>
                      <a:pt x="71" y="18"/>
                    </a:cubicBezTo>
                    <a:cubicBezTo>
                      <a:pt x="70" y="12"/>
                      <a:pt x="70" y="12"/>
                      <a:pt x="70" y="12"/>
                    </a:cubicBezTo>
                    <a:cubicBezTo>
                      <a:pt x="66" y="13"/>
                      <a:pt x="66" y="13"/>
                      <a:pt x="66" y="13"/>
                    </a:cubicBezTo>
                    <a:cubicBezTo>
                      <a:pt x="58" y="18"/>
                      <a:pt x="58" y="18"/>
                      <a:pt x="58" y="18"/>
                    </a:cubicBezTo>
                    <a:cubicBezTo>
                      <a:pt x="54" y="15"/>
                      <a:pt x="54" y="15"/>
                      <a:pt x="54" y="15"/>
                    </a:cubicBezTo>
                    <a:cubicBezTo>
                      <a:pt x="36" y="16"/>
                      <a:pt x="36" y="16"/>
                      <a:pt x="36" y="16"/>
                    </a:cubicBezTo>
                    <a:cubicBezTo>
                      <a:pt x="31" y="21"/>
                      <a:pt x="31" y="21"/>
                      <a:pt x="31" y="21"/>
                    </a:cubicBezTo>
                    <a:cubicBezTo>
                      <a:pt x="28" y="20"/>
                      <a:pt x="28" y="20"/>
                      <a:pt x="28" y="20"/>
                    </a:cubicBezTo>
                    <a:cubicBezTo>
                      <a:pt x="23" y="24"/>
                      <a:pt x="23" y="24"/>
                      <a:pt x="23" y="24"/>
                    </a:cubicBezTo>
                    <a:cubicBezTo>
                      <a:pt x="23" y="24"/>
                      <a:pt x="20" y="22"/>
                      <a:pt x="16" y="26"/>
                    </a:cubicBezTo>
                    <a:cubicBezTo>
                      <a:pt x="12" y="31"/>
                      <a:pt x="7" y="40"/>
                      <a:pt x="7" y="40"/>
                    </a:cubicBezTo>
                    <a:cubicBezTo>
                      <a:pt x="5" y="42"/>
                      <a:pt x="5" y="42"/>
                      <a:pt x="5" y="42"/>
                    </a:cubicBezTo>
                    <a:cubicBezTo>
                      <a:pt x="4" y="40"/>
                      <a:pt x="4" y="40"/>
                      <a:pt x="4" y="40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0" y="44"/>
                      <a:pt x="4" y="57"/>
                      <a:pt x="5" y="62"/>
                    </a:cubicBezTo>
                    <a:cubicBezTo>
                      <a:pt x="5" y="64"/>
                      <a:pt x="6" y="66"/>
                      <a:pt x="7" y="68"/>
                    </a:cubicBezTo>
                    <a:cubicBezTo>
                      <a:pt x="6" y="72"/>
                      <a:pt x="6" y="72"/>
                      <a:pt x="6" y="72"/>
                    </a:cubicBezTo>
                    <a:cubicBezTo>
                      <a:pt x="7" y="84"/>
                      <a:pt x="7" y="84"/>
                      <a:pt x="7" y="84"/>
                    </a:cubicBezTo>
                    <a:cubicBezTo>
                      <a:pt x="5" y="94"/>
                      <a:pt x="5" y="94"/>
                      <a:pt x="5" y="94"/>
                    </a:cubicBezTo>
                    <a:cubicBezTo>
                      <a:pt x="7" y="93"/>
                      <a:pt x="7" y="93"/>
                      <a:pt x="7" y="93"/>
                    </a:cubicBezTo>
                    <a:cubicBezTo>
                      <a:pt x="9" y="86"/>
                      <a:pt x="9" y="86"/>
                      <a:pt x="9" y="86"/>
                    </a:cubicBezTo>
                    <a:cubicBezTo>
                      <a:pt x="8" y="73"/>
                      <a:pt x="8" y="73"/>
                      <a:pt x="8" y="73"/>
                    </a:cubicBezTo>
                    <a:cubicBezTo>
                      <a:pt x="9" y="71"/>
                      <a:pt x="9" y="71"/>
                      <a:pt x="9" y="71"/>
                    </a:cubicBezTo>
                    <a:cubicBezTo>
                      <a:pt x="10" y="76"/>
                      <a:pt x="12" y="79"/>
                      <a:pt x="12" y="79"/>
                    </a:cubicBezTo>
                    <a:cubicBezTo>
                      <a:pt x="14" y="87"/>
                      <a:pt x="14" y="87"/>
                      <a:pt x="14" y="87"/>
                    </a:cubicBezTo>
                    <a:cubicBezTo>
                      <a:pt x="12" y="92"/>
                      <a:pt x="12" y="92"/>
                      <a:pt x="12" y="92"/>
                    </a:cubicBezTo>
                    <a:cubicBezTo>
                      <a:pt x="16" y="92"/>
                      <a:pt x="16" y="92"/>
                      <a:pt x="16" y="92"/>
                    </a:cubicBezTo>
                    <a:cubicBezTo>
                      <a:pt x="19" y="96"/>
                      <a:pt x="19" y="96"/>
                      <a:pt x="19" y="96"/>
                    </a:cubicBezTo>
                    <a:cubicBezTo>
                      <a:pt x="24" y="100"/>
                      <a:pt x="24" y="100"/>
                      <a:pt x="24" y="100"/>
                    </a:cubicBezTo>
                    <a:cubicBezTo>
                      <a:pt x="30" y="99"/>
                      <a:pt x="30" y="99"/>
                      <a:pt x="30" y="99"/>
                    </a:cubicBezTo>
                    <a:cubicBezTo>
                      <a:pt x="30" y="99"/>
                      <a:pt x="32" y="100"/>
                      <a:pt x="37" y="102"/>
                    </a:cubicBezTo>
                    <a:cubicBezTo>
                      <a:pt x="41" y="105"/>
                      <a:pt x="47" y="103"/>
                      <a:pt x="47" y="103"/>
                    </a:cubicBezTo>
                    <a:cubicBezTo>
                      <a:pt x="48" y="107"/>
                      <a:pt x="48" y="107"/>
                      <a:pt x="48" y="107"/>
                    </a:cubicBezTo>
                    <a:cubicBezTo>
                      <a:pt x="58" y="103"/>
                      <a:pt x="58" y="103"/>
                      <a:pt x="58" y="103"/>
                    </a:cubicBezTo>
                    <a:cubicBezTo>
                      <a:pt x="69" y="103"/>
                      <a:pt x="69" y="103"/>
                      <a:pt x="69" y="103"/>
                    </a:cubicBezTo>
                    <a:cubicBezTo>
                      <a:pt x="69" y="103"/>
                      <a:pt x="78" y="110"/>
                      <a:pt x="81" y="112"/>
                    </a:cubicBezTo>
                    <a:cubicBezTo>
                      <a:pt x="85" y="115"/>
                      <a:pt x="77" y="120"/>
                      <a:pt x="77" y="120"/>
                    </a:cubicBezTo>
                    <a:cubicBezTo>
                      <a:pt x="77" y="120"/>
                      <a:pt x="75" y="125"/>
                      <a:pt x="75" y="131"/>
                    </a:cubicBezTo>
                    <a:cubicBezTo>
                      <a:pt x="74" y="139"/>
                      <a:pt x="81" y="146"/>
                      <a:pt x="81" y="146"/>
                    </a:cubicBezTo>
                    <a:lnTo>
                      <a:pt x="83" y="146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62" name="Latvia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726113" y="2919413"/>
                <a:ext cx="568325" cy="320675"/>
              </a:xfrm>
              <a:custGeom>
                <a:avLst/>
                <a:gdLst/>
                <a:ahLst/>
                <a:cxnLst>
                  <a:cxn ang="0">
                    <a:pos x="264" y="89"/>
                  </a:cxn>
                  <a:cxn ang="0">
                    <a:pos x="259" y="74"/>
                  </a:cxn>
                  <a:cxn ang="0">
                    <a:pos x="255" y="68"/>
                  </a:cxn>
                  <a:cxn ang="0">
                    <a:pos x="249" y="61"/>
                  </a:cxn>
                  <a:cxn ang="0">
                    <a:pos x="237" y="61"/>
                  </a:cxn>
                  <a:cxn ang="0">
                    <a:pos x="237" y="46"/>
                  </a:cxn>
                  <a:cxn ang="0">
                    <a:pos x="240" y="31"/>
                  </a:cxn>
                  <a:cxn ang="0">
                    <a:pos x="225" y="25"/>
                  </a:cxn>
                  <a:cxn ang="0">
                    <a:pos x="212" y="20"/>
                  </a:cxn>
                  <a:cxn ang="0">
                    <a:pos x="190" y="26"/>
                  </a:cxn>
                  <a:cxn ang="0">
                    <a:pos x="177" y="23"/>
                  </a:cxn>
                  <a:cxn ang="0">
                    <a:pos x="167" y="13"/>
                  </a:cxn>
                  <a:cxn ang="0">
                    <a:pos x="161" y="11"/>
                  </a:cxn>
                  <a:cxn ang="0">
                    <a:pos x="153" y="9"/>
                  </a:cxn>
                  <a:cxn ang="0">
                    <a:pos x="146" y="4"/>
                  </a:cxn>
                  <a:cxn ang="0">
                    <a:pos x="139" y="5"/>
                  </a:cxn>
                  <a:cxn ang="0">
                    <a:pos x="132" y="0"/>
                  </a:cxn>
                  <a:cxn ang="0">
                    <a:pos x="121" y="7"/>
                  </a:cxn>
                  <a:cxn ang="0">
                    <a:pos x="115" y="11"/>
                  </a:cxn>
                  <a:cxn ang="0">
                    <a:pos x="111" y="18"/>
                  </a:cxn>
                  <a:cxn ang="0">
                    <a:pos x="109" y="23"/>
                  </a:cxn>
                  <a:cxn ang="0">
                    <a:pos x="117" y="60"/>
                  </a:cxn>
                  <a:cxn ang="0">
                    <a:pos x="95" y="79"/>
                  </a:cxn>
                  <a:cxn ang="0">
                    <a:pos x="78" y="75"/>
                  </a:cxn>
                  <a:cxn ang="0">
                    <a:pos x="73" y="62"/>
                  </a:cxn>
                  <a:cxn ang="0">
                    <a:pos x="65" y="56"/>
                  </a:cxn>
                  <a:cxn ang="0">
                    <a:pos x="51" y="46"/>
                  </a:cxn>
                  <a:cxn ang="0">
                    <a:pos x="18" y="54"/>
                  </a:cxn>
                  <a:cxn ang="0">
                    <a:pos x="12" y="88"/>
                  </a:cxn>
                  <a:cxn ang="0">
                    <a:pos x="2" y="116"/>
                  </a:cxn>
                  <a:cxn ang="0">
                    <a:pos x="2" y="127"/>
                  </a:cxn>
                  <a:cxn ang="0">
                    <a:pos x="4" y="123"/>
                  </a:cxn>
                  <a:cxn ang="0">
                    <a:pos x="3" y="132"/>
                  </a:cxn>
                  <a:cxn ang="0">
                    <a:pos x="0" y="135"/>
                  </a:cxn>
                  <a:cxn ang="0">
                    <a:pos x="5" y="151"/>
                  </a:cxn>
                  <a:cxn ang="0">
                    <a:pos x="10" y="149"/>
                  </a:cxn>
                  <a:cxn ang="0">
                    <a:pos x="21" y="133"/>
                  </a:cxn>
                  <a:cxn ang="0">
                    <a:pos x="33" y="127"/>
                  </a:cxn>
                  <a:cxn ang="0">
                    <a:pos x="41" y="123"/>
                  </a:cxn>
                  <a:cxn ang="0">
                    <a:pos x="63" y="125"/>
                  </a:cxn>
                  <a:cxn ang="0">
                    <a:pos x="75" y="119"/>
                  </a:cxn>
                  <a:cxn ang="0">
                    <a:pos x="80" y="125"/>
                  </a:cxn>
                  <a:cxn ang="0">
                    <a:pos x="88" y="119"/>
                  </a:cxn>
                  <a:cxn ang="0">
                    <a:pos x="99" y="117"/>
                  </a:cxn>
                  <a:cxn ang="0">
                    <a:pos x="118" y="122"/>
                  </a:cxn>
                  <a:cxn ang="0">
                    <a:pos x="129" y="120"/>
                  </a:cxn>
                  <a:cxn ang="0">
                    <a:pos x="135" y="112"/>
                  </a:cxn>
                  <a:cxn ang="0">
                    <a:pos x="147" y="109"/>
                  </a:cxn>
                  <a:cxn ang="0">
                    <a:pos x="174" y="119"/>
                  </a:cxn>
                  <a:cxn ang="0">
                    <a:pos x="191" y="126"/>
                  </a:cxn>
                  <a:cxn ang="0">
                    <a:pos x="201" y="136"/>
                  </a:cxn>
                  <a:cxn ang="0">
                    <a:pos x="215" y="143"/>
                  </a:cxn>
                  <a:cxn ang="0">
                    <a:pos x="225" y="138"/>
                  </a:cxn>
                  <a:cxn ang="0">
                    <a:pos x="232" y="127"/>
                  </a:cxn>
                  <a:cxn ang="0">
                    <a:pos x="244" y="129"/>
                  </a:cxn>
                  <a:cxn ang="0">
                    <a:pos x="251" y="119"/>
                  </a:cxn>
                  <a:cxn ang="0">
                    <a:pos x="265" y="101"/>
                  </a:cxn>
                </a:cxnLst>
                <a:rect l="0" t="0" r="r" b="b"/>
                <a:pathLst>
                  <a:path w="267" h="151">
                    <a:moveTo>
                      <a:pt x="266" y="90"/>
                    </a:moveTo>
                    <a:cubicBezTo>
                      <a:pt x="264" y="89"/>
                      <a:pt x="264" y="89"/>
                      <a:pt x="264" y="89"/>
                    </a:cubicBezTo>
                    <a:cubicBezTo>
                      <a:pt x="262" y="83"/>
                      <a:pt x="262" y="83"/>
                      <a:pt x="262" y="83"/>
                    </a:cubicBezTo>
                    <a:cubicBezTo>
                      <a:pt x="259" y="74"/>
                      <a:pt x="259" y="74"/>
                      <a:pt x="259" y="74"/>
                    </a:cubicBezTo>
                    <a:cubicBezTo>
                      <a:pt x="256" y="73"/>
                      <a:pt x="256" y="73"/>
                      <a:pt x="256" y="73"/>
                    </a:cubicBezTo>
                    <a:cubicBezTo>
                      <a:pt x="255" y="68"/>
                      <a:pt x="255" y="68"/>
                      <a:pt x="255" y="68"/>
                    </a:cubicBezTo>
                    <a:cubicBezTo>
                      <a:pt x="247" y="66"/>
                      <a:pt x="247" y="66"/>
                      <a:pt x="247" y="66"/>
                    </a:cubicBezTo>
                    <a:cubicBezTo>
                      <a:pt x="249" y="61"/>
                      <a:pt x="249" y="61"/>
                      <a:pt x="249" y="61"/>
                    </a:cubicBezTo>
                    <a:cubicBezTo>
                      <a:pt x="249" y="61"/>
                      <a:pt x="247" y="58"/>
                      <a:pt x="245" y="58"/>
                    </a:cubicBezTo>
                    <a:cubicBezTo>
                      <a:pt x="242" y="58"/>
                      <a:pt x="237" y="61"/>
                      <a:pt x="237" y="61"/>
                    </a:cubicBezTo>
                    <a:cubicBezTo>
                      <a:pt x="239" y="50"/>
                      <a:pt x="239" y="50"/>
                      <a:pt x="239" y="50"/>
                    </a:cubicBezTo>
                    <a:cubicBezTo>
                      <a:pt x="237" y="46"/>
                      <a:pt x="237" y="46"/>
                      <a:pt x="237" y="46"/>
                    </a:cubicBezTo>
                    <a:cubicBezTo>
                      <a:pt x="240" y="42"/>
                      <a:pt x="240" y="42"/>
                      <a:pt x="240" y="42"/>
                    </a:cubicBezTo>
                    <a:cubicBezTo>
                      <a:pt x="240" y="31"/>
                      <a:pt x="240" y="31"/>
                      <a:pt x="240" y="31"/>
                    </a:cubicBezTo>
                    <a:cubicBezTo>
                      <a:pt x="240" y="31"/>
                      <a:pt x="237" y="28"/>
                      <a:pt x="234" y="27"/>
                    </a:cubicBezTo>
                    <a:cubicBezTo>
                      <a:pt x="232" y="26"/>
                      <a:pt x="225" y="25"/>
                      <a:pt x="225" y="25"/>
                    </a:cubicBezTo>
                    <a:cubicBezTo>
                      <a:pt x="223" y="18"/>
                      <a:pt x="223" y="18"/>
                      <a:pt x="223" y="18"/>
                    </a:cubicBezTo>
                    <a:cubicBezTo>
                      <a:pt x="223" y="18"/>
                      <a:pt x="215" y="20"/>
                      <a:pt x="212" y="20"/>
                    </a:cubicBezTo>
                    <a:cubicBezTo>
                      <a:pt x="209" y="21"/>
                      <a:pt x="201" y="18"/>
                      <a:pt x="201" y="18"/>
                    </a:cubicBezTo>
                    <a:cubicBezTo>
                      <a:pt x="190" y="26"/>
                      <a:pt x="190" y="26"/>
                      <a:pt x="190" y="26"/>
                    </a:cubicBezTo>
                    <a:cubicBezTo>
                      <a:pt x="186" y="23"/>
                      <a:pt x="186" y="23"/>
                      <a:pt x="186" y="23"/>
                    </a:cubicBezTo>
                    <a:cubicBezTo>
                      <a:pt x="177" y="23"/>
                      <a:pt x="177" y="23"/>
                      <a:pt x="177" y="23"/>
                    </a:cubicBezTo>
                    <a:cubicBezTo>
                      <a:pt x="175" y="23"/>
                      <a:pt x="176" y="18"/>
                      <a:pt x="174" y="16"/>
                    </a:cubicBezTo>
                    <a:cubicBezTo>
                      <a:pt x="172" y="15"/>
                      <a:pt x="167" y="13"/>
                      <a:pt x="167" y="13"/>
                    </a:cubicBezTo>
                    <a:cubicBezTo>
                      <a:pt x="167" y="9"/>
                      <a:pt x="167" y="9"/>
                      <a:pt x="167" y="9"/>
                    </a:cubicBezTo>
                    <a:cubicBezTo>
                      <a:pt x="167" y="9"/>
                      <a:pt x="163" y="11"/>
                      <a:pt x="161" y="11"/>
                    </a:cubicBezTo>
                    <a:cubicBezTo>
                      <a:pt x="159" y="11"/>
                      <a:pt x="157" y="6"/>
                      <a:pt x="157" y="6"/>
                    </a:cubicBezTo>
                    <a:cubicBezTo>
                      <a:pt x="153" y="9"/>
                      <a:pt x="153" y="9"/>
                      <a:pt x="153" y="9"/>
                    </a:cubicBezTo>
                    <a:cubicBezTo>
                      <a:pt x="150" y="4"/>
                      <a:pt x="150" y="4"/>
                      <a:pt x="150" y="4"/>
                    </a:cubicBezTo>
                    <a:cubicBezTo>
                      <a:pt x="146" y="4"/>
                      <a:pt x="146" y="4"/>
                      <a:pt x="146" y="4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9" y="5"/>
                      <a:pt x="139" y="5"/>
                      <a:pt x="139" y="5"/>
                    </a:cubicBezTo>
                    <a:cubicBezTo>
                      <a:pt x="135" y="0"/>
                      <a:pt x="135" y="0"/>
                      <a:pt x="135" y="0"/>
                    </a:cubicBezTo>
                    <a:cubicBezTo>
                      <a:pt x="132" y="0"/>
                      <a:pt x="132" y="0"/>
                      <a:pt x="132" y="0"/>
                    </a:cubicBezTo>
                    <a:cubicBezTo>
                      <a:pt x="127" y="9"/>
                      <a:pt x="127" y="9"/>
                      <a:pt x="127" y="9"/>
                    </a:cubicBezTo>
                    <a:cubicBezTo>
                      <a:pt x="121" y="7"/>
                      <a:pt x="121" y="7"/>
                      <a:pt x="121" y="7"/>
                    </a:cubicBezTo>
                    <a:cubicBezTo>
                      <a:pt x="118" y="14"/>
                      <a:pt x="118" y="14"/>
                      <a:pt x="118" y="14"/>
                    </a:cubicBezTo>
                    <a:cubicBezTo>
                      <a:pt x="115" y="11"/>
                      <a:pt x="115" y="11"/>
                      <a:pt x="115" y="11"/>
                    </a:cubicBezTo>
                    <a:cubicBezTo>
                      <a:pt x="112" y="14"/>
                      <a:pt x="112" y="14"/>
                      <a:pt x="112" y="14"/>
                    </a:cubicBezTo>
                    <a:cubicBezTo>
                      <a:pt x="111" y="18"/>
                      <a:pt x="111" y="18"/>
                      <a:pt x="111" y="18"/>
                    </a:cubicBezTo>
                    <a:cubicBezTo>
                      <a:pt x="109" y="18"/>
                      <a:pt x="109" y="18"/>
                      <a:pt x="109" y="18"/>
                    </a:cubicBezTo>
                    <a:cubicBezTo>
                      <a:pt x="109" y="23"/>
                      <a:pt x="109" y="23"/>
                      <a:pt x="109" y="23"/>
                    </a:cubicBezTo>
                    <a:cubicBezTo>
                      <a:pt x="114" y="44"/>
                      <a:pt x="114" y="44"/>
                      <a:pt x="114" y="44"/>
                    </a:cubicBezTo>
                    <a:cubicBezTo>
                      <a:pt x="114" y="44"/>
                      <a:pt x="117" y="54"/>
                      <a:pt x="117" y="60"/>
                    </a:cubicBezTo>
                    <a:cubicBezTo>
                      <a:pt x="116" y="64"/>
                      <a:pt x="110" y="67"/>
                      <a:pt x="108" y="68"/>
                    </a:cubicBezTo>
                    <a:cubicBezTo>
                      <a:pt x="106" y="69"/>
                      <a:pt x="103" y="76"/>
                      <a:pt x="95" y="79"/>
                    </a:cubicBezTo>
                    <a:cubicBezTo>
                      <a:pt x="87" y="83"/>
                      <a:pt x="86" y="75"/>
                      <a:pt x="86" y="75"/>
                    </a:cubicBezTo>
                    <a:cubicBezTo>
                      <a:pt x="78" y="75"/>
                      <a:pt x="78" y="75"/>
                      <a:pt x="78" y="75"/>
                    </a:cubicBezTo>
                    <a:cubicBezTo>
                      <a:pt x="76" y="75"/>
                      <a:pt x="76" y="68"/>
                      <a:pt x="76" y="66"/>
                    </a:cubicBezTo>
                    <a:cubicBezTo>
                      <a:pt x="75" y="65"/>
                      <a:pt x="73" y="62"/>
                      <a:pt x="73" y="62"/>
                    </a:cubicBezTo>
                    <a:cubicBezTo>
                      <a:pt x="73" y="59"/>
                      <a:pt x="73" y="59"/>
                      <a:pt x="73" y="59"/>
                    </a:cubicBezTo>
                    <a:cubicBezTo>
                      <a:pt x="65" y="56"/>
                      <a:pt x="65" y="56"/>
                      <a:pt x="65" y="56"/>
                    </a:cubicBezTo>
                    <a:cubicBezTo>
                      <a:pt x="65" y="56"/>
                      <a:pt x="64" y="51"/>
                      <a:pt x="61" y="50"/>
                    </a:cubicBezTo>
                    <a:cubicBezTo>
                      <a:pt x="58" y="49"/>
                      <a:pt x="51" y="46"/>
                      <a:pt x="51" y="46"/>
                    </a:cubicBezTo>
                    <a:cubicBezTo>
                      <a:pt x="48" y="36"/>
                      <a:pt x="48" y="36"/>
                      <a:pt x="48" y="36"/>
                    </a:cubicBezTo>
                    <a:cubicBezTo>
                      <a:pt x="18" y="54"/>
                      <a:pt x="18" y="54"/>
                      <a:pt x="18" y="54"/>
                    </a:cubicBezTo>
                    <a:cubicBezTo>
                      <a:pt x="11" y="75"/>
                      <a:pt x="11" y="75"/>
                      <a:pt x="11" y="75"/>
                    </a:cubicBezTo>
                    <a:cubicBezTo>
                      <a:pt x="12" y="88"/>
                      <a:pt x="12" y="88"/>
                      <a:pt x="12" y="88"/>
                    </a:cubicBezTo>
                    <a:cubicBezTo>
                      <a:pt x="0" y="105"/>
                      <a:pt x="0" y="105"/>
                      <a:pt x="0" y="105"/>
                    </a:cubicBezTo>
                    <a:cubicBezTo>
                      <a:pt x="2" y="116"/>
                      <a:pt x="2" y="116"/>
                      <a:pt x="2" y="116"/>
                    </a:cubicBezTo>
                    <a:cubicBezTo>
                      <a:pt x="1" y="127"/>
                      <a:pt x="1" y="127"/>
                      <a:pt x="1" y="127"/>
                    </a:cubicBezTo>
                    <a:cubicBezTo>
                      <a:pt x="2" y="127"/>
                      <a:pt x="2" y="127"/>
                      <a:pt x="2" y="127"/>
                    </a:cubicBezTo>
                    <a:cubicBezTo>
                      <a:pt x="2" y="123"/>
                      <a:pt x="2" y="123"/>
                      <a:pt x="2" y="123"/>
                    </a:cubicBezTo>
                    <a:cubicBezTo>
                      <a:pt x="4" y="123"/>
                      <a:pt x="4" y="123"/>
                      <a:pt x="4" y="123"/>
                    </a:cubicBezTo>
                    <a:cubicBezTo>
                      <a:pt x="4" y="131"/>
                      <a:pt x="4" y="131"/>
                      <a:pt x="4" y="13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1" y="129"/>
                      <a:pt x="1" y="129"/>
                      <a:pt x="1" y="129"/>
                    </a:cubicBezTo>
                    <a:cubicBezTo>
                      <a:pt x="0" y="135"/>
                      <a:pt x="0" y="135"/>
                      <a:pt x="0" y="135"/>
                    </a:cubicBezTo>
                    <a:cubicBezTo>
                      <a:pt x="2" y="145"/>
                      <a:pt x="2" y="145"/>
                      <a:pt x="2" y="145"/>
                    </a:cubicBezTo>
                    <a:cubicBezTo>
                      <a:pt x="5" y="151"/>
                      <a:pt x="5" y="151"/>
                      <a:pt x="5" y="151"/>
                    </a:cubicBezTo>
                    <a:cubicBezTo>
                      <a:pt x="9" y="147"/>
                      <a:pt x="9" y="147"/>
                      <a:pt x="9" y="147"/>
                    </a:cubicBezTo>
                    <a:cubicBezTo>
                      <a:pt x="10" y="149"/>
                      <a:pt x="10" y="149"/>
                      <a:pt x="10" y="149"/>
                    </a:cubicBezTo>
                    <a:cubicBezTo>
                      <a:pt x="12" y="147"/>
                      <a:pt x="12" y="147"/>
                      <a:pt x="12" y="147"/>
                    </a:cubicBezTo>
                    <a:cubicBezTo>
                      <a:pt x="12" y="147"/>
                      <a:pt x="17" y="138"/>
                      <a:pt x="21" y="133"/>
                    </a:cubicBezTo>
                    <a:cubicBezTo>
                      <a:pt x="25" y="129"/>
                      <a:pt x="28" y="131"/>
                      <a:pt x="28" y="131"/>
                    </a:cubicBezTo>
                    <a:cubicBezTo>
                      <a:pt x="33" y="127"/>
                      <a:pt x="33" y="127"/>
                      <a:pt x="33" y="127"/>
                    </a:cubicBezTo>
                    <a:cubicBezTo>
                      <a:pt x="36" y="128"/>
                      <a:pt x="36" y="128"/>
                      <a:pt x="36" y="128"/>
                    </a:cubicBezTo>
                    <a:cubicBezTo>
                      <a:pt x="41" y="123"/>
                      <a:pt x="41" y="123"/>
                      <a:pt x="41" y="123"/>
                    </a:cubicBezTo>
                    <a:cubicBezTo>
                      <a:pt x="59" y="122"/>
                      <a:pt x="59" y="122"/>
                      <a:pt x="59" y="122"/>
                    </a:cubicBezTo>
                    <a:cubicBezTo>
                      <a:pt x="63" y="125"/>
                      <a:pt x="63" y="125"/>
                      <a:pt x="63" y="125"/>
                    </a:cubicBezTo>
                    <a:cubicBezTo>
                      <a:pt x="71" y="120"/>
                      <a:pt x="71" y="120"/>
                      <a:pt x="71" y="120"/>
                    </a:cubicBezTo>
                    <a:cubicBezTo>
                      <a:pt x="75" y="119"/>
                      <a:pt x="75" y="119"/>
                      <a:pt x="75" y="119"/>
                    </a:cubicBezTo>
                    <a:cubicBezTo>
                      <a:pt x="76" y="125"/>
                      <a:pt x="76" y="125"/>
                      <a:pt x="76" y="125"/>
                    </a:cubicBezTo>
                    <a:cubicBezTo>
                      <a:pt x="80" y="125"/>
                      <a:pt x="80" y="125"/>
                      <a:pt x="80" y="125"/>
                    </a:cubicBezTo>
                    <a:cubicBezTo>
                      <a:pt x="82" y="120"/>
                      <a:pt x="82" y="120"/>
                      <a:pt x="82" y="120"/>
                    </a:cubicBezTo>
                    <a:cubicBezTo>
                      <a:pt x="88" y="119"/>
                      <a:pt x="88" y="119"/>
                      <a:pt x="88" y="119"/>
                    </a:cubicBezTo>
                    <a:cubicBezTo>
                      <a:pt x="95" y="122"/>
                      <a:pt x="95" y="122"/>
                      <a:pt x="95" y="122"/>
                    </a:cubicBezTo>
                    <a:cubicBezTo>
                      <a:pt x="99" y="117"/>
                      <a:pt x="99" y="117"/>
                      <a:pt x="99" y="117"/>
                    </a:cubicBezTo>
                    <a:cubicBezTo>
                      <a:pt x="112" y="117"/>
                      <a:pt x="112" y="117"/>
                      <a:pt x="112" y="117"/>
                    </a:cubicBezTo>
                    <a:cubicBezTo>
                      <a:pt x="118" y="122"/>
                      <a:pt x="118" y="122"/>
                      <a:pt x="118" y="122"/>
                    </a:cubicBezTo>
                    <a:cubicBezTo>
                      <a:pt x="125" y="119"/>
                      <a:pt x="125" y="119"/>
                      <a:pt x="125" y="119"/>
                    </a:cubicBezTo>
                    <a:cubicBezTo>
                      <a:pt x="129" y="120"/>
                      <a:pt x="129" y="120"/>
                      <a:pt x="129" y="120"/>
                    </a:cubicBezTo>
                    <a:cubicBezTo>
                      <a:pt x="132" y="119"/>
                      <a:pt x="132" y="119"/>
                      <a:pt x="132" y="119"/>
                    </a:cubicBezTo>
                    <a:cubicBezTo>
                      <a:pt x="135" y="112"/>
                      <a:pt x="135" y="112"/>
                      <a:pt x="135" y="112"/>
                    </a:cubicBezTo>
                    <a:cubicBezTo>
                      <a:pt x="142" y="107"/>
                      <a:pt x="142" y="107"/>
                      <a:pt x="142" y="107"/>
                    </a:cubicBezTo>
                    <a:cubicBezTo>
                      <a:pt x="147" y="109"/>
                      <a:pt x="147" y="109"/>
                      <a:pt x="147" y="109"/>
                    </a:cubicBezTo>
                    <a:cubicBezTo>
                      <a:pt x="153" y="121"/>
                      <a:pt x="153" y="121"/>
                      <a:pt x="153" y="121"/>
                    </a:cubicBezTo>
                    <a:cubicBezTo>
                      <a:pt x="174" y="119"/>
                      <a:pt x="174" y="119"/>
                      <a:pt x="174" y="119"/>
                    </a:cubicBezTo>
                    <a:cubicBezTo>
                      <a:pt x="174" y="122"/>
                      <a:pt x="174" y="122"/>
                      <a:pt x="174" y="122"/>
                    </a:cubicBezTo>
                    <a:cubicBezTo>
                      <a:pt x="174" y="122"/>
                      <a:pt x="188" y="123"/>
                      <a:pt x="191" y="126"/>
                    </a:cubicBezTo>
                    <a:cubicBezTo>
                      <a:pt x="193" y="129"/>
                      <a:pt x="196" y="136"/>
                      <a:pt x="196" y="136"/>
                    </a:cubicBezTo>
                    <a:cubicBezTo>
                      <a:pt x="201" y="136"/>
                      <a:pt x="201" y="136"/>
                      <a:pt x="201" y="136"/>
                    </a:cubicBezTo>
                    <a:cubicBezTo>
                      <a:pt x="202" y="140"/>
                      <a:pt x="202" y="140"/>
                      <a:pt x="202" y="140"/>
                    </a:cubicBezTo>
                    <a:cubicBezTo>
                      <a:pt x="215" y="143"/>
                      <a:pt x="215" y="143"/>
                      <a:pt x="215" y="143"/>
                    </a:cubicBezTo>
                    <a:cubicBezTo>
                      <a:pt x="219" y="140"/>
                      <a:pt x="219" y="140"/>
                      <a:pt x="219" y="140"/>
                    </a:cubicBezTo>
                    <a:cubicBezTo>
                      <a:pt x="219" y="140"/>
                      <a:pt x="223" y="141"/>
                      <a:pt x="225" y="138"/>
                    </a:cubicBezTo>
                    <a:cubicBezTo>
                      <a:pt x="228" y="136"/>
                      <a:pt x="228" y="129"/>
                      <a:pt x="228" y="129"/>
                    </a:cubicBezTo>
                    <a:cubicBezTo>
                      <a:pt x="232" y="127"/>
                      <a:pt x="232" y="127"/>
                      <a:pt x="232" y="127"/>
                    </a:cubicBezTo>
                    <a:cubicBezTo>
                      <a:pt x="232" y="127"/>
                      <a:pt x="237" y="130"/>
                      <a:pt x="239" y="130"/>
                    </a:cubicBezTo>
                    <a:cubicBezTo>
                      <a:pt x="241" y="130"/>
                      <a:pt x="244" y="129"/>
                      <a:pt x="244" y="129"/>
                    </a:cubicBezTo>
                    <a:cubicBezTo>
                      <a:pt x="244" y="129"/>
                      <a:pt x="248" y="130"/>
                      <a:pt x="251" y="128"/>
                    </a:cubicBezTo>
                    <a:cubicBezTo>
                      <a:pt x="254" y="125"/>
                      <a:pt x="251" y="119"/>
                      <a:pt x="251" y="119"/>
                    </a:cubicBezTo>
                    <a:cubicBezTo>
                      <a:pt x="260" y="105"/>
                      <a:pt x="260" y="105"/>
                      <a:pt x="260" y="105"/>
                    </a:cubicBezTo>
                    <a:cubicBezTo>
                      <a:pt x="260" y="105"/>
                      <a:pt x="262" y="105"/>
                      <a:pt x="265" y="101"/>
                    </a:cubicBezTo>
                    <a:cubicBezTo>
                      <a:pt x="267" y="97"/>
                      <a:pt x="266" y="90"/>
                      <a:pt x="266" y="90"/>
                    </a:cubicBez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63" name="Kosovo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858622" y="5005434"/>
                <a:ext cx="199550" cy="204741"/>
              </a:xfrm>
              <a:custGeom>
                <a:avLst/>
                <a:gdLst/>
                <a:ahLst/>
                <a:cxnLst>
                  <a:cxn ang="0">
                    <a:pos x="63" y="40"/>
                  </a:cxn>
                  <a:cxn ang="0">
                    <a:pos x="65" y="36"/>
                  </a:cxn>
                  <a:cxn ang="0">
                    <a:pos x="68" y="29"/>
                  </a:cxn>
                  <a:cxn ang="0">
                    <a:pos x="66" y="24"/>
                  </a:cxn>
                  <a:cxn ang="0">
                    <a:pos x="61" y="22"/>
                  </a:cxn>
                  <a:cxn ang="0">
                    <a:pos x="59" y="21"/>
                  </a:cxn>
                  <a:cxn ang="0">
                    <a:pos x="54" y="19"/>
                  </a:cxn>
                  <a:cxn ang="0">
                    <a:pos x="51" y="16"/>
                  </a:cxn>
                  <a:cxn ang="0">
                    <a:pos x="47" y="15"/>
                  </a:cxn>
                  <a:cxn ang="0">
                    <a:pos x="44" y="11"/>
                  </a:cxn>
                  <a:cxn ang="0">
                    <a:pos x="39" y="9"/>
                  </a:cxn>
                  <a:cxn ang="0">
                    <a:pos x="37" y="8"/>
                  </a:cxn>
                  <a:cxn ang="0">
                    <a:pos x="34" y="7"/>
                  </a:cxn>
                  <a:cxn ang="0">
                    <a:pos x="32" y="6"/>
                  </a:cxn>
                  <a:cxn ang="0">
                    <a:pos x="33" y="2"/>
                  </a:cxn>
                  <a:cxn ang="0">
                    <a:pos x="31" y="1"/>
                  </a:cxn>
                  <a:cxn ang="0">
                    <a:pos x="27" y="4"/>
                  </a:cxn>
                  <a:cxn ang="0">
                    <a:pos x="24" y="9"/>
                  </a:cxn>
                  <a:cxn ang="0">
                    <a:pos x="25" y="15"/>
                  </a:cxn>
                  <a:cxn ang="0">
                    <a:pos x="22" y="20"/>
                  </a:cxn>
                  <a:cxn ang="0">
                    <a:pos x="18" y="24"/>
                  </a:cxn>
                  <a:cxn ang="0">
                    <a:pos x="10" y="24"/>
                  </a:cxn>
                  <a:cxn ang="0">
                    <a:pos x="6" y="25"/>
                  </a:cxn>
                  <a:cxn ang="0">
                    <a:pos x="0" y="27"/>
                  </a:cxn>
                  <a:cxn ang="0">
                    <a:pos x="5" y="37"/>
                  </a:cxn>
                  <a:cxn ang="0">
                    <a:pos x="12" y="38"/>
                  </a:cxn>
                  <a:cxn ang="0">
                    <a:pos x="26" y="48"/>
                  </a:cxn>
                  <a:cxn ang="0">
                    <a:pos x="29" y="69"/>
                  </a:cxn>
                  <a:cxn ang="0">
                    <a:pos x="35" y="55"/>
                  </a:cxn>
                  <a:cxn ang="0">
                    <a:pos x="46" y="47"/>
                  </a:cxn>
                  <a:cxn ang="0">
                    <a:pos x="58" y="43"/>
                  </a:cxn>
                  <a:cxn ang="0">
                    <a:pos x="63" y="42"/>
                  </a:cxn>
                </a:cxnLst>
                <a:rect l="0" t="0" r="r" b="b"/>
                <a:pathLst>
                  <a:path w="68" h="69">
                    <a:moveTo>
                      <a:pt x="63" y="42"/>
                    </a:moveTo>
                    <a:cubicBezTo>
                      <a:pt x="63" y="41"/>
                      <a:pt x="63" y="40"/>
                      <a:pt x="63" y="40"/>
                    </a:cubicBezTo>
                    <a:cubicBezTo>
                      <a:pt x="63" y="40"/>
                      <a:pt x="64" y="39"/>
                      <a:pt x="64" y="38"/>
                    </a:cubicBezTo>
                    <a:cubicBezTo>
                      <a:pt x="64" y="38"/>
                      <a:pt x="65" y="36"/>
                      <a:pt x="65" y="36"/>
                    </a:cubicBezTo>
                    <a:cubicBezTo>
                      <a:pt x="67" y="32"/>
                      <a:pt x="67" y="32"/>
                      <a:pt x="67" y="32"/>
                    </a:cubicBezTo>
                    <a:cubicBezTo>
                      <a:pt x="67" y="32"/>
                      <a:pt x="68" y="30"/>
                      <a:pt x="68" y="29"/>
                    </a:cubicBezTo>
                    <a:cubicBezTo>
                      <a:pt x="68" y="29"/>
                      <a:pt x="67" y="27"/>
                      <a:pt x="67" y="27"/>
                    </a:cubicBezTo>
                    <a:cubicBezTo>
                      <a:pt x="67" y="27"/>
                      <a:pt x="66" y="24"/>
                      <a:pt x="66" y="24"/>
                    </a:cubicBezTo>
                    <a:cubicBezTo>
                      <a:pt x="65" y="23"/>
                      <a:pt x="63" y="23"/>
                      <a:pt x="63" y="23"/>
                    </a:cubicBezTo>
                    <a:cubicBezTo>
                      <a:pt x="61" y="22"/>
                      <a:pt x="61" y="22"/>
                      <a:pt x="61" y="22"/>
                    </a:cubicBezTo>
                    <a:cubicBezTo>
                      <a:pt x="60" y="21"/>
                      <a:pt x="60" y="21"/>
                      <a:pt x="60" y="21"/>
                    </a:cubicBezTo>
                    <a:cubicBezTo>
                      <a:pt x="59" y="21"/>
                      <a:pt x="59" y="21"/>
                      <a:pt x="59" y="21"/>
                    </a:cubicBezTo>
                    <a:cubicBezTo>
                      <a:pt x="56" y="20"/>
                      <a:pt x="56" y="20"/>
                      <a:pt x="56" y="20"/>
                    </a:cubicBezTo>
                    <a:cubicBezTo>
                      <a:pt x="54" y="19"/>
                      <a:pt x="54" y="19"/>
                      <a:pt x="54" y="19"/>
                    </a:cubicBezTo>
                    <a:cubicBezTo>
                      <a:pt x="52" y="18"/>
                      <a:pt x="52" y="18"/>
                      <a:pt x="52" y="18"/>
                    </a:cubicBezTo>
                    <a:cubicBezTo>
                      <a:pt x="52" y="18"/>
                      <a:pt x="51" y="16"/>
                      <a:pt x="51" y="16"/>
                    </a:cubicBezTo>
                    <a:cubicBezTo>
                      <a:pt x="51" y="16"/>
                      <a:pt x="50" y="16"/>
                      <a:pt x="49" y="16"/>
                    </a:cubicBezTo>
                    <a:cubicBezTo>
                      <a:pt x="48" y="16"/>
                      <a:pt x="47" y="15"/>
                      <a:pt x="47" y="15"/>
                    </a:cubicBezTo>
                    <a:cubicBezTo>
                      <a:pt x="47" y="15"/>
                      <a:pt x="47" y="12"/>
                      <a:pt x="47" y="12"/>
                    </a:cubicBezTo>
                    <a:cubicBezTo>
                      <a:pt x="46" y="11"/>
                      <a:pt x="44" y="11"/>
                      <a:pt x="44" y="11"/>
                    </a:cubicBezTo>
                    <a:cubicBezTo>
                      <a:pt x="44" y="11"/>
                      <a:pt x="44" y="9"/>
                      <a:pt x="43" y="9"/>
                    </a:cubicBezTo>
                    <a:cubicBezTo>
                      <a:pt x="42" y="9"/>
                      <a:pt x="40" y="10"/>
                      <a:pt x="39" y="9"/>
                    </a:cubicBezTo>
                    <a:cubicBezTo>
                      <a:pt x="39" y="9"/>
                      <a:pt x="39" y="9"/>
                      <a:pt x="39" y="9"/>
                    </a:cubicBezTo>
                    <a:cubicBezTo>
                      <a:pt x="38" y="8"/>
                      <a:pt x="38" y="8"/>
                      <a:pt x="37" y="8"/>
                    </a:cubicBezTo>
                    <a:cubicBezTo>
                      <a:pt x="37" y="8"/>
                      <a:pt x="37" y="7"/>
                      <a:pt x="37" y="7"/>
                    </a:cubicBezTo>
                    <a:cubicBezTo>
                      <a:pt x="34" y="7"/>
                      <a:pt x="34" y="7"/>
                      <a:pt x="34" y="7"/>
                    </a:cubicBezTo>
                    <a:cubicBezTo>
                      <a:pt x="33" y="7"/>
                      <a:pt x="33" y="7"/>
                      <a:pt x="33" y="7"/>
                    </a:cubicBezTo>
                    <a:cubicBezTo>
                      <a:pt x="33" y="7"/>
                      <a:pt x="32" y="6"/>
                      <a:pt x="32" y="6"/>
                    </a:cubicBezTo>
                    <a:cubicBezTo>
                      <a:pt x="32" y="6"/>
                      <a:pt x="33" y="5"/>
                      <a:pt x="34" y="4"/>
                    </a:cubicBezTo>
                    <a:cubicBezTo>
                      <a:pt x="34" y="3"/>
                      <a:pt x="33" y="2"/>
                      <a:pt x="33" y="2"/>
                    </a:cubicBezTo>
                    <a:cubicBezTo>
                      <a:pt x="33" y="2"/>
                      <a:pt x="33" y="0"/>
                      <a:pt x="32" y="0"/>
                    </a:cubicBezTo>
                    <a:cubicBezTo>
                      <a:pt x="31" y="0"/>
                      <a:pt x="31" y="2"/>
                      <a:pt x="31" y="1"/>
                    </a:cubicBezTo>
                    <a:cubicBezTo>
                      <a:pt x="31" y="1"/>
                      <a:pt x="30" y="4"/>
                      <a:pt x="30" y="4"/>
                    </a:cubicBezTo>
                    <a:cubicBezTo>
                      <a:pt x="29" y="4"/>
                      <a:pt x="28" y="3"/>
                      <a:pt x="27" y="4"/>
                    </a:cubicBezTo>
                    <a:cubicBezTo>
                      <a:pt x="26" y="4"/>
                      <a:pt x="25" y="5"/>
                      <a:pt x="25" y="5"/>
                    </a:cubicBezTo>
                    <a:cubicBezTo>
                      <a:pt x="25" y="5"/>
                      <a:pt x="24" y="8"/>
                      <a:pt x="24" y="9"/>
                    </a:cubicBezTo>
                    <a:cubicBezTo>
                      <a:pt x="25" y="9"/>
                      <a:pt x="25" y="10"/>
                      <a:pt x="26" y="11"/>
                    </a:cubicBezTo>
                    <a:cubicBezTo>
                      <a:pt x="26" y="11"/>
                      <a:pt x="25" y="15"/>
                      <a:pt x="25" y="15"/>
                    </a:cubicBezTo>
                    <a:cubicBezTo>
                      <a:pt x="25" y="15"/>
                      <a:pt x="23" y="17"/>
                      <a:pt x="22" y="18"/>
                    </a:cubicBezTo>
                    <a:cubicBezTo>
                      <a:pt x="21" y="19"/>
                      <a:pt x="22" y="20"/>
                      <a:pt x="22" y="20"/>
                    </a:cubicBezTo>
                    <a:cubicBezTo>
                      <a:pt x="21" y="21"/>
                      <a:pt x="21" y="22"/>
                      <a:pt x="20" y="23"/>
                    </a:cubicBezTo>
                    <a:cubicBezTo>
                      <a:pt x="20" y="23"/>
                      <a:pt x="18" y="24"/>
                      <a:pt x="18" y="24"/>
                    </a:cubicBezTo>
                    <a:cubicBezTo>
                      <a:pt x="14" y="24"/>
                      <a:pt x="14" y="24"/>
                      <a:pt x="14" y="24"/>
                    </a:cubicBezTo>
                    <a:cubicBezTo>
                      <a:pt x="10" y="24"/>
                      <a:pt x="10" y="24"/>
                      <a:pt x="10" y="24"/>
                    </a:cubicBezTo>
                    <a:cubicBezTo>
                      <a:pt x="9" y="26"/>
                      <a:pt x="9" y="26"/>
                      <a:pt x="9" y="26"/>
                    </a:cubicBezTo>
                    <a:cubicBezTo>
                      <a:pt x="6" y="25"/>
                      <a:pt x="6" y="25"/>
                      <a:pt x="6" y="25"/>
                    </a:cubicBezTo>
                    <a:cubicBezTo>
                      <a:pt x="3" y="25"/>
                      <a:pt x="3" y="25"/>
                      <a:pt x="3" y="25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4" y="35"/>
                      <a:pt x="4" y="35"/>
                      <a:pt x="4" y="35"/>
                    </a:cubicBezTo>
                    <a:cubicBezTo>
                      <a:pt x="5" y="37"/>
                      <a:pt x="5" y="37"/>
                      <a:pt x="5" y="37"/>
                    </a:cubicBezTo>
                    <a:cubicBezTo>
                      <a:pt x="9" y="35"/>
                      <a:pt x="9" y="35"/>
                      <a:pt x="9" y="35"/>
                    </a:cubicBezTo>
                    <a:cubicBezTo>
                      <a:pt x="9" y="35"/>
                      <a:pt x="11" y="36"/>
                      <a:pt x="12" y="38"/>
                    </a:cubicBezTo>
                    <a:cubicBezTo>
                      <a:pt x="14" y="40"/>
                      <a:pt x="15" y="45"/>
                      <a:pt x="15" y="45"/>
                    </a:cubicBezTo>
                    <a:cubicBezTo>
                      <a:pt x="15" y="45"/>
                      <a:pt x="23" y="46"/>
                      <a:pt x="26" y="48"/>
                    </a:cubicBezTo>
                    <a:cubicBezTo>
                      <a:pt x="28" y="52"/>
                      <a:pt x="31" y="59"/>
                      <a:pt x="31" y="59"/>
                    </a:cubicBezTo>
                    <a:cubicBezTo>
                      <a:pt x="29" y="69"/>
                      <a:pt x="29" y="69"/>
                      <a:pt x="29" y="69"/>
                    </a:cubicBezTo>
                    <a:cubicBezTo>
                      <a:pt x="36" y="65"/>
                      <a:pt x="36" y="65"/>
                      <a:pt x="36" y="65"/>
                    </a:cubicBezTo>
                    <a:cubicBezTo>
                      <a:pt x="36" y="65"/>
                      <a:pt x="33" y="58"/>
                      <a:pt x="35" y="55"/>
                    </a:cubicBezTo>
                    <a:cubicBezTo>
                      <a:pt x="37" y="51"/>
                      <a:pt x="42" y="51"/>
                      <a:pt x="42" y="51"/>
                    </a:cubicBezTo>
                    <a:cubicBezTo>
                      <a:pt x="46" y="47"/>
                      <a:pt x="46" y="47"/>
                      <a:pt x="46" y="47"/>
                    </a:cubicBezTo>
                    <a:cubicBezTo>
                      <a:pt x="52" y="54"/>
                      <a:pt x="52" y="54"/>
                      <a:pt x="52" y="54"/>
                    </a:cubicBezTo>
                    <a:cubicBezTo>
                      <a:pt x="58" y="43"/>
                      <a:pt x="58" y="43"/>
                      <a:pt x="58" y="43"/>
                    </a:cubicBezTo>
                    <a:cubicBezTo>
                      <a:pt x="58" y="43"/>
                      <a:pt x="60" y="43"/>
                      <a:pt x="61" y="43"/>
                    </a:cubicBezTo>
                    <a:cubicBezTo>
                      <a:pt x="62" y="42"/>
                      <a:pt x="63" y="42"/>
                      <a:pt x="63" y="4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64" name="Italy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4491038" y="4529138"/>
                <a:ext cx="1255712" cy="1443037"/>
              </a:xfrm>
              <a:custGeom>
                <a:avLst/>
                <a:gdLst/>
                <a:ahLst/>
                <a:cxnLst>
                  <a:cxn ang="0">
                    <a:pos x="173" y="282"/>
                  </a:cxn>
                  <a:cxn ang="0">
                    <a:pos x="150" y="269"/>
                  </a:cxn>
                  <a:cxn ang="0">
                    <a:pos x="126" y="392"/>
                  </a:cxn>
                  <a:cxn ang="0">
                    <a:pos x="63" y="407"/>
                  </a:cxn>
                  <a:cxn ang="0">
                    <a:pos x="70" y="460"/>
                  </a:cxn>
                  <a:cxn ang="0">
                    <a:pos x="73" y="519"/>
                  </a:cxn>
                  <a:cxn ang="0">
                    <a:pos x="104" y="525"/>
                  </a:cxn>
                  <a:cxn ang="0">
                    <a:pos x="140" y="458"/>
                  </a:cxn>
                  <a:cxn ang="0">
                    <a:pos x="70" y="394"/>
                  </a:cxn>
                  <a:cxn ang="0">
                    <a:pos x="271" y="599"/>
                  </a:cxn>
                  <a:cxn ang="0">
                    <a:pos x="263" y="595"/>
                  </a:cxn>
                  <a:cxn ang="0">
                    <a:pos x="549" y="402"/>
                  </a:cxn>
                  <a:cxn ang="0">
                    <a:pos x="489" y="378"/>
                  </a:cxn>
                  <a:cxn ang="0">
                    <a:pos x="432" y="333"/>
                  </a:cxn>
                  <a:cxn ang="0">
                    <a:pos x="363" y="300"/>
                  </a:cxn>
                  <a:cxn ang="0">
                    <a:pos x="327" y="230"/>
                  </a:cxn>
                  <a:cxn ang="0">
                    <a:pos x="278" y="141"/>
                  </a:cxn>
                  <a:cxn ang="0">
                    <a:pos x="286" y="106"/>
                  </a:cxn>
                  <a:cxn ang="0">
                    <a:pos x="329" y="91"/>
                  </a:cxn>
                  <a:cxn ang="0">
                    <a:pos x="319" y="59"/>
                  </a:cxn>
                  <a:cxn ang="0">
                    <a:pos x="290" y="34"/>
                  </a:cxn>
                  <a:cxn ang="0">
                    <a:pos x="262" y="2"/>
                  </a:cxn>
                  <a:cxn ang="0">
                    <a:pos x="206" y="26"/>
                  </a:cxn>
                  <a:cxn ang="0">
                    <a:pos x="172" y="38"/>
                  </a:cxn>
                  <a:cxn ang="0">
                    <a:pos x="163" y="60"/>
                  </a:cxn>
                  <a:cxn ang="0">
                    <a:pos x="128" y="41"/>
                  </a:cxn>
                  <a:cxn ang="0">
                    <a:pos x="115" y="79"/>
                  </a:cxn>
                  <a:cxn ang="0">
                    <a:pos x="93" y="60"/>
                  </a:cxn>
                  <a:cxn ang="0">
                    <a:pos x="72" y="54"/>
                  </a:cxn>
                  <a:cxn ang="0">
                    <a:pos x="33" y="75"/>
                  </a:cxn>
                  <a:cxn ang="0">
                    <a:pos x="10" y="126"/>
                  </a:cxn>
                  <a:cxn ang="0">
                    <a:pos x="14" y="178"/>
                  </a:cxn>
                  <a:cxn ang="0">
                    <a:pos x="76" y="195"/>
                  </a:cxn>
                  <a:cxn ang="0">
                    <a:pos x="168" y="211"/>
                  </a:cxn>
                  <a:cxn ang="0">
                    <a:pos x="201" y="286"/>
                  </a:cxn>
                  <a:cxn ang="0">
                    <a:pos x="246" y="333"/>
                  </a:cxn>
                  <a:cxn ang="0">
                    <a:pos x="303" y="375"/>
                  </a:cxn>
                  <a:cxn ang="0">
                    <a:pos x="359" y="410"/>
                  </a:cxn>
                  <a:cxn ang="0">
                    <a:pos x="375" y="423"/>
                  </a:cxn>
                  <a:cxn ang="0">
                    <a:pos x="404" y="437"/>
                  </a:cxn>
                  <a:cxn ang="0">
                    <a:pos x="449" y="464"/>
                  </a:cxn>
                  <a:cxn ang="0">
                    <a:pos x="457" y="544"/>
                  </a:cxn>
                  <a:cxn ang="0">
                    <a:pos x="475" y="588"/>
                  </a:cxn>
                  <a:cxn ang="0">
                    <a:pos x="522" y="501"/>
                  </a:cxn>
                  <a:cxn ang="0">
                    <a:pos x="492" y="456"/>
                  </a:cxn>
                  <a:cxn ang="0">
                    <a:pos x="523" y="425"/>
                  </a:cxn>
                  <a:cxn ang="0">
                    <a:pos x="589" y="436"/>
                  </a:cxn>
                  <a:cxn ang="0">
                    <a:pos x="280" y="207"/>
                  </a:cxn>
                  <a:cxn ang="0">
                    <a:pos x="421" y="580"/>
                  </a:cxn>
                  <a:cxn ang="0">
                    <a:pos x="384" y="589"/>
                  </a:cxn>
                  <a:cxn ang="0">
                    <a:pos x="327" y="579"/>
                  </a:cxn>
                  <a:cxn ang="0">
                    <a:pos x="294" y="583"/>
                  </a:cxn>
                  <a:cxn ang="0">
                    <a:pos x="295" y="622"/>
                  </a:cxn>
                  <a:cxn ang="0">
                    <a:pos x="384" y="656"/>
                  </a:cxn>
                  <a:cxn ang="0">
                    <a:pos x="427" y="662"/>
                  </a:cxn>
                  <a:cxn ang="0">
                    <a:pos x="427" y="634"/>
                  </a:cxn>
                  <a:cxn ang="0">
                    <a:pos x="446" y="568"/>
                  </a:cxn>
                </a:cxnLst>
                <a:rect l="0" t="0" r="r" b="b"/>
                <a:pathLst>
                  <a:path w="589" h="678">
                    <a:moveTo>
                      <a:pt x="173" y="282"/>
                    </a:moveTo>
                    <a:cubicBezTo>
                      <a:pt x="161" y="283"/>
                      <a:pt x="161" y="283"/>
                      <a:pt x="161" y="283"/>
                    </a:cubicBezTo>
                    <a:cubicBezTo>
                      <a:pt x="162" y="289"/>
                      <a:pt x="162" y="289"/>
                      <a:pt x="162" y="289"/>
                    </a:cubicBezTo>
                    <a:cubicBezTo>
                      <a:pt x="172" y="285"/>
                      <a:pt x="172" y="285"/>
                      <a:pt x="172" y="285"/>
                    </a:cubicBezTo>
                    <a:cubicBezTo>
                      <a:pt x="178" y="288"/>
                      <a:pt x="178" y="288"/>
                      <a:pt x="178" y="288"/>
                    </a:cubicBezTo>
                    <a:cubicBezTo>
                      <a:pt x="179" y="281"/>
                      <a:pt x="179" y="281"/>
                      <a:pt x="179" y="281"/>
                    </a:cubicBezTo>
                    <a:cubicBezTo>
                      <a:pt x="177" y="279"/>
                      <a:pt x="177" y="279"/>
                      <a:pt x="177" y="279"/>
                    </a:cubicBezTo>
                    <a:lnTo>
                      <a:pt x="173" y="282"/>
                    </a:lnTo>
                    <a:close/>
                    <a:moveTo>
                      <a:pt x="201" y="310"/>
                    </a:moveTo>
                    <a:cubicBezTo>
                      <a:pt x="196" y="311"/>
                      <a:pt x="200" y="315"/>
                      <a:pt x="200" y="315"/>
                    </a:cubicBezTo>
                    <a:cubicBezTo>
                      <a:pt x="203" y="315"/>
                      <a:pt x="205" y="310"/>
                      <a:pt x="201" y="310"/>
                    </a:cubicBezTo>
                    <a:close/>
                    <a:moveTo>
                      <a:pt x="158" y="294"/>
                    </a:moveTo>
                    <a:cubicBezTo>
                      <a:pt x="154" y="297"/>
                      <a:pt x="159" y="300"/>
                      <a:pt x="159" y="300"/>
                    </a:cubicBezTo>
                    <a:cubicBezTo>
                      <a:pt x="164" y="299"/>
                      <a:pt x="163" y="291"/>
                      <a:pt x="158" y="294"/>
                    </a:cubicBezTo>
                    <a:close/>
                    <a:moveTo>
                      <a:pt x="151" y="265"/>
                    </a:moveTo>
                    <a:cubicBezTo>
                      <a:pt x="147" y="265"/>
                      <a:pt x="150" y="269"/>
                      <a:pt x="150" y="269"/>
                    </a:cubicBezTo>
                    <a:cubicBezTo>
                      <a:pt x="154" y="268"/>
                      <a:pt x="154" y="264"/>
                      <a:pt x="151" y="265"/>
                    </a:cubicBezTo>
                    <a:close/>
                    <a:moveTo>
                      <a:pt x="142" y="408"/>
                    </a:moveTo>
                    <a:cubicBezTo>
                      <a:pt x="136" y="402"/>
                      <a:pt x="136" y="402"/>
                      <a:pt x="136" y="402"/>
                    </a:cubicBezTo>
                    <a:cubicBezTo>
                      <a:pt x="138" y="396"/>
                      <a:pt x="138" y="396"/>
                      <a:pt x="138" y="396"/>
                    </a:cubicBezTo>
                    <a:cubicBezTo>
                      <a:pt x="134" y="395"/>
                      <a:pt x="134" y="395"/>
                      <a:pt x="134" y="395"/>
                    </a:cubicBezTo>
                    <a:cubicBezTo>
                      <a:pt x="134" y="392"/>
                      <a:pt x="134" y="392"/>
                      <a:pt x="134" y="392"/>
                    </a:cubicBezTo>
                    <a:cubicBezTo>
                      <a:pt x="132" y="389"/>
                      <a:pt x="132" y="389"/>
                      <a:pt x="132" y="389"/>
                    </a:cubicBezTo>
                    <a:cubicBezTo>
                      <a:pt x="126" y="392"/>
                      <a:pt x="126" y="392"/>
                      <a:pt x="126" y="392"/>
                    </a:cubicBezTo>
                    <a:cubicBezTo>
                      <a:pt x="126" y="392"/>
                      <a:pt x="125" y="389"/>
                      <a:pt x="121" y="386"/>
                    </a:cubicBezTo>
                    <a:cubicBezTo>
                      <a:pt x="118" y="383"/>
                      <a:pt x="113" y="382"/>
                      <a:pt x="113" y="382"/>
                    </a:cubicBezTo>
                    <a:cubicBezTo>
                      <a:pt x="113" y="390"/>
                      <a:pt x="113" y="390"/>
                      <a:pt x="113" y="390"/>
                    </a:cubicBezTo>
                    <a:cubicBezTo>
                      <a:pt x="106" y="389"/>
                      <a:pt x="106" y="389"/>
                      <a:pt x="106" y="389"/>
                    </a:cubicBezTo>
                    <a:cubicBezTo>
                      <a:pt x="106" y="389"/>
                      <a:pt x="91" y="407"/>
                      <a:pt x="80" y="408"/>
                    </a:cubicBezTo>
                    <a:cubicBezTo>
                      <a:pt x="67" y="410"/>
                      <a:pt x="65" y="400"/>
                      <a:pt x="65" y="400"/>
                    </a:cubicBezTo>
                    <a:cubicBezTo>
                      <a:pt x="59" y="401"/>
                      <a:pt x="59" y="401"/>
                      <a:pt x="59" y="401"/>
                    </a:cubicBezTo>
                    <a:cubicBezTo>
                      <a:pt x="63" y="407"/>
                      <a:pt x="63" y="407"/>
                      <a:pt x="63" y="407"/>
                    </a:cubicBezTo>
                    <a:cubicBezTo>
                      <a:pt x="60" y="415"/>
                      <a:pt x="60" y="415"/>
                      <a:pt x="60" y="415"/>
                    </a:cubicBezTo>
                    <a:cubicBezTo>
                      <a:pt x="60" y="415"/>
                      <a:pt x="58" y="421"/>
                      <a:pt x="59" y="425"/>
                    </a:cubicBezTo>
                    <a:cubicBezTo>
                      <a:pt x="61" y="429"/>
                      <a:pt x="67" y="426"/>
                      <a:pt x="67" y="426"/>
                    </a:cubicBezTo>
                    <a:cubicBezTo>
                      <a:pt x="73" y="431"/>
                      <a:pt x="73" y="431"/>
                      <a:pt x="73" y="431"/>
                    </a:cubicBezTo>
                    <a:cubicBezTo>
                      <a:pt x="72" y="440"/>
                      <a:pt x="72" y="440"/>
                      <a:pt x="72" y="440"/>
                    </a:cubicBezTo>
                    <a:cubicBezTo>
                      <a:pt x="76" y="443"/>
                      <a:pt x="76" y="443"/>
                      <a:pt x="76" y="443"/>
                    </a:cubicBezTo>
                    <a:cubicBezTo>
                      <a:pt x="75" y="458"/>
                      <a:pt x="75" y="458"/>
                      <a:pt x="75" y="458"/>
                    </a:cubicBezTo>
                    <a:cubicBezTo>
                      <a:pt x="70" y="460"/>
                      <a:pt x="70" y="460"/>
                      <a:pt x="70" y="460"/>
                    </a:cubicBezTo>
                    <a:cubicBezTo>
                      <a:pt x="73" y="472"/>
                      <a:pt x="73" y="472"/>
                      <a:pt x="73" y="472"/>
                    </a:cubicBezTo>
                    <a:cubicBezTo>
                      <a:pt x="73" y="472"/>
                      <a:pt x="77" y="471"/>
                      <a:pt x="80" y="473"/>
                    </a:cubicBezTo>
                    <a:cubicBezTo>
                      <a:pt x="82" y="475"/>
                      <a:pt x="77" y="483"/>
                      <a:pt x="77" y="483"/>
                    </a:cubicBezTo>
                    <a:cubicBezTo>
                      <a:pt x="74" y="478"/>
                      <a:pt x="74" y="478"/>
                      <a:pt x="74" y="478"/>
                    </a:cubicBezTo>
                    <a:cubicBezTo>
                      <a:pt x="69" y="504"/>
                      <a:pt x="69" y="504"/>
                      <a:pt x="69" y="504"/>
                    </a:cubicBezTo>
                    <a:cubicBezTo>
                      <a:pt x="73" y="509"/>
                      <a:pt x="73" y="509"/>
                      <a:pt x="73" y="509"/>
                    </a:cubicBezTo>
                    <a:cubicBezTo>
                      <a:pt x="69" y="515"/>
                      <a:pt x="69" y="515"/>
                      <a:pt x="69" y="515"/>
                    </a:cubicBezTo>
                    <a:cubicBezTo>
                      <a:pt x="69" y="515"/>
                      <a:pt x="73" y="518"/>
                      <a:pt x="73" y="519"/>
                    </a:cubicBezTo>
                    <a:cubicBezTo>
                      <a:pt x="73" y="521"/>
                      <a:pt x="68" y="520"/>
                      <a:pt x="68" y="520"/>
                    </a:cubicBezTo>
                    <a:cubicBezTo>
                      <a:pt x="66" y="523"/>
                      <a:pt x="66" y="523"/>
                      <a:pt x="66" y="523"/>
                    </a:cubicBezTo>
                    <a:cubicBezTo>
                      <a:pt x="71" y="531"/>
                      <a:pt x="71" y="531"/>
                      <a:pt x="71" y="531"/>
                    </a:cubicBezTo>
                    <a:cubicBezTo>
                      <a:pt x="71" y="531"/>
                      <a:pt x="74" y="525"/>
                      <a:pt x="76" y="525"/>
                    </a:cubicBezTo>
                    <a:cubicBezTo>
                      <a:pt x="79" y="525"/>
                      <a:pt x="81" y="536"/>
                      <a:pt x="81" y="536"/>
                    </a:cubicBezTo>
                    <a:cubicBezTo>
                      <a:pt x="81" y="536"/>
                      <a:pt x="85" y="534"/>
                      <a:pt x="87" y="534"/>
                    </a:cubicBezTo>
                    <a:cubicBezTo>
                      <a:pt x="89" y="534"/>
                      <a:pt x="93" y="535"/>
                      <a:pt x="93" y="535"/>
                    </a:cubicBezTo>
                    <a:cubicBezTo>
                      <a:pt x="104" y="525"/>
                      <a:pt x="104" y="525"/>
                      <a:pt x="104" y="525"/>
                    </a:cubicBezTo>
                    <a:cubicBezTo>
                      <a:pt x="103" y="521"/>
                      <a:pt x="103" y="521"/>
                      <a:pt x="103" y="521"/>
                    </a:cubicBezTo>
                    <a:cubicBezTo>
                      <a:pt x="103" y="521"/>
                      <a:pt x="105" y="517"/>
                      <a:pt x="113" y="516"/>
                    </a:cubicBezTo>
                    <a:cubicBezTo>
                      <a:pt x="119" y="516"/>
                      <a:pt x="123" y="520"/>
                      <a:pt x="123" y="520"/>
                    </a:cubicBezTo>
                    <a:cubicBezTo>
                      <a:pt x="131" y="523"/>
                      <a:pt x="131" y="523"/>
                      <a:pt x="131" y="523"/>
                    </a:cubicBezTo>
                    <a:cubicBezTo>
                      <a:pt x="134" y="511"/>
                      <a:pt x="134" y="511"/>
                      <a:pt x="134" y="511"/>
                    </a:cubicBezTo>
                    <a:cubicBezTo>
                      <a:pt x="137" y="508"/>
                      <a:pt x="137" y="508"/>
                      <a:pt x="137" y="508"/>
                    </a:cubicBezTo>
                    <a:cubicBezTo>
                      <a:pt x="134" y="501"/>
                      <a:pt x="134" y="501"/>
                      <a:pt x="134" y="501"/>
                    </a:cubicBezTo>
                    <a:cubicBezTo>
                      <a:pt x="140" y="458"/>
                      <a:pt x="140" y="458"/>
                      <a:pt x="140" y="458"/>
                    </a:cubicBezTo>
                    <a:cubicBezTo>
                      <a:pt x="140" y="458"/>
                      <a:pt x="136" y="452"/>
                      <a:pt x="137" y="446"/>
                    </a:cubicBezTo>
                    <a:cubicBezTo>
                      <a:pt x="137" y="440"/>
                      <a:pt x="148" y="430"/>
                      <a:pt x="148" y="430"/>
                    </a:cubicBezTo>
                    <a:cubicBezTo>
                      <a:pt x="138" y="412"/>
                      <a:pt x="138" y="412"/>
                      <a:pt x="138" y="412"/>
                    </a:cubicBezTo>
                    <a:lnTo>
                      <a:pt x="142" y="408"/>
                    </a:lnTo>
                    <a:close/>
                    <a:moveTo>
                      <a:pt x="63" y="515"/>
                    </a:moveTo>
                    <a:cubicBezTo>
                      <a:pt x="55" y="516"/>
                      <a:pt x="63" y="520"/>
                      <a:pt x="63" y="520"/>
                    </a:cubicBezTo>
                    <a:cubicBezTo>
                      <a:pt x="70" y="520"/>
                      <a:pt x="71" y="514"/>
                      <a:pt x="63" y="515"/>
                    </a:cubicBezTo>
                    <a:close/>
                    <a:moveTo>
                      <a:pt x="70" y="394"/>
                    </a:moveTo>
                    <a:cubicBezTo>
                      <a:pt x="75" y="390"/>
                      <a:pt x="71" y="383"/>
                      <a:pt x="68" y="390"/>
                    </a:cubicBezTo>
                    <a:cubicBezTo>
                      <a:pt x="65" y="396"/>
                      <a:pt x="70" y="394"/>
                      <a:pt x="70" y="394"/>
                    </a:cubicBezTo>
                    <a:close/>
                    <a:moveTo>
                      <a:pt x="261" y="671"/>
                    </a:moveTo>
                    <a:cubicBezTo>
                      <a:pt x="255" y="666"/>
                      <a:pt x="256" y="671"/>
                      <a:pt x="256" y="671"/>
                    </a:cubicBezTo>
                    <a:cubicBezTo>
                      <a:pt x="256" y="675"/>
                      <a:pt x="256" y="675"/>
                      <a:pt x="256" y="675"/>
                    </a:cubicBezTo>
                    <a:cubicBezTo>
                      <a:pt x="264" y="678"/>
                      <a:pt x="266" y="675"/>
                      <a:pt x="261" y="671"/>
                    </a:cubicBezTo>
                    <a:close/>
                    <a:moveTo>
                      <a:pt x="277" y="598"/>
                    </a:moveTo>
                    <a:cubicBezTo>
                      <a:pt x="271" y="597"/>
                      <a:pt x="271" y="599"/>
                      <a:pt x="271" y="599"/>
                    </a:cubicBezTo>
                    <a:cubicBezTo>
                      <a:pt x="274" y="600"/>
                      <a:pt x="274" y="600"/>
                      <a:pt x="274" y="600"/>
                    </a:cubicBezTo>
                    <a:cubicBezTo>
                      <a:pt x="277" y="601"/>
                      <a:pt x="281" y="598"/>
                      <a:pt x="277" y="598"/>
                    </a:cubicBezTo>
                    <a:close/>
                    <a:moveTo>
                      <a:pt x="413" y="564"/>
                    </a:moveTo>
                    <a:cubicBezTo>
                      <a:pt x="415" y="564"/>
                      <a:pt x="418" y="562"/>
                      <a:pt x="413" y="562"/>
                    </a:cubicBezTo>
                    <a:cubicBezTo>
                      <a:pt x="409" y="562"/>
                      <a:pt x="413" y="564"/>
                      <a:pt x="413" y="564"/>
                    </a:cubicBezTo>
                    <a:close/>
                    <a:moveTo>
                      <a:pt x="263" y="595"/>
                    </a:moveTo>
                    <a:cubicBezTo>
                      <a:pt x="261" y="595"/>
                      <a:pt x="261" y="598"/>
                      <a:pt x="261" y="598"/>
                    </a:cubicBezTo>
                    <a:cubicBezTo>
                      <a:pt x="264" y="599"/>
                      <a:pt x="265" y="596"/>
                      <a:pt x="263" y="595"/>
                    </a:cubicBezTo>
                    <a:close/>
                    <a:moveTo>
                      <a:pt x="589" y="436"/>
                    </a:moveTo>
                    <a:cubicBezTo>
                      <a:pt x="585" y="435"/>
                      <a:pt x="585" y="435"/>
                      <a:pt x="585" y="435"/>
                    </a:cubicBezTo>
                    <a:cubicBezTo>
                      <a:pt x="581" y="427"/>
                      <a:pt x="581" y="427"/>
                      <a:pt x="581" y="427"/>
                    </a:cubicBezTo>
                    <a:cubicBezTo>
                      <a:pt x="573" y="416"/>
                      <a:pt x="573" y="416"/>
                      <a:pt x="573" y="416"/>
                    </a:cubicBezTo>
                    <a:cubicBezTo>
                      <a:pt x="567" y="417"/>
                      <a:pt x="567" y="417"/>
                      <a:pt x="567" y="417"/>
                    </a:cubicBezTo>
                    <a:cubicBezTo>
                      <a:pt x="560" y="410"/>
                      <a:pt x="560" y="410"/>
                      <a:pt x="560" y="410"/>
                    </a:cubicBezTo>
                    <a:cubicBezTo>
                      <a:pt x="560" y="410"/>
                      <a:pt x="562" y="407"/>
                      <a:pt x="558" y="405"/>
                    </a:cubicBezTo>
                    <a:cubicBezTo>
                      <a:pt x="552" y="402"/>
                      <a:pt x="549" y="402"/>
                      <a:pt x="549" y="402"/>
                    </a:cubicBezTo>
                    <a:cubicBezTo>
                      <a:pt x="543" y="398"/>
                      <a:pt x="543" y="398"/>
                      <a:pt x="543" y="398"/>
                    </a:cubicBezTo>
                    <a:cubicBezTo>
                      <a:pt x="540" y="399"/>
                      <a:pt x="540" y="399"/>
                      <a:pt x="540" y="399"/>
                    </a:cubicBezTo>
                    <a:cubicBezTo>
                      <a:pt x="528" y="394"/>
                      <a:pt x="528" y="394"/>
                      <a:pt x="528" y="394"/>
                    </a:cubicBezTo>
                    <a:cubicBezTo>
                      <a:pt x="525" y="390"/>
                      <a:pt x="525" y="390"/>
                      <a:pt x="525" y="390"/>
                    </a:cubicBezTo>
                    <a:cubicBezTo>
                      <a:pt x="516" y="386"/>
                      <a:pt x="516" y="386"/>
                      <a:pt x="516" y="386"/>
                    </a:cubicBezTo>
                    <a:cubicBezTo>
                      <a:pt x="513" y="383"/>
                      <a:pt x="513" y="383"/>
                      <a:pt x="513" y="383"/>
                    </a:cubicBezTo>
                    <a:cubicBezTo>
                      <a:pt x="492" y="377"/>
                      <a:pt x="492" y="377"/>
                      <a:pt x="492" y="377"/>
                    </a:cubicBezTo>
                    <a:cubicBezTo>
                      <a:pt x="489" y="378"/>
                      <a:pt x="489" y="378"/>
                      <a:pt x="489" y="378"/>
                    </a:cubicBezTo>
                    <a:cubicBezTo>
                      <a:pt x="472" y="369"/>
                      <a:pt x="472" y="369"/>
                      <a:pt x="472" y="369"/>
                    </a:cubicBezTo>
                    <a:cubicBezTo>
                      <a:pt x="467" y="369"/>
                      <a:pt x="467" y="369"/>
                      <a:pt x="467" y="369"/>
                    </a:cubicBezTo>
                    <a:cubicBezTo>
                      <a:pt x="467" y="369"/>
                      <a:pt x="450" y="361"/>
                      <a:pt x="448" y="357"/>
                    </a:cubicBezTo>
                    <a:cubicBezTo>
                      <a:pt x="447" y="352"/>
                      <a:pt x="451" y="349"/>
                      <a:pt x="454" y="347"/>
                    </a:cubicBezTo>
                    <a:cubicBezTo>
                      <a:pt x="458" y="345"/>
                      <a:pt x="462" y="341"/>
                      <a:pt x="462" y="341"/>
                    </a:cubicBezTo>
                    <a:cubicBezTo>
                      <a:pt x="461" y="334"/>
                      <a:pt x="461" y="334"/>
                      <a:pt x="461" y="334"/>
                    </a:cubicBezTo>
                    <a:cubicBezTo>
                      <a:pt x="461" y="334"/>
                      <a:pt x="457" y="330"/>
                      <a:pt x="452" y="330"/>
                    </a:cubicBezTo>
                    <a:cubicBezTo>
                      <a:pt x="448" y="329"/>
                      <a:pt x="437" y="332"/>
                      <a:pt x="432" y="333"/>
                    </a:cubicBezTo>
                    <a:cubicBezTo>
                      <a:pt x="407" y="333"/>
                      <a:pt x="407" y="333"/>
                      <a:pt x="407" y="333"/>
                    </a:cubicBezTo>
                    <a:cubicBezTo>
                      <a:pt x="405" y="331"/>
                      <a:pt x="405" y="331"/>
                      <a:pt x="405" y="331"/>
                    </a:cubicBezTo>
                    <a:cubicBezTo>
                      <a:pt x="390" y="323"/>
                      <a:pt x="390" y="323"/>
                      <a:pt x="390" y="323"/>
                    </a:cubicBezTo>
                    <a:cubicBezTo>
                      <a:pt x="388" y="318"/>
                      <a:pt x="388" y="318"/>
                      <a:pt x="388" y="318"/>
                    </a:cubicBezTo>
                    <a:cubicBezTo>
                      <a:pt x="380" y="316"/>
                      <a:pt x="380" y="316"/>
                      <a:pt x="380" y="316"/>
                    </a:cubicBezTo>
                    <a:cubicBezTo>
                      <a:pt x="371" y="306"/>
                      <a:pt x="371" y="306"/>
                      <a:pt x="371" y="306"/>
                    </a:cubicBezTo>
                    <a:cubicBezTo>
                      <a:pt x="366" y="304"/>
                      <a:pt x="366" y="304"/>
                      <a:pt x="366" y="304"/>
                    </a:cubicBezTo>
                    <a:cubicBezTo>
                      <a:pt x="363" y="300"/>
                      <a:pt x="363" y="300"/>
                      <a:pt x="363" y="300"/>
                    </a:cubicBezTo>
                    <a:cubicBezTo>
                      <a:pt x="356" y="296"/>
                      <a:pt x="356" y="296"/>
                      <a:pt x="356" y="296"/>
                    </a:cubicBezTo>
                    <a:cubicBezTo>
                      <a:pt x="350" y="285"/>
                      <a:pt x="350" y="285"/>
                      <a:pt x="350" y="285"/>
                    </a:cubicBezTo>
                    <a:cubicBezTo>
                      <a:pt x="350" y="278"/>
                      <a:pt x="350" y="278"/>
                      <a:pt x="350" y="278"/>
                    </a:cubicBezTo>
                    <a:cubicBezTo>
                      <a:pt x="346" y="273"/>
                      <a:pt x="346" y="273"/>
                      <a:pt x="346" y="273"/>
                    </a:cubicBezTo>
                    <a:cubicBezTo>
                      <a:pt x="346" y="273"/>
                      <a:pt x="346" y="262"/>
                      <a:pt x="343" y="257"/>
                    </a:cubicBezTo>
                    <a:cubicBezTo>
                      <a:pt x="341" y="252"/>
                      <a:pt x="332" y="235"/>
                      <a:pt x="332" y="235"/>
                    </a:cubicBezTo>
                    <a:cubicBezTo>
                      <a:pt x="333" y="233"/>
                      <a:pt x="333" y="233"/>
                      <a:pt x="333" y="233"/>
                    </a:cubicBezTo>
                    <a:cubicBezTo>
                      <a:pt x="327" y="230"/>
                      <a:pt x="327" y="230"/>
                      <a:pt x="327" y="230"/>
                    </a:cubicBezTo>
                    <a:cubicBezTo>
                      <a:pt x="318" y="227"/>
                      <a:pt x="318" y="227"/>
                      <a:pt x="318" y="227"/>
                    </a:cubicBezTo>
                    <a:cubicBezTo>
                      <a:pt x="297" y="209"/>
                      <a:pt x="297" y="209"/>
                      <a:pt x="297" y="209"/>
                    </a:cubicBezTo>
                    <a:cubicBezTo>
                      <a:pt x="287" y="206"/>
                      <a:pt x="287" y="206"/>
                      <a:pt x="287" y="206"/>
                    </a:cubicBezTo>
                    <a:cubicBezTo>
                      <a:pt x="271" y="189"/>
                      <a:pt x="271" y="189"/>
                      <a:pt x="271" y="189"/>
                    </a:cubicBezTo>
                    <a:cubicBezTo>
                      <a:pt x="268" y="164"/>
                      <a:pt x="268" y="164"/>
                      <a:pt x="268" y="164"/>
                    </a:cubicBezTo>
                    <a:cubicBezTo>
                      <a:pt x="265" y="160"/>
                      <a:pt x="265" y="160"/>
                      <a:pt x="265" y="160"/>
                    </a:cubicBezTo>
                    <a:cubicBezTo>
                      <a:pt x="270" y="148"/>
                      <a:pt x="270" y="148"/>
                      <a:pt x="270" y="148"/>
                    </a:cubicBezTo>
                    <a:cubicBezTo>
                      <a:pt x="270" y="148"/>
                      <a:pt x="277" y="146"/>
                      <a:pt x="278" y="141"/>
                    </a:cubicBezTo>
                    <a:cubicBezTo>
                      <a:pt x="279" y="136"/>
                      <a:pt x="269" y="134"/>
                      <a:pt x="269" y="134"/>
                    </a:cubicBezTo>
                    <a:cubicBezTo>
                      <a:pt x="269" y="134"/>
                      <a:pt x="269" y="129"/>
                      <a:pt x="267" y="127"/>
                    </a:cubicBezTo>
                    <a:cubicBezTo>
                      <a:pt x="266" y="124"/>
                      <a:pt x="261" y="121"/>
                      <a:pt x="261" y="121"/>
                    </a:cubicBezTo>
                    <a:cubicBezTo>
                      <a:pt x="261" y="121"/>
                      <a:pt x="265" y="118"/>
                      <a:pt x="266" y="117"/>
                    </a:cubicBezTo>
                    <a:cubicBezTo>
                      <a:pt x="268" y="116"/>
                      <a:pt x="267" y="111"/>
                      <a:pt x="267" y="111"/>
                    </a:cubicBezTo>
                    <a:cubicBezTo>
                      <a:pt x="271" y="109"/>
                      <a:pt x="271" y="109"/>
                      <a:pt x="271" y="109"/>
                    </a:cubicBezTo>
                    <a:cubicBezTo>
                      <a:pt x="271" y="111"/>
                      <a:pt x="271" y="111"/>
                      <a:pt x="271" y="111"/>
                    </a:cubicBezTo>
                    <a:cubicBezTo>
                      <a:pt x="271" y="111"/>
                      <a:pt x="281" y="109"/>
                      <a:pt x="286" y="106"/>
                    </a:cubicBezTo>
                    <a:cubicBezTo>
                      <a:pt x="293" y="102"/>
                      <a:pt x="296" y="97"/>
                      <a:pt x="296" y="97"/>
                    </a:cubicBezTo>
                    <a:cubicBezTo>
                      <a:pt x="303" y="97"/>
                      <a:pt x="303" y="97"/>
                      <a:pt x="303" y="97"/>
                    </a:cubicBezTo>
                    <a:cubicBezTo>
                      <a:pt x="306" y="94"/>
                      <a:pt x="306" y="94"/>
                      <a:pt x="306" y="94"/>
                    </a:cubicBezTo>
                    <a:cubicBezTo>
                      <a:pt x="302" y="93"/>
                      <a:pt x="302" y="93"/>
                      <a:pt x="302" y="93"/>
                    </a:cubicBezTo>
                    <a:cubicBezTo>
                      <a:pt x="305" y="89"/>
                      <a:pt x="305" y="89"/>
                      <a:pt x="305" y="89"/>
                    </a:cubicBezTo>
                    <a:cubicBezTo>
                      <a:pt x="323" y="93"/>
                      <a:pt x="323" y="93"/>
                      <a:pt x="323" y="93"/>
                    </a:cubicBezTo>
                    <a:cubicBezTo>
                      <a:pt x="322" y="90"/>
                      <a:pt x="322" y="90"/>
                      <a:pt x="322" y="90"/>
                    </a:cubicBezTo>
                    <a:cubicBezTo>
                      <a:pt x="322" y="90"/>
                      <a:pt x="326" y="90"/>
                      <a:pt x="329" y="91"/>
                    </a:cubicBezTo>
                    <a:cubicBezTo>
                      <a:pt x="332" y="91"/>
                      <a:pt x="334" y="99"/>
                      <a:pt x="334" y="99"/>
                    </a:cubicBezTo>
                    <a:cubicBezTo>
                      <a:pt x="334" y="99"/>
                      <a:pt x="339" y="96"/>
                      <a:pt x="339" y="92"/>
                    </a:cubicBezTo>
                    <a:cubicBezTo>
                      <a:pt x="339" y="86"/>
                      <a:pt x="327" y="86"/>
                      <a:pt x="327" y="86"/>
                    </a:cubicBezTo>
                    <a:cubicBezTo>
                      <a:pt x="327" y="86"/>
                      <a:pt x="331" y="75"/>
                      <a:pt x="330" y="73"/>
                    </a:cubicBezTo>
                    <a:cubicBezTo>
                      <a:pt x="329" y="70"/>
                      <a:pt x="321" y="76"/>
                      <a:pt x="321" y="76"/>
                    </a:cubicBezTo>
                    <a:cubicBezTo>
                      <a:pt x="320" y="70"/>
                      <a:pt x="320" y="70"/>
                      <a:pt x="320" y="70"/>
                    </a:cubicBezTo>
                    <a:cubicBezTo>
                      <a:pt x="320" y="70"/>
                      <a:pt x="330" y="65"/>
                      <a:pt x="330" y="61"/>
                    </a:cubicBezTo>
                    <a:cubicBezTo>
                      <a:pt x="329" y="55"/>
                      <a:pt x="319" y="59"/>
                      <a:pt x="319" y="59"/>
                    </a:cubicBezTo>
                    <a:cubicBezTo>
                      <a:pt x="316" y="53"/>
                      <a:pt x="316" y="53"/>
                      <a:pt x="316" y="53"/>
                    </a:cubicBezTo>
                    <a:cubicBezTo>
                      <a:pt x="326" y="44"/>
                      <a:pt x="326" y="44"/>
                      <a:pt x="326" y="44"/>
                    </a:cubicBezTo>
                    <a:cubicBezTo>
                      <a:pt x="331" y="44"/>
                      <a:pt x="331" y="44"/>
                      <a:pt x="331" y="44"/>
                    </a:cubicBezTo>
                    <a:cubicBezTo>
                      <a:pt x="332" y="43"/>
                      <a:pt x="331" y="39"/>
                      <a:pt x="330" y="38"/>
                    </a:cubicBezTo>
                    <a:cubicBezTo>
                      <a:pt x="315" y="35"/>
                      <a:pt x="315" y="35"/>
                      <a:pt x="315" y="35"/>
                    </a:cubicBezTo>
                    <a:cubicBezTo>
                      <a:pt x="309" y="37"/>
                      <a:pt x="309" y="37"/>
                      <a:pt x="309" y="37"/>
                    </a:cubicBezTo>
                    <a:cubicBezTo>
                      <a:pt x="306" y="34"/>
                      <a:pt x="306" y="34"/>
                      <a:pt x="306" y="34"/>
                    </a:cubicBezTo>
                    <a:cubicBezTo>
                      <a:pt x="290" y="34"/>
                      <a:pt x="290" y="34"/>
                      <a:pt x="290" y="34"/>
                    </a:cubicBezTo>
                    <a:cubicBezTo>
                      <a:pt x="288" y="31"/>
                      <a:pt x="288" y="31"/>
                      <a:pt x="288" y="31"/>
                    </a:cubicBezTo>
                    <a:cubicBezTo>
                      <a:pt x="271" y="30"/>
                      <a:pt x="271" y="30"/>
                      <a:pt x="271" y="30"/>
                    </a:cubicBezTo>
                    <a:cubicBezTo>
                      <a:pt x="268" y="22"/>
                      <a:pt x="268" y="22"/>
                      <a:pt x="268" y="22"/>
                    </a:cubicBezTo>
                    <a:cubicBezTo>
                      <a:pt x="265" y="21"/>
                      <a:pt x="265" y="21"/>
                      <a:pt x="265" y="21"/>
                    </a:cubicBezTo>
                    <a:cubicBezTo>
                      <a:pt x="265" y="21"/>
                      <a:pt x="266" y="17"/>
                      <a:pt x="264" y="16"/>
                    </a:cubicBezTo>
                    <a:cubicBezTo>
                      <a:pt x="262" y="15"/>
                      <a:pt x="260" y="17"/>
                      <a:pt x="260" y="17"/>
                    </a:cubicBezTo>
                    <a:cubicBezTo>
                      <a:pt x="257" y="8"/>
                      <a:pt x="257" y="8"/>
                      <a:pt x="257" y="8"/>
                    </a:cubicBezTo>
                    <a:cubicBezTo>
                      <a:pt x="257" y="8"/>
                      <a:pt x="264" y="4"/>
                      <a:pt x="262" y="2"/>
                    </a:cubicBezTo>
                    <a:cubicBezTo>
                      <a:pt x="260" y="0"/>
                      <a:pt x="254" y="6"/>
                      <a:pt x="254" y="6"/>
                    </a:cubicBezTo>
                    <a:cubicBezTo>
                      <a:pt x="250" y="4"/>
                      <a:pt x="250" y="4"/>
                      <a:pt x="250" y="4"/>
                    </a:cubicBezTo>
                    <a:cubicBezTo>
                      <a:pt x="241" y="13"/>
                      <a:pt x="241" y="13"/>
                      <a:pt x="241" y="13"/>
                    </a:cubicBezTo>
                    <a:cubicBezTo>
                      <a:pt x="227" y="7"/>
                      <a:pt x="227" y="7"/>
                      <a:pt x="227" y="7"/>
                    </a:cubicBezTo>
                    <a:cubicBezTo>
                      <a:pt x="224" y="12"/>
                      <a:pt x="224" y="12"/>
                      <a:pt x="224" y="12"/>
                    </a:cubicBezTo>
                    <a:cubicBezTo>
                      <a:pt x="224" y="12"/>
                      <a:pt x="222" y="11"/>
                      <a:pt x="213" y="12"/>
                    </a:cubicBezTo>
                    <a:cubicBezTo>
                      <a:pt x="204" y="13"/>
                      <a:pt x="210" y="21"/>
                      <a:pt x="210" y="21"/>
                    </a:cubicBezTo>
                    <a:cubicBezTo>
                      <a:pt x="206" y="26"/>
                      <a:pt x="206" y="26"/>
                      <a:pt x="206" y="26"/>
                    </a:cubicBezTo>
                    <a:cubicBezTo>
                      <a:pt x="194" y="23"/>
                      <a:pt x="194" y="23"/>
                      <a:pt x="194" y="23"/>
                    </a:cubicBezTo>
                    <a:cubicBezTo>
                      <a:pt x="194" y="23"/>
                      <a:pt x="194" y="19"/>
                      <a:pt x="190" y="17"/>
                    </a:cubicBezTo>
                    <a:cubicBezTo>
                      <a:pt x="187" y="16"/>
                      <a:pt x="185" y="20"/>
                      <a:pt x="185" y="20"/>
                    </a:cubicBezTo>
                    <a:cubicBezTo>
                      <a:pt x="182" y="20"/>
                      <a:pt x="182" y="20"/>
                      <a:pt x="182" y="20"/>
                    </a:cubicBezTo>
                    <a:cubicBezTo>
                      <a:pt x="179" y="34"/>
                      <a:pt x="179" y="34"/>
                      <a:pt x="179" y="34"/>
                    </a:cubicBezTo>
                    <a:cubicBezTo>
                      <a:pt x="182" y="34"/>
                      <a:pt x="182" y="34"/>
                      <a:pt x="182" y="34"/>
                    </a:cubicBezTo>
                    <a:cubicBezTo>
                      <a:pt x="182" y="41"/>
                      <a:pt x="182" y="41"/>
                      <a:pt x="182" y="41"/>
                    </a:cubicBezTo>
                    <a:cubicBezTo>
                      <a:pt x="172" y="38"/>
                      <a:pt x="172" y="38"/>
                      <a:pt x="172" y="38"/>
                    </a:cubicBezTo>
                    <a:cubicBezTo>
                      <a:pt x="171" y="32"/>
                      <a:pt x="171" y="32"/>
                      <a:pt x="171" y="32"/>
                    </a:cubicBezTo>
                    <a:cubicBezTo>
                      <a:pt x="171" y="32"/>
                      <a:pt x="169" y="31"/>
                      <a:pt x="163" y="37"/>
                    </a:cubicBezTo>
                    <a:cubicBezTo>
                      <a:pt x="157" y="43"/>
                      <a:pt x="163" y="47"/>
                      <a:pt x="163" y="47"/>
                    </a:cubicBezTo>
                    <a:cubicBezTo>
                      <a:pt x="166" y="47"/>
                      <a:pt x="166" y="47"/>
                      <a:pt x="166" y="47"/>
                    </a:cubicBezTo>
                    <a:cubicBezTo>
                      <a:pt x="168" y="48"/>
                      <a:pt x="168" y="48"/>
                      <a:pt x="168" y="48"/>
                    </a:cubicBezTo>
                    <a:cubicBezTo>
                      <a:pt x="165" y="53"/>
                      <a:pt x="165" y="53"/>
                      <a:pt x="165" y="53"/>
                    </a:cubicBezTo>
                    <a:cubicBezTo>
                      <a:pt x="165" y="60"/>
                      <a:pt x="165" y="60"/>
                      <a:pt x="165" y="60"/>
                    </a:cubicBezTo>
                    <a:cubicBezTo>
                      <a:pt x="163" y="60"/>
                      <a:pt x="163" y="60"/>
                      <a:pt x="163" y="60"/>
                    </a:cubicBezTo>
                    <a:cubicBezTo>
                      <a:pt x="162" y="58"/>
                      <a:pt x="162" y="58"/>
                      <a:pt x="162" y="58"/>
                    </a:cubicBezTo>
                    <a:cubicBezTo>
                      <a:pt x="159" y="54"/>
                      <a:pt x="159" y="54"/>
                      <a:pt x="159" y="54"/>
                    </a:cubicBezTo>
                    <a:cubicBezTo>
                      <a:pt x="157" y="50"/>
                      <a:pt x="157" y="50"/>
                      <a:pt x="157" y="50"/>
                    </a:cubicBezTo>
                    <a:cubicBezTo>
                      <a:pt x="148" y="52"/>
                      <a:pt x="148" y="52"/>
                      <a:pt x="148" y="52"/>
                    </a:cubicBezTo>
                    <a:cubicBezTo>
                      <a:pt x="148" y="52"/>
                      <a:pt x="145" y="57"/>
                      <a:pt x="139" y="54"/>
                    </a:cubicBezTo>
                    <a:cubicBezTo>
                      <a:pt x="134" y="51"/>
                      <a:pt x="135" y="41"/>
                      <a:pt x="135" y="41"/>
                    </a:cubicBezTo>
                    <a:cubicBezTo>
                      <a:pt x="132" y="43"/>
                      <a:pt x="132" y="43"/>
                      <a:pt x="132" y="43"/>
                    </a:cubicBezTo>
                    <a:cubicBezTo>
                      <a:pt x="128" y="41"/>
                      <a:pt x="128" y="41"/>
                      <a:pt x="128" y="41"/>
                    </a:cubicBezTo>
                    <a:cubicBezTo>
                      <a:pt x="125" y="46"/>
                      <a:pt x="125" y="46"/>
                      <a:pt x="125" y="46"/>
                    </a:cubicBezTo>
                    <a:cubicBezTo>
                      <a:pt x="128" y="48"/>
                      <a:pt x="128" y="48"/>
                      <a:pt x="128" y="48"/>
                    </a:cubicBezTo>
                    <a:cubicBezTo>
                      <a:pt x="128" y="48"/>
                      <a:pt x="128" y="51"/>
                      <a:pt x="125" y="57"/>
                    </a:cubicBezTo>
                    <a:cubicBezTo>
                      <a:pt x="123" y="62"/>
                      <a:pt x="117" y="66"/>
                      <a:pt x="117" y="66"/>
                    </a:cubicBezTo>
                    <a:cubicBezTo>
                      <a:pt x="116" y="69"/>
                      <a:pt x="116" y="69"/>
                      <a:pt x="116" y="69"/>
                    </a:cubicBezTo>
                    <a:cubicBezTo>
                      <a:pt x="112" y="73"/>
                      <a:pt x="112" y="73"/>
                      <a:pt x="112" y="73"/>
                    </a:cubicBezTo>
                    <a:cubicBezTo>
                      <a:pt x="113" y="77"/>
                      <a:pt x="113" y="77"/>
                      <a:pt x="113" y="77"/>
                    </a:cubicBezTo>
                    <a:cubicBezTo>
                      <a:pt x="115" y="79"/>
                      <a:pt x="115" y="79"/>
                      <a:pt x="115" y="79"/>
                    </a:cubicBezTo>
                    <a:cubicBezTo>
                      <a:pt x="114" y="84"/>
                      <a:pt x="114" y="84"/>
                      <a:pt x="114" y="84"/>
                    </a:cubicBezTo>
                    <a:cubicBezTo>
                      <a:pt x="110" y="83"/>
                      <a:pt x="110" y="83"/>
                      <a:pt x="110" y="83"/>
                    </a:cubicBezTo>
                    <a:cubicBezTo>
                      <a:pt x="106" y="74"/>
                      <a:pt x="106" y="74"/>
                      <a:pt x="106" y="74"/>
                    </a:cubicBezTo>
                    <a:cubicBezTo>
                      <a:pt x="104" y="71"/>
                      <a:pt x="104" y="71"/>
                      <a:pt x="104" y="71"/>
                    </a:cubicBezTo>
                    <a:cubicBezTo>
                      <a:pt x="107" y="69"/>
                      <a:pt x="107" y="69"/>
                      <a:pt x="107" y="69"/>
                    </a:cubicBezTo>
                    <a:cubicBezTo>
                      <a:pt x="104" y="66"/>
                      <a:pt x="104" y="66"/>
                      <a:pt x="104" y="66"/>
                    </a:cubicBezTo>
                    <a:cubicBezTo>
                      <a:pt x="104" y="66"/>
                      <a:pt x="99" y="67"/>
                      <a:pt x="96" y="65"/>
                    </a:cubicBezTo>
                    <a:cubicBezTo>
                      <a:pt x="92" y="63"/>
                      <a:pt x="93" y="61"/>
                      <a:pt x="93" y="60"/>
                    </a:cubicBezTo>
                    <a:cubicBezTo>
                      <a:pt x="93" y="59"/>
                      <a:pt x="89" y="58"/>
                      <a:pt x="87" y="54"/>
                    </a:cubicBezTo>
                    <a:cubicBezTo>
                      <a:pt x="85" y="51"/>
                      <a:pt x="91" y="45"/>
                      <a:pt x="91" y="45"/>
                    </a:cubicBezTo>
                    <a:cubicBezTo>
                      <a:pt x="87" y="43"/>
                      <a:pt x="87" y="43"/>
                      <a:pt x="87" y="43"/>
                    </a:cubicBezTo>
                    <a:cubicBezTo>
                      <a:pt x="80" y="45"/>
                      <a:pt x="80" y="45"/>
                      <a:pt x="80" y="45"/>
                    </a:cubicBezTo>
                    <a:cubicBezTo>
                      <a:pt x="82" y="48"/>
                      <a:pt x="82" y="48"/>
                      <a:pt x="82" y="48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4" y="51"/>
                      <a:pt x="74" y="51"/>
                      <a:pt x="74" y="51"/>
                    </a:cubicBezTo>
                    <a:cubicBezTo>
                      <a:pt x="72" y="54"/>
                      <a:pt x="72" y="54"/>
                      <a:pt x="72" y="54"/>
                    </a:cubicBezTo>
                    <a:cubicBezTo>
                      <a:pt x="75" y="62"/>
                      <a:pt x="75" y="62"/>
                      <a:pt x="75" y="62"/>
                    </a:cubicBezTo>
                    <a:cubicBezTo>
                      <a:pt x="75" y="62"/>
                      <a:pt x="72" y="65"/>
                      <a:pt x="69" y="66"/>
                    </a:cubicBezTo>
                    <a:cubicBezTo>
                      <a:pt x="67" y="67"/>
                      <a:pt x="68" y="70"/>
                      <a:pt x="67" y="71"/>
                    </a:cubicBezTo>
                    <a:cubicBezTo>
                      <a:pt x="66" y="73"/>
                      <a:pt x="63" y="73"/>
                      <a:pt x="61" y="73"/>
                    </a:cubicBezTo>
                    <a:cubicBezTo>
                      <a:pt x="60" y="73"/>
                      <a:pt x="61" y="77"/>
                      <a:pt x="57" y="77"/>
                    </a:cubicBezTo>
                    <a:cubicBezTo>
                      <a:pt x="54" y="77"/>
                      <a:pt x="47" y="71"/>
                      <a:pt x="46" y="71"/>
                    </a:cubicBezTo>
                    <a:cubicBezTo>
                      <a:pt x="43" y="71"/>
                      <a:pt x="42" y="76"/>
                      <a:pt x="39" y="76"/>
                    </a:cubicBezTo>
                    <a:cubicBezTo>
                      <a:pt x="36" y="77"/>
                      <a:pt x="35" y="76"/>
                      <a:pt x="33" y="75"/>
                    </a:cubicBezTo>
                    <a:cubicBezTo>
                      <a:pt x="32" y="75"/>
                      <a:pt x="32" y="78"/>
                      <a:pt x="27" y="79"/>
                    </a:cubicBezTo>
                    <a:cubicBezTo>
                      <a:pt x="25" y="79"/>
                      <a:pt x="23" y="78"/>
                      <a:pt x="23" y="77"/>
                    </a:cubicBezTo>
                    <a:cubicBezTo>
                      <a:pt x="21" y="80"/>
                      <a:pt x="15" y="79"/>
                      <a:pt x="11" y="84"/>
                    </a:cubicBezTo>
                    <a:cubicBezTo>
                      <a:pt x="8" y="91"/>
                      <a:pt x="19" y="92"/>
                      <a:pt x="19" y="92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9" y="106"/>
                      <a:pt x="21" y="104"/>
                      <a:pt x="24" y="106"/>
                    </a:cubicBezTo>
                    <a:cubicBezTo>
                      <a:pt x="26" y="108"/>
                      <a:pt x="26" y="109"/>
                      <a:pt x="24" y="116"/>
                    </a:cubicBezTo>
                    <a:cubicBezTo>
                      <a:pt x="23" y="123"/>
                      <a:pt x="10" y="126"/>
                      <a:pt x="10" y="126"/>
                    </a:cubicBezTo>
                    <a:cubicBezTo>
                      <a:pt x="6" y="125"/>
                      <a:pt x="6" y="125"/>
                      <a:pt x="6" y="125"/>
                    </a:cubicBezTo>
                    <a:cubicBezTo>
                      <a:pt x="6" y="125"/>
                      <a:pt x="1" y="126"/>
                      <a:pt x="1" y="131"/>
                    </a:cubicBezTo>
                    <a:cubicBezTo>
                      <a:pt x="0" y="138"/>
                      <a:pt x="5" y="132"/>
                      <a:pt x="5" y="132"/>
                    </a:cubicBezTo>
                    <a:cubicBezTo>
                      <a:pt x="5" y="132"/>
                      <a:pt x="5" y="133"/>
                      <a:pt x="8" y="141"/>
                    </a:cubicBezTo>
                    <a:cubicBezTo>
                      <a:pt x="10" y="147"/>
                      <a:pt x="17" y="143"/>
                      <a:pt x="17" y="143"/>
                    </a:cubicBezTo>
                    <a:cubicBezTo>
                      <a:pt x="18" y="155"/>
                      <a:pt x="18" y="155"/>
                      <a:pt x="18" y="155"/>
                    </a:cubicBezTo>
                    <a:cubicBezTo>
                      <a:pt x="18" y="155"/>
                      <a:pt x="17" y="158"/>
                      <a:pt x="14" y="159"/>
                    </a:cubicBezTo>
                    <a:cubicBezTo>
                      <a:pt x="11" y="161"/>
                      <a:pt x="8" y="170"/>
                      <a:pt x="14" y="178"/>
                    </a:cubicBezTo>
                    <a:cubicBezTo>
                      <a:pt x="18" y="187"/>
                      <a:pt x="23" y="190"/>
                      <a:pt x="30" y="192"/>
                    </a:cubicBezTo>
                    <a:cubicBezTo>
                      <a:pt x="35" y="194"/>
                      <a:pt x="43" y="190"/>
                      <a:pt x="46" y="190"/>
                    </a:cubicBezTo>
                    <a:cubicBezTo>
                      <a:pt x="47" y="190"/>
                      <a:pt x="49" y="192"/>
                      <a:pt x="47" y="200"/>
                    </a:cubicBezTo>
                    <a:cubicBezTo>
                      <a:pt x="43" y="208"/>
                      <a:pt x="36" y="209"/>
                      <a:pt x="36" y="209"/>
                    </a:cubicBezTo>
                    <a:cubicBezTo>
                      <a:pt x="40" y="218"/>
                      <a:pt x="40" y="218"/>
                      <a:pt x="40" y="218"/>
                    </a:cubicBezTo>
                    <a:cubicBezTo>
                      <a:pt x="40" y="218"/>
                      <a:pt x="51" y="218"/>
                      <a:pt x="57" y="216"/>
                    </a:cubicBezTo>
                    <a:cubicBezTo>
                      <a:pt x="63" y="213"/>
                      <a:pt x="71" y="208"/>
                      <a:pt x="71" y="208"/>
                    </a:cubicBezTo>
                    <a:cubicBezTo>
                      <a:pt x="71" y="208"/>
                      <a:pt x="73" y="200"/>
                      <a:pt x="76" y="195"/>
                    </a:cubicBezTo>
                    <a:cubicBezTo>
                      <a:pt x="79" y="191"/>
                      <a:pt x="89" y="180"/>
                      <a:pt x="97" y="177"/>
                    </a:cubicBezTo>
                    <a:cubicBezTo>
                      <a:pt x="104" y="175"/>
                      <a:pt x="116" y="180"/>
                      <a:pt x="116" y="180"/>
                    </a:cubicBezTo>
                    <a:cubicBezTo>
                      <a:pt x="118" y="184"/>
                      <a:pt x="118" y="184"/>
                      <a:pt x="118" y="184"/>
                    </a:cubicBezTo>
                    <a:cubicBezTo>
                      <a:pt x="122" y="183"/>
                      <a:pt x="122" y="183"/>
                      <a:pt x="122" y="183"/>
                    </a:cubicBezTo>
                    <a:cubicBezTo>
                      <a:pt x="133" y="189"/>
                      <a:pt x="133" y="189"/>
                      <a:pt x="133" y="189"/>
                    </a:cubicBezTo>
                    <a:cubicBezTo>
                      <a:pt x="149" y="199"/>
                      <a:pt x="149" y="199"/>
                      <a:pt x="149" y="199"/>
                    </a:cubicBezTo>
                    <a:cubicBezTo>
                      <a:pt x="152" y="197"/>
                      <a:pt x="152" y="197"/>
                      <a:pt x="152" y="197"/>
                    </a:cubicBezTo>
                    <a:cubicBezTo>
                      <a:pt x="168" y="211"/>
                      <a:pt x="168" y="211"/>
                      <a:pt x="168" y="211"/>
                    </a:cubicBezTo>
                    <a:cubicBezTo>
                      <a:pt x="168" y="217"/>
                      <a:pt x="168" y="217"/>
                      <a:pt x="168" y="217"/>
                    </a:cubicBezTo>
                    <a:cubicBezTo>
                      <a:pt x="171" y="238"/>
                      <a:pt x="171" y="238"/>
                      <a:pt x="171" y="238"/>
                    </a:cubicBezTo>
                    <a:cubicBezTo>
                      <a:pt x="171" y="238"/>
                      <a:pt x="179" y="248"/>
                      <a:pt x="182" y="257"/>
                    </a:cubicBezTo>
                    <a:cubicBezTo>
                      <a:pt x="186" y="267"/>
                      <a:pt x="179" y="271"/>
                      <a:pt x="179" y="271"/>
                    </a:cubicBezTo>
                    <a:cubicBezTo>
                      <a:pt x="182" y="275"/>
                      <a:pt x="182" y="275"/>
                      <a:pt x="182" y="275"/>
                    </a:cubicBezTo>
                    <a:cubicBezTo>
                      <a:pt x="182" y="275"/>
                      <a:pt x="188" y="273"/>
                      <a:pt x="192" y="275"/>
                    </a:cubicBezTo>
                    <a:cubicBezTo>
                      <a:pt x="198" y="278"/>
                      <a:pt x="192" y="284"/>
                      <a:pt x="192" y="284"/>
                    </a:cubicBezTo>
                    <a:cubicBezTo>
                      <a:pt x="201" y="286"/>
                      <a:pt x="201" y="286"/>
                      <a:pt x="201" y="286"/>
                    </a:cubicBezTo>
                    <a:cubicBezTo>
                      <a:pt x="212" y="298"/>
                      <a:pt x="212" y="298"/>
                      <a:pt x="212" y="298"/>
                    </a:cubicBezTo>
                    <a:cubicBezTo>
                      <a:pt x="217" y="303"/>
                      <a:pt x="217" y="303"/>
                      <a:pt x="217" y="303"/>
                    </a:cubicBezTo>
                    <a:cubicBezTo>
                      <a:pt x="217" y="303"/>
                      <a:pt x="214" y="303"/>
                      <a:pt x="211" y="306"/>
                    </a:cubicBezTo>
                    <a:cubicBezTo>
                      <a:pt x="208" y="310"/>
                      <a:pt x="215" y="312"/>
                      <a:pt x="215" y="312"/>
                    </a:cubicBezTo>
                    <a:cubicBezTo>
                      <a:pt x="216" y="306"/>
                      <a:pt x="216" y="306"/>
                      <a:pt x="216" y="306"/>
                    </a:cubicBezTo>
                    <a:cubicBezTo>
                      <a:pt x="220" y="306"/>
                      <a:pt x="220" y="306"/>
                      <a:pt x="220" y="306"/>
                    </a:cubicBezTo>
                    <a:cubicBezTo>
                      <a:pt x="220" y="306"/>
                      <a:pt x="227" y="310"/>
                      <a:pt x="233" y="314"/>
                    </a:cubicBezTo>
                    <a:cubicBezTo>
                      <a:pt x="240" y="318"/>
                      <a:pt x="246" y="333"/>
                      <a:pt x="246" y="333"/>
                    </a:cubicBezTo>
                    <a:cubicBezTo>
                      <a:pt x="250" y="332"/>
                      <a:pt x="250" y="332"/>
                      <a:pt x="250" y="332"/>
                    </a:cubicBezTo>
                    <a:cubicBezTo>
                      <a:pt x="252" y="334"/>
                      <a:pt x="252" y="334"/>
                      <a:pt x="252" y="334"/>
                    </a:cubicBezTo>
                    <a:cubicBezTo>
                      <a:pt x="252" y="334"/>
                      <a:pt x="257" y="335"/>
                      <a:pt x="263" y="341"/>
                    </a:cubicBezTo>
                    <a:cubicBezTo>
                      <a:pt x="267" y="345"/>
                      <a:pt x="266" y="351"/>
                      <a:pt x="266" y="351"/>
                    </a:cubicBezTo>
                    <a:cubicBezTo>
                      <a:pt x="266" y="351"/>
                      <a:pt x="273" y="353"/>
                      <a:pt x="277" y="356"/>
                    </a:cubicBezTo>
                    <a:cubicBezTo>
                      <a:pt x="280" y="359"/>
                      <a:pt x="286" y="369"/>
                      <a:pt x="286" y="369"/>
                    </a:cubicBezTo>
                    <a:cubicBezTo>
                      <a:pt x="290" y="369"/>
                      <a:pt x="290" y="369"/>
                      <a:pt x="290" y="369"/>
                    </a:cubicBezTo>
                    <a:cubicBezTo>
                      <a:pt x="290" y="369"/>
                      <a:pt x="300" y="373"/>
                      <a:pt x="303" y="375"/>
                    </a:cubicBezTo>
                    <a:cubicBezTo>
                      <a:pt x="305" y="376"/>
                      <a:pt x="309" y="383"/>
                      <a:pt x="309" y="383"/>
                    </a:cubicBezTo>
                    <a:cubicBezTo>
                      <a:pt x="310" y="384"/>
                      <a:pt x="310" y="384"/>
                      <a:pt x="310" y="384"/>
                    </a:cubicBezTo>
                    <a:cubicBezTo>
                      <a:pt x="310" y="384"/>
                      <a:pt x="314" y="380"/>
                      <a:pt x="319" y="378"/>
                    </a:cubicBezTo>
                    <a:cubicBezTo>
                      <a:pt x="325" y="377"/>
                      <a:pt x="335" y="383"/>
                      <a:pt x="335" y="383"/>
                    </a:cubicBezTo>
                    <a:cubicBezTo>
                      <a:pt x="335" y="383"/>
                      <a:pt x="338" y="377"/>
                      <a:pt x="346" y="384"/>
                    </a:cubicBezTo>
                    <a:cubicBezTo>
                      <a:pt x="353" y="391"/>
                      <a:pt x="354" y="398"/>
                      <a:pt x="354" y="398"/>
                    </a:cubicBezTo>
                    <a:cubicBezTo>
                      <a:pt x="354" y="398"/>
                      <a:pt x="359" y="400"/>
                      <a:pt x="360" y="402"/>
                    </a:cubicBezTo>
                    <a:cubicBezTo>
                      <a:pt x="361" y="405"/>
                      <a:pt x="359" y="410"/>
                      <a:pt x="359" y="410"/>
                    </a:cubicBezTo>
                    <a:cubicBezTo>
                      <a:pt x="361" y="411"/>
                      <a:pt x="361" y="411"/>
                      <a:pt x="361" y="411"/>
                    </a:cubicBezTo>
                    <a:cubicBezTo>
                      <a:pt x="362" y="408"/>
                      <a:pt x="362" y="408"/>
                      <a:pt x="362" y="408"/>
                    </a:cubicBezTo>
                    <a:cubicBezTo>
                      <a:pt x="367" y="410"/>
                      <a:pt x="367" y="410"/>
                      <a:pt x="367" y="410"/>
                    </a:cubicBezTo>
                    <a:cubicBezTo>
                      <a:pt x="371" y="406"/>
                      <a:pt x="371" y="406"/>
                      <a:pt x="371" y="406"/>
                    </a:cubicBezTo>
                    <a:cubicBezTo>
                      <a:pt x="378" y="413"/>
                      <a:pt x="378" y="413"/>
                      <a:pt x="378" y="413"/>
                    </a:cubicBezTo>
                    <a:cubicBezTo>
                      <a:pt x="381" y="414"/>
                      <a:pt x="381" y="414"/>
                      <a:pt x="381" y="414"/>
                    </a:cubicBezTo>
                    <a:cubicBezTo>
                      <a:pt x="372" y="422"/>
                      <a:pt x="372" y="422"/>
                      <a:pt x="372" y="422"/>
                    </a:cubicBezTo>
                    <a:cubicBezTo>
                      <a:pt x="375" y="423"/>
                      <a:pt x="375" y="423"/>
                      <a:pt x="375" y="423"/>
                    </a:cubicBezTo>
                    <a:cubicBezTo>
                      <a:pt x="381" y="420"/>
                      <a:pt x="381" y="420"/>
                      <a:pt x="381" y="420"/>
                    </a:cubicBezTo>
                    <a:cubicBezTo>
                      <a:pt x="384" y="421"/>
                      <a:pt x="384" y="421"/>
                      <a:pt x="384" y="421"/>
                    </a:cubicBezTo>
                    <a:cubicBezTo>
                      <a:pt x="388" y="419"/>
                      <a:pt x="388" y="419"/>
                      <a:pt x="388" y="419"/>
                    </a:cubicBezTo>
                    <a:cubicBezTo>
                      <a:pt x="391" y="420"/>
                      <a:pt x="391" y="420"/>
                      <a:pt x="391" y="420"/>
                    </a:cubicBezTo>
                    <a:cubicBezTo>
                      <a:pt x="395" y="416"/>
                      <a:pt x="395" y="416"/>
                      <a:pt x="395" y="416"/>
                    </a:cubicBezTo>
                    <a:cubicBezTo>
                      <a:pt x="395" y="416"/>
                      <a:pt x="400" y="420"/>
                      <a:pt x="404" y="424"/>
                    </a:cubicBezTo>
                    <a:cubicBezTo>
                      <a:pt x="408" y="428"/>
                      <a:pt x="408" y="437"/>
                      <a:pt x="408" y="437"/>
                    </a:cubicBezTo>
                    <a:cubicBezTo>
                      <a:pt x="404" y="437"/>
                      <a:pt x="404" y="437"/>
                      <a:pt x="404" y="437"/>
                    </a:cubicBezTo>
                    <a:cubicBezTo>
                      <a:pt x="404" y="444"/>
                      <a:pt x="404" y="444"/>
                      <a:pt x="404" y="444"/>
                    </a:cubicBezTo>
                    <a:cubicBezTo>
                      <a:pt x="413" y="448"/>
                      <a:pt x="413" y="448"/>
                      <a:pt x="413" y="448"/>
                    </a:cubicBezTo>
                    <a:cubicBezTo>
                      <a:pt x="413" y="448"/>
                      <a:pt x="416" y="448"/>
                      <a:pt x="419" y="449"/>
                    </a:cubicBezTo>
                    <a:cubicBezTo>
                      <a:pt x="423" y="451"/>
                      <a:pt x="425" y="456"/>
                      <a:pt x="425" y="456"/>
                    </a:cubicBezTo>
                    <a:cubicBezTo>
                      <a:pt x="429" y="459"/>
                      <a:pt x="429" y="459"/>
                      <a:pt x="429" y="459"/>
                    </a:cubicBezTo>
                    <a:cubicBezTo>
                      <a:pt x="429" y="459"/>
                      <a:pt x="435" y="452"/>
                      <a:pt x="440" y="452"/>
                    </a:cubicBezTo>
                    <a:cubicBezTo>
                      <a:pt x="444" y="451"/>
                      <a:pt x="445" y="459"/>
                      <a:pt x="445" y="459"/>
                    </a:cubicBezTo>
                    <a:cubicBezTo>
                      <a:pt x="449" y="464"/>
                      <a:pt x="449" y="464"/>
                      <a:pt x="449" y="464"/>
                    </a:cubicBezTo>
                    <a:cubicBezTo>
                      <a:pt x="449" y="464"/>
                      <a:pt x="452" y="478"/>
                      <a:pt x="456" y="484"/>
                    </a:cubicBezTo>
                    <a:cubicBezTo>
                      <a:pt x="459" y="489"/>
                      <a:pt x="462" y="490"/>
                      <a:pt x="465" y="498"/>
                    </a:cubicBezTo>
                    <a:cubicBezTo>
                      <a:pt x="468" y="505"/>
                      <a:pt x="469" y="518"/>
                      <a:pt x="469" y="518"/>
                    </a:cubicBezTo>
                    <a:cubicBezTo>
                      <a:pt x="473" y="523"/>
                      <a:pt x="473" y="523"/>
                      <a:pt x="473" y="523"/>
                    </a:cubicBezTo>
                    <a:cubicBezTo>
                      <a:pt x="473" y="523"/>
                      <a:pt x="475" y="523"/>
                      <a:pt x="476" y="527"/>
                    </a:cubicBezTo>
                    <a:cubicBezTo>
                      <a:pt x="477" y="532"/>
                      <a:pt x="473" y="537"/>
                      <a:pt x="473" y="537"/>
                    </a:cubicBezTo>
                    <a:cubicBezTo>
                      <a:pt x="465" y="537"/>
                      <a:pt x="465" y="537"/>
                      <a:pt x="465" y="537"/>
                    </a:cubicBezTo>
                    <a:cubicBezTo>
                      <a:pt x="465" y="537"/>
                      <a:pt x="458" y="542"/>
                      <a:pt x="457" y="544"/>
                    </a:cubicBezTo>
                    <a:cubicBezTo>
                      <a:pt x="454" y="548"/>
                      <a:pt x="461" y="550"/>
                      <a:pt x="462" y="552"/>
                    </a:cubicBezTo>
                    <a:cubicBezTo>
                      <a:pt x="464" y="554"/>
                      <a:pt x="461" y="555"/>
                      <a:pt x="459" y="559"/>
                    </a:cubicBezTo>
                    <a:cubicBezTo>
                      <a:pt x="456" y="564"/>
                      <a:pt x="457" y="568"/>
                      <a:pt x="457" y="568"/>
                    </a:cubicBezTo>
                    <a:cubicBezTo>
                      <a:pt x="448" y="573"/>
                      <a:pt x="448" y="573"/>
                      <a:pt x="448" y="573"/>
                    </a:cubicBezTo>
                    <a:cubicBezTo>
                      <a:pt x="450" y="579"/>
                      <a:pt x="450" y="579"/>
                      <a:pt x="450" y="579"/>
                    </a:cubicBezTo>
                    <a:cubicBezTo>
                      <a:pt x="450" y="579"/>
                      <a:pt x="449" y="586"/>
                      <a:pt x="452" y="590"/>
                    </a:cubicBezTo>
                    <a:cubicBezTo>
                      <a:pt x="457" y="595"/>
                      <a:pt x="464" y="590"/>
                      <a:pt x="464" y="590"/>
                    </a:cubicBezTo>
                    <a:cubicBezTo>
                      <a:pt x="464" y="590"/>
                      <a:pt x="470" y="590"/>
                      <a:pt x="475" y="588"/>
                    </a:cubicBezTo>
                    <a:cubicBezTo>
                      <a:pt x="479" y="587"/>
                      <a:pt x="478" y="571"/>
                      <a:pt x="482" y="567"/>
                    </a:cubicBezTo>
                    <a:cubicBezTo>
                      <a:pt x="486" y="563"/>
                      <a:pt x="494" y="558"/>
                      <a:pt x="497" y="556"/>
                    </a:cubicBezTo>
                    <a:cubicBezTo>
                      <a:pt x="500" y="553"/>
                      <a:pt x="495" y="541"/>
                      <a:pt x="495" y="535"/>
                    </a:cubicBezTo>
                    <a:cubicBezTo>
                      <a:pt x="494" y="528"/>
                      <a:pt x="508" y="523"/>
                      <a:pt x="511" y="522"/>
                    </a:cubicBezTo>
                    <a:cubicBezTo>
                      <a:pt x="515" y="521"/>
                      <a:pt x="519" y="522"/>
                      <a:pt x="523" y="521"/>
                    </a:cubicBezTo>
                    <a:cubicBezTo>
                      <a:pt x="526" y="520"/>
                      <a:pt x="526" y="514"/>
                      <a:pt x="526" y="514"/>
                    </a:cubicBezTo>
                    <a:cubicBezTo>
                      <a:pt x="521" y="507"/>
                      <a:pt x="521" y="507"/>
                      <a:pt x="521" y="507"/>
                    </a:cubicBezTo>
                    <a:cubicBezTo>
                      <a:pt x="522" y="501"/>
                      <a:pt x="522" y="501"/>
                      <a:pt x="522" y="501"/>
                    </a:cubicBezTo>
                    <a:cubicBezTo>
                      <a:pt x="519" y="498"/>
                      <a:pt x="519" y="498"/>
                      <a:pt x="519" y="498"/>
                    </a:cubicBezTo>
                    <a:cubicBezTo>
                      <a:pt x="521" y="490"/>
                      <a:pt x="521" y="490"/>
                      <a:pt x="521" y="490"/>
                    </a:cubicBezTo>
                    <a:cubicBezTo>
                      <a:pt x="512" y="483"/>
                      <a:pt x="512" y="483"/>
                      <a:pt x="512" y="483"/>
                    </a:cubicBezTo>
                    <a:cubicBezTo>
                      <a:pt x="509" y="483"/>
                      <a:pt x="509" y="483"/>
                      <a:pt x="509" y="483"/>
                    </a:cubicBezTo>
                    <a:cubicBezTo>
                      <a:pt x="502" y="475"/>
                      <a:pt x="502" y="475"/>
                      <a:pt x="502" y="475"/>
                    </a:cubicBezTo>
                    <a:cubicBezTo>
                      <a:pt x="502" y="475"/>
                      <a:pt x="496" y="477"/>
                      <a:pt x="489" y="476"/>
                    </a:cubicBezTo>
                    <a:cubicBezTo>
                      <a:pt x="482" y="475"/>
                      <a:pt x="486" y="464"/>
                      <a:pt x="486" y="464"/>
                    </a:cubicBezTo>
                    <a:cubicBezTo>
                      <a:pt x="486" y="464"/>
                      <a:pt x="491" y="458"/>
                      <a:pt x="492" y="456"/>
                    </a:cubicBezTo>
                    <a:cubicBezTo>
                      <a:pt x="494" y="453"/>
                      <a:pt x="491" y="449"/>
                      <a:pt x="491" y="449"/>
                    </a:cubicBezTo>
                    <a:cubicBezTo>
                      <a:pt x="495" y="444"/>
                      <a:pt x="495" y="444"/>
                      <a:pt x="495" y="444"/>
                    </a:cubicBezTo>
                    <a:cubicBezTo>
                      <a:pt x="498" y="436"/>
                      <a:pt x="498" y="436"/>
                      <a:pt x="498" y="436"/>
                    </a:cubicBezTo>
                    <a:cubicBezTo>
                      <a:pt x="498" y="436"/>
                      <a:pt x="503" y="424"/>
                      <a:pt x="507" y="422"/>
                    </a:cubicBezTo>
                    <a:cubicBezTo>
                      <a:pt x="509" y="420"/>
                      <a:pt x="516" y="417"/>
                      <a:pt x="516" y="417"/>
                    </a:cubicBezTo>
                    <a:cubicBezTo>
                      <a:pt x="518" y="421"/>
                      <a:pt x="518" y="421"/>
                      <a:pt x="518" y="421"/>
                    </a:cubicBezTo>
                    <a:cubicBezTo>
                      <a:pt x="523" y="422"/>
                      <a:pt x="523" y="422"/>
                      <a:pt x="523" y="422"/>
                    </a:cubicBezTo>
                    <a:cubicBezTo>
                      <a:pt x="523" y="425"/>
                      <a:pt x="523" y="425"/>
                      <a:pt x="523" y="425"/>
                    </a:cubicBezTo>
                    <a:cubicBezTo>
                      <a:pt x="523" y="425"/>
                      <a:pt x="533" y="430"/>
                      <a:pt x="538" y="430"/>
                    </a:cubicBezTo>
                    <a:cubicBezTo>
                      <a:pt x="542" y="431"/>
                      <a:pt x="545" y="428"/>
                      <a:pt x="545" y="428"/>
                    </a:cubicBezTo>
                    <a:cubicBezTo>
                      <a:pt x="545" y="428"/>
                      <a:pt x="550" y="429"/>
                      <a:pt x="556" y="432"/>
                    </a:cubicBezTo>
                    <a:cubicBezTo>
                      <a:pt x="562" y="437"/>
                      <a:pt x="562" y="446"/>
                      <a:pt x="562" y="451"/>
                    </a:cubicBezTo>
                    <a:cubicBezTo>
                      <a:pt x="563" y="455"/>
                      <a:pt x="575" y="456"/>
                      <a:pt x="575" y="456"/>
                    </a:cubicBezTo>
                    <a:cubicBezTo>
                      <a:pt x="575" y="456"/>
                      <a:pt x="580" y="460"/>
                      <a:pt x="583" y="458"/>
                    </a:cubicBezTo>
                    <a:cubicBezTo>
                      <a:pt x="587" y="456"/>
                      <a:pt x="582" y="446"/>
                      <a:pt x="582" y="446"/>
                    </a:cubicBezTo>
                    <a:lnTo>
                      <a:pt x="589" y="436"/>
                    </a:lnTo>
                    <a:close/>
                    <a:moveTo>
                      <a:pt x="280" y="207"/>
                    </a:moveTo>
                    <a:cubicBezTo>
                      <a:pt x="279" y="208"/>
                      <a:pt x="278" y="213"/>
                      <a:pt x="278" y="213"/>
                    </a:cubicBezTo>
                    <a:cubicBezTo>
                      <a:pt x="278" y="213"/>
                      <a:pt x="274" y="216"/>
                      <a:pt x="273" y="215"/>
                    </a:cubicBezTo>
                    <a:cubicBezTo>
                      <a:pt x="271" y="214"/>
                      <a:pt x="271" y="214"/>
                      <a:pt x="271" y="214"/>
                    </a:cubicBezTo>
                    <a:cubicBezTo>
                      <a:pt x="271" y="210"/>
                      <a:pt x="271" y="210"/>
                      <a:pt x="271" y="210"/>
                    </a:cubicBezTo>
                    <a:cubicBezTo>
                      <a:pt x="275" y="209"/>
                      <a:pt x="275" y="209"/>
                      <a:pt x="275" y="209"/>
                    </a:cubicBezTo>
                    <a:cubicBezTo>
                      <a:pt x="275" y="209"/>
                      <a:pt x="275" y="207"/>
                      <a:pt x="278" y="206"/>
                    </a:cubicBezTo>
                    <a:cubicBezTo>
                      <a:pt x="281" y="205"/>
                      <a:pt x="280" y="206"/>
                      <a:pt x="280" y="207"/>
                    </a:cubicBezTo>
                    <a:close/>
                    <a:moveTo>
                      <a:pt x="412" y="554"/>
                    </a:moveTo>
                    <a:cubicBezTo>
                      <a:pt x="409" y="551"/>
                      <a:pt x="409" y="556"/>
                      <a:pt x="409" y="556"/>
                    </a:cubicBezTo>
                    <a:cubicBezTo>
                      <a:pt x="412" y="559"/>
                      <a:pt x="416" y="557"/>
                      <a:pt x="412" y="554"/>
                    </a:cubicBezTo>
                    <a:close/>
                    <a:moveTo>
                      <a:pt x="446" y="568"/>
                    </a:moveTo>
                    <a:cubicBezTo>
                      <a:pt x="445" y="567"/>
                      <a:pt x="445" y="567"/>
                      <a:pt x="445" y="567"/>
                    </a:cubicBezTo>
                    <a:cubicBezTo>
                      <a:pt x="445" y="567"/>
                      <a:pt x="434" y="574"/>
                      <a:pt x="432" y="574"/>
                    </a:cubicBezTo>
                    <a:cubicBezTo>
                      <a:pt x="430" y="574"/>
                      <a:pt x="427" y="572"/>
                      <a:pt x="427" y="572"/>
                    </a:cubicBezTo>
                    <a:cubicBezTo>
                      <a:pt x="427" y="572"/>
                      <a:pt x="423" y="579"/>
                      <a:pt x="421" y="580"/>
                    </a:cubicBezTo>
                    <a:cubicBezTo>
                      <a:pt x="419" y="580"/>
                      <a:pt x="418" y="579"/>
                      <a:pt x="418" y="579"/>
                    </a:cubicBezTo>
                    <a:cubicBezTo>
                      <a:pt x="414" y="578"/>
                      <a:pt x="414" y="578"/>
                      <a:pt x="414" y="578"/>
                    </a:cubicBezTo>
                    <a:cubicBezTo>
                      <a:pt x="411" y="577"/>
                      <a:pt x="411" y="577"/>
                      <a:pt x="411" y="577"/>
                    </a:cubicBezTo>
                    <a:cubicBezTo>
                      <a:pt x="411" y="577"/>
                      <a:pt x="409" y="580"/>
                      <a:pt x="408" y="580"/>
                    </a:cubicBezTo>
                    <a:cubicBezTo>
                      <a:pt x="405" y="579"/>
                      <a:pt x="403" y="578"/>
                      <a:pt x="403" y="578"/>
                    </a:cubicBezTo>
                    <a:cubicBezTo>
                      <a:pt x="403" y="578"/>
                      <a:pt x="397" y="583"/>
                      <a:pt x="395" y="585"/>
                    </a:cubicBezTo>
                    <a:cubicBezTo>
                      <a:pt x="393" y="586"/>
                      <a:pt x="388" y="586"/>
                      <a:pt x="388" y="586"/>
                    </a:cubicBezTo>
                    <a:cubicBezTo>
                      <a:pt x="384" y="589"/>
                      <a:pt x="384" y="589"/>
                      <a:pt x="384" y="589"/>
                    </a:cubicBezTo>
                    <a:cubicBezTo>
                      <a:pt x="370" y="590"/>
                      <a:pt x="370" y="590"/>
                      <a:pt x="370" y="590"/>
                    </a:cubicBezTo>
                    <a:cubicBezTo>
                      <a:pt x="370" y="590"/>
                      <a:pt x="368" y="588"/>
                      <a:pt x="365" y="588"/>
                    </a:cubicBezTo>
                    <a:cubicBezTo>
                      <a:pt x="362" y="588"/>
                      <a:pt x="355" y="594"/>
                      <a:pt x="352" y="594"/>
                    </a:cubicBezTo>
                    <a:cubicBezTo>
                      <a:pt x="348" y="594"/>
                      <a:pt x="341" y="589"/>
                      <a:pt x="341" y="589"/>
                    </a:cubicBezTo>
                    <a:cubicBezTo>
                      <a:pt x="339" y="585"/>
                      <a:pt x="339" y="585"/>
                      <a:pt x="339" y="585"/>
                    </a:cubicBezTo>
                    <a:cubicBezTo>
                      <a:pt x="339" y="585"/>
                      <a:pt x="332" y="587"/>
                      <a:pt x="331" y="586"/>
                    </a:cubicBezTo>
                    <a:cubicBezTo>
                      <a:pt x="330" y="584"/>
                      <a:pt x="331" y="581"/>
                      <a:pt x="331" y="581"/>
                    </a:cubicBezTo>
                    <a:cubicBezTo>
                      <a:pt x="327" y="579"/>
                      <a:pt x="327" y="579"/>
                      <a:pt x="327" y="579"/>
                    </a:cubicBezTo>
                    <a:cubicBezTo>
                      <a:pt x="316" y="581"/>
                      <a:pt x="316" y="581"/>
                      <a:pt x="316" y="581"/>
                    </a:cubicBezTo>
                    <a:cubicBezTo>
                      <a:pt x="314" y="583"/>
                      <a:pt x="314" y="583"/>
                      <a:pt x="314" y="583"/>
                    </a:cubicBezTo>
                    <a:cubicBezTo>
                      <a:pt x="315" y="587"/>
                      <a:pt x="315" y="587"/>
                      <a:pt x="315" y="587"/>
                    </a:cubicBezTo>
                    <a:cubicBezTo>
                      <a:pt x="306" y="591"/>
                      <a:pt x="306" y="591"/>
                      <a:pt x="306" y="591"/>
                    </a:cubicBezTo>
                    <a:cubicBezTo>
                      <a:pt x="301" y="588"/>
                      <a:pt x="301" y="588"/>
                      <a:pt x="301" y="588"/>
                    </a:cubicBezTo>
                    <a:cubicBezTo>
                      <a:pt x="301" y="588"/>
                      <a:pt x="301" y="585"/>
                      <a:pt x="299" y="583"/>
                    </a:cubicBezTo>
                    <a:cubicBezTo>
                      <a:pt x="296" y="581"/>
                      <a:pt x="294" y="581"/>
                      <a:pt x="294" y="581"/>
                    </a:cubicBezTo>
                    <a:cubicBezTo>
                      <a:pt x="294" y="583"/>
                      <a:pt x="294" y="583"/>
                      <a:pt x="294" y="583"/>
                    </a:cubicBezTo>
                    <a:cubicBezTo>
                      <a:pt x="294" y="583"/>
                      <a:pt x="297" y="584"/>
                      <a:pt x="297" y="585"/>
                    </a:cubicBezTo>
                    <a:cubicBezTo>
                      <a:pt x="296" y="586"/>
                      <a:pt x="288" y="588"/>
                      <a:pt x="288" y="588"/>
                    </a:cubicBezTo>
                    <a:cubicBezTo>
                      <a:pt x="284" y="595"/>
                      <a:pt x="284" y="595"/>
                      <a:pt x="284" y="595"/>
                    </a:cubicBezTo>
                    <a:cubicBezTo>
                      <a:pt x="285" y="602"/>
                      <a:pt x="285" y="602"/>
                      <a:pt x="285" y="602"/>
                    </a:cubicBezTo>
                    <a:cubicBezTo>
                      <a:pt x="282" y="606"/>
                      <a:pt x="282" y="606"/>
                      <a:pt x="282" y="606"/>
                    </a:cubicBezTo>
                    <a:cubicBezTo>
                      <a:pt x="285" y="616"/>
                      <a:pt x="285" y="616"/>
                      <a:pt x="285" y="616"/>
                    </a:cubicBezTo>
                    <a:cubicBezTo>
                      <a:pt x="292" y="615"/>
                      <a:pt x="292" y="615"/>
                      <a:pt x="292" y="615"/>
                    </a:cubicBezTo>
                    <a:cubicBezTo>
                      <a:pt x="295" y="622"/>
                      <a:pt x="295" y="622"/>
                      <a:pt x="295" y="622"/>
                    </a:cubicBezTo>
                    <a:cubicBezTo>
                      <a:pt x="295" y="622"/>
                      <a:pt x="303" y="620"/>
                      <a:pt x="310" y="622"/>
                    </a:cubicBezTo>
                    <a:cubicBezTo>
                      <a:pt x="312" y="624"/>
                      <a:pt x="313" y="625"/>
                      <a:pt x="315" y="626"/>
                    </a:cubicBezTo>
                    <a:cubicBezTo>
                      <a:pt x="319" y="627"/>
                      <a:pt x="321" y="626"/>
                      <a:pt x="321" y="626"/>
                    </a:cubicBezTo>
                    <a:cubicBezTo>
                      <a:pt x="321" y="626"/>
                      <a:pt x="333" y="638"/>
                      <a:pt x="335" y="638"/>
                    </a:cubicBezTo>
                    <a:cubicBezTo>
                      <a:pt x="337" y="638"/>
                      <a:pt x="341" y="637"/>
                      <a:pt x="343" y="640"/>
                    </a:cubicBezTo>
                    <a:cubicBezTo>
                      <a:pt x="344" y="641"/>
                      <a:pt x="346" y="644"/>
                      <a:pt x="350" y="646"/>
                    </a:cubicBezTo>
                    <a:cubicBezTo>
                      <a:pt x="354" y="649"/>
                      <a:pt x="362" y="650"/>
                      <a:pt x="366" y="650"/>
                    </a:cubicBezTo>
                    <a:cubicBezTo>
                      <a:pt x="370" y="650"/>
                      <a:pt x="381" y="650"/>
                      <a:pt x="384" y="656"/>
                    </a:cubicBezTo>
                    <a:cubicBezTo>
                      <a:pt x="388" y="660"/>
                      <a:pt x="391" y="667"/>
                      <a:pt x="392" y="668"/>
                    </a:cubicBezTo>
                    <a:cubicBezTo>
                      <a:pt x="394" y="669"/>
                      <a:pt x="398" y="667"/>
                      <a:pt x="401" y="669"/>
                    </a:cubicBezTo>
                    <a:cubicBezTo>
                      <a:pt x="403" y="672"/>
                      <a:pt x="404" y="673"/>
                      <a:pt x="404" y="673"/>
                    </a:cubicBezTo>
                    <a:cubicBezTo>
                      <a:pt x="404" y="673"/>
                      <a:pt x="411" y="672"/>
                      <a:pt x="414" y="672"/>
                    </a:cubicBezTo>
                    <a:cubicBezTo>
                      <a:pt x="416" y="672"/>
                      <a:pt x="419" y="674"/>
                      <a:pt x="419" y="674"/>
                    </a:cubicBezTo>
                    <a:cubicBezTo>
                      <a:pt x="420" y="673"/>
                      <a:pt x="420" y="673"/>
                      <a:pt x="420" y="673"/>
                    </a:cubicBezTo>
                    <a:cubicBezTo>
                      <a:pt x="420" y="673"/>
                      <a:pt x="426" y="677"/>
                      <a:pt x="427" y="675"/>
                    </a:cubicBezTo>
                    <a:cubicBezTo>
                      <a:pt x="428" y="673"/>
                      <a:pt x="425" y="669"/>
                      <a:pt x="427" y="662"/>
                    </a:cubicBezTo>
                    <a:cubicBezTo>
                      <a:pt x="430" y="654"/>
                      <a:pt x="436" y="652"/>
                      <a:pt x="436" y="652"/>
                    </a:cubicBezTo>
                    <a:cubicBezTo>
                      <a:pt x="436" y="649"/>
                      <a:pt x="436" y="649"/>
                      <a:pt x="436" y="649"/>
                    </a:cubicBezTo>
                    <a:cubicBezTo>
                      <a:pt x="434" y="649"/>
                      <a:pt x="434" y="649"/>
                      <a:pt x="434" y="649"/>
                    </a:cubicBezTo>
                    <a:cubicBezTo>
                      <a:pt x="434" y="646"/>
                      <a:pt x="434" y="646"/>
                      <a:pt x="434" y="646"/>
                    </a:cubicBezTo>
                    <a:cubicBezTo>
                      <a:pt x="429" y="640"/>
                      <a:pt x="429" y="640"/>
                      <a:pt x="429" y="640"/>
                    </a:cubicBezTo>
                    <a:cubicBezTo>
                      <a:pt x="431" y="638"/>
                      <a:pt x="431" y="638"/>
                      <a:pt x="431" y="638"/>
                    </a:cubicBezTo>
                    <a:cubicBezTo>
                      <a:pt x="429" y="633"/>
                      <a:pt x="429" y="633"/>
                      <a:pt x="429" y="633"/>
                    </a:cubicBezTo>
                    <a:cubicBezTo>
                      <a:pt x="427" y="634"/>
                      <a:pt x="427" y="634"/>
                      <a:pt x="427" y="634"/>
                    </a:cubicBezTo>
                    <a:cubicBezTo>
                      <a:pt x="427" y="634"/>
                      <a:pt x="423" y="631"/>
                      <a:pt x="423" y="626"/>
                    </a:cubicBezTo>
                    <a:cubicBezTo>
                      <a:pt x="423" y="620"/>
                      <a:pt x="425" y="618"/>
                      <a:pt x="425" y="618"/>
                    </a:cubicBezTo>
                    <a:cubicBezTo>
                      <a:pt x="428" y="603"/>
                      <a:pt x="428" y="603"/>
                      <a:pt x="428" y="603"/>
                    </a:cubicBezTo>
                    <a:cubicBezTo>
                      <a:pt x="428" y="603"/>
                      <a:pt x="436" y="590"/>
                      <a:pt x="440" y="585"/>
                    </a:cubicBezTo>
                    <a:cubicBezTo>
                      <a:pt x="444" y="580"/>
                      <a:pt x="445" y="575"/>
                      <a:pt x="445" y="575"/>
                    </a:cubicBezTo>
                    <a:cubicBezTo>
                      <a:pt x="445" y="573"/>
                      <a:pt x="445" y="573"/>
                      <a:pt x="445" y="573"/>
                    </a:cubicBezTo>
                    <a:cubicBezTo>
                      <a:pt x="448" y="569"/>
                      <a:pt x="448" y="569"/>
                      <a:pt x="448" y="569"/>
                    </a:cubicBezTo>
                    <a:lnTo>
                      <a:pt x="446" y="568"/>
                    </a:lnTo>
                    <a:close/>
                    <a:moveTo>
                      <a:pt x="405" y="550"/>
                    </a:moveTo>
                    <a:cubicBezTo>
                      <a:pt x="401" y="550"/>
                      <a:pt x="404" y="553"/>
                      <a:pt x="404" y="553"/>
                    </a:cubicBezTo>
                    <a:cubicBezTo>
                      <a:pt x="407" y="554"/>
                      <a:pt x="410" y="550"/>
                      <a:pt x="405" y="550"/>
                    </a:cubicBezTo>
                    <a:close/>
                  </a:path>
                </a:pathLst>
              </a:custGeom>
              <a:solidFill>
                <a:srgbClr val="FDC795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65" name="Ireland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3089275" y="3200400"/>
                <a:ext cx="434975" cy="493712"/>
              </a:xfrm>
              <a:custGeom>
                <a:avLst/>
                <a:gdLst/>
                <a:ahLst/>
                <a:cxnLst>
                  <a:cxn ang="0">
                    <a:pos x="55" y="68"/>
                  </a:cxn>
                  <a:cxn ang="0">
                    <a:pos x="52" y="60"/>
                  </a:cxn>
                  <a:cxn ang="0">
                    <a:pos x="57" y="74"/>
                  </a:cxn>
                  <a:cxn ang="0">
                    <a:pos x="45" y="85"/>
                  </a:cxn>
                  <a:cxn ang="0">
                    <a:pos x="56" y="117"/>
                  </a:cxn>
                  <a:cxn ang="0">
                    <a:pos x="49" y="119"/>
                  </a:cxn>
                  <a:cxn ang="0">
                    <a:pos x="201" y="95"/>
                  </a:cxn>
                  <a:cxn ang="0">
                    <a:pos x="183" y="84"/>
                  </a:cxn>
                  <a:cxn ang="0">
                    <a:pos x="159" y="82"/>
                  </a:cxn>
                  <a:cxn ang="0">
                    <a:pos x="142" y="53"/>
                  </a:cxn>
                  <a:cxn ang="0">
                    <a:pos x="149" y="43"/>
                  </a:cxn>
                  <a:cxn ang="0">
                    <a:pos x="170" y="36"/>
                  </a:cxn>
                  <a:cxn ang="0">
                    <a:pos x="186" y="20"/>
                  </a:cxn>
                  <a:cxn ang="0">
                    <a:pos x="184" y="9"/>
                  </a:cxn>
                  <a:cxn ang="0">
                    <a:pos x="174" y="22"/>
                  </a:cxn>
                  <a:cxn ang="0">
                    <a:pos x="172" y="17"/>
                  </a:cxn>
                  <a:cxn ang="0">
                    <a:pos x="168" y="13"/>
                  </a:cxn>
                  <a:cxn ang="0">
                    <a:pos x="161" y="13"/>
                  </a:cxn>
                  <a:cxn ang="0">
                    <a:pos x="145" y="8"/>
                  </a:cxn>
                  <a:cxn ang="0">
                    <a:pos x="131" y="26"/>
                  </a:cxn>
                  <a:cxn ang="0">
                    <a:pos x="126" y="44"/>
                  </a:cxn>
                  <a:cxn ang="0">
                    <a:pos x="125" y="52"/>
                  </a:cxn>
                  <a:cxn ang="0">
                    <a:pos x="103" y="56"/>
                  </a:cxn>
                  <a:cxn ang="0">
                    <a:pos x="84" y="51"/>
                  </a:cxn>
                  <a:cxn ang="0">
                    <a:pos x="67" y="47"/>
                  </a:cxn>
                  <a:cxn ang="0">
                    <a:pos x="63" y="57"/>
                  </a:cxn>
                  <a:cxn ang="0">
                    <a:pos x="64" y="70"/>
                  </a:cxn>
                  <a:cxn ang="0">
                    <a:pos x="58" y="79"/>
                  </a:cxn>
                  <a:cxn ang="0">
                    <a:pos x="44" y="90"/>
                  </a:cxn>
                  <a:cxn ang="0">
                    <a:pos x="55" y="104"/>
                  </a:cxn>
                  <a:cxn ang="0">
                    <a:pos x="62" y="107"/>
                  </a:cxn>
                  <a:cxn ang="0">
                    <a:pos x="84" y="121"/>
                  </a:cxn>
                  <a:cxn ang="0">
                    <a:pos x="60" y="135"/>
                  </a:cxn>
                  <a:cxn ang="0">
                    <a:pos x="47" y="150"/>
                  </a:cxn>
                  <a:cxn ang="0">
                    <a:pos x="71" y="152"/>
                  </a:cxn>
                  <a:cxn ang="0">
                    <a:pos x="75" y="159"/>
                  </a:cxn>
                  <a:cxn ang="0">
                    <a:pos x="34" y="164"/>
                  </a:cxn>
                  <a:cxn ang="0">
                    <a:pos x="21" y="172"/>
                  </a:cxn>
                  <a:cxn ang="0">
                    <a:pos x="19" y="181"/>
                  </a:cxn>
                  <a:cxn ang="0">
                    <a:pos x="2" y="199"/>
                  </a:cxn>
                  <a:cxn ang="0">
                    <a:pos x="14" y="210"/>
                  </a:cxn>
                  <a:cxn ang="0">
                    <a:pos x="33" y="211"/>
                  </a:cxn>
                  <a:cxn ang="0">
                    <a:pos x="22" y="224"/>
                  </a:cxn>
                  <a:cxn ang="0">
                    <a:pos x="35" y="230"/>
                  </a:cxn>
                  <a:cxn ang="0">
                    <a:pos x="61" y="230"/>
                  </a:cxn>
                  <a:cxn ang="0">
                    <a:pos x="87" y="215"/>
                  </a:cxn>
                  <a:cxn ang="0">
                    <a:pos x="112" y="218"/>
                  </a:cxn>
                  <a:cxn ang="0">
                    <a:pos x="141" y="204"/>
                  </a:cxn>
                  <a:cxn ang="0">
                    <a:pos x="150" y="210"/>
                  </a:cxn>
                  <a:cxn ang="0">
                    <a:pos x="164" y="201"/>
                  </a:cxn>
                  <a:cxn ang="0">
                    <a:pos x="184" y="177"/>
                  </a:cxn>
                  <a:cxn ang="0">
                    <a:pos x="195" y="135"/>
                  </a:cxn>
                  <a:cxn ang="0">
                    <a:pos x="204" y="102"/>
                  </a:cxn>
                </a:cxnLst>
                <a:rect l="0" t="0" r="r" b="b"/>
                <a:pathLst>
                  <a:path w="204" h="232">
                    <a:moveTo>
                      <a:pt x="134" y="14"/>
                    </a:moveTo>
                    <a:cubicBezTo>
                      <a:pt x="131" y="17"/>
                      <a:pt x="131" y="17"/>
                      <a:pt x="131" y="17"/>
                    </a:cubicBezTo>
                    <a:cubicBezTo>
                      <a:pt x="135" y="19"/>
                      <a:pt x="135" y="19"/>
                      <a:pt x="135" y="19"/>
                    </a:cubicBezTo>
                    <a:lnTo>
                      <a:pt x="134" y="14"/>
                    </a:lnTo>
                    <a:close/>
                    <a:moveTo>
                      <a:pt x="55" y="68"/>
                    </a:moveTo>
                    <a:cubicBezTo>
                      <a:pt x="55" y="70"/>
                      <a:pt x="57" y="71"/>
                      <a:pt x="57" y="71"/>
                    </a:cubicBezTo>
                    <a:cubicBezTo>
                      <a:pt x="60" y="67"/>
                      <a:pt x="60" y="67"/>
                      <a:pt x="60" y="67"/>
                    </a:cubicBezTo>
                    <a:cubicBezTo>
                      <a:pt x="60" y="60"/>
                      <a:pt x="60" y="60"/>
                      <a:pt x="60" y="60"/>
                    </a:cubicBezTo>
                    <a:cubicBezTo>
                      <a:pt x="56" y="62"/>
                      <a:pt x="56" y="62"/>
                      <a:pt x="56" y="62"/>
                    </a:cubicBezTo>
                    <a:cubicBezTo>
                      <a:pt x="52" y="60"/>
                      <a:pt x="52" y="60"/>
                      <a:pt x="52" y="60"/>
                    </a:cubicBezTo>
                    <a:cubicBezTo>
                      <a:pt x="49" y="61"/>
                      <a:pt x="49" y="61"/>
                      <a:pt x="49" y="61"/>
                    </a:cubicBezTo>
                    <a:cubicBezTo>
                      <a:pt x="49" y="61"/>
                      <a:pt x="51" y="64"/>
                      <a:pt x="52" y="64"/>
                    </a:cubicBezTo>
                    <a:cubicBezTo>
                      <a:pt x="53" y="64"/>
                      <a:pt x="55" y="66"/>
                      <a:pt x="55" y="68"/>
                    </a:cubicBezTo>
                    <a:close/>
                    <a:moveTo>
                      <a:pt x="57" y="77"/>
                    </a:moveTo>
                    <a:cubicBezTo>
                      <a:pt x="57" y="74"/>
                      <a:pt x="57" y="74"/>
                      <a:pt x="57" y="74"/>
                    </a:cubicBezTo>
                    <a:cubicBezTo>
                      <a:pt x="53" y="76"/>
                      <a:pt x="53" y="76"/>
                      <a:pt x="53" y="76"/>
                    </a:cubicBezTo>
                    <a:lnTo>
                      <a:pt x="57" y="77"/>
                    </a:lnTo>
                    <a:close/>
                    <a:moveTo>
                      <a:pt x="42" y="84"/>
                    </a:moveTo>
                    <a:cubicBezTo>
                      <a:pt x="42" y="86"/>
                      <a:pt x="42" y="86"/>
                      <a:pt x="42" y="86"/>
                    </a:cubicBezTo>
                    <a:cubicBezTo>
                      <a:pt x="45" y="85"/>
                      <a:pt x="45" y="85"/>
                      <a:pt x="45" y="85"/>
                    </a:cubicBezTo>
                    <a:lnTo>
                      <a:pt x="42" y="84"/>
                    </a:lnTo>
                    <a:close/>
                    <a:moveTo>
                      <a:pt x="56" y="117"/>
                    </a:moveTo>
                    <a:cubicBezTo>
                      <a:pt x="57" y="112"/>
                      <a:pt x="57" y="112"/>
                      <a:pt x="57" y="112"/>
                    </a:cubicBezTo>
                    <a:cubicBezTo>
                      <a:pt x="55" y="112"/>
                      <a:pt x="55" y="112"/>
                      <a:pt x="55" y="112"/>
                    </a:cubicBezTo>
                    <a:lnTo>
                      <a:pt x="56" y="117"/>
                    </a:lnTo>
                    <a:close/>
                    <a:moveTo>
                      <a:pt x="49" y="119"/>
                    </a:moveTo>
                    <a:cubicBezTo>
                      <a:pt x="55" y="123"/>
                      <a:pt x="55" y="123"/>
                      <a:pt x="55" y="123"/>
                    </a:cubicBezTo>
                    <a:cubicBezTo>
                      <a:pt x="55" y="122"/>
                      <a:pt x="55" y="122"/>
                      <a:pt x="55" y="122"/>
                    </a:cubicBezTo>
                    <a:cubicBezTo>
                      <a:pt x="51" y="119"/>
                      <a:pt x="51" y="119"/>
                      <a:pt x="51" y="119"/>
                    </a:cubicBezTo>
                    <a:lnTo>
                      <a:pt x="49" y="119"/>
                    </a:lnTo>
                    <a:close/>
                    <a:moveTo>
                      <a:pt x="55" y="126"/>
                    </a:moveTo>
                    <a:cubicBezTo>
                      <a:pt x="58" y="126"/>
                      <a:pt x="58" y="126"/>
                      <a:pt x="58" y="126"/>
                    </a:cubicBezTo>
                    <a:cubicBezTo>
                      <a:pt x="56" y="124"/>
                      <a:pt x="56" y="124"/>
                      <a:pt x="56" y="124"/>
                    </a:cubicBezTo>
                    <a:lnTo>
                      <a:pt x="55" y="126"/>
                    </a:lnTo>
                    <a:close/>
                    <a:moveTo>
                      <a:pt x="201" y="95"/>
                    </a:moveTo>
                    <a:cubicBezTo>
                      <a:pt x="199" y="91"/>
                      <a:pt x="199" y="91"/>
                      <a:pt x="199" y="91"/>
                    </a:cubicBezTo>
                    <a:cubicBezTo>
                      <a:pt x="197" y="95"/>
                      <a:pt x="197" y="95"/>
                      <a:pt x="197" y="95"/>
                    </a:cubicBezTo>
                    <a:cubicBezTo>
                      <a:pt x="197" y="95"/>
                      <a:pt x="192" y="94"/>
                      <a:pt x="186" y="94"/>
                    </a:cubicBezTo>
                    <a:cubicBezTo>
                      <a:pt x="181" y="94"/>
                      <a:pt x="188" y="85"/>
                      <a:pt x="188" y="85"/>
                    </a:cubicBezTo>
                    <a:cubicBezTo>
                      <a:pt x="183" y="84"/>
                      <a:pt x="183" y="84"/>
                      <a:pt x="183" y="84"/>
                    </a:cubicBezTo>
                    <a:cubicBezTo>
                      <a:pt x="183" y="76"/>
                      <a:pt x="183" y="76"/>
                      <a:pt x="183" y="76"/>
                    </a:cubicBezTo>
                    <a:cubicBezTo>
                      <a:pt x="183" y="76"/>
                      <a:pt x="182" y="68"/>
                      <a:pt x="177" y="67"/>
                    </a:cubicBezTo>
                    <a:cubicBezTo>
                      <a:pt x="172" y="66"/>
                      <a:pt x="169" y="73"/>
                      <a:pt x="169" y="73"/>
                    </a:cubicBezTo>
                    <a:cubicBezTo>
                      <a:pt x="170" y="77"/>
                      <a:pt x="170" y="77"/>
                      <a:pt x="170" y="77"/>
                    </a:cubicBezTo>
                    <a:cubicBezTo>
                      <a:pt x="170" y="77"/>
                      <a:pt x="167" y="83"/>
                      <a:pt x="159" y="82"/>
                    </a:cubicBezTo>
                    <a:cubicBezTo>
                      <a:pt x="152" y="82"/>
                      <a:pt x="150" y="75"/>
                      <a:pt x="150" y="75"/>
                    </a:cubicBezTo>
                    <a:cubicBezTo>
                      <a:pt x="143" y="74"/>
                      <a:pt x="143" y="74"/>
                      <a:pt x="143" y="74"/>
                    </a:cubicBezTo>
                    <a:cubicBezTo>
                      <a:pt x="144" y="68"/>
                      <a:pt x="144" y="68"/>
                      <a:pt x="144" y="68"/>
                    </a:cubicBezTo>
                    <a:cubicBezTo>
                      <a:pt x="144" y="68"/>
                      <a:pt x="137" y="57"/>
                      <a:pt x="137" y="54"/>
                    </a:cubicBezTo>
                    <a:cubicBezTo>
                      <a:pt x="137" y="51"/>
                      <a:pt x="142" y="53"/>
                      <a:pt x="142" y="53"/>
                    </a:cubicBezTo>
                    <a:cubicBezTo>
                      <a:pt x="144" y="48"/>
                      <a:pt x="144" y="48"/>
                      <a:pt x="144" y="48"/>
                    </a:cubicBezTo>
                    <a:cubicBezTo>
                      <a:pt x="150" y="51"/>
                      <a:pt x="150" y="51"/>
                      <a:pt x="150" y="51"/>
                    </a:cubicBezTo>
                    <a:cubicBezTo>
                      <a:pt x="154" y="48"/>
                      <a:pt x="154" y="48"/>
                      <a:pt x="154" y="48"/>
                    </a:cubicBezTo>
                    <a:cubicBezTo>
                      <a:pt x="157" y="47"/>
                      <a:pt x="157" y="47"/>
                      <a:pt x="157" y="47"/>
                    </a:cubicBezTo>
                    <a:cubicBezTo>
                      <a:pt x="157" y="47"/>
                      <a:pt x="149" y="45"/>
                      <a:pt x="149" y="43"/>
                    </a:cubicBezTo>
                    <a:cubicBezTo>
                      <a:pt x="149" y="40"/>
                      <a:pt x="153" y="39"/>
                      <a:pt x="154" y="39"/>
                    </a:cubicBezTo>
                    <a:cubicBezTo>
                      <a:pt x="156" y="39"/>
                      <a:pt x="157" y="43"/>
                      <a:pt x="157" y="43"/>
                    </a:cubicBezTo>
                    <a:cubicBezTo>
                      <a:pt x="157" y="43"/>
                      <a:pt x="159" y="41"/>
                      <a:pt x="161" y="41"/>
                    </a:cubicBezTo>
                    <a:cubicBezTo>
                      <a:pt x="165" y="41"/>
                      <a:pt x="164" y="43"/>
                      <a:pt x="164" y="43"/>
                    </a:cubicBezTo>
                    <a:cubicBezTo>
                      <a:pt x="170" y="36"/>
                      <a:pt x="170" y="36"/>
                      <a:pt x="170" y="36"/>
                    </a:cubicBezTo>
                    <a:cubicBezTo>
                      <a:pt x="171" y="30"/>
                      <a:pt x="171" y="30"/>
                      <a:pt x="171" y="30"/>
                    </a:cubicBezTo>
                    <a:cubicBezTo>
                      <a:pt x="173" y="30"/>
                      <a:pt x="173" y="30"/>
                      <a:pt x="173" y="30"/>
                    </a:cubicBezTo>
                    <a:cubicBezTo>
                      <a:pt x="176" y="23"/>
                      <a:pt x="176" y="23"/>
                      <a:pt x="176" y="23"/>
                    </a:cubicBezTo>
                    <a:cubicBezTo>
                      <a:pt x="182" y="24"/>
                      <a:pt x="182" y="24"/>
                      <a:pt x="182" y="24"/>
                    </a:cubicBezTo>
                    <a:cubicBezTo>
                      <a:pt x="186" y="20"/>
                      <a:pt x="186" y="20"/>
                      <a:pt x="186" y="20"/>
                    </a:cubicBezTo>
                    <a:cubicBezTo>
                      <a:pt x="186" y="20"/>
                      <a:pt x="194" y="17"/>
                      <a:pt x="194" y="15"/>
                    </a:cubicBezTo>
                    <a:cubicBezTo>
                      <a:pt x="195" y="13"/>
                      <a:pt x="189" y="9"/>
                      <a:pt x="189" y="9"/>
                    </a:cubicBezTo>
                    <a:cubicBezTo>
                      <a:pt x="189" y="6"/>
                      <a:pt x="189" y="6"/>
                      <a:pt x="189" y="6"/>
                    </a:cubicBezTo>
                    <a:cubicBezTo>
                      <a:pt x="189" y="6"/>
                      <a:pt x="183" y="0"/>
                      <a:pt x="182" y="1"/>
                    </a:cubicBezTo>
                    <a:cubicBezTo>
                      <a:pt x="181" y="3"/>
                      <a:pt x="185" y="9"/>
                      <a:pt x="184" y="9"/>
                    </a:cubicBezTo>
                    <a:cubicBezTo>
                      <a:pt x="184" y="10"/>
                      <a:pt x="182" y="7"/>
                      <a:pt x="182" y="7"/>
                    </a:cubicBezTo>
                    <a:cubicBezTo>
                      <a:pt x="175" y="6"/>
                      <a:pt x="175" y="6"/>
                      <a:pt x="175" y="6"/>
                    </a:cubicBezTo>
                    <a:cubicBezTo>
                      <a:pt x="173" y="11"/>
                      <a:pt x="173" y="11"/>
                      <a:pt x="173" y="11"/>
                    </a:cubicBezTo>
                    <a:cubicBezTo>
                      <a:pt x="174" y="13"/>
                      <a:pt x="174" y="13"/>
                      <a:pt x="174" y="13"/>
                    </a:cubicBezTo>
                    <a:cubicBezTo>
                      <a:pt x="174" y="22"/>
                      <a:pt x="174" y="22"/>
                      <a:pt x="174" y="22"/>
                    </a:cubicBezTo>
                    <a:cubicBezTo>
                      <a:pt x="166" y="26"/>
                      <a:pt x="166" y="26"/>
                      <a:pt x="166" y="26"/>
                    </a:cubicBezTo>
                    <a:cubicBezTo>
                      <a:pt x="165" y="26"/>
                      <a:pt x="165" y="26"/>
                      <a:pt x="165" y="26"/>
                    </a:cubicBezTo>
                    <a:cubicBezTo>
                      <a:pt x="168" y="22"/>
                      <a:pt x="168" y="22"/>
                      <a:pt x="168" y="22"/>
                    </a:cubicBezTo>
                    <a:cubicBezTo>
                      <a:pt x="167" y="21"/>
                      <a:pt x="167" y="21"/>
                      <a:pt x="167" y="21"/>
                    </a:cubicBezTo>
                    <a:cubicBezTo>
                      <a:pt x="167" y="21"/>
                      <a:pt x="171" y="21"/>
                      <a:pt x="172" y="17"/>
                    </a:cubicBezTo>
                    <a:cubicBezTo>
                      <a:pt x="172" y="15"/>
                      <a:pt x="170" y="12"/>
                      <a:pt x="170" y="11"/>
                    </a:cubicBezTo>
                    <a:cubicBezTo>
                      <a:pt x="170" y="9"/>
                      <a:pt x="171" y="7"/>
                      <a:pt x="171" y="7"/>
                    </a:cubicBezTo>
                    <a:cubicBezTo>
                      <a:pt x="166" y="7"/>
                      <a:pt x="166" y="7"/>
                      <a:pt x="166" y="7"/>
                    </a:cubicBezTo>
                    <a:cubicBezTo>
                      <a:pt x="166" y="10"/>
                      <a:pt x="166" y="10"/>
                      <a:pt x="166" y="10"/>
                    </a:cubicBezTo>
                    <a:cubicBezTo>
                      <a:pt x="166" y="10"/>
                      <a:pt x="169" y="11"/>
                      <a:pt x="168" y="13"/>
                    </a:cubicBezTo>
                    <a:cubicBezTo>
                      <a:pt x="168" y="15"/>
                      <a:pt x="166" y="16"/>
                      <a:pt x="166" y="16"/>
                    </a:cubicBezTo>
                    <a:cubicBezTo>
                      <a:pt x="166" y="16"/>
                      <a:pt x="166" y="13"/>
                      <a:pt x="165" y="12"/>
                    </a:cubicBezTo>
                    <a:cubicBezTo>
                      <a:pt x="164" y="11"/>
                      <a:pt x="164" y="7"/>
                      <a:pt x="164" y="7"/>
                    </a:cubicBezTo>
                    <a:cubicBezTo>
                      <a:pt x="161" y="7"/>
                      <a:pt x="161" y="7"/>
                      <a:pt x="161" y="7"/>
                    </a:cubicBezTo>
                    <a:cubicBezTo>
                      <a:pt x="161" y="7"/>
                      <a:pt x="162" y="13"/>
                      <a:pt x="161" y="13"/>
                    </a:cubicBezTo>
                    <a:cubicBezTo>
                      <a:pt x="160" y="14"/>
                      <a:pt x="159" y="11"/>
                      <a:pt x="159" y="11"/>
                    </a:cubicBezTo>
                    <a:cubicBezTo>
                      <a:pt x="157" y="9"/>
                      <a:pt x="157" y="9"/>
                      <a:pt x="157" y="9"/>
                    </a:cubicBezTo>
                    <a:cubicBezTo>
                      <a:pt x="157" y="7"/>
                      <a:pt x="157" y="7"/>
                      <a:pt x="157" y="7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5" y="8"/>
                      <a:pt x="145" y="8"/>
                      <a:pt x="145" y="8"/>
                    </a:cubicBezTo>
                    <a:cubicBezTo>
                      <a:pt x="145" y="8"/>
                      <a:pt x="143" y="13"/>
                      <a:pt x="142" y="14"/>
                    </a:cubicBezTo>
                    <a:cubicBezTo>
                      <a:pt x="140" y="15"/>
                      <a:pt x="138" y="15"/>
                      <a:pt x="138" y="15"/>
                    </a:cubicBezTo>
                    <a:cubicBezTo>
                      <a:pt x="136" y="21"/>
                      <a:pt x="136" y="21"/>
                      <a:pt x="136" y="21"/>
                    </a:cubicBezTo>
                    <a:cubicBezTo>
                      <a:pt x="138" y="25"/>
                      <a:pt x="138" y="25"/>
                      <a:pt x="138" y="25"/>
                    </a:cubicBezTo>
                    <a:cubicBezTo>
                      <a:pt x="131" y="26"/>
                      <a:pt x="131" y="26"/>
                      <a:pt x="131" y="26"/>
                    </a:cubicBezTo>
                    <a:cubicBezTo>
                      <a:pt x="132" y="29"/>
                      <a:pt x="132" y="29"/>
                      <a:pt x="132" y="29"/>
                    </a:cubicBezTo>
                    <a:cubicBezTo>
                      <a:pt x="132" y="29"/>
                      <a:pt x="124" y="27"/>
                      <a:pt x="121" y="30"/>
                    </a:cubicBezTo>
                    <a:cubicBezTo>
                      <a:pt x="118" y="32"/>
                      <a:pt x="118" y="40"/>
                      <a:pt x="124" y="40"/>
                    </a:cubicBezTo>
                    <a:cubicBezTo>
                      <a:pt x="131" y="40"/>
                      <a:pt x="129" y="42"/>
                      <a:pt x="129" y="42"/>
                    </a:cubicBezTo>
                    <a:cubicBezTo>
                      <a:pt x="126" y="44"/>
                      <a:pt x="126" y="44"/>
                      <a:pt x="126" y="44"/>
                    </a:cubicBezTo>
                    <a:cubicBezTo>
                      <a:pt x="129" y="45"/>
                      <a:pt x="129" y="45"/>
                      <a:pt x="129" y="45"/>
                    </a:cubicBezTo>
                    <a:cubicBezTo>
                      <a:pt x="134" y="42"/>
                      <a:pt x="134" y="42"/>
                      <a:pt x="134" y="42"/>
                    </a:cubicBezTo>
                    <a:cubicBezTo>
                      <a:pt x="139" y="43"/>
                      <a:pt x="139" y="43"/>
                      <a:pt x="139" y="43"/>
                    </a:cubicBezTo>
                    <a:cubicBezTo>
                      <a:pt x="132" y="51"/>
                      <a:pt x="132" y="51"/>
                      <a:pt x="132" y="51"/>
                    </a:cubicBezTo>
                    <a:cubicBezTo>
                      <a:pt x="125" y="52"/>
                      <a:pt x="125" y="52"/>
                      <a:pt x="125" y="52"/>
                    </a:cubicBezTo>
                    <a:cubicBezTo>
                      <a:pt x="117" y="56"/>
                      <a:pt x="117" y="56"/>
                      <a:pt x="117" y="56"/>
                    </a:cubicBezTo>
                    <a:cubicBezTo>
                      <a:pt x="117" y="56"/>
                      <a:pt x="119" y="62"/>
                      <a:pt x="118" y="63"/>
                    </a:cubicBezTo>
                    <a:cubicBezTo>
                      <a:pt x="117" y="64"/>
                      <a:pt x="115" y="66"/>
                      <a:pt x="115" y="66"/>
                    </a:cubicBezTo>
                    <a:cubicBezTo>
                      <a:pt x="115" y="63"/>
                      <a:pt x="115" y="63"/>
                      <a:pt x="115" y="63"/>
                    </a:cubicBezTo>
                    <a:cubicBezTo>
                      <a:pt x="115" y="63"/>
                      <a:pt x="105" y="56"/>
                      <a:pt x="103" y="56"/>
                    </a:cubicBezTo>
                    <a:cubicBezTo>
                      <a:pt x="100" y="56"/>
                      <a:pt x="95" y="61"/>
                      <a:pt x="95" y="61"/>
                    </a:cubicBezTo>
                    <a:cubicBezTo>
                      <a:pt x="93" y="59"/>
                      <a:pt x="93" y="59"/>
                      <a:pt x="93" y="59"/>
                    </a:cubicBezTo>
                    <a:cubicBezTo>
                      <a:pt x="93" y="55"/>
                      <a:pt x="93" y="55"/>
                      <a:pt x="93" y="55"/>
                    </a:cubicBezTo>
                    <a:cubicBezTo>
                      <a:pt x="91" y="52"/>
                      <a:pt x="91" y="52"/>
                      <a:pt x="91" y="52"/>
                    </a:cubicBezTo>
                    <a:cubicBezTo>
                      <a:pt x="91" y="52"/>
                      <a:pt x="86" y="51"/>
                      <a:pt x="84" y="51"/>
                    </a:cubicBezTo>
                    <a:cubicBezTo>
                      <a:pt x="80" y="49"/>
                      <a:pt x="75" y="44"/>
                      <a:pt x="73" y="45"/>
                    </a:cubicBezTo>
                    <a:cubicBezTo>
                      <a:pt x="72" y="45"/>
                      <a:pt x="70" y="46"/>
                      <a:pt x="70" y="46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67" y="52"/>
                      <a:pt x="67" y="52"/>
                      <a:pt x="67" y="52"/>
                    </a:cubicBezTo>
                    <a:cubicBezTo>
                      <a:pt x="67" y="47"/>
                      <a:pt x="67" y="47"/>
                      <a:pt x="67" y="47"/>
                    </a:cubicBezTo>
                    <a:cubicBezTo>
                      <a:pt x="62" y="46"/>
                      <a:pt x="62" y="46"/>
                      <a:pt x="62" y="46"/>
                    </a:cubicBezTo>
                    <a:cubicBezTo>
                      <a:pt x="57" y="56"/>
                      <a:pt x="57" y="56"/>
                      <a:pt x="57" y="56"/>
                    </a:cubicBezTo>
                    <a:cubicBezTo>
                      <a:pt x="58" y="56"/>
                      <a:pt x="58" y="56"/>
                      <a:pt x="58" y="56"/>
                    </a:cubicBezTo>
                    <a:cubicBezTo>
                      <a:pt x="62" y="51"/>
                      <a:pt x="62" y="51"/>
                      <a:pt x="62" y="51"/>
                    </a:cubicBezTo>
                    <a:cubicBezTo>
                      <a:pt x="63" y="57"/>
                      <a:pt x="63" y="57"/>
                      <a:pt x="63" y="57"/>
                    </a:cubicBezTo>
                    <a:cubicBezTo>
                      <a:pt x="61" y="57"/>
                      <a:pt x="61" y="57"/>
                      <a:pt x="61" y="57"/>
                    </a:cubicBezTo>
                    <a:cubicBezTo>
                      <a:pt x="62" y="59"/>
                      <a:pt x="62" y="59"/>
                      <a:pt x="62" y="59"/>
                    </a:cubicBezTo>
                    <a:cubicBezTo>
                      <a:pt x="67" y="58"/>
                      <a:pt x="67" y="58"/>
                      <a:pt x="67" y="58"/>
                    </a:cubicBezTo>
                    <a:cubicBezTo>
                      <a:pt x="64" y="63"/>
                      <a:pt x="64" y="63"/>
                      <a:pt x="64" y="63"/>
                    </a:cubicBezTo>
                    <a:cubicBezTo>
                      <a:pt x="64" y="70"/>
                      <a:pt x="64" y="70"/>
                      <a:pt x="64" y="70"/>
                    </a:cubicBezTo>
                    <a:cubicBezTo>
                      <a:pt x="62" y="68"/>
                      <a:pt x="62" y="68"/>
                      <a:pt x="62" y="68"/>
                    </a:cubicBezTo>
                    <a:cubicBezTo>
                      <a:pt x="62" y="68"/>
                      <a:pt x="55" y="73"/>
                      <a:pt x="60" y="73"/>
                    </a:cubicBezTo>
                    <a:cubicBezTo>
                      <a:pt x="64" y="74"/>
                      <a:pt x="73" y="74"/>
                      <a:pt x="73" y="74"/>
                    </a:cubicBezTo>
                    <a:cubicBezTo>
                      <a:pt x="70" y="80"/>
                      <a:pt x="70" y="80"/>
                      <a:pt x="70" y="80"/>
                    </a:cubicBezTo>
                    <a:cubicBezTo>
                      <a:pt x="58" y="79"/>
                      <a:pt x="58" y="79"/>
                      <a:pt x="58" y="79"/>
                    </a:cubicBezTo>
                    <a:cubicBezTo>
                      <a:pt x="56" y="87"/>
                      <a:pt x="56" y="87"/>
                      <a:pt x="56" y="87"/>
                    </a:cubicBezTo>
                    <a:cubicBezTo>
                      <a:pt x="62" y="93"/>
                      <a:pt x="62" y="93"/>
                      <a:pt x="62" y="93"/>
                    </a:cubicBezTo>
                    <a:cubicBezTo>
                      <a:pt x="51" y="88"/>
                      <a:pt x="51" y="88"/>
                      <a:pt x="51" y="88"/>
                    </a:cubicBezTo>
                    <a:cubicBezTo>
                      <a:pt x="51" y="91"/>
                      <a:pt x="51" y="91"/>
                      <a:pt x="51" y="91"/>
                    </a:cubicBezTo>
                    <a:cubicBezTo>
                      <a:pt x="44" y="90"/>
                      <a:pt x="44" y="90"/>
                      <a:pt x="44" y="90"/>
                    </a:cubicBezTo>
                    <a:cubicBezTo>
                      <a:pt x="44" y="90"/>
                      <a:pt x="47" y="93"/>
                      <a:pt x="46" y="95"/>
                    </a:cubicBezTo>
                    <a:cubicBezTo>
                      <a:pt x="44" y="99"/>
                      <a:pt x="42" y="98"/>
                      <a:pt x="42" y="98"/>
                    </a:cubicBezTo>
                    <a:cubicBezTo>
                      <a:pt x="49" y="104"/>
                      <a:pt x="49" y="104"/>
                      <a:pt x="49" y="104"/>
                    </a:cubicBezTo>
                    <a:cubicBezTo>
                      <a:pt x="52" y="102"/>
                      <a:pt x="52" y="102"/>
                      <a:pt x="52" y="102"/>
                    </a:cubicBezTo>
                    <a:cubicBezTo>
                      <a:pt x="55" y="104"/>
                      <a:pt x="55" y="104"/>
                      <a:pt x="55" y="104"/>
                    </a:cubicBezTo>
                    <a:cubicBezTo>
                      <a:pt x="49" y="106"/>
                      <a:pt x="49" y="106"/>
                      <a:pt x="49" y="106"/>
                    </a:cubicBezTo>
                    <a:cubicBezTo>
                      <a:pt x="55" y="110"/>
                      <a:pt x="55" y="110"/>
                      <a:pt x="55" y="110"/>
                    </a:cubicBezTo>
                    <a:cubicBezTo>
                      <a:pt x="59" y="106"/>
                      <a:pt x="59" y="106"/>
                      <a:pt x="59" y="106"/>
                    </a:cubicBezTo>
                    <a:cubicBezTo>
                      <a:pt x="60" y="108"/>
                      <a:pt x="60" y="108"/>
                      <a:pt x="60" y="108"/>
                    </a:cubicBezTo>
                    <a:cubicBezTo>
                      <a:pt x="62" y="107"/>
                      <a:pt x="62" y="107"/>
                      <a:pt x="62" y="107"/>
                    </a:cubicBezTo>
                    <a:cubicBezTo>
                      <a:pt x="63" y="111"/>
                      <a:pt x="63" y="111"/>
                      <a:pt x="63" y="111"/>
                    </a:cubicBezTo>
                    <a:cubicBezTo>
                      <a:pt x="59" y="111"/>
                      <a:pt x="59" y="111"/>
                      <a:pt x="59" y="111"/>
                    </a:cubicBezTo>
                    <a:cubicBezTo>
                      <a:pt x="59" y="116"/>
                      <a:pt x="59" y="116"/>
                      <a:pt x="59" y="116"/>
                    </a:cubicBezTo>
                    <a:cubicBezTo>
                      <a:pt x="59" y="116"/>
                      <a:pt x="64" y="119"/>
                      <a:pt x="69" y="119"/>
                    </a:cubicBezTo>
                    <a:cubicBezTo>
                      <a:pt x="74" y="119"/>
                      <a:pt x="84" y="121"/>
                      <a:pt x="84" y="121"/>
                    </a:cubicBezTo>
                    <a:cubicBezTo>
                      <a:pt x="83" y="127"/>
                      <a:pt x="83" y="127"/>
                      <a:pt x="83" y="127"/>
                    </a:cubicBezTo>
                    <a:cubicBezTo>
                      <a:pt x="83" y="127"/>
                      <a:pt x="78" y="129"/>
                      <a:pt x="76" y="129"/>
                    </a:cubicBezTo>
                    <a:cubicBezTo>
                      <a:pt x="74" y="129"/>
                      <a:pt x="70" y="124"/>
                      <a:pt x="70" y="124"/>
                    </a:cubicBezTo>
                    <a:cubicBezTo>
                      <a:pt x="70" y="124"/>
                      <a:pt x="67" y="129"/>
                      <a:pt x="64" y="131"/>
                    </a:cubicBezTo>
                    <a:cubicBezTo>
                      <a:pt x="62" y="132"/>
                      <a:pt x="60" y="135"/>
                      <a:pt x="60" y="135"/>
                    </a:cubicBezTo>
                    <a:cubicBezTo>
                      <a:pt x="64" y="139"/>
                      <a:pt x="64" y="139"/>
                      <a:pt x="64" y="139"/>
                    </a:cubicBezTo>
                    <a:cubicBezTo>
                      <a:pt x="64" y="139"/>
                      <a:pt x="61" y="140"/>
                      <a:pt x="58" y="142"/>
                    </a:cubicBezTo>
                    <a:cubicBezTo>
                      <a:pt x="56" y="145"/>
                      <a:pt x="54" y="148"/>
                      <a:pt x="54" y="148"/>
                    </a:cubicBezTo>
                    <a:cubicBezTo>
                      <a:pt x="50" y="147"/>
                      <a:pt x="50" y="147"/>
                      <a:pt x="50" y="147"/>
                    </a:cubicBezTo>
                    <a:cubicBezTo>
                      <a:pt x="47" y="150"/>
                      <a:pt x="47" y="150"/>
                      <a:pt x="47" y="150"/>
                    </a:cubicBezTo>
                    <a:cubicBezTo>
                      <a:pt x="35" y="155"/>
                      <a:pt x="35" y="155"/>
                      <a:pt x="35" y="155"/>
                    </a:cubicBezTo>
                    <a:cubicBezTo>
                      <a:pt x="47" y="155"/>
                      <a:pt x="47" y="155"/>
                      <a:pt x="47" y="155"/>
                    </a:cubicBezTo>
                    <a:cubicBezTo>
                      <a:pt x="49" y="153"/>
                      <a:pt x="49" y="153"/>
                      <a:pt x="49" y="153"/>
                    </a:cubicBezTo>
                    <a:cubicBezTo>
                      <a:pt x="49" y="153"/>
                      <a:pt x="53" y="159"/>
                      <a:pt x="60" y="157"/>
                    </a:cubicBezTo>
                    <a:cubicBezTo>
                      <a:pt x="67" y="156"/>
                      <a:pt x="71" y="152"/>
                      <a:pt x="71" y="152"/>
                    </a:cubicBezTo>
                    <a:cubicBezTo>
                      <a:pt x="73" y="151"/>
                      <a:pt x="73" y="151"/>
                      <a:pt x="73" y="151"/>
                    </a:cubicBezTo>
                    <a:cubicBezTo>
                      <a:pt x="73" y="157"/>
                      <a:pt x="73" y="157"/>
                      <a:pt x="73" y="157"/>
                    </a:cubicBezTo>
                    <a:cubicBezTo>
                      <a:pt x="79" y="158"/>
                      <a:pt x="79" y="158"/>
                      <a:pt x="79" y="158"/>
                    </a:cubicBezTo>
                    <a:cubicBezTo>
                      <a:pt x="82" y="161"/>
                      <a:pt x="82" y="161"/>
                      <a:pt x="82" y="161"/>
                    </a:cubicBezTo>
                    <a:cubicBezTo>
                      <a:pt x="75" y="159"/>
                      <a:pt x="75" y="159"/>
                      <a:pt x="75" y="159"/>
                    </a:cubicBezTo>
                    <a:cubicBezTo>
                      <a:pt x="67" y="159"/>
                      <a:pt x="67" y="159"/>
                      <a:pt x="67" y="159"/>
                    </a:cubicBezTo>
                    <a:cubicBezTo>
                      <a:pt x="55" y="161"/>
                      <a:pt x="55" y="161"/>
                      <a:pt x="55" y="161"/>
                    </a:cubicBezTo>
                    <a:cubicBezTo>
                      <a:pt x="46" y="157"/>
                      <a:pt x="46" y="157"/>
                      <a:pt x="46" y="157"/>
                    </a:cubicBezTo>
                    <a:cubicBezTo>
                      <a:pt x="39" y="163"/>
                      <a:pt x="39" y="163"/>
                      <a:pt x="39" y="163"/>
                    </a:cubicBezTo>
                    <a:cubicBezTo>
                      <a:pt x="34" y="164"/>
                      <a:pt x="34" y="164"/>
                      <a:pt x="34" y="164"/>
                    </a:cubicBezTo>
                    <a:cubicBezTo>
                      <a:pt x="31" y="173"/>
                      <a:pt x="31" y="173"/>
                      <a:pt x="31" y="173"/>
                    </a:cubicBezTo>
                    <a:cubicBezTo>
                      <a:pt x="35" y="175"/>
                      <a:pt x="35" y="175"/>
                      <a:pt x="35" y="175"/>
                    </a:cubicBezTo>
                    <a:cubicBezTo>
                      <a:pt x="26" y="173"/>
                      <a:pt x="26" y="173"/>
                      <a:pt x="26" y="173"/>
                    </a:cubicBezTo>
                    <a:cubicBezTo>
                      <a:pt x="26" y="169"/>
                      <a:pt x="26" y="169"/>
                      <a:pt x="26" y="169"/>
                    </a:cubicBezTo>
                    <a:cubicBezTo>
                      <a:pt x="21" y="172"/>
                      <a:pt x="21" y="172"/>
                      <a:pt x="21" y="172"/>
                    </a:cubicBezTo>
                    <a:cubicBezTo>
                      <a:pt x="19" y="171"/>
                      <a:pt x="19" y="171"/>
                      <a:pt x="19" y="171"/>
                    </a:cubicBezTo>
                    <a:cubicBezTo>
                      <a:pt x="19" y="169"/>
                      <a:pt x="19" y="169"/>
                      <a:pt x="19" y="169"/>
                    </a:cubicBezTo>
                    <a:cubicBezTo>
                      <a:pt x="19" y="169"/>
                      <a:pt x="14" y="169"/>
                      <a:pt x="9" y="171"/>
                    </a:cubicBezTo>
                    <a:cubicBezTo>
                      <a:pt x="5" y="173"/>
                      <a:pt x="0" y="175"/>
                      <a:pt x="4" y="178"/>
                    </a:cubicBezTo>
                    <a:cubicBezTo>
                      <a:pt x="9" y="179"/>
                      <a:pt x="17" y="181"/>
                      <a:pt x="19" y="181"/>
                    </a:cubicBezTo>
                    <a:cubicBezTo>
                      <a:pt x="21" y="181"/>
                      <a:pt x="30" y="180"/>
                      <a:pt x="29" y="182"/>
                    </a:cubicBezTo>
                    <a:cubicBezTo>
                      <a:pt x="28" y="184"/>
                      <a:pt x="22" y="188"/>
                      <a:pt x="16" y="188"/>
                    </a:cubicBezTo>
                    <a:cubicBezTo>
                      <a:pt x="10" y="188"/>
                      <a:pt x="10" y="190"/>
                      <a:pt x="9" y="192"/>
                    </a:cubicBezTo>
                    <a:cubicBezTo>
                      <a:pt x="7" y="193"/>
                      <a:pt x="2" y="193"/>
                      <a:pt x="2" y="193"/>
                    </a:cubicBezTo>
                    <a:cubicBezTo>
                      <a:pt x="2" y="199"/>
                      <a:pt x="2" y="199"/>
                      <a:pt x="2" y="199"/>
                    </a:cubicBezTo>
                    <a:cubicBezTo>
                      <a:pt x="2" y="199"/>
                      <a:pt x="8" y="196"/>
                      <a:pt x="8" y="198"/>
                    </a:cubicBezTo>
                    <a:cubicBezTo>
                      <a:pt x="8" y="200"/>
                      <a:pt x="10" y="204"/>
                      <a:pt x="10" y="204"/>
                    </a:cubicBezTo>
                    <a:cubicBezTo>
                      <a:pt x="30" y="202"/>
                      <a:pt x="30" y="202"/>
                      <a:pt x="30" y="202"/>
                    </a:cubicBezTo>
                    <a:cubicBezTo>
                      <a:pt x="16" y="206"/>
                      <a:pt x="16" y="206"/>
                      <a:pt x="16" y="206"/>
                    </a:cubicBezTo>
                    <a:cubicBezTo>
                      <a:pt x="14" y="210"/>
                      <a:pt x="14" y="210"/>
                      <a:pt x="14" y="210"/>
                    </a:cubicBezTo>
                    <a:cubicBezTo>
                      <a:pt x="9" y="210"/>
                      <a:pt x="9" y="210"/>
                      <a:pt x="9" y="210"/>
                    </a:cubicBezTo>
                    <a:cubicBezTo>
                      <a:pt x="7" y="214"/>
                      <a:pt x="7" y="214"/>
                      <a:pt x="7" y="214"/>
                    </a:cubicBezTo>
                    <a:cubicBezTo>
                      <a:pt x="22" y="212"/>
                      <a:pt x="22" y="212"/>
                      <a:pt x="22" y="212"/>
                    </a:cubicBezTo>
                    <a:cubicBezTo>
                      <a:pt x="26" y="213"/>
                      <a:pt x="26" y="213"/>
                      <a:pt x="26" y="213"/>
                    </a:cubicBezTo>
                    <a:cubicBezTo>
                      <a:pt x="33" y="211"/>
                      <a:pt x="33" y="211"/>
                      <a:pt x="33" y="211"/>
                    </a:cubicBezTo>
                    <a:cubicBezTo>
                      <a:pt x="35" y="214"/>
                      <a:pt x="35" y="214"/>
                      <a:pt x="35" y="214"/>
                    </a:cubicBezTo>
                    <a:cubicBezTo>
                      <a:pt x="35" y="214"/>
                      <a:pt x="29" y="215"/>
                      <a:pt x="26" y="216"/>
                    </a:cubicBezTo>
                    <a:cubicBezTo>
                      <a:pt x="23" y="216"/>
                      <a:pt x="18" y="220"/>
                      <a:pt x="18" y="220"/>
                    </a:cubicBezTo>
                    <a:cubicBezTo>
                      <a:pt x="28" y="219"/>
                      <a:pt x="28" y="219"/>
                      <a:pt x="28" y="219"/>
                    </a:cubicBezTo>
                    <a:cubicBezTo>
                      <a:pt x="28" y="219"/>
                      <a:pt x="23" y="224"/>
                      <a:pt x="22" y="224"/>
                    </a:cubicBezTo>
                    <a:cubicBezTo>
                      <a:pt x="20" y="224"/>
                      <a:pt x="16" y="225"/>
                      <a:pt x="16" y="225"/>
                    </a:cubicBezTo>
                    <a:cubicBezTo>
                      <a:pt x="18" y="226"/>
                      <a:pt x="18" y="226"/>
                      <a:pt x="18" y="226"/>
                    </a:cubicBezTo>
                    <a:cubicBezTo>
                      <a:pt x="34" y="225"/>
                      <a:pt x="34" y="225"/>
                      <a:pt x="34" y="225"/>
                    </a:cubicBezTo>
                    <a:cubicBezTo>
                      <a:pt x="37" y="226"/>
                      <a:pt x="37" y="226"/>
                      <a:pt x="37" y="226"/>
                    </a:cubicBezTo>
                    <a:cubicBezTo>
                      <a:pt x="35" y="230"/>
                      <a:pt x="35" y="230"/>
                      <a:pt x="35" y="230"/>
                    </a:cubicBezTo>
                    <a:cubicBezTo>
                      <a:pt x="35" y="230"/>
                      <a:pt x="40" y="232"/>
                      <a:pt x="42" y="231"/>
                    </a:cubicBezTo>
                    <a:cubicBezTo>
                      <a:pt x="44" y="229"/>
                      <a:pt x="46" y="228"/>
                      <a:pt x="46" y="228"/>
                    </a:cubicBezTo>
                    <a:cubicBezTo>
                      <a:pt x="53" y="231"/>
                      <a:pt x="53" y="231"/>
                      <a:pt x="53" y="231"/>
                    </a:cubicBezTo>
                    <a:cubicBezTo>
                      <a:pt x="57" y="228"/>
                      <a:pt x="57" y="228"/>
                      <a:pt x="57" y="228"/>
                    </a:cubicBezTo>
                    <a:cubicBezTo>
                      <a:pt x="61" y="230"/>
                      <a:pt x="61" y="230"/>
                      <a:pt x="61" y="230"/>
                    </a:cubicBezTo>
                    <a:cubicBezTo>
                      <a:pt x="66" y="227"/>
                      <a:pt x="66" y="227"/>
                      <a:pt x="66" y="227"/>
                    </a:cubicBezTo>
                    <a:cubicBezTo>
                      <a:pt x="69" y="228"/>
                      <a:pt x="69" y="228"/>
                      <a:pt x="69" y="228"/>
                    </a:cubicBezTo>
                    <a:cubicBezTo>
                      <a:pt x="69" y="228"/>
                      <a:pt x="83" y="228"/>
                      <a:pt x="82" y="222"/>
                    </a:cubicBezTo>
                    <a:cubicBezTo>
                      <a:pt x="82" y="213"/>
                      <a:pt x="82" y="213"/>
                      <a:pt x="82" y="213"/>
                    </a:cubicBezTo>
                    <a:cubicBezTo>
                      <a:pt x="82" y="213"/>
                      <a:pt x="85" y="212"/>
                      <a:pt x="87" y="215"/>
                    </a:cubicBezTo>
                    <a:cubicBezTo>
                      <a:pt x="90" y="219"/>
                      <a:pt x="85" y="218"/>
                      <a:pt x="85" y="220"/>
                    </a:cubicBezTo>
                    <a:cubicBezTo>
                      <a:pt x="85" y="222"/>
                      <a:pt x="87" y="224"/>
                      <a:pt x="91" y="222"/>
                    </a:cubicBezTo>
                    <a:cubicBezTo>
                      <a:pt x="96" y="222"/>
                      <a:pt x="103" y="218"/>
                      <a:pt x="103" y="218"/>
                    </a:cubicBezTo>
                    <a:cubicBezTo>
                      <a:pt x="103" y="214"/>
                      <a:pt x="103" y="214"/>
                      <a:pt x="103" y="214"/>
                    </a:cubicBezTo>
                    <a:cubicBezTo>
                      <a:pt x="103" y="214"/>
                      <a:pt x="109" y="220"/>
                      <a:pt x="112" y="218"/>
                    </a:cubicBezTo>
                    <a:cubicBezTo>
                      <a:pt x="117" y="216"/>
                      <a:pt x="116" y="210"/>
                      <a:pt x="116" y="210"/>
                    </a:cubicBezTo>
                    <a:cubicBezTo>
                      <a:pt x="119" y="211"/>
                      <a:pt x="119" y="211"/>
                      <a:pt x="119" y="211"/>
                    </a:cubicBezTo>
                    <a:cubicBezTo>
                      <a:pt x="125" y="208"/>
                      <a:pt x="125" y="208"/>
                      <a:pt x="125" y="208"/>
                    </a:cubicBezTo>
                    <a:cubicBezTo>
                      <a:pt x="139" y="212"/>
                      <a:pt x="139" y="212"/>
                      <a:pt x="139" y="212"/>
                    </a:cubicBezTo>
                    <a:cubicBezTo>
                      <a:pt x="141" y="204"/>
                      <a:pt x="141" y="204"/>
                      <a:pt x="141" y="204"/>
                    </a:cubicBezTo>
                    <a:cubicBezTo>
                      <a:pt x="144" y="206"/>
                      <a:pt x="144" y="206"/>
                      <a:pt x="144" y="206"/>
                    </a:cubicBezTo>
                    <a:cubicBezTo>
                      <a:pt x="143" y="213"/>
                      <a:pt x="143" y="213"/>
                      <a:pt x="143" y="213"/>
                    </a:cubicBezTo>
                    <a:cubicBezTo>
                      <a:pt x="148" y="212"/>
                      <a:pt x="148" y="212"/>
                      <a:pt x="148" y="212"/>
                    </a:cubicBezTo>
                    <a:cubicBezTo>
                      <a:pt x="150" y="206"/>
                      <a:pt x="150" y="206"/>
                      <a:pt x="150" y="206"/>
                    </a:cubicBezTo>
                    <a:cubicBezTo>
                      <a:pt x="150" y="210"/>
                      <a:pt x="150" y="210"/>
                      <a:pt x="150" y="210"/>
                    </a:cubicBezTo>
                    <a:cubicBezTo>
                      <a:pt x="150" y="210"/>
                      <a:pt x="153" y="214"/>
                      <a:pt x="157" y="214"/>
                    </a:cubicBezTo>
                    <a:cubicBezTo>
                      <a:pt x="161" y="214"/>
                      <a:pt x="169" y="213"/>
                      <a:pt x="169" y="213"/>
                    </a:cubicBezTo>
                    <a:cubicBezTo>
                      <a:pt x="168" y="208"/>
                      <a:pt x="168" y="208"/>
                      <a:pt x="168" y="208"/>
                    </a:cubicBezTo>
                    <a:cubicBezTo>
                      <a:pt x="162" y="202"/>
                      <a:pt x="162" y="202"/>
                      <a:pt x="162" y="202"/>
                    </a:cubicBezTo>
                    <a:cubicBezTo>
                      <a:pt x="164" y="201"/>
                      <a:pt x="164" y="201"/>
                      <a:pt x="164" y="201"/>
                    </a:cubicBezTo>
                    <a:cubicBezTo>
                      <a:pt x="169" y="203"/>
                      <a:pt x="169" y="203"/>
                      <a:pt x="169" y="203"/>
                    </a:cubicBezTo>
                    <a:cubicBezTo>
                      <a:pt x="169" y="201"/>
                      <a:pt x="169" y="201"/>
                      <a:pt x="169" y="201"/>
                    </a:cubicBezTo>
                    <a:cubicBezTo>
                      <a:pt x="178" y="193"/>
                      <a:pt x="178" y="193"/>
                      <a:pt x="178" y="193"/>
                    </a:cubicBezTo>
                    <a:cubicBezTo>
                      <a:pt x="178" y="187"/>
                      <a:pt x="178" y="187"/>
                      <a:pt x="178" y="187"/>
                    </a:cubicBezTo>
                    <a:cubicBezTo>
                      <a:pt x="178" y="187"/>
                      <a:pt x="182" y="178"/>
                      <a:pt x="184" y="177"/>
                    </a:cubicBezTo>
                    <a:cubicBezTo>
                      <a:pt x="187" y="175"/>
                      <a:pt x="192" y="170"/>
                      <a:pt x="193" y="161"/>
                    </a:cubicBezTo>
                    <a:cubicBezTo>
                      <a:pt x="193" y="149"/>
                      <a:pt x="193" y="149"/>
                      <a:pt x="193" y="149"/>
                    </a:cubicBezTo>
                    <a:cubicBezTo>
                      <a:pt x="193" y="149"/>
                      <a:pt x="186" y="145"/>
                      <a:pt x="188" y="142"/>
                    </a:cubicBezTo>
                    <a:cubicBezTo>
                      <a:pt x="191" y="140"/>
                      <a:pt x="194" y="141"/>
                      <a:pt x="194" y="141"/>
                    </a:cubicBezTo>
                    <a:cubicBezTo>
                      <a:pt x="194" y="141"/>
                      <a:pt x="194" y="137"/>
                      <a:pt x="195" y="135"/>
                    </a:cubicBezTo>
                    <a:cubicBezTo>
                      <a:pt x="197" y="134"/>
                      <a:pt x="200" y="132"/>
                      <a:pt x="199" y="130"/>
                    </a:cubicBezTo>
                    <a:cubicBezTo>
                      <a:pt x="197" y="127"/>
                      <a:pt x="194" y="119"/>
                      <a:pt x="194" y="119"/>
                    </a:cubicBezTo>
                    <a:cubicBezTo>
                      <a:pt x="194" y="119"/>
                      <a:pt x="197" y="117"/>
                      <a:pt x="197" y="112"/>
                    </a:cubicBezTo>
                    <a:cubicBezTo>
                      <a:pt x="197" y="107"/>
                      <a:pt x="190" y="104"/>
                      <a:pt x="193" y="102"/>
                    </a:cubicBezTo>
                    <a:cubicBezTo>
                      <a:pt x="197" y="99"/>
                      <a:pt x="203" y="103"/>
                      <a:pt x="204" y="102"/>
                    </a:cubicBezTo>
                    <a:cubicBezTo>
                      <a:pt x="204" y="101"/>
                      <a:pt x="201" y="95"/>
                      <a:pt x="201" y="9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66" name="Iceland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2936875" y="1406525"/>
                <a:ext cx="608012" cy="500062"/>
              </a:xfrm>
              <a:custGeom>
                <a:avLst/>
                <a:gdLst/>
                <a:ahLst/>
                <a:cxnLst>
                  <a:cxn ang="0">
                    <a:pos x="273" y="136"/>
                  </a:cxn>
                  <a:cxn ang="0">
                    <a:pos x="262" y="113"/>
                  </a:cxn>
                  <a:cxn ang="0">
                    <a:pos x="268" y="98"/>
                  </a:cxn>
                  <a:cxn ang="0">
                    <a:pos x="252" y="81"/>
                  </a:cxn>
                  <a:cxn ang="0">
                    <a:pos x="229" y="89"/>
                  </a:cxn>
                  <a:cxn ang="0">
                    <a:pos x="206" y="89"/>
                  </a:cxn>
                  <a:cxn ang="0">
                    <a:pos x="189" y="71"/>
                  </a:cxn>
                  <a:cxn ang="0">
                    <a:pos x="178" y="102"/>
                  </a:cxn>
                  <a:cxn ang="0">
                    <a:pos x="177" y="75"/>
                  </a:cxn>
                  <a:cxn ang="0">
                    <a:pos x="170" y="63"/>
                  </a:cxn>
                  <a:cxn ang="0">
                    <a:pos x="144" y="81"/>
                  </a:cxn>
                  <a:cxn ang="0">
                    <a:pos x="141" y="52"/>
                  </a:cxn>
                  <a:cxn ang="0">
                    <a:pos x="133" y="54"/>
                  </a:cxn>
                  <a:cxn ang="0">
                    <a:pos x="115" y="81"/>
                  </a:cxn>
                  <a:cxn ang="0">
                    <a:pos x="110" y="75"/>
                  </a:cxn>
                  <a:cxn ang="0">
                    <a:pos x="95" y="81"/>
                  </a:cxn>
                  <a:cxn ang="0">
                    <a:pos x="90" y="75"/>
                  </a:cxn>
                  <a:cxn ang="0">
                    <a:pos x="92" y="54"/>
                  </a:cxn>
                  <a:cxn ang="0">
                    <a:pos x="109" y="44"/>
                  </a:cxn>
                  <a:cxn ang="0">
                    <a:pos x="104" y="23"/>
                  </a:cxn>
                  <a:cxn ang="0">
                    <a:pos x="97" y="10"/>
                  </a:cxn>
                  <a:cxn ang="0">
                    <a:pos x="81" y="5"/>
                  </a:cxn>
                  <a:cxn ang="0">
                    <a:pos x="88" y="13"/>
                  </a:cxn>
                  <a:cxn ang="0">
                    <a:pos x="87" y="29"/>
                  </a:cxn>
                  <a:cxn ang="0">
                    <a:pos x="79" y="32"/>
                  </a:cxn>
                  <a:cxn ang="0">
                    <a:pos x="73" y="27"/>
                  </a:cxn>
                  <a:cxn ang="0">
                    <a:pos x="71" y="13"/>
                  </a:cxn>
                  <a:cxn ang="0">
                    <a:pos x="53" y="22"/>
                  </a:cxn>
                  <a:cxn ang="0">
                    <a:pos x="57" y="38"/>
                  </a:cxn>
                  <a:cxn ang="0">
                    <a:pos x="38" y="23"/>
                  </a:cxn>
                  <a:cxn ang="0">
                    <a:pos x="30" y="36"/>
                  </a:cxn>
                  <a:cxn ang="0">
                    <a:pos x="30" y="49"/>
                  </a:cxn>
                  <a:cxn ang="0">
                    <a:pos x="60" y="50"/>
                  </a:cxn>
                  <a:cxn ang="0">
                    <a:pos x="72" y="64"/>
                  </a:cxn>
                  <a:cxn ang="0">
                    <a:pos x="72" y="75"/>
                  </a:cxn>
                  <a:cxn ang="0">
                    <a:pos x="69" y="87"/>
                  </a:cxn>
                  <a:cxn ang="0">
                    <a:pos x="45" y="87"/>
                  </a:cxn>
                  <a:cxn ang="0">
                    <a:pos x="31" y="83"/>
                  </a:cxn>
                  <a:cxn ang="0">
                    <a:pos x="4" y="84"/>
                  </a:cxn>
                  <a:cxn ang="0">
                    <a:pos x="34" y="97"/>
                  </a:cxn>
                  <a:cxn ang="0">
                    <a:pos x="36" y="117"/>
                  </a:cxn>
                  <a:cxn ang="0">
                    <a:pos x="48" y="121"/>
                  </a:cxn>
                  <a:cxn ang="0">
                    <a:pos x="36" y="132"/>
                  </a:cxn>
                  <a:cxn ang="0">
                    <a:pos x="36" y="141"/>
                  </a:cxn>
                  <a:cxn ang="0">
                    <a:pos x="14" y="149"/>
                  </a:cxn>
                  <a:cxn ang="0">
                    <a:pos x="0" y="154"/>
                  </a:cxn>
                  <a:cxn ang="0">
                    <a:pos x="28" y="168"/>
                  </a:cxn>
                  <a:cxn ang="0">
                    <a:pos x="45" y="177"/>
                  </a:cxn>
                  <a:cxn ang="0">
                    <a:pos x="55" y="194"/>
                  </a:cxn>
                  <a:cxn ang="0">
                    <a:pos x="79" y="224"/>
                  </a:cxn>
                  <a:cxn ang="0">
                    <a:pos x="123" y="221"/>
                  </a:cxn>
                  <a:cxn ang="0">
                    <a:pos x="155" y="227"/>
                  </a:cxn>
                  <a:cxn ang="0">
                    <a:pos x="195" y="217"/>
                  </a:cxn>
                  <a:cxn ang="0">
                    <a:pos x="212" y="218"/>
                  </a:cxn>
                  <a:cxn ang="0">
                    <a:pos x="240" y="207"/>
                  </a:cxn>
                  <a:cxn ang="0">
                    <a:pos x="243" y="194"/>
                  </a:cxn>
                  <a:cxn ang="0">
                    <a:pos x="258" y="190"/>
                  </a:cxn>
                  <a:cxn ang="0">
                    <a:pos x="263" y="183"/>
                  </a:cxn>
                  <a:cxn ang="0">
                    <a:pos x="272" y="183"/>
                  </a:cxn>
                  <a:cxn ang="0">
                    <a:pos x="278" y="173"/>
                  </a:cxn>
                  <a:cxn ang="0">
                    <a:pos x="284" y="155"/>
                  </a:cxn>
                  <a:cxn ang="0">
                    <a:pos x="50" y="205"/>
                  </a:cxn>
                </a:cxnLst>
                <a:rect l="0" t="0" r="r" b="b"/>
                <a:pathLst>
                  <a:path w="285" h="235">
                    <a:moveTo>
                      <a:pt x="284" y="155"/>
                    </a:moveTo>
                    <a:cubicBezTo>
                      <a:pt x="280" y="156"/>
                      <a:pt x="280" y="156"/>
                      <a:pt x="280" y="156"/>
                    </a:cubicBezTo>
                    <a:cubicBezTo>
                      <a:pt x="280" y="153"/>
                      <a:pt x="280" y="153"/>
                      <a:pt x="280" y="153"/>
                    </a:cubicBezTo>
                    <a:cubicBezTo>
                      <a:pt x="279" y="153"/>
                      <a:pt x="279" y="153"/>
                      <a:pt x="279" y="153"/>
                    </a:cubicBezTo>
                    <a:cubicBezTo>
                      <a:pt x="281" y="150"/>
                      <a:pt x="281" y="150"/>
                      <a:pt x="281" y="150"/>
                    </a:cubicBezTo>
                    <a:cubicBezTo>
                      <a:pt x="280" y="149"/>
                      <a:pt x="280" y="149"/>
                      <a:pt x="280" y="149"/>
                    </a:cubicBezTo>
                    <a:cubicBezTo>
                      <a:pt x="280" y="149"/>
                      <a:pt x="275" y="147"/>
                      <a:pt x="272" y="143"/>
                    </a:cubicBezTo>
                    <a:cubicBezTo>
                      <a:pt x="270" y="139"/>
                      <a:pt x="273" y="136"/>
                      <a:pt x="273" y="136"/>
                    </a:cubicBezTo>
                    <a:cubicBezTo>
                      <a:pt x="260" y="133"/>
                      <a:pt x="260" y="133"/>
                      <a:pt x="260" y="133"/>
                    </a:cubicBezTo>
                    <a:cubicBezTo>
                      <a:pt x="261" y="130"/>
                      <a:pt x="261" y="130"/>
                      <a:pt x="261" y="130"/>
                    </a:cubicBezTo>
                    <a:cubicBezTo>
                      <a:pt x="259" y="130"/>
                      <a:pt x="259" y="130"/>
                      <a:pt x="259" y="130"/>
                    </a:cubicBezTo>
                    <a:cubicBezTo>
                      <a:pt x="259" y="130"/>
                      <a:pt x="260" y="128"/>
                      <a:pt x="262" y="128"/>
                    </a:cubicBezTo>
                    <a:cubicBezTo>
                      <a:pt x="264" y="127"/>
                      <a:pt x="265" y="127"/>
                      <a:pt x="269" y="124"/>
                    </a:cubicBezTo>
                    <a:cubicBezTo>
                      <a:pt x="273" y="122"/>
                      <a:pt x="272" y="116"/>
                      <a:pt x="271" y="115"/>
                    </a:cubicBezTo>
                    <a:cubicBezTo>
                      <a:pt x="270" y="113"/>
                      <a:pt x="268" y="115"/>
                      <a:pt x="265" y="115"/>
                    </a:cubicBezTo>
                    <a:cubicBezTo>
                      <a:pt x="264" y="115"/>
                      <a:pt x="262" y="113"/>
                      <a:pt x="262" y="113"/>
                    </a:cubicBezTo>
                    <a:cubicBezTo>
                      <a:pt x="262" y="113"/>
                      <a:pt x="263" y="112"/>
                      <a:pt x="263" y="110"/>
                    </a:cubicBezTo>
                    <a:cubicBezTo>
                      <a:pt x="263" y="108"/>
                      <a:pt x="260" y="107"/>
                      <a:pt x="260" y="107"/>
                    </a:cubicBezTo>
                    <a:cubicBezTo>
                      <a:pt x="260" y="107"/>
                      <a:pt x="269" y="106"/>
                      <a:pt x="270" y="105"/>
                    </a:cubicBezTo>
                    <a:cubicBezTo>
                      <a:pt x="271" y="102"/>
                      <a:pt x="271" y="99"/>
                      <a:pt x="271" y="99"/>
                    </a:cubicBezTo>
                    <a:cubicBezTo>
                      <a:pt x="284" y="97"/>
                      <a:pt x="284" y="97"/>
                      <a:pt x="284" y="97"/>
                    </a:cubicBezTo>
                    <a:cubicBezTo>
                      <a:pt x="284" y="97"/>
                      <a:pt x="280" y="96"/>
                      <a:pt x="278" y="96"/>
                    </a:cubicBezTo>
                    <a:cubicBezTo>
                      <a:pt x="277" y="95"/>
                      <a:pt x="279" y="94"/>
                      <a:pt x="276" y="93"/>
                    </a:cubicBezTo>
                    <a:cubicBezTo>
                      <a:pt x="274" y="92"/>
                      <a:pt x="270" y="97"/>
                      <a:pt x="268" y="98"/>
                    </a:cubicBezTo>
                    <a:cubicBezTo>
                      <a:pt x="264" y="99"/>
                      <a:pt x="265" y="96"/>
                      <a:pt x="262" y="97"/>
                    </a:cubicBezTo>
                    <a:cubicBezTo>
                      <a:pt x="258" y="97"/>
                      <a:pt x="259" y="101"/>
                      <a:pt x="258" y="102"/>
                    </a:cubicBezTo>
                    <a:cubicBezTo>
                      <a:pt x="257" y="102"/>
                      <a:pt x="256" y="99"/>
                      <a:pt x="256" y="97"/>
                    </a:cubicBezTo>
                    <a:cubicBezTo>
                      <a:pt x="255" y="96"/>
                      <a:pt x="253" y="95"/>
                      <a:pt x="253" y="95"/>
                    </a:cubicBezTo>
                    <a:cubicBezTo>
                      <a:pt x="254" y="93"/>
                      <a:pt x="254" y="93"/>
                      <a:pt x="254" y="93"/>
                    </a:cubicBezTo>
                    <a:cubicBezTo>
                      <a:pt x="252" y="92"/>
                      <a:pt x="252" y="92"/>
                      <a:pt x="252" y="92"/>
                    </a:cubicBezTo>
                    <a:cubicBezTo>
                      <a:pt x="252" y="92"/>
                      <a:pt x="255" y="90"/>
                      <a:pt x="256" y="86"/>
                    </a:cubicBezTo>
                    <a:cubicBezTo>
                      <a:pt x="258" y="84"/>
                      <a:pt x="252" y="81"/>
                      <a:pt x="252" y="81"/>
                    </a:cubicBezTo>
                    <a:cubicBezTo>
                      <a:pt x="252" y="81"/>
                      <a:pt x="255" y="79"/>
                      <a:pt x="253" y="74"/>
                    </a:cubicBezTo>
                    <a:cubicBezTo>
                      <a:pt x="251" y="69"/>
                      <a:pt x="245" y="74"/>
                      <a:pt x="245" y="74"/>
                    </a:cubicBezTo>
                    <a:cubicBezTo>
                      <a:pt x="245" y="74"/>
                      <a:pt x="242" y="69"/>
                      <a:pt x="240" y="69"/>
                    </a:cubicBezTo>
                    <a:cubicBezTo>
                      <a:pt x="238" y="69"/>
                      <a:pt x="238" y="75"/>
                      <a:pt x="238" y="77"/>
                    </a:cubicBezTo>
                    <a:cubicBezTo>
                      <a:pt x="238" y="79"/>
                      <a:pt x="236" y="80"/>
                      <a:pt x="236" y="80"/>
                    </a:cubicBezTo>
                    <a:cubicBezTo>
                      <a:pt x="236" y="80"/>
                      <a:pt x="236" y="86"/>
                      <a:pt x="235" y="89"/>
                    </a:cubicBezTo>
                    <a:cubicBezTo>
                      <a:pt x="232" y="90"/>
                      <a:pt x="230" y="90"/>
                      <a:pt x="230" y="90"/>
                    </a:cubicBezTo>
                    <a:cubicBezTo>
                      <a:pt x="229" y="89"/>
                      <a:pt x="229" y="89"/>
                      <a:pt x="229" y="89"/>
                    </a:cubicBezTo>
                    <a:cubicBezTo>
                      <a:pt x="226" y="89"/>
                      <a:pt x="226" y="89"/>
                      <a:pt x="226" y="89"/>
                    </a:cubicBezTo>
                    <a:cubicBezTo>
                      <a:pt x="226" y="89"/>
                      <a:pt x="224" y="90"/>
                      <a:pt x="223" y="91"/>
                    </a:cubicBezTo>
                    <a:cubicBezTo>
                      <a:pt x="222" y="91"/>
                      <a:pt x="219" y="89"/>
                      <a:pt x="219" y="89"/>
                    </a:cubicBezTo>
                    <a:cubicBezTo>
                      <a:pt x="220" y="84"/>
                      <a:pt x="220" y="84"/>
                      <a:pt x="220" y="84"/>
                    </a:cubicBezTo>
                    <a:cubicBezTo>
                      <a:pt x="220" y="84"/>
                      <a:pt x="217" y="81"/>
                      <a:pt x="214" y="82"/>
                    </a:cubicBezTo>
                    <a:cubicBezTo>
                      <a:pt x="210" y="82"/>
                      <a:pt x="210" y="84"/>
                      <a:pt x="210" y="86"/>
                    </a:cubicBezTo>
                    <a:cubicBezTo>
                      <a:pt x="209" y="87"/>
                      <a:pt x="206" y="87"/>
                      <a:pt x="206" y="87"/>
                    </a:cubicBezTo>
                    <a:cubicBezTo>
                      <a:pt x="206" y="89"/>
                      <a:pt x="206" y="89"/>
                      <a:pt x="206" y="89"/>
                    </a:cubicBezTo>
                    <a:cubicBezTo>
                      <a:pt x="203" y="93"/>
                      <a:pt x="203" y="93"/>
                      <a:pt x="203" y="93"/>
                    </a:cubicBezTo>
                    <a:cubicBezTo>
                      <a:pt x="203" y="93"/>
                      <a:pt x="202" y="91"/>
                      <a:pt x="199" y="90"/>
                    </a:cubicBezTo>
                    <a:cubicBezTo>
                      <a:pt x="198" y="89"/>
                      <a:pt x="197" y="90"/>
                      <a:pt x="197" y="90"/>
                    </a:cubicBezTo>
                    <a:cubicBezTo>
                      <a:pt x="196" y="80"/>
                      <a:pt x="196" y="80"/>
                      <a:pt x="196" y="80"/>
                    </a:cubicBezTo>
                    <a:cubicBezTo>
                      <a:pt x="195" y="79"/>
                      <a:pt x="195" y="79"/>
                      <a:pt x="195" y="79"/>
                    </a:cubicBezTo>
                    <a:cubicBezTo>
                      <a:pt x="195" y="76"/>
                      <a:pt x="195" y="76"/>
                      <a:pt x="195" y="76"/>
                    </a:cubicBezTo>
                    <a:cubicBezTo>
                      <a:pt x="191" y="74"/>
                      <a:pt x="191" y="74"/>
                      <a:pt x="191" y="74"/>
                    </a:cubicBezTo>
                    <a:cubicBezTo>
                      <a:pt x="189" y="71"/>
                      <a:pt x="189" y="71"/>
                      <a:pt x="189" y="71"/>
                    </a:cubicBezTo>
                    <a:cubicBezTo>
                      <a:pt x="189" y="71"/>
                      <a:pt x="184" y="71"/>
                      <a:pt x="183" y="78"/>
                    </a:cubicBezTo>
                    <a:cubicBezTo>
                      <a:pt x="181" y="84"/>
                      <a:pt x="183" y="85"/>
                      <a:pt x="183" y="85"/>
                    </a:cubicBezTo>
                    <a:cubicBezTo>
                      <a:pt x="181" y="86"/>
                      <a:pt x="181" y="86"/>
                      <a:pt x="181" y="86"/>
                    </a:cubicBezTo>
                    <a:cubicBezTo>
                      <a:pt x="181" y="87"/>
                      <a:pt x="181" y="87"/>
                      <a:pt x="181" y="87"/>
                    </a:cubicBezTo>
                    <a:cubicBezTo>
                      <a:pt x="183" y="87"/>
                      <a:pt x="183" y="87"/>
                      <a:pt x="183" y="87"/>
                    </a:cubicBezTo>
                    <a:cubicBezTo>
                      <a:pt x="182" y="93"/>
                      <a:pt x="182" y="93"/>
                      <a:pt x="182" y="93"/>
                    </a:cubicBezTo>
                    <a:cubicBezTo>
                      <a:pt x="178" y="99"/>
                      <a:pt x="178" y="99"/>
                      <a:pt x="178" y="99"/>
                    </a:cubicBezTo>
                    <a:cubicBezTo>
                      <a:pt x="178" y="102"/>
                      <a:pt x="178" y="102"/>
                      <a:pt x="178" y="102"/>
                    </a:cubicBezTo>
                    <a:cubicBezTo>
                      <a:pt x="176" y="105"/>
                      <a:pt x="176" y="105"/>
                      <a:pt x="176" y="105"/>
                    </a:cubicBezTo>
                    <a:cubicBezTo>
                      <a:pt x="177" y="102"/>
                      <a:pt x="177" y="102"/>
                      <a:pt x="177" y="102"/>
                    </a:cubicBezTo>
                    <a:cubicBezTo>
                      <a:pt x="177" y="98"/>
                      <a:pt x="177" y="98"/>
                      <a:pt x="177" y="98"/>
                    </a:cubicBezTo>
                    <a:cubicBezTo>
                      <a:pt x="177" y="98"/>
                      <a:pt x="177" y="96"/>
                      <a:pt x="178" y="95"/>
                    </a:cubicBezTo>
                    <a:cubicBezTo>
                      <a:pt x="179" y="94"/>
                      <a:pt x="179" y="92"/>
                      <a:pt x="179" y="92"/>
                    </a:cubicBezTo>
                    <a:cubicBezTo>
                      <a:pt x="178" y="83"/>
                      <a:pt x="178" y="83"/>
                      <a:pt x="178" y="83"/>
                    </a:cubicBezTo>
                    <a:cubicBezTo>
                      <a:pt x="178" y="83"/>
                      <a:pt x="175" y="81"/>
                      <a:pt x="175" y="80"/>
                    </a:cubicBezTo>
                    <a:cubicBezTo>
                      <a:pt x="175" y="78"/>
                      <a:pt x="177" y="77"/>
                      <a:pt x="177" y="75"/>
                    </a:cubicBezTo>
                    <a:cubicBezTo>
                      <a:pt x="178" y="74"/>
                      <a:pt x="177" y="71"/>
                      <a:pt x="177" y="71"/>
                    </a:cubicBezTo>
                    <a:cubicBezTo>
                      <a:pt x="178" y="69"/>
                      <a:pt x="178" y="69"/>
                      <a:pt x="178" y="69"/>
                    </a:cubicBezTo>
                    <a:cubicBezTo>
                      <a:pt x="177" y="67"/>
                      <a:pt x="177" y="67"/>
                      <a:pt x="177" y="67"/>
                    </a:cubicBezTo>
                    <a:cubicBezTo>
                      <a:pt x="175" y="67"/>
                      <a:pt x="175" y="67"/>
                      <a:pt x="175" y="67"/>
                    </a:cubicBezTo>
                    <a:cubicBezTo>
                      <a:pt x="176" y="65"/>
                      <a:pt x="176" y="65"/>
                      <a:pt x="176" y="65"/>
                    </a:cubicBezTo>
                    <a:cubicBezTo>
                      <a:pt x="175" y="64"/>
                      <a:pt x="175" y="64"/>
                      <a:pt x="175" y="64"/>
                    </a:cubicBezTo>
                    <a:cubicBezTo>
                      <a:pt x="172" y="66"/>
                      <a:pt x="172" y="66"/>
                      <a:pt x="172" y="66"/>
                    </a:cubicBezTo>
                    <a:cubicBezTo>
                      <a:pt x="172" y="66"/>
                      <a:pt x="173" y="63"/>
                      <a:pt x="170" y="63"/>
                    </a:cubicBezTo>
                    <a:cubicBezTo>
                      <a:pt x="167" y="62"/>
                      <a:pt x="166" y="66"/>
                      <a:pt x="164" y="66"/>
                    </a:cubicBezTo>
                    <a:cubicBezTo>
                      <a:pt x="162" y="67"/>
                      <a:pt x="161" y="65"/>
                      <a:pt x="159" y="64"/>
                    </a:cubicBezTo>
                    <a:cubicBezTo>
                      <a:pt x="156" y="64"/>
                      <a:pt x="155" y="67"/>
                      <a:pt x="155" y="68"/>
                    </a:cubicBezTo>
                    <a:cubicBezTo>
                      <a:pt x="154" y="69"/>
                      <a:pt x="153" y="68"/>
                      <a:pt x="150" y="70"/>
                    </a:cubicBezTo>
                    <a:cubicBezTo>
                      <a:pt x="149" y="73"/>
                      <a:pt x="151" y="76"/>
                      <a:pt x="150" y="79"/>
                    </a:cubicBezTo>
                    <a:cubicBezTo>
                      <a:pt x="149" y="82"/>
                      <a:pt x="145" y="83"/>
                      <a:pt x="145" y="83"/>
                    </a:cubicBezTo>
                    <a:cubicBezTo>
                      <a:pt x="145" y="81"/>
                      <a:pt x="145" y="81"/>
                      <a:pt x="145" y="81"/>
                    </a:cubicBezTo>
                    <a:cubicBezTo>
                      <a:pt x="144" y="81"/>
                      <a:pt x="144" y="81"/>
                      <a:pt x="144" y="81"/>
                    </a:cubicBezTo>
                    <a:cubicBezTo>
                      <a:pt x="142" y="82"/>
                      <a:pt x="142" y="82"/>
                      <a:pt x="142" y="82"/>
                    </a:cubicBezTo>
                    <a:cubicBezTo>
                      <a:pt x="141" y="80"/>
                      <a:pt x="141" y="80"/>
                      <a:pt x="141" y="80"/>
                    </a:cubicBezTo>
                    <a:cubicBezTo>
                      <a:pt x="141" y="80"/>
                      <a:pt x="143" y="75"/>
                      <a:pt x="143" y="73"/>
                    </a:cubicBezTo>
                    <a:cubicBezTo>
                      <a:pt x="144" y="71"/>
                      <a:pt x="141" y="69"/>
                      <a:pt x="141" y="69"/>
                    </a:cubicBezTo>
                    <a:cubicBezTo>
                      <a:pt x="141" y="69"/>
                      <a:pt x="141" y="66"/>
                      <a:pt x="142" y="64"/>
                    </a:cubicBezTo>
                    <a:cubicBezTo>
                      <a:pt x="142" y="59"/>
                      <a:pt x="142" y="59"/>
                      <a:pt x="142" y="59"/>
                    </a:cubicBezTo>
                    <a:cubicBezTo>
                      <a:pt x="142" y="59"/>
                      <a:pt x="143" y="57"/>
                      <a:pt x="143" y="54"/>
                    </a:cubicBezTo>
                    <a:cubicBezTo>
                      <a:pt x="143" y="53"/>
                      <a:pt x="141" y="52"/>
                      <a:pt x="141" y="52"/>
                    </a:cubicBezTo>
                    <a:cubicBezTo>
                      <a:pt x="141" y="51"/>
                      <a:pt x="141" y="51"/>
                      <a:pt x="141" y="51"/>
                    </a:cubicBezTo>
                    <a:cubicBezTo>
                      <a:pt x="139" y="53"/>
                      <a:pt x="139" y="53"/>
                      <a:pt x="139" y="53"/>
                    </a:cubicBezTo>
                    <a:cubicBezTo>
                      <a:pt x="138" y="52"/>
                      <a:pt x="138" y="52"/>
                      <a:pt x="138" y="52"/>
                    </a:cubicBezTo>
                    <a:cubicBezTo>
                      <a:pt x="135" y="52"/>
                      <a:pt x="135" y="52"/>
                      <a:pt x="135" y="52"/>
                    </a:cubicBezTo>
                    <a:cubicBezTo>
                      <a:pt x="134" y="53"/>
                      <a:pt x="134" y="53"/>
                      <a:pt x="134" y="53"/>
                    </a:cubicBezTo>
                    <a:cubicBezTo>
                      <a:pt x="134" y="52"/>
                      <a:pt x="134" y="52"/>
                      <a:pt x="134" y="52"/>
                    </a:cubicBezTo>
                    <a:cubicBezTo>
                      <a:pt x="133" y="52"/>
                      <a:pt x="133" y="52"/>
                      <a:pt x="133" y="52"/>
                    </a:cubicBezTo>
                    <a:cubicBezTo>
                      <a:pt x="133" y="54"/>
                      <a:pt x="133" y="54"/>
                      <a:pt x="133" y="54"/>
                    </a:cubicBezTo>
                    <a:cubicBezTo>
                      <a:pt x="131" y="57"/>
                      <a:pt x="131" y="57"/>
                      <a:pt x="131" y="57"/>
                    </a:cubicBezTo>
                    <a:cubicBezTo>
                      <a:pt x="131" y="59"/>
                      <a:pt x="131" y="59"/>
                      <a:pt x="131" y="59"/>
                    </a:cubicBezTo>
                    <a:cubicBezTo>
                      <a:pt x="131" y="59"/>
                      <a:pt x="130" y="63"/>
                      <a:pt x="128" y="66"/>
                    </a:cubicBezTo>
                    <a:cubicBezTo>
                      <a:pt x="126" y="70"/>
                      <a:pt x="126" y="76"/>
                      <a:pt x="126" y="76"/>
                    </a:cubicBezTo>
                    <a:cubicBezTo>
                      <a:pt x="123" y="79"/>
                      <a:pt x="123" y="79"/>
                      <a:pt x="123" y="79"/>
                    </a:cubicBezTo>
                    <a:cubicBezTo>
                      <a:pt x="122" y="79"/>
                      <a:pt x="122" y="79"/>
                      <a:pt x="122" y="79"/>
                    </a:cubicBezTo>
                    <a:cubicBezTo>
                      <a:pt x="118" y="81"/>
                      <a:pt x="118" y="81"/>
                      <a:pt x="118" y="81"/>
                    </a:cubicBezTo>
                    <a:cubicBezTo>
                      <a:pt x="115" y="81"/>
                      <a:pt x="115" y="81"/>
                      <a:pt x="115" y="81"/>
                    </a:cubicBezTo>
                    <a:cubicBezTo>
                      <a:pt x="115" y="82"/>
                      <a:pt x="115" y="82"/>
                      <a:pt x="115" y="82"/>
                    </a:cubicBezTo>
                    <a:cubicBezTo>
                      <a:pt x="115" y="82"/>
                      <a:pt x="114" y="85"/>
                      <a:pt x="112" y="85"/>
                    </a:cubicBezTo>
                    <a:cubicBezTo>
                      <a:pt x="110" y="84"/>
                      <a:pt x="113" y="79"/>
                      <a:pt x="113" y="79"/>
                    </a:cubicBezTo>
                    <a:cubicBezTo>
                      <a:pt x="111" y="79"/>
                      <a:pt x="111" y="79"/>
                      <a:pt x="111" y="79"/>
                    </a:cubicBezTo>
                    <a:cubicBezTo>
                      <a:pt x="115" y="74"/>
                      <a:pt x="115" y="74"/>
                      <a:pt x="115" y="74"/>
                    </a:cubicBezTo>
                    <a:cubicBezTo>
                      <a:pt x="113" y="71"/>
                      <a:pt x="113" y="71"/>
                      <a:pt x="113" y="71"/>
                    </a:cubicBezTo>
                    <a:cubicBezTo>
                      <a:pt x="110" y="73"/>
                      <a:pt x="110" y="73"/>
                      <a:pt x="110" y="73"/>
                    </a:cubicBezTo>
                    <a:cubicBezTo>
                      <a:pt x="110" y="75"/>
                      <a:pt x="110" y="75"/>
                      <a:pt x="110" y="75"/>
                    </a:cubicBezTo>
                    <a:cubicBezTo>
                      <a:pt x="106" y="75"/>
                      <a:pt x="106" y="75"/>
                      <a:pt x="106" y="75"/>
                    </a:cubicBezTo>
                    <a:cubicBezTo>
                      <a:pt x="104" y="75"/>
                      <a:pt x="102" y="77"/>
                      <a:pt x="102" y="77"/>
                    </a:cubicBezTo>
                    <a:cubicBezTo>
                      <a:pt x="102" y="77"/>
                      <a:pt x="101" y="78"/>
                      <a:pt x="100" y="80"/>
                    </a:cubicBezTo>
                    <a:cubicBezTo>
                      <a:pt x="99" y="82"/>
                      <a:pt x="98" y="89"/>
                      <a:pt x="98" y="89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3"/>
                      <a:pt x="97" y="83"/>
                      <a:pt x="97" y="83"/>
                    </a:cubicBezTo>
                    <a:cubicBezTo>
                      <a:pt x="98" y="80"/>
                      <a:pt x="98" y="80"/>
                      <a:pt x="98" y="80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4" y="86"/>
                      <a:pt x="94" y="86"/>
                      <a:pt x="94" y="86"/>
                    </a:cubicBezTo>
                    <a:cubicBezTo>
                      <a:pt x="94" y="86"/>
                      <a:pt x="92" y="89"/>
                      <a:pt x="91" y="90"/>
                    </a:cubicBezTo>
                    <a:cubicBezTo>
                      <a:pt x="90" y="91"/>
                      <a:pt x="90" y="95"/>
                      <a:pt x="90" y="95"/>
                    </a:cubicBezTo>
                    <a:cubicBezTo>
                      <a:pt x="88" y="97"/>
                      <a:pt x="88" y="97"/>
                      <a:pt x="88" y="97"/>
                    </a:cubicBezTo>
                    <a:cubicBezTo>
                      <a:pt x="88" y="97"/>
                      <a:pt x="88" y="92"/>
                      <a:pt x="89" y="89"/>
                    </a:cubicBezTo>
                    <a:cubicBezTo>
                      <a:pt x="89" y="85"/>
                      <a:pt x="93" y="82"/>
                      <a:pt x="93" y="82"/>
                    </a:cubicBezTo>
                    <a:cubicBezTo>
                      <a:pt x="94" y="76"/>
                      <a:pt x="94" y="76"/>
                      <a:pt x="94" y="76"/>
                    </a:cubicBezTo>
                    <a:cubicBezTo>
                      <a:pt x="90" y="75"/>
                      <a:pt x="90" y="75"/>
                      <a:pt x="90" y="75"/>
                    </a:cubicBezTo>
                    <a:cubicBezTo>
                      <a:pt x="94" y="74"/>
                      <a:pt x="94" y="74"/>
                      <a:pt x="94" y="74"/>
                    </a:cubicBezTo>
                    <a:cubicBezTo>
                      <a:pt x="96" y="69"/>
                      <a:pt x="96" y="69"/>
                      <a:pt x="96" y="69"/>
                    </a:cubicBezTo>
                    <a:cubicBezTo>
                      <a:pt x="92" y="68"/>
                      <a:pt x="92" y="68"/>
                      <a:pt x="92" y="68"/>
                    </a:cubicBezTo>
                    <a:cubicBezTo>
                      <a:pt x="95" y="67"/>
                      <a:pt x="95" y="67"/>
                      <a:pt x="95" y="67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6" y="65"/>
                      <a:pt x="92" y="64"/>
                      <a:pt x="91" y="62"/>
                    </a:cubicBezTo>
                    <a:cubicBezTo>
                      <a:pt x="90" y="60"/>
                      <a:pt x="91" y="60"/>
                      <a:pt x="92" y="59"/>
                    </a:cubicBezTo>
                    <a:cubicBezTo>
                      <a:pt x="92" y="54"/>
                      <a:pt x="92" y="54"/>
                      <a:pt x="92" y="54"/>
                    </a:cubicBezTo>
                    <a:cubicBezTo>
                      <a:pt x="93" y="54"/>
                      <a:pt x="93" y="54"/>
                      <a:pt x="93" y="54"/>
                    </a:cubicBezTo>
                    <a:cubicBezTo>
                      <a:pt x="93" y="54"/>
                      <a:pt x="93" y="59"/>
                      <a:pt x="94" y="60"/>
                    </a:cubicBezTo>
                    <a:cubicBezTo>
                      <a:pt x="94" y="62"/>
                      <a:pt x="97" y="62"/>
                      <a:pt x="98" y="62"/>
                    </a:cubicBezTo>
                    <a:cubicBezTo>
                      <a:pt x="100" y="62"/>
                      <a:pt x="99" y="59"/>
                      <a:pt x="99" y="59"/>
                    </a:cubicBezTo>
                    <a:cubicBezTo>
                      <a:pt x="99" y="59"/>
                      <a:pt x="101" y="60"/>
                      <a:pt x="107" y="54"/>
                    </a:cubicBezTo>
                    <a:cubicBezTo>
                      <a:pt x="112" y="49"/>
                      <a:pt x="101" y="47"/>
                      <a:pt x="102" y="46"/>
                    </a:cubicBezTo>
                    <a:cubicBezTo>
                      <a:pt x="102" y="44"/>
                      <a:pt x="109" y="46"/>
                      <a:pt x="109" y="46"/>
                    </a:cubicBezTo>
                    <a:cubicBezTo>
                      <a:pt x="109" y="44"/>
                      <a:pt x="109" y="44"/>
                      <a:pt x="109" y="44"/>
                    </a:cubicBezTo>
                    <a:cubicBezTo>
                      <a:pt x="107" y="42"/>
                      <a:pt x="107" y="42"/>
                      <a:pt x="107" y="42"/>
                    </a:cubicBezTo>
                    <a:cubicBezTo>
                      <a:pt x="108" y="38"/>
                      <a:pt x="108" y="38"/>
                      <a:pt x="108" y="38"/>
                    </a:cubicBezTo>
                    <a:cubicBezTo>
                      <a:pt x="106" y="38"/>
                      <a:pt x="106" y="38"/>
                      <a:pt x="106" y="38"/>
                    </a:cubicBezTo>
                    <a:cubicBezTo>
                      <a:pt x="104" y="42"/>
                      <a:pt x="104" y="42"/>
                      <a:pt x="104" y="42"/>
                    </a:cubicBezTo>
                    <a:cubicBezTo>
                      <a:pt x="104" y="38"/>
                      <a:pt x="104" y="38"/>
                      <a:pt x="104" y="38"/>
                    </a:cubicBezTo>
                    <a:cubicBezTo>
                      <a:pt x="102" y="37"/>
                      <a:pt x="105" y="35"/>
                      <a:pt x="106" y="33"/>
                    </a:cubicBezTo>
                    <a:cubicBezTo>
                      <a:pt x="107" y="30"/>
                      <a:pt x="104" y="30"/>
                      <a:pt x="102" y="28"/>
                    </a:cubicBezTo>
                    <a:cubicBezTo>
                      <a:pt x="101" y="26"/>
                      <a:pt x="104" y="23"/>
                      <a:pt x="104" y="23"/>
                    </a:cubicBezTo>
                    <a:cubicBezTo>
                      <a:pt x="100" y="22"/>
                      <a:pt x="100" y="22"/>
                      <a:pt x="100" y="22"/>
                    </a:cubicBezTo>
                    <a:cubicBezTo>
                      <a:pt x="100" y="19"/>
                      <a:pt x="100" y="19"/>
                      <a:pt x="100" y="19"/>
                    </a:cubicBezTo>
                    <a:cubicBezTo>
                      <a:pt x="98" y="19"/>
                      <a:pt x="98" y="19"/>
                      <a:pt x="98" y="19"/>
                    </a:cubicBezTo>
                    <a:cubicBezTo>
                      <a:pt x="98" y="19"/>
                      <a:pt x="99" y="17"/>
                      <a:pt x="100" y="16"/>
                    </a:cubicBezTo>
                    <a:cubicBezTo>
                      <a:pt x="102" y="14"/>
                      <a:pt x="98" y="12"/>
                      <a:pt x="98" y="12"/>
                    </a:cubicBezTo>
                    <a:cubicBezTo>
                      <a:pt x="100" y="7"/>
                      <a:pt x="100" y="7"/>
                      <a:pt x="100" y="7"/>
                    </a:cubicBezTo>
                    <a:cubicBezTo>
                      <a:pt x="99" y="5"/>
                      <a:pt x="99" y="5"/>
                      <a:pt x="99" y="5"/>
                    </a:cubicBezTo>
                    <a:cubicBezTo>
                      <a:pt x="97" y="10"/>
                      <a:pt x="97" y="10"/>
                      <a:pt x="97" y="10"/>
                    </a:cubicBezTo>
                    <a:cubicBezTo>
                      <a:pt x="95" y="5"/>
                      <a:pt x="95" y="5"/>
                      <a:pt x="95" y="5"/>
                    </a:cubicBezTo>
                    <a:cubicBezTo>
                      <a:pt x="93" y="6"/>
                      <a:pt x="93" y="6"/>
                      <a:pt x="93" y="6"/>
                    </a:cubicBezTo>
                    <a:cubicBezTo>
                      <a:pt x="89" y="0"/>
                      <a:pt x="89" y="0"/>
                      <a:pt x="89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87" y="3"/>
                      <a:pt x="87" y="3"/>
                      <a:pt x="87" y="3"/>
                    </a:cubicBezTo>
                    <a:cubicBezTo>
                      <a:pt x="83" y="1"/>
                      <a:pt x="83" y="1"/>
                      <a:pt x="83" y="1"/>
                    </a:cubicBezTo>
                    <a:cubicBezTo>
                      <a:pt x="82" y="1"/>
                      <a:pt x="82" y="1"/>
                      <a:pt x="82" y="1"/>
                    </a:cubicBezTo>
                    <a:cubicBezTo>
                      <a:pt x="82" y="1"/>
                      <a:pt x="83" y="5"/>
                      <a:pt x="81" y="5"/>
                    </a:cubicBezTo>
                    <a:cubicBezTo>
                      <a:pt x="80" y="6"/>
                      <a:pt x="79" y="3"/>
                      <a:pt x="79" y="3"/>
                    </a:cubicBezTo>
                    <a:cubicBezTo>
                      <a:pt x="77" y="3"/>
                      <a:pt x="77" y="3"/>
                      <a:pt x="77" y="3"/>
                    </a:cubicBezTo>
                    <a:cubicBezTo>
                      <a:pt x="77" y="3"/>
                      <a:pt x="77" y="6"/>
                      <a:pt x="80" y="8"/>
                    </a:cubicBezTo>
                    <a:cubicBezTo>
                      <a:pt x="83" y="11"/>
                      <a:pt x="87" y="8"/>
                      <a:pt x="87" y="8"/>
                    </a:cubicBezTo>
                    <a:cubicBezTo>
                      <a:pt x="85" y="11"/>
                      <a:pt x="85" y="11"/>
                      <a:pt x="85" y="11"/>
                    </a:cubicBezTo>
                    <a:cubicBezTo>
                      <a:pt x="87" y="11"/>
                      <a:pt x="87" y="11"/>
                      <a:pt x="87" y="11"/>
                    </a:cubicBezTo>
                    <a:cubicBezTo>
                      <a:pt x="91" y="10"/>
                      <a:pt x="91" y="10"/>
                      <a:pt x="91" y="10"/>
                    </a:cubicBezTo>
                    <a:cubicBezTo>
                      <a:pt x="88" y="13"/>
                      <a:pt x="88" y="13"/>
                      <a:pt x="88" y="13"/>
                    </a:cubicBezTo>
                    <a:cubicBezTo>
                      <a:pt x="89" y="15"/>
                      <a:pt x="89" y="15"/>
                      <a:pt x="89" y="15"/>
                    </a:cubicBezTo>
                    <a:cubicBezTo>
                      <a:pt x="92" y="15"/>
                      <a:pt x="92" y="15"/>
                      <a:pt x="92" y="15"/>
                    </a:cubicBezTo>
                    <a:cubicBezTo>
                      <a:pt x="91" y="16"/>
                      <a:pt x="91" y="16"/>
                      <a:pt x="91" y="16"/>
                    </a:cubicBezTo>
                    <a:cubicBezTo>
                      <a:pt x="91" y="16"/>
                      <a:pt x="92" y="19"/>
                      <a:pt x="91" y="18"/>
                    </a:cubicBezTo>
                    <a:cubicBezTo>
                      <a:pt x="89" y="17"/>
                      <a:pt x="87" y="17"/>
                      <a:pt x="85" y="15"/>
                    </a:cubicBezTo>
                    <a:cubicBezTo>
                      <a:pt x="84" y="13"/>
                      <a:pt x="81" y="13"/>
                      <a:pt x="79" y="14"/>
                    </a:cubicBezTo>
                    <a:cubicBezTo>
                      <a:pt x="76" y="16"/>
                      <a:pt x="81" y="22"/>
                      <a:pt x="82" y="23"/>
                    </a:cubicBezTo>
                    <a:cubicBezTo>
                      <a:pt x="83" y="24"/>
                      <a:pt x="87" y="29"/>
                      <a:pt x="87" y="29"/>
                    </a:cubicBezTo>
                    <a:cubicBezTo>
                      <a:pt x="87" y="29"/>
                      <a:pt x="84" y="30"/>
                      <a:pt x="83" y="31"/>
                    </a:cubicBezTo>
                    <a:cubicBezTo>
                      <a:pt x="82" y="32"/>
                      <a:pt x="83" y="34"/>
                      <a:pt x="82" y="37"/>
                    </a:cubicBezTo>
                    <a:cubicBezTo>
                      <a:pt x="82" y="41"/>
                      <a:pt x="78" y="43"/>
                      <a:pt x="78" y="43"/>
                    </a:cubicBezTo>
                    <a:cubicBezTo>
                      <a:pt x="77" y="42"/>
                      <a:pt x="77" y="42"/>
                      <a:pt x="77" y="42"/>
                    </a:cubicBezTo>
                    <a:cubicBezTo>
                      <a:pt x="77" y="42"/>
                      <a:pt x="80" y="38"/>
                      <a:pt x="80" y="34"/>
                    </a:cubicBezTo>
                    <a:cubicBezTo>
                      <a:pt x="80" y="31"/>
                      <a:pt x="75" y="38"/>
                      <a:pt x="75" y="38"/>
                    </a:cubicBezTo>
                    <a:cubicBezTo>
                      <a:pt x="75" y="37"/>
                      <a:pt x="75" y="37"/>
                      <a:pt x="75" y="37"/>
                    </a:cubicBezTo>
                    <a:cubicBezTo>
                      <a:pt x="79" y="32"/>
                      <a:pt x="79" y="32"/>
                      <a:pt x="79" y="32"/>
                    </a:cubicBezTo>
                    <a:cubicBezTo>
                      <a:pt x="78" y="29"/>
                      <a:pt x="78" y="29"/>
                      <a:pt x="78" y="29"/>
                    </a:cubicBezTo>
                    <a:cubicBezTo>
                      <a:pt x="79" y="27"/>
                      <a:pt x="79" y="27"/>
                      <a:pt x="79" y="27"/>
                    </a:cubicBezTo>
                    <a:cubicBezTo>
                      <a:pt x="77" y="27"/>
                      <a:pt x="77" y="27"/>
                      <a:pt x="77" y="27"/>
                    </a:cubicBezTo>
                    <a:cubicBezTo>
                      <a:pt x="72" y="33"/>
                      <a:pt x="72" y="33"/>
                      <a:pt x="72" y="33"/>
                    </a:cubicBezTo>
                    <a:cubicBezTo>
                      <a:pt x="74" y="29"/>
                      <a:pt x="74" y="29"/>
                      <a:pt x="74" y="29"/>
                    </a:cubicBezTo>
                    <a:cubicBezTo>
                      <a:pt x="73" y="29"/>
                      <a:pt x="73" y="29"/>
                      <a:pt x="73" y="29"/>
                    </a:cubicBezTo>
                    <a:cubicBezTo>
                      <a:pt x="71" y="30"/>
                      <a:pt x="71" y="30"/>
                      <a:pt x="71" y="30"/>
                    </a:cubicBezTo>
                    <a:cubicBezTo>
                      <a:pt x="73" y="27"/>
                      <a:pt x="73" y="27"/>
                      <a:pt x="73" y="27"/>
                    </a:cubicBezTo>
                    <a:cubicBezTo>
                      <a:pt x="72" y="26"/>
                      <a:pt x="72" y="26"/>
                      <a:pt x="72" y="26"/>
                    </a:cubicBezTo>
                    <a:cubicBezTo>
                      <a:pt x="68" y="27"/>
                      <a:pt x="68" y="27"/>
                      <a:pt x="68" y="27"/>
                    </a:cubicBezTo>
                    <a:cubicBezTo>
                      <a:pt x="73" y="22"/>
                      <a:pt x="73" y="22"/>
                      <a:pt x="73" y="22"/>
                    </a:cubicBezTo>
                    <a:cubicBezTo>
                      <a:pt x="73" y="20"/>
                      <a:pt x="73" y="20"/>
                      <a:pt x="73" y="20"/>
                    </a:cubicBezTo>
                    <a:cubicBezTo>
                      <a:pt x="73" y="20"/>
                      <a:pt x="69" y="22"/>
                      <a:pt x="68" y="21"/>
                    </a:cubicBezTo>
                    <a:cubicBezTo>
                      <a:pt x="68" y="20"/>
                      <a:pt x="72" y="19"/>
                      <a:pt x="72" y="19"/>
                    </a:cubicBezTo>
                    <a:cubicBezTo>
                      <a:pt x="71" y="16"/>
                      <a:pt x="71" y="16"/>
                      <a:pt x="71" y="16"/>
                    </a:cubicBezTo>
                    <a:cubicBezTo>
                      <a:pt x="71" y="13"/>
                      <a:pt x="71" y="13"/>
                      <a:pt x="71" y="13"/>
                    </a:cubicBezTo>
                    <a:cubicBezTo>
                      <a:pt x="71" y="13"/>
                      <a:pt x="68" y="10"/>
                      <a:pt x="64" y="10"/>
                    </a:cubicBezTo>
                    <a:cubicBezTo>
                      <a:pt x="60" y="11"/>
                      <a:pt x="65" y="14"/>
                      <a:pt x="65" y="14"/>
                    </a:cubicBezTo>
                    <a:cubicBezTo>
                      <a:pt x="65" y="14"/>
                      <a:pt x="63" y="13"/>
                      <a:pt x="61" y="13"/>
                    </a:cubicBezTo>
                    <a:cubicBezTo>
                      <a:pt x="60" y="13"/>
                      <a:pt x="59" y="13"/>
                      <a:pt x="61" y="16"/>
                    </a:cubicBezTo>
                    <a:cubicBezTo>
                      <a:pt x="62" y="20"/>
                      <a:pt x="63" y="21"/>
                      <a:pt x="62" y="21"/>
                    </a:cubicBezTo>
                    <a:cubicBezTo>
                      <a:pt x="61" y="22"/>
                      <a:pt x="60" y="20"/>
                      <a:pt x="59" y="18"/>
                    </a:cubicBezTo>
                    <a:cubicBezTo>
                      <a:pt x="58" y="15"/>
                      <a:pt x="56" y="13"/>
                      <a:pt x="53" y="14"/>
                    </a:cubicBezTo>
                    <a:cubicBezTo>
                      <a:pt x="50" y="16"/>
                      <a:pt x="53" y="21"/>
                      <a:pt x="53" y="22"/>
                    </a:cubicBezTo>
                    <a:cubicBezTo>
                      <a:pt x="55" y="24"/>
                      <a:pt x="52" y="24"/>
                      <a:pt x="52" y="24"/>
                    </a:cubicBezTo>
                    <a:cubicBezTo>
                      <a:pt x="55" y="27"/>
                      <a:pt x="55" y="27"/>
                      <a:pt x="55" y="27"/>
                    </a:cubicBezTo>
                    <a:cubicBezTo>
                      <a:pt x="57" y="27"/>
                      <a:pt x="57" y="27"/>
                      <a:pt x="57" y="27"/>
                    </a:cubicBezTo>
                    <a:cubicBezTo>
                      <a:pt x="58" y="31"/>
                      <a:pt x="58" y="31"/>
                      <a:pt x="58" y="31"/>
                    </a:cubicBezTo>
                    <a:cubicBezTo>
                      <a:pt x="58" y="31"/>
                      <a:pt x="50" y="23"/>
                      <a:pt x="47" y="21"/>
                    </a:cubicBezTo>
                    <a:cubicBezTo>
                      <a:pt x="45" y="20"/>
                      <a:pt x="45" y="29"/>
                      <a:pt x="48" y="32"/>
                    </a:cubicBezTo>
                    <a:cubicBezTo>
                      <a:pt x="51" y="36"/>
                      <a:pt x="58" y="36"/>
                      <a:pt x="58" y="36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48" y="36"/>
                      <a:pt x="48" y="36"/>
                      <a:pt x="48" y="36"/>
                    </a:cubicBezTo>
                    <a:cubicBezTo>
                      <a:pt x="49" y="39"/>
                      <a:pt x="49" y="39"/>
                      <a:pt x="49" y="39"/>
                    </a:cubicBezTo>
                    <a:cubicBezTo>
                      <a:pt x="52" y="42"/>
                      <a:pt x="52" y="42"/>
                      <a:pt x="52" y="42"/>
                    </a:cubicBezTo>
                    <a:cubicBezTo>
                      <a:pt x="48" y="42"/>
                      <a:pt x="48" y="42"/>
                      <a:pt x="48" y="42"/>
                    </a:cubicBezTo>
                    <a:cubicBezTo>
                      <a:pt x="47" y="41"/>
                      <a:pt x="47" y="41"/>
                      <a:pt x="47" y="41"/>
                    </a:cubicBezTo>
                    <a:cubicBezTo>
                      <a:pt x="44" y="42"/>
                      <a:pt x="44" y="42"/>
                      <a:pt x="44" y="42"/>
                    </a:cubicBezTo>
                    <a:cubicBezTo>
                      <a:pt x="44" y="42"/>
                      <a:pt x="45" y="41"/>
                      <a:pt x="46" y="37"/>
                    </a:cubicBezTo>
                    <a:cubicBezTo>
                      <a:pt x="46" y="34"/>
                      <a:pt x="38" y="23"/>
                      <a:pt x="38" y="23"/>
                    </a:cubicBezTo>
                    <a:cubicBezTo>
                      <a:pt x="38" y="23"/>
                      <a:pt x="35" y="26"/>
                      <a:pt x="35" y="29"/>
                    </a:cubicBezTo>
                    <a:cubicBezTo>
                      <a:pt x="35" y="32"/>
                      <a:pt x="38" y="37"/>
                      <a:pt x="38" y="37"/>
                    </a:cubicBezTo>
                    <a:cubicBezTo>
                      <a:pt x="33" y="32"/>
                      <a:pt x="33" y="32"/>
                      <a:pt x="33" y="32"/>
                    </a:cubicBezTo>
                    <a:cubicBezTo>
                      <a:pt x="33" y="38"/>
                      <a:pt x="33" y="38"/>
                      <a:pt x="33" y="38"/>
                    </a:cubicBezTo>
                    <a:cubicBezTo>
                      <a:pt x="34" y="41"/>
                      <a:pt x="36" y="43"/>
                      <a:pt x="36" y="43"/>
                    </a:cubicBezTo>
                    <a:cubicBezTo>
                      <a:pt x="33" y="43"/>
                      <a:pt x="33" y="43"/>
                      <a:pt x="33" y="43"/>
                    </a:cubicBezTo>
                    <a:cubicBezTo>
                      <a:pt x="32" y="43"/>
                      <a:pt x="32" y="39"/>
                      <a:pt x="32" y="38"/>
                    </a:cubicBezTo>
                    <a:cubicBezTo>
                      <a:pt x="32" y="37"/>
                      <a:pt x="30" y="38"/>
                      <a:pt x="30" y="36"/>
                    </a:cubicBezTo>
                    <a:cubicBezTo>
                      <a:pt x="30" y="34"/>
                      <a:pt x="30" y="31"/>
                      <a:pt x="27" y="30"/>
                    </a:cubicBezTo>
                    <a:cubicBezTo>
                      <a:pt x="24" y="29"/>
                      <a:pt x="23" y="33"/>
                      <a:pt x="22" y="34"/>
                    </a:cubicBezTo>
                    <a:cubicBezTo>
                      <a:pt x="20" y="35"/>
                      <a:pt x="18" y="35"/>
                      <a:pt x="17" y="36"/>
                    </a:cubicBezTo>
                    <a:cubicBezTo>
                      <a:pt x="16" y="37"/>
                      <a:pt x="19" y="37"/>
                      <a:pt x="23" y="38"/>
                    </a:cubicBezTo>
                    <a:cubicBezTo>
                      <a:pt x="25" y="38"/>
                      <a:pt x="25" y="41"/>
                      <a:pt x="26" y="42"/>
                    </a:cubicBezTo>
                    <a:cubicBezTo>
                      <a:pt x="29" y="45"/>
                      <a:pt x="29" y="45"/>
                      <a:pt x="29" y="45"/>
                    </a:cubicBezTo>
                    <a:cubicBezTo>
                      <a:pt x="27" y="47"/>
                      <a:pt x="27" y="47"/>
                      <a:pt x="27" y="47"/>
                    </a:cubicBezTo>
                    <a:cubicBezTo>
                      <a:pt x="27" y="47"/>
                      <a:pt x="26" y="48"/>
                      <a:pt x="30" y="49"/>
                    </a:cubicBezTo>
                    <a:cubicBezTo>
                      <a:pt x="33" y="51"/>
                      <a:pt x="36" y="48"/>
                      <a:pt x="41" y="49"/>
                    </a:cubicBezTo>
                    <a:cubicBezTo>
                      <a:pt x="45" y="50"/>
                      <a:pt x="46" y="52"/>
                      <a:pt x="48" y="52"/>
                    </a:cubicBezTo>
                    <a:cubicBezTo>
                      <a:pt x="49" y="52"/>
                      <a:pt x="51" y="48"/>
                      <a:pt x="51" y="48"/>
                    </a:cubicBezTo>
                    <a:cubicBezTo>
                      <a:pt x="51" y="50"/>
                      <a:pt x="51" y="50"/>
                      <a:pt x="51" y="50"/>
                    </a:cubicBezTo>
                    <a:cubicBezTo>
                      <a:pt x="53" y="52"/>
                      <a:pt x="53" y="52"/>
                      <a:pt x="53" y="52"/>
                    </a:cubicBezTo>
                    <a:cubicBezTo>
                      <a:pt x="58" y="49"/>
                      <a:pt x="58" y="49"/>
                      <a:pt x="58" y="49"/>
                    </a:cubicBezTo>
                    <a:cubicBezTo>
                      <a:pt x="58" y="52"/>
                      <a:pt x="58" y="52"/>
                      <a:pt x="58" y="52"/>
                    </a:cubicBezTo>
                    <a:cubicBezTo>
                      <a:pt x="60" y="50"/>
                      <a:pt x="60" y="50"/>
                      <a:pt x="60" y="50"/>
                    </a:cubicBezTo>
                    <a:cubicBezTo>
                      <a:pt x="63" y="51"/>
                      <a:pt x="63" y="51"/>
                      <a:pt x="63" y="51"/>
                    </a:cubicBezTo>
                    <a:cubicBezTo>
                      <a:pt x="61" y="58"/>
                      <a:pt x="61" y="58"/>
                      <a:pt x="61" y="58"/>
                    </a:cubicBezTo>
                    <a:cubicBezTo>
                      <a:pt x="64" y="55"/>
                      <a:pt x="64" y="55"/>
                      <a:pt x="64" y="55"/>
                    </a:cubicBezTo>
                    <a:cubicBezTo>
                      <a:pt x="65" y="57"/>
                      <a:pt x="65" y="57"/>
                      <a:pt x="65" y="57"/>
                    </a:cubicBezTo>
                    <a:cubicBezTo>
                      <a:pt x="67" y="54"/>
                      <a:pt x="67" y="54"/>
                      <a:pt x="67" y="54"/>
                    </a:cubicBezTo>
                    <a:cubicBezTo>
                      <a:pt x="66" y="62"/>
                      <a:pt x="66" y="62"/>
                      <a:pt x="66" y="62"/>
                    </a:cubicBezTo>
                    <a:cubicBezTo>
                      <a:pt x="75" y="62"/>
                      <a:pt x="75" y="62"/>
                      <a:pt x="75" y="62"/>
                    </a:cubicBezTo>
                    <a:cubicBezTo>
                      <a:pt x="72" y="64"/>
                      <a:pt x="72" y="64"/>
                      <a:pt x="72" y="64"/>
                    </a:cubicBezTo>
                    <a:cubicBezTo>
                      <a:pt x="67" y="64"/>
                      <a:pt x="67" y="64"/>
                      <a:pt x="67" y="64"/>
                    </a:cubicBezTo>
                    <a:cubicBezTo>
                      <a:pt x="69" y="69"/>
                      <a:pt x="69" y="69"/>
                      <a:pt x="69" y="69"/>
                    </a:cubicBezTo>
                    <a:cubicBezTo>
                      <a:pt x="74" y="66"/>
                      <a:pt x="74" y="66"/>
                      <a:pt x="74" y="66"/>
                    </a:cubicBezTo>
                    <a:cubicBezTo>
                      <a:pt x="74" y="66"/>
                      <a:pt x="76" y="66"/>
                      <a:pt x="77" y="68"/>
                    </a:cubicBezTo>
                    <a:cubicBezTo>
                      <a:pt x="78" y="70"/>
                      <a:pt x="77" y="71"/>
                      <a:pt x="77" y="71"/>
                    </a:cubicBezTo>
                    <a:cubicBezTo>
                      <a:pt x="82" y="74"/>
                      <a:pt x="82" y="74"/>
                      <a:pt x="82" y="74"/>
                    </a:cubicBezTo>
                    <a:cubicBezTo>
                      <a:pt x="74" y="74"/>
                      <a:pt x="74" y="74"/>
                      <a:pt x="74" y="74"/>
                    </a:cubicBezTo>
                    <a:cubicBezTo>
                      <a:pt x="72" y="75"/>
                      <a:pt x="72" y="75"/>
                      <a:pt x="72" y="75"/>
                    </a:cubicBezTo>
                    <a:cubicBezTo>
                      <a:pt x="72" y="75"/>
                      <a:pt x="64" y="75"/>
                      <a:pt x="58" y="76"/>
                    </a:cubicBezTo>
                    <a:cubicBezTo>
                      <a:pt x="50" y="76"/>
                      <a:pt x="56" y="79"/>
                      <a:pt x="56" y="79"/>
                    </a:cubicBezTo>
                    <a:cubicBezTo>
                      <a:pt x="52" y="80"/>
                      <a:pt x="52" y="80"/>
                      <a:pt x="52" y="80"/>
                    </a:cubicBezTo>
                    <a:cubicBezTo>
                      <a:pt x="57" y="82"/>
                      <a:pt x="57" y="82"/>
                      <a:pt x="57" y="82"/>
                    </a:cubicBezTo>
                    <a:cubicBezTo>
                      <a:pt x="57" y="85"/>
                      <a:pt x="57" y="85"/>
                      <a:pt x="57" y="85"/>
                    </a:cubicBezTo>
                    <a:cubicBezTo>
                      <a:pt x="58" y="86"/>
                      <a:pt x="60" y="85"/>
                      <a:pt x="60" y="85"/>
                    </a:cubicBezTo>
                    <a:cubicBezTo>
                      <a:pt x="60" y="85"/>
                      <a:pt x="61" y="90"/>
                      <a:pt x="62" y="90"/>
                    </a:cubicBezTo>
                    <a:cubicBezTo>
                      <a:pt x="64" y="90"/>
                      <a:pt x="69" y="87"/>
                      <a:pt x="69" y="87"/>
                    </a:cubicBezTo>
                    <a:cubicBezTo>
                      <a:pt x="69" y="87"/>
                      <a:pt x="72" y="86"/>
                      <a:pt x="73" y="89"/>
                    </a:cubicBezTo>
                    <a:cubicBezTo>
                      <a:pt x="74" y="92"/>
                      <a:pt x="66" y="93"/>
                      <a:pt x="66" y="93"/>
                    </a:cubicBezTo>
                    <a:cubicBezTo>
                      <a:pt x="65" y="96"/>
                      <a:pt x="65" y="96"/>
                      <a:pt x="65" y="96"/>
                    </a:cubicBezTo>
                    <a:cubicBezTo>
                      <a:pt x="62" y="96"/>
                      <a:pt x="62" y="96"/>
                      <a:pt x="62" y="96"/>
                    </a:cubicBezTo>
                    <a:cubicBezTo>
                      <a:pt x="60" y="96"/>
                      <a:pt x="59" y="92"/>
                      <a:pt x="59" y="92"/>
                    </a:cubicBezTo>
                    <a:cubicBezTo>
                      <a:pt x="59" y="92"/>
                      <a:pt x="58" y="91"/>
                      <a:pt x="57" y="92"/>
                    </a:cubicBezTo>
                    <a:cubicBezTo>
                      <a:pt x="55" y="92"/>
                      <a:pt x="55" y="89"/>
                      <a:pt x="51" y="86"/>
                    </a:cubicBezTo>
                    <a:cubicBezTo>
                      <a:pt x="48" y="84"/>
                      <a:pt x="45" y="87"/>
                      <a:pt x="45" y="87"/>
                    </a:cubicBezTo>
                    <a:cubicBezTo>
                      <a:pt x="46" y="83"/>
                      <a:pt x="46" y="83"/>
                      <a:pt x="46" y="83"/>
                    </a:cubicBezTo>
                    <a:cubicBezTo>
                      <a:pt x="44" y="81"/>
                      <a:pt x="44" y="81"/>
                      <a:pt x="44" y="81"/>
                    </a:cubicBezTo>
                    <a:cubicBezTo>
                      <a:pt x="40" y="82"/>
                      <a:pt x="40" y="82"/>
                      <a:pt x="40" y="82"/>
                    </a:cubicBezTo>
                    <a:cubicBezTo>
                      <a:pt x="41" y="84"/>
                      <a:pt x="41" y="84"/>
                      <a:pt x="41" y="84"/>
                    </a:cubicBezTo>
                    <a:cubicBezTo>
                      <a:pt x="41" y="84"/>
                      <a:pt x="40" y="85"/>
                      <a:pt x="38" y="85"/>
                    </a:cubicBezTo>
                    <a:cubicBezTo>
                      <a:pt x="36" y="85"/>
                      <a:pt x="36" y="84"/>
                      <a:pt x="35" y="82"/>
                    </a:cubicBezTo>
                    <a:cubicBezTo>
                      <a:pt x="34" y="81"/>
                      <a:pt x="33" y="83"/>
                      <a:pt x="31" y="85"/>
                    </a:cubicBezTo>
                    <a:cubicBezTo>
                      <a:pt x="29" y="87"/>
                      <a:pt x="30" y="83"/>
                      <a:pt x="31" y="83"/>
                    </a:cubicBezTo>
                    <a:cubicBezTo>
                      <a:pt x="32" y="82"/>
                      <a:pt x="32" y="80"/>
                      <a:pt x="30" y="80"/>
                    </a:cubicBezTo>
                    <a:cubicBezTo>
                      <a:pt x="28" y="79"/>
                      <a:pt x="28" y="83"/>
                      <a:pt x="26" y="83"/>
                    </a:cubicBezTo>
                    <a:cubicBezTo>
                      <a:pt x="24" y="83"/>
                      <a:pt x="25" y="81"/>
                      <a:pt x="25" y="81"/>
                    </a:cubicBezTo>
                    <a:cubicBezTo>
                      <a:pt x="23" y="81"/>
                      <a:pt x="23" y="81"/>
                      <a:pt x="23" y="81"/>
                    </a:cubicBezTo>
                    <a:cubicBezTo>
                      <a:pt x="22" y="80"/>
                      <a:pt x="22" y="80"/>
                      <a:pt x="22" y="80"/>
                    </a:cubicBezTo>
                    <a:cubicBezTo>
                      <a:pt x="22" y="80"/>
                      <a:pt x="16" y="81"/>
                      <a:pt x="14" y="81"/>
                    </a:cubicBezTo>
                    <a:cubicBezTo>
                      <a:pt x="12" y="80"/>
                      <a:pt x="13" y="76"/>
                      <a:pt x="9" y="76"/>
                    </a:cubicBezTo>
                    <a:cubicBezTo>
                      <a:pt x="4" y="76"/>
                      <a:pt x="3" y="81"/>
                      <a:pt x="4" y="84"/>
                    </a:cubicBezTo>
                    <a:cubicBezTo>
                      <a:pt x="4" y="89"/>
                      <a:pt x="8" y="90"/>
                      <a:pt x="10" y="90"/>
                    </a:cubicBezTo>
                    <a:cubicBezTo>
                      <a:pt x="12" y="90"/>
                      <a:pt x="11" y="87"/>
                      <a:pt x="13" y="86"/>
                    </a:cubicBezTo>
                    <a:cubicBezTo>
                      <a:pt x="15" y="86"/>
                      <a:pt x="16" y="89"/>
                      <a:pt x="17" y="90"/>
                    </a:cubicBezTo>
                    <a:cubicBezTo>
                      <a:pt x="18" y="90"/>
                      <a:pt x="19" y="89"/>
                      <a:pt x="19" y="89"/>
                    </a:cubicBezTo>
                    <a:cubicBezTo>
                      <a:pt x="27" y="95"/>
                      <a:pt x="27" y="95"/>
                      <a:pt x="27" y="95"/>
                    </a:cubicBezTo>
                    <a:cubicBezTo>
                      <a:pt x="29" y="95"/>
                      <a:pt x="29" y="95"/>
                      <a:pt x="29" y="95"/>
                    </a:cubicBezTo>
                    <a:cubicBezTo>
                      <a:pt x="32" y="98"/>
                      <a:pt x="32" y="98"/>
                      <a:pt x="32" y="98"/>
                    </a:cubicBezTo>
                    <a:cubicBezTo>
                      <a:pt x="33" y="98"/>
                      <a:pt x="33" y="97"/>
                      <a:pt x="34" y="97"/>
                    </a:cubicBezTo>
                    <a:cubicBezTo>
                      <a:pt x="36" y="98"/>
                      <a:pt x="35" y="99"/>
                      <a:pt x="36" y="100"/>
                    </a:cubicBezTo>
                    <a:cubicBezTo>
                      <a:pt x="38" y="101"/>
                      <a:pt x="40" y="99"/>
                      <a:pt x="41" y="100"/>
                    </a:cubicBezTo>
                    <a:cubicBezTo>
                      <a:pt x="43" y="102"/>
                      <a:pt x="41" y="103"/>
                      <a:pt x="41" y="103"/>
                    </a:cubicBezTo>
                    <a:cubicBezTo>
                      <a:pt x="43" y="106"/>
                      <a:pt x="43" y="106"/>
                      <a:pt x="43" y="106"/>
                    </a:cubicBezTo>
                    <a:cubicBezTo>
                      <a:pt x="40" y="108"/>
                      <a:pt x="40" y="108"/>
                      <a:pt x="40" y="108"/>
                    </a:cubicBezTo>
                    <a:cubicBezTo>
                      <a:pt x="41" y="110"/>
                      <a:pt x="41" y="110"/>
                      <a:pt x="41" y="110"/>
                    </a:cubicBezTo>
                    <a:cubicBezTo>
                      <a:pt x="36" y="110"/>
                      <a:pt x="36" y="110"/>
                      <a:pt x="36" y="110"/>
                    </a:cubicBezTo>
                    <a:cubicBezTo>
                      <a:pt x="36" y="117"/>
                      <a:pt x="36" y="117"/>
                      <a:pt x="36" y="117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5" y="122"/>
                      <a:pt x="35" y="122"/>
                      <a:pt x="35" y="122"/>
                    </a:cubicBezTo>
                    <a:cubicBezTo>
                      <a:pt x="36" y="122"/>
                      <a:pt x="36" y="122"/>
                      <a:pt x="36" y="122"/>
                    </a:cubicBezTo>
                    <a:cubicBezTo>
                      <a:pt x="36" y="122"/>
                      <a:pt x="36" y="124"/>
                      <a:pt x="39" y="124"/>
                    </a:cubicBezTo>
                    <a:cubicBezTo>
                      <a:pt x="40" y="124"/>
                      <a:pt x="42" y="122"/>
                      <a:pt x="42" y="122"/>
                    </a:cubicBezTo>
                    <a:cubicBezTo>
                      <a:pt x="43" y="123"/>
                      <a:pt x="43" y="123"/>
                      <a:pt x="43" y="123"/>
                    </a:cubicBezTo>
                    <a:cubicBezTo>
                      <a:pt x="46" y="123"/>
                      <a:pt x="46" y="123"/>
                      <a:pt x="46" y="123"/>
                    </a:cubicBezTo>
                    <a:cubicBezTo>
                      <a:pt x="48" y="121"/>
                      <a:pt x="48" y="121"/>
                      <a:pt x="48" y="121"/>
                    </a:cubicBezTo>
                    <a:cubicBezTo>
                      <a:pt x="49" y="123"/>
                      <a:pt x="49" y="123"/>
                      <a:pt x="49" y="123"/>
                    </a:cubicBezTo>
                    <a:cubicBezTo>
                      <a:pt x="48" y="125"/>
                      <a:pt x="48" y="125"/>
                      <a:pt x="48" y="125"/>
                    </a:cubicBezTo>
                    <a:cubicBezTo>
                      <a:pt x="44" y="125"/>
                      <a:pt x="44" y="125"/>
                      <a:pt x="44" y="125"/>
                    </a:cubicBezTo>
                    <a:cubicBezTo>
                      <a:pt x="42" y="125"/>
                      <a:pt x="38" y="128"/>
                      <a:pt x="38" y="128"/>
                    </a:cubicBezTo>
                    <a:cubicBezTo>
                      <a:pt x="38" y="130"/>
                      <a:pt x="38" y="130"/>
                      <a:pt x="38" y="130"/>
                    </a:cubicBezTo>
                    <a:cubicBezTo>
                      <a:pt x="41" y="130"/>
                      <a:pt x="41" y="130"/>
                      <a:pt x="41" y="130"/>
                    </a:cubicBezTo>
                    <a:cubicBezTo>
                      <a:pt x="41" y="132"/>
                      <a:pt x="41" y="132"/>
                      <a:pt x="41" y="132"/>
                    </a:cubicBezTo>
                    <a:cubicBezTo>
                      <a:pt x="36" y="132"/>
                      <a:pt x="36" y="132"/>
                      <a:pt x="36" y="132"/>
                    </a:cubicBezTo>
                    <a:cubicBezTo>
                      <a:pt x="33" y="134"/>
                      <a:pt x="33" y="134"/>
                      <a:pt x="33" y="134"/>
                    </a:cubicBezTo>
                    <a:cubicBezTo>
                      <a:pt x="36" y="136"/>
                      <a:pt x="36" y="136"/>
                      <a:pt x="36" y="136"/>
                    </a:cubicBezTo>
                    <a:cubicBezTo>
                      <a:pt x="43" y="136"/>
                      <a:pt x="43" y="136"/>
                      <a:pt x="43" y="136"/>
                    </a:cubicBezTo>
                    <a:cubicBezTo>
                      <a:pt x="43" y="136"/>
                      <a:pt x="45" y="133"/>
                      <a:pt x="49" y="136"/>
                    </a:cubicBezTo>
                    <a:cubicBezTo>
                      <a:pt x="52" y="137"/>
                      <a:pt x="50" y="140"/>
                      <a:pt x="50" y="140"/>
                    </a:cubicBezTo>
                    <a:cubicBezTo>
                      <a:pt x="47" y="137"/>
                      <a:pt x="47" y="137"/>
                      <a:pt x="47" y="137"/>
                    </a:cubicBezTo>
                    <a:cubicBezTo>
                      <a:pt x="47" y="137"/>
                      <a:pt x="44" y="138"/>
                      <a:pt x="41" y="138"/>
                    </a:cubicBezTo>
                    <a:cubicBezTo>
                      <a:pt x="38" y="138"/>
                      <a:pt x="36" y="138"/>
                      <a:pt x="36" y="141"/>
                    </a:cubicBezTo>
                    <a:cubicBezTo>
                      <a:pt x="35" y="143"/>
                      <a:pt x="38" y="147"/>
                      <a:pt x="38" y="147"/>
                    </a:cubicBezTo>
                    <a:cubicBezTo>
                      <a:pt x="33" y="148"/>
                      <a:pt x="33" y="148"/>
                      <a:pt x="33" y="148"/>
                    </a:cubicBezTo>
                    <a:cubicBezTo>
                      <a:pt x="31" y="145"/>
                      <a:pt x="31" y="145"/>
                      <a:pt x="31" y="145"/>
                    </a:cubicBezTo>
                    <a:cubicBezTo>
                      <a:pt x="27" y="146"/>
                      <a:pt x="27" y="146"/>
                      <a:pt x="27" y="146"/>
                    </a:cubicBezTo>
                    <a:cubicBezTo>
                      <a:pt x="28" y="149"/>
                      <a:pt x="28" y="149"/>
                      <a:pt x="28" y="149"/>
                    </a:cubicBezTo>
                    <a:cubicBezTo>
                      <a:pt x="23" y="150"/>
                      <a:pt x="23" y="150"/>
                      <a:pt x="23" y="150"/>
                    </a:cubicBezTo>
                    <a:cubicBezTo>
                      <a:pt x="23" y="150"/>
                      <a:pt x="22" y="149"/>
                      <a:pt x="19" y="149"/>
                    </a:cubicBezTo>
                    <a:cubicBezTo>
                      <a:pt x="17" y="148"/>
                      <a:pt x="15" y="149"/>
                      <a:pt x="14" y="149"/>
                    </a:cubicBezTo>
                    <a:cubicBezTo>
                      <a:pt x="12" y="149"/>
                      <a:pt x="10" y="147"/>
                      <a:pt x="10" y="147"/>
                    </a:cubicBezTo>
                    <a:cubicBezTo>
                      <a:pt x="12" y="144"/>
                      <a:pt x="12" y="144"/>
                      <a:pt x="12" y="144"/>
                    </a:cubicBezTo>
                    <a:cubicBezTo>
                      <a:pt x="9" y="140"/>
                      <a:pt x="9" y="140"/>
                      <a:pt x="9" y="140"/>
                    </a:cubicBezTo>
                    <a:cubicBezTo>
                      <a:pt x="4" y="144"/>
                      <a:pt x="4" y="144"/>
                      <a:pt x="4" y="144"/>
                    </a:cubicBezTo>
                    <a:cubicBezTo>
                      <a:pt x="4" y="148"/>
                      <a:pt x="4" y="148"/>
                      <a:pt x="4" y="148"/>
                    </a:cubicBezTo>
                    <a:cubicBezTo>
                      <a:pt x="2" y="149"/>
                      <a:pt x="2" y="149"/>
                      <a:pt x="2" y="149"/>
                    </a:cubicBezTo>
                    <a:cubicBezTo>
                      <a:pt x="2" y="152"/>
                      <a:pt x="2" y="152"/>
                      <a:pt x="2" y="152"/>
                    </a:cubicBezTo>
                    <a:cubicBezTo>
                      <a:pt x="0" y="154"/>
                      <a:pt x="0" y="154"/>
                      <a:pt x="0" y="154"/>
                    </a:cubicBezTo>
                    <a:cubicBezTo>
                      <a:pt x="4" y="157"/>
                      <a:pt x="4" y="157"/>
                      <a:pt x="4" y="157"/>
                    </a:cubicBezTo>
                    <a:cubicBezTo>
                      <a:pt x="7" y="157"/>
                      <a:pt x="7" y="157"/>
                      <a:pt x="7" y="157"/>
                    </a:cubicBezTo>
                    <a:cubicBezTo>
                      <a:pt x="9" y="158"/>
                      <a:pt x="9" y="158"/>
                      <a:pt x="9" y="158"/>
                    </a:cubicBezTo>
                    <a:cubicBezTo>
                      <a:pt x="11" y="157"/>
                      <a:pt x="11" y="157"/>
                      <a:pt x="11" y="157"/>
                    </a:cubicBezTo>
                    <a:cubicBezTo>
                      <a:pt x="11" y="157"/>
                      <a:pt x="12" y="159"/>
                      <a:pt x="13" y="160"/>
                    </a:cubicBezTo>
                    <a:cubicBezTo>
                      <a:pt x="14" y="161"/>
                      <a:pt x="19" y="163"/>
                      <a:pt x="19" y="163"/>
                    </a:cubicBezTo>
                    <a:cubicBezTo>
                      <a:pt x="19" y="163"/>
                      <a:pt x="24" y="163"/>
                      <a:pt x="26" y="164"/>
                    </a:cubicBezTo>
                    <a:cubicBezTo>
                      <a:pt x="28" y="165"/>
                      <a:pt x="28" y="168"/>
                      <a:pt x="28" y="168"/>
                    </a:cubicBezTo>
                    <a:cubicBezTo>
                      <a:pt x="35" y="171"/>
                      <a:pt x="35" y="171"/>
                      <a:pt x="35" y="171"/>
                    </a:cubicBezTo>
                    <a:cubicBezTo>
                      <a:pt x="36" y="170"/>
                      <a:pt x="36" y="170"/>
                      <a:pt x="36" y="170"/>
                    </a:cubicBezTo>
                    <a:cubicBezTo>
                      <a:pt x="41" y="170"/>
                      <a:pt x="41" y="170"/>
                      <a:pt x="41" y="170"/>
                    </a:cubicBezTo>
                    <a:cubicBezTo>
                      <a:pt x="39" y="166"/>
                      <a:pt x="39" y="166"/>
                      <a:pt x="39" y="166"/>
                    </a:cubicBezTo>
                    <a:cubicBezTo>
                      <a:pt x="39" y="166"/>
                      <a:pt x="42" y="165"/>
                      <a:pt x="44" y="166"/>
                    </a:cubicBezTo>
                    <a:cubicBezTo>
                      <a:pt x="46" y="168"/>
                      <a:pt x="41" y="169"/>
                      <a:pt x="41" y="169"/>
                    </a:cubicBezTo>
                    <a:cubicBezTo>
                      <a:pt x="41" y="169"/>
                      <a:pt x="42" y="170"/>
                      <a:pt x="43" y="172"/>
                    </a:cubicBezTo>
                    <a:cubicBezTo>
                      <a:pt x="43" y="174"/>
                      <a:pt x="43" y="175"/>
                      <a:pt x="45" y="177"/>
                    </a:cubicBezTo>
                    <a:cubicBezTo>
                      <a:pt x="47" y="178"/>
                      <a:pt x="47" y="181"/>
                      <a:pt x="47" y="181"/>
                    </a:cubicBezTo>
                    <a:cubicBezTo>
                      <a:pt x="52" y="179"/>
                      <a:pt x="52" y="179"/>
                      <a:pt x="52" y="179"/>
                    </a:cubicBezTo>
                    <a:cubicBezTo>
                      <a:pt x="52" y="179"/>
                      <a:pt x="51" y="183"/>
                      <a:pt x="50" y="183"/>
                    </a:cubicBezTo>
                    <a:cubicBezTo>
                      <a:pt x="49" y="184"/>
                      <a:pt x="49" y="184"/>
                      <a:pt x="49" y="184"/>
                    </a:cubicBezTo>
                    <a:cubicBezTo>
                      <a:pt x="50" y="189"/>
                      <a:pt x="50" y="189"/>
                      <a:pt x="50" y="189"/>
                    </a:cubicBezTo>
                    <a:cubicBezTo>
                      <a:pt x="51" y="189"/>
                      <a:pt x="51" y="189"/>
                      <a:pt x="51" y="189"/>
                    </a:cubicBezTo>
                    <a:cubicBezTo>
                      <a:pt x="51" y="194"/>
                      <a:pt x="51" y="194"/>
                      <a:pt x="51" y="194"/>
                    </a:cubicBezTo>
                    <a:cubicBezTo>
                      <a:pt x="55" y="194"/>
                      <a:pt x="55" y="194"/>
                      <a:pt x="55" y="194"/>
                    </a:cubicBezTo>
                    <a:cubicBezTo>
                      <a:pt x="53" y="196"/>
                      <a:pt x="53" y="196"/>
                      <a:pt x="53" y="196"/>
                    </a:cubicBezTo>
                    <a:cubicBezTo>
                      <a:pt x="53" y="196"/>
                      <a:pt x="55" y="202"/>
                      <a:pt x="56" y="204"/>
                    </a:cubicBezTo>
                    <a:cubicBezTo>
                      <a:pt x="58" y="206"/>
                      <a:pt x="60" y="205"/>
                      <a:pt x="61" y="205"/>
                    </a:cubicBezTo>
                    <a:cubicBezTo>
                      <a:pt x="62" y="205"/>
                      <a:pt x="64" y="208"/>
                      <a:pt x="65" y="208"/>
                    </a:cubicBezTo>
                    <a:cubicBezTo>
                      <a:pt x="66" y="209"/>
                      <a:pt x="67" y="208"/>
                      <a:pt x="67" y="208"/>
                    </a:cubicBezTo>
                    <a:cubicBezTo>
                      <a:pt x="67" y="211"/>
                      <a:pt x="67" y="211"/>
                      <a:pt x="67" y="211"/>
                    </a:cubicBezTo>
                    <a:cubicBezTo>
                      <a:pt x="67" y="211"/>
                      <a:pt x="72" y="216"/>
                      <a:pt x="74" y="218"/>
                    </a:cubicBezTo>
                    <a:cubicBezTo>
                      <a:pt x="76" y="220"/>
                      <a:pt x="79" y="224"/>
                      <a:pt x="79" y="224"/>
                    </a:cubicBezTo>
                    <a:cubicBezTo>
                      <a:pt x="79" y="224"/>
                      <a:pt x="83" y="224"/>
                      <a:pt x="85" y="226"/>
                    </a:cubicBezTo>
                    <a:cubicBezTo>
                      <a:pt x="89" y="229"/>
                      <a:pt x="91" y="229"/>
                      <a:pt x="91" y="229"/>
                    </a:cubicBezTo>
                    <a:cubicBezTo>
                      <a:pt x="91" y="229"/>
                      <a:pt x="99" y="232"/>
                      <a:pt x="106" y="233"/>
                    </a:cubicBezTo>
                    <a:cubicBezTo>
                      <a:pt x="112" y="235"/>
                      <a:pt x="118" y="227"/>
                      <a:pt x="118" y="227"/>
                    </a:cubicBezTo>
                    <a:cubicBezTo>
                      <a:pt x="117" y="226"/>
                      <a:pt x="117" y="226"/>
                      <a:pt x="117" y="226"/>
                    </a:cubicBezTo>
                    <a:cubicBezTo>
                      <a:pt x="123" y="226"/>
                      <a:pt x="123" y="226"/>
                      <a:pt x="123" y="226"/>
                    </a:cubicBezTo>
                    <a:cubicBezTo>
                      <a:pt x="120" y="224"/>
                      <a:pt x="120" y="224"/>
                      <a:pt x="120" y="224"/>
                    </a:cubicBezTo>
                    <a:cubicBezTo>
                      <a:pt x="120" y="224"/>
                      <a:pt x="120" y="221"/>
                      <a:pt x="123" y="221"/>
                    </a:cubicBezTo>
                    <a:cubicBezTo>
                      <a:pt x="127" y="221"/>
                      <a:pt x="126" y="224"/>
                      <a:pt x="126" y="224"/>
                    </a:cubicBezTo>
                    <a:cubicBezTo>
                      <a:pt x="133" y="223"/>
                      <a:pt x="133" y="223"/>
                      <a:pt x="133" y="223"/>
                    </a:cubicBezTo>
                    <a:cubicBezTo>
                      <a:pt x="133" y="225"/>
                      <a:pt x="133" y="225"/>
                      <a:pt x="133" y="225"/>
                    </a:cubicBezTo>
                    <a:cubicBezTo>
                      <a:pt x="142" y="225"/>
                      <a:pt x="142" y="225"/>
                      <a:pt x="142" y="225"/>
                    </a:cubicBezTo>
                    <a:cubicBezTo>
                      <a:pt x="144" y="225"/>
                      <a:pt x="148" y="228"/>
                      <a:pt x="148" y="228"/>
                    </a:cubicBezTo>
                    <a:cubicBezTo>
                      <a:pt x="153" y="224"/>
                      <a:pt x="153" y="224"/>
                      <a:pt x="153" y="224"/>
                    </a:cubicBezTo>
                    <a:cubicBezTo>
                      <a:pt x="153" y="228"/>
                      <a:pt x="153" y="228"/>
                      <a:pt x="153" y="228"/>
                    </a:cubicBezTo>
                    <a:cubicBezTo>
                      <a:pt x="155" y="227"/>
                      <a:pt x="155" y="227"/>
                      <a:pt x="155" y="227"/>
                    </a:cubicBezTo>
                    <a:cubicBezTo>
                      <a:pt x="161" y="226"/>
                      <a:pt x="161" y="226"/>
                      <a:pt x="161" y="226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9"/>
                      <a:pt x="160" y="229"/>
                      <a:pt x="160" y="229"/>
                    </a:cubicBezTo>
                    <a:cubicBezTo>
                      <a:pt x="160" y="229"/>
                      <a:pt x="172" y="222"/>
                      <a:pt x="177" y="220"/>
                    </a:cubicBezTo>
                    <a:cubicBezTo>
                      <a:pt x="181" y="219"/>
                      <a:pt x="193" y="218"/>
                      <a:pt x="193" y="218"/>
                    </a:cubicBezTo>
                    <a:cubicBezTo>
                      <a:pt x="192" y="216"/>
                      <a:pt x="192" y="216"/>
                      <a:pt x="192" y="216"/>
                    </a:cubicBezTo>
                    <a:cubicBezTo>
                      <a:pt x="195" y="216"/>
                      <a:pt x="195" y="216"/>
                      <a:pt x="195" y="216"/>
                    </a:cubicBezTo>
                    <a:cubicBezTo>
                      <a:pt x="195" y="217"/>
                      <a:pt x="195" y="217"/>
                      <a:pt x="195" y="217"/>
                    </a:cubicBezTo>
                    <a:cubicBezTo>
                      <a:pt x="200" y="217"/>
                      <a:pt x="200" y="217"/>
                      <a:pt x="200" y="217"/>
                    </a:cubicBezTo>
                    <a:cubicBezTo>
                      <a:pt x="207" y="220"/>
                      <a:pt x="207" y="220"/>
                      <a:pt x="207" y="220"/>
                    </a:cubicBezTo>
                    <a:cubicBezTo>
                      <a:pt x="207" y="219"/>
                      <a:pt x="207" y="219"/>
                      <a:pt x="207" y="219"/>
                    </a:cubicBezTo>
                    <a:cubicBezTo>
                      <a:pt x="203" y="216"/>
                      <a:pt x="203" y="216"/>
                      <a:pt x="203" y="216"/>
                    </a:cubicBezTo>
                    <a:cubicBezTo>
                      <a:pt x="206" y="211"/>
                      <a:pt x="206" y="211"/>
                      <a:pt x="206" y="211"/>
                    </a:cubicBezTo>
                    <a:cubicBezTo>
                      <a:pt x="206" y="211"/>
                      <a:pt x="207" y="215"/>
                      <a:pt x="209" y="216"/>
                    </a:cubicBezTo>
                    <a:cubicBezTo>
                      <a:pt x="210" y="217"/>
                      <a:pt x="208" y="218"/>
                      <a:pt x="208" y="218"/>
                    </a:cubicBezTo>
                    <a:cubicBezTo>
                      <a:pt x="208" y="218"/>
                      <a:pt x="210" y="217"/>
                      <a:pt x="212" y="218"/>
                    </a:cubicBezTo>
                    <a:cubicBezTo>
                      <a:pt x="213" y="219"/>
                      <a:pt x="212" y="222"/>
                      <a:pt x="212" y="222"/>
                    </a:cubicBezTo>
                    <a:cubicBezTo>
                      <a:pt x="214" y="222"/>
                      <a:pt x="214" y="222"/>
                      <a:pt x="214" y="222"/>
                    </a:cubicBezTo>
                    <a:cubicBezTo>
                      <a:pt x="216" y="221"/>
                      <a:pt x="216" y="219"/>
                      <a:pt x="216" y="219"/>
                    </a:cubicBezTo>
                    <a:cubicBezTo>
                      <a:pt x="216" y="219"/>
                      <a:pt x="221" y="218"/>
                      <a:pt x="223" y="217"/>
                    </a:cubicBezTo>
                    <a:cubicBezTo>
                      <a:pt x="225" y="216"/>
                      <a:pt x="226" y="212"/>
                      <a:pt x="228" y="213"/>
                    </a:cubicBezTo>
                    <a:cubicBezTo>
                      <a:pt x="229" y="213"/>
                      <a:pt x="227" y="216"/>
                      <a:pt x="227" y="216"/>
                    </a:cubicBezTo>
                    <a:cubicBezTo>
                      <a:pt x="230" y="217"/>
                      <a:pt x="230" y="217"/>
                      <a:pt x="230" y="217"/>
                    </a:cubicBezTo>
                    <a:cubicBezTo>
                      <a:pt x="240" y="207"/>
                      <a:pt x="240" y="207"/>
                      <a:pt x="240" y="207"/>
                    </a:cubicBezTo>
                    <a:cubicBezTo>
                      <a:pt x="236" y="208"/>
                      <a:pt x="236" y="208"/>
                      <a:pt x="236" y="208"/>
                    </a:cubicBezTo>
                    <a:cubicBezTo>
                      <a:pt x="236" y="205"/>
                      <a:pt x="236" y="205"/>
                      <a:pt x="236" y="205"/>
                    </a:cubicBezTo>
                    <a:cubicBezTo>
                      <a:pt x="240" y="205"/>
                      <a:pt x="240" y="205"/>
                      <a:pt x="240" y="205"/>
                    </a:cubicBezTo>
                    <a:cubicBezTo>
                      <a:pt x="240" y="202"/>
                      <a:pt x="240" y="202"/>
                      <a:pt x="240" y="202"/>
                    </a:cubicBezTo>
                    <a:cubicBezTo>
                      <a:pt x="243" y="206"/>
                      <a:pt x="243" y="206"/>
                      <a:pt x="243" y="206"/>
                    </a:cubicBezTo>
                    <a:cubicBezTo>
                      <a:pt x="245" y="204"/>
                      <a:pt x="245" y="204"/>
                      <a:pt x="245" y="204"/>
                    </a:cubicBezTo>
                    <a:cubicBezTo>
                      <a:pt x="243" y="201"/>
                      <a:pt x="243" y="201"/>
                      <a:pt x="243" y="201"/>
                    </a:cubicBezTo>
                    <a:cubicBezTo>
                      <a:pt x="243" y="201"/>
                      <a:pt x="242" y="193"/>
                      <a:pt x="243" y="194"/>
                    </a:cubicBezTo>
                    <a:cubicBezTo>
                      <a:pt x="244" y="194"/>
                      <a:pt x="244" y="199"/>
                      <a:pt x="245" y="201"/>
                    </a:cubicBezTo>
                    <a:cubicBezTo>
                      <a:pt x="245" y="204"/>
                      <a:pt x="254" y="202"/>
                      <a:pt x="254" y="202"/>
                    </a:cubicBezTo>
                    <a:cubicBezTo>
                      <a:pt x="254" y="200"/>
                      <a:pt x="254" y="200"/>
                      <a:pt x="254" y="200"/>
                    </a:cubicBezTo>
                    <a:cubicBezTo>
                      <a:pt x="260" y="199"/>
                      <a:pt x="260" y="199"/>
                      <a:pt x="260" y="199"/>
                    </a:cubicBezTo>
                    <a:cubicBezTo>
                      <a:pt x="258" y="195"/>
                      <a:pt x="258" y="195"/>
                      <a:pt x="258" y="195"/>
                    </a:cubicBezTo>
                    <a:cubicBezTo>
                      <a:pt x="262" y="197"/>
                      <a:pt x="262" y="197"/>
                      <a:pt x="262" y="197"/>
                    </a:cubicBezTo>
                    <a:cubicBezTo>
                      <a:pt x="264" y="195"/>
                      <a:pt x="264" y="195"/>
                      <a:pt x="264" y="195"/>
                    </a:cubicBezTo>
                    <a:cubicBezTo>
                      <a:pt x="258" y="190"/>
                      <a:pt x="258" y="190"/>
                      <a:pt x="258" y="190"/>
                    </a:cubicBezTo>
                    <a:cubicBezTo>
                      <a:pt x="259" y="189"/>
                      <a:pt x="261" y="191"/>
                      <a:pt x="262" y="192"/>
                    </a:cubicBezTo>
                    <a:cubicBezTo>
                      <a:pt x="263" y="193"/>
                      <a:pt x="268" y="193"/>
                      <a:pt x="268" y="193"/>
                    </a:cubicBezTo>
                    <a:cubicBezTo>
                      <a:pt x="268" y="191"/>
                      <a:pt x="268" y="191"/>
                      <a:pt x="268" y="191"/>
                    </a:cubicBezTo>
                    <a:cubicBezTo>
                      <a:pt x="268" y="191"/>
                      <a:pt x="265" y="191"/>
                      <a:pt x="264" y="190"/>
                    </a:cubicBezTo>
                    <a:cubicBezTo>
                      <a:pt x="263" y="190"/>
                      <a:pt x="264" y="189"/>
                      <a:pt x="263" y="187"/>
                    </a:cubicBezTo>
                    <a:cubicBezTo>
                      <a:pt x="263" y="186"/>
                      <a:pt x="257" y="181"/>
                      <a:pt x="257" y="181"/>
                    </a:cubicBezTo>
                    <a:cubicBezTo>
                      <a:pt x="262" y="183"/>
                      <a:pt x="262" y="183"/>
                      <a:pt x="262" y="183"/>
                    </a:cubicBezTo>
                    <a:cubicBezTo>
                      <a:pt x="263" y="183"/>
                      <a:pt x="263" y="183"/>
                      <a:pt x="263" y="183"/>
                    </a:cubicBezTo>
                    <a:cubicBezTo>
                      <a:pt x="263" y="183"/>
                      <a:pt x="265" y="189"/>
                      <a:pt x="269" y="190"/>
                    </a:cubicBezTo>
                    <a:cubicBezTo>
                      <a:pt x="273" y="191"/>
                      <a:pt x="273" y="187"/>
                      <a:pt x="273" y="187"/>
                    </a:cubicBezTo>
                    <a:cubicBezTo>
                      <a:pt x="276" y="187"/>
                      <a:pt x="276" y="187"/>
                      <a:pt x="276" y="187"/>
                    </a:cubicBezTo>
                    <a:cubicBezTo>
                      <a:pt x="276" y="184"/>
                      <a:pt x="276" y="184"/>
                      <a:pt x="276" y="184"/>
                    </a:cubicBezTo>
                    <a:cubicBezTo>
                      <a:pt x="278" y="181"/>
                      <a:pt x="278" y="181"/>
                      <a:pt x="278" y="181"/>
                    </a:cubicBezTo>
                    <a:cubicBezTo>
                      <a:pt x="277" y="180"/>
                      <a:pt x="277" y="180"/>
                      <a:pt x="277" y="180"/>
                    </a:cubicBezTo>
                    <a:cubicBezTo>
                      <a:pt x="273" y="184"/>
                      <a:pt x="273" y="184"/>
                      <a:pt x="273" y="184"/>
                    </a:cubicBezTo>
                    <a:cubicBezTo>
                      <a:pt x="272" y="183"/>
                      <a:pt x="272" y="183"/>
                      <a:pt x="272" y="183"/>
                    </a:cubicBezTo>
                    <a:cubicBezTo>
                      <a:pt x="273" y="181"/>
                      <a:pt x="273" y="181"/>
                      <a:pt x="273" y="181"/>
                    </a:cubicBezTo>
                    <a:cubicBezTo>
                      <a:pt x="272" y="180"/>
                      <a:pt x="272" y="180"/>
                      <a:pt x="272" y="180"/>
                    </a:cubicBezTo>
                    <a:cubicBezTo>
                      <a:pt x="276" y="178"/>
                      <a:pt x="276" y="178"/>
                      <a:pt x="276" y="178"/>
                    </a:cubicBezTo>
                    <a:cubicBezTo>
                      <a:pt x="276" y="177"/>
                      <a:pt x="276" y="177"/>
                      <a:pt x="276" y="177"/>
                    </a:cubicBezTo>
                    <a:cubicBezTo>
                      <a:pt x="271" y="177"/>
                      <a:pt x="271" y="177"/>
                      <a:pt x="271" y="177"/>
                    </a:cubicBezTo>
                    <a:cubicBezTo>
                      <a:pt x="269" y="174"/>
                      <a:pt x="269" y="174"/>
                      <a:pt x="269" y="174"/>
                    </a:cubicBezTo>
                    <a:cubicBezTo>
                      <a:pt x="274" y="175"/>
                      <a:pt x="274" y="175"/>
                      <a:pt x="274" y="175"/>
                    </a:cubicBezTo>
                    <a:cubicBezTo>
                      <a:pt x="274" y="175"/>
                      <a:pt x="278" y="176"/>
                      <a:pt x="278" y="173"/>
                    </a:cubicBezTo>
                    <a:cubicBezTo>
                      <a:pt x="279" y="170"/>
                      <a:pt x="269" y="170"/>
                      <a:pt x="269" y="170"/>
                    </a:cubicBezTo>
                    <a:cubicBezTo>
                      <a:pt x="268" y="169"/>
                      <a:pt x="268" y="169"/>
                      <a:pt x="268" y="169"/>
                    </a:cubicBezTo>
                    <a:cubicBezTo>
                      <a:pt x="274" y="169"/>
                      <a:pt x="274" y="169"/>
                      <a:pt x="274" y="169"/>
                    </a:cubicBezTo>
                    <a:cubicBezTo>
                      <a:pt x="276" y="169"/>
                      <a:pt x="275" y="165"/>
                      <a:pt x="275" y="165"/>
                    </a:cubicBezTo>
                    <a:cubicBezTo>
                      <a:pt x="275" y="165"/>
                      <a:pt x="277" y="166"/>
                      <a:pt x="279" y="166"/>
                    </a:cubicBezTo>
                    <a:cubicBezTo>
                      <a:pt x="281" y="166"/>
                      <a:pt x="281" y="162"/>
                      <a:pt x="281" y="162"/>
                    </a:cubicBezTo>
                    <a:cubicBezTo>
                      <a:pt x="284" y="160"/>
                      <a:pt x="284" y="160"/>
                      <a:pt x="284" y="160"/>
                    </a:cubicBezTo>
                    <a:cubicBezTo>
                      <a:pt x="285" y="160"/>
                      <a:pt x="284" y="155"/>
                      <a:pt x="284" y="155"/>
                    </a:cubicBezTo>
                    <a:close/>
                    <a:moveTo>
                      <a:pt x="61" y="51"/>
                    </a:moveTo>
                    <a:cubicBezTo>
                      <a:pt x="60" y="51"/>
                      <a:pt x="60" y="51"/>
                      <a:pt x="60" y="51"/>
                    </a:cubicBezTo>
                    <a:cubicBezTo>
                      <a:pt x="56" y="57"/>
                      <a:pt x="56" y="57"/>
                      <a:pt x="56" y="57"/>
                    </a:cubicBezTo>
                    <a:cubicBezTo>
                      <a:pt x="59" y="59"/>
                      <a:pt x="59" y="59"/>
                      <a:pt x="59" y="59"/>
                    </a:cubicBezTo>
                    <a:lnTo>
                      <a:pt x="61" y="51"/>
                    </a:lnTo>
                    <a:close/>
                    <a:moveTo>
                      <a:pt x="48" y="210"/>
                    </a:moveTo>
                    <a:cubicBezTo>
                      <a:pt x="52" y="208"/>
                      <a:pt x="52" y="208"/>
                      <a:pt x="52" y="208"/>
                    </a:cubicBezTo>
                    <a:cubicBezTo>
                      <a:pt x="50" y="205"/>
                      <a:pt x="50" y="205"/>
                      <a:pt x="50" y="205"/>
                    </a:cubicBezTo>
                    <a:lnTo>
                      <a:pt x="48" y="210"/>
                    </a:lnTo>
                    <a:close/>
                    <a:moveTo>
                      <a:pt x="122" y="222"/>
                    </a:moveTo>
                    <a:cubicBezTo>
                      <a:pt x="122" y="222"/>
                      <a:pt x="121" y="225"/>
                      <a:pt x="124" y="224"/>
                    </a:cubicBezTo>
                    <a:cubicBezTo>
                      <a:pt x="126" y="224"/>
                      <a:pt x="125" y="221"/>
                      <a:pt x="122" y="22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67" name="Hungary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429250" y="4264025"/>
                <a:ext cx="639762" cy="427037"/>
              </a:xfrm>
              <a:custGeom>
                <a:avLst/>
                <a:gdLst/>
                <a:ahLst/>
                <a:cxnLst>
                  <a:cxn ang="0">
                    <a:pos x="292" y="23"/>
                  </a:cxn>
                  <a:cxn ang="0">
                    <a:pos x="276" y="15"/>
                  </a:cxn>
                  <a:cxn ang="0">
                    <a:pos x="265" y="10"/>
                  </a:cxn>
                  <a:cxn ang="0">
                    <a:pos x="250" y="9"/>
                  </a:cxn>
                  <a:cxn ang="0">
                    <a:pos x="235" y="5"/>
                  </a:cxn>
                  <a:cxn ang="0">
                    <a:pos x="210" y="5"/>
                  </a:cxn>
                  <a:cxn ang="0">
                    <a:pos x="180" y="25"/>
                  </a:cxn>
                  <a:cxn ang="0">
                    <a:pos x="148" y="31"/>
                  </a:cxn>
                  <a:cxn ang="0">
                    <a:pos x="127" y="46"/>
                  </a:cxn>
                  <a:cxn ang="0">
                    <a:pos x="118" y="60"/>
                  </a:cxn>
                  <a:cxn ang="0">
                    <a:pos x="101" y="68"/>
                  </a:cxn>
                  <a:cxn ang="0">
                    <a:pos x="81" y="71"/>
                  </a:cxn>
                  <a:cxn ang="0">
                    <a:pos x="62" y="68"/>
                  </a:cxn>
                  <a:cxn ang="0">
                    <a:pos x="39" y="59"/>
                  </a:cxn>
                  <a:cxn ang="0">
                    <a:pos x="36" y="67"/>
                  </a:cxn>
                  <a:cxn ang="0">
                    <a:pos x="38" y="76"/>
                  </a:cxn>
                  <a:cxn ang="0">
                    <a:pos x="19" y="75"/>
                  </a:cxn>
                  <a:cxn ang="0">
                    <a:pos x="14" y="84"/>
                  </a:cxn>
                  <a:cxn ang="0">
                    <a:pos x="23" y="90"/>
                  </a:cxn>
                  <a:cxn ang="0">
                    <a:pos x="14" y="107"/>
                  </a:cxn>
                  <a:cxn ang="0">
                    <a:pos x="17" y="116"/>
                  </a:cxn>
                  <a:cxn ang="0">
                    <a:pos x="6" y="126"/>
                  </a:cxn>
                  <a:cxn ang="0">
                    <a:pos x="9" y="135"/>
                  </a:cxn>
                  <a:cxn ang="0">
                    <a:pos x="13" y="143"/>
                  </a:cxn>
                  <a:cxn ang="0">
                    <a:pos x="21" y="152"/>
                  </a:cxn>
                  <a:cxn ang="0">
                    <a:pos x="27" y="160"/>
                  </a:cxn>
                  <a:cxn ang="0">
                    <a:pos x="38" y="166"/>
                  </a:cxn>
                  <a:cxn ang="0">
                    <a:pos x="60" y="189"/>
                  </a:cxn>
                  <a:cxn ang="0">
                    <a:pos x="76" y="198"/>
                  </a:cxn>
                  <a:cxn ang="0">
                    <a:pos x="115" y="199"/>
                  </a:cxn>
                  <a:cxn ang="0">
                    <a:pos x="129" y="188"/>
                  </a:cxn>
                  <a:cxn ang="0">
                    <a:pos x="140" y="179"/>
                  </a:cxn>
                  <a:cxn ang="0">
                    <a:pos x="157" y="173"/>
                  </a:cxn>
                  <a:cxn ang="0">
                    <a:pos x="173" y="168"/>
                  </a:cxn>
                  <a:cxn ang="0">
                    <a:pos x="202" y="163"/>
                  </a:cxn>
                  <a:cxn ang="0">
                    <a:pos x="213" y="162"/>
                  </a:cxn>
                  <a:cxn ang="0">
                    <a:pos x="234" y="152"/>
                  </a:cxn>
                  <a:cxn ang="0">
                    <a:pos x="239" y="140"/>
                  </a:cxn>
                  <a:cxn ang="0">
                    <a:pos x="241" y="127"/>
                  </a:cxn>
                  <a:cxn ang="0">
                    <a:pos x="245" y="114"/>
                  </a:cxn>
                  <a:cxn ang="0">
                    <a:pos x="250" y="98"/>
                  </a:cxn>
                  <a:cxn ang="0">
                    <a:pos x="259" y="76"/>
                  </a:cxn>
                  <a:cxn ang="0">
                    <a:pos x="262" y="66"/>
                  </a:cxn>
                  <a:cxn ang="0">
                    <a:pos x="276" y="46"/>
                  </a:cxn>
                  <a:cxn ang="0">
                    <a:pos x="297" y="31"/>
                  </a:cxn>
                </a:cxnLst>
                <a:rect l="0" t="0" r="r" b="b"/>
                <a:pathLst>
                  <a:path w="300" h="200">
                    <a:moveTo>
                      <a:pt x="294" y="30"/>
                    </a:moveTo>
                    <a:cubicBezTo>
                      <a:pt x="294" y="30"/>
                      <a:pt x="300" y="25"/>
                      <a:pt x="292" y="23"/>
                    </a:cubicBezTo>
                    <a:cubicBezTo>
                      <a:pt x="285" y="21"/>
                      <a:pt x="283" y="25"/>
                      <a:pt x="281" y="21"/>
                    </a:cubicBezTo>
                    <a:cubicBezTo>
                      <a:pt x="279" y="19"/>
                      <a:pt x="279" y="16"/>
                      <a:pt x="276" y="15"/>
                    </a:cubicBezTo>
                    <a:cubicBezTo>
                      <a:pt x="273" y="15"/>
                      <a:pt x="270" y="16"/>
                      <a:pt x="270" y="16"/>
                    </a:cubicBezTo>
                    <a:cubicBezTo>
                      <a:pt x="270" y="16"/>
                      <a:pt x="267" y="11"/>
                      <a:pt x="265" y="10"/>
                    </a:cubicBezTo>
                    <a:cubicBezTo>
                      <a:pt x="263" y="8"/>
                      <a:pt x="259" y="8"/>
                      <a:pt x="259" y="8"/>
                    </a:cubicBezTo>
                    <a:cubicBezTo>
                      <a:pt x="259" y="8"/>
                      <a:pt x="253" y="6"/>
                      <a:pt x="250" y="9"/>
                    </a:cubicBezTo>
                    <a:cubicBezTo>
                      <a:pt x="247" y="11"/>
                      <a:pt x="247" y="15"/>
                      <a:pt x="241" y="14"/>
                    </a:cubicBezTo>
                    <a:cubicBezTo>
                      <a:pt x="236" y="13"/>
                      <a:pt x="235" y="5"/>
                      <a:pt x="235" y="5"/>
                    </a:cubicBezTo>
                    <a:cubicBezTo>
                      <a:pt x="226" y="0"/>
                      <a:pt x="226" y="0"/>
                      <a:pt x="226" y="0"/>
                    </a:cubicBezTo>
                    <a:cubicBezTo>
                      <a:pt x="226" y="0"/>
                      <a:pt x="219" y="9"/>
                      <a:pt x="210" y="5"/>
                    </a:cubicBezTo>
                    <a:cubicBezTo>
                      <a:pt x="201" y="3"/>
                      <a:pt x="193" y="4"/>
                      <a:pt x="188" y="8"/>
                    </a:cubicBezTo>
                    <a:cubicBezTo>
                      <a:pt x="183" y="11"/>
                      <a:pt x="184" y="21"/>
                      <a:pt x="180" y="25"/>
                    </a:cubicBezTo>
                    <a:cubicBezTo>
                      <a:pt x="175" y="29"/>
                      <a:pt x="163" y="36"/>
                      <a:pt x="163" y="36"/>
                    </a:cubicBezTo>
                    <a:cubicBezTo>
                      <a:pt x="163" y="36"/>
                      <a:pt x="152" y="30"/>
                      <a:pt x="148" y="31"/>
                    </a:cubicBezTo>
                    <a:cubicBezTo>
                      <a:pt x="143" y="32"/>
                      <a:pt x="144" y="40"/>
                      <a:pt x="144" y="40"/>
                    </a:cubicBezTo>
                    <a:cubicBezTo>
                      <a:pt x="127" y="46"/>
                      <a:pt x="127" y="46"/>
                      <a:pt x="127" y="46"/>
                    </a:cubicBezTo>
                    <a:cubicBezTo>
                      <a:pt x="127" y="46"/>
                      <a:pt x="118" y="43"/>
                      <a:pt x="115" y="48"/>
                    </a:cubicBezTo>
                    <a:cubicBezTo>
                      <a:pt x="111" y="55"/>
                      <a:pt x="118" y="60"/>
                      <a:pt x="118" y="60"/>
                    </a:cubicBezTo>
                    <a:cubicBezTo>
                      <a:pt x="111" y="67"/>
                      <a:pt x="111" y="67"/>
                      <a:pt x="111" y="67"/>
                    </a:cubicBezTo>
                    <a:cubicBezTo>
                      <a:pt x="101" y="68"/>
                      <a:pt x="101" y="68"/>
                      <a:pt x="101" y="68"/>
                    </a:cubicBezTo>
                    <a:cubicBezTo>
                      <a:pt x="88" y="71"/>
                      <a:pt x="88" y="71"/>
                      <a:pt x="88" y="71"/>
                    </a:cubicBezTo>
                    <a:cubicBezTo>
                      <a:pt x="81" y="71"/>
                      <a:pt x="81" y="71"/>
                      <a:pt x="81" y="71"/>
                    </a:cubicBezTo>
                    <a:cubicBezTo>
                      <a:pt x="81" y="71"/>
                      <a:pt x="75" y="72"/>
                      <a:pt x="71" y="72"/>
                    </a:cubicBezTo>
                    <a:cubicBezTo>
                      <a:pt x="66" y="72"/>
                      <a:pt x="62" y="68"/>
                      <a:pt x="62" y="68"/>
                    </a:cubicBezTo>
                    <a:cubicBezTo>
                      <a:pt x="62" y="68"/>
                      <a:pt x="55" y="60"/>
                      <a:pt x="50" y="59"/>
                    </a:cubicBezTo>
                    <a:cubicBezTo>
                      <a:pt x="47" y="58"/>
                      <a:pt x="43" y="58"/>
                      <a:pt x="39" y="59"/>
                    </a:cubicBezTo>
                    <a:cubicBezTo>
                      <a:pt x="39" y="65"/>
                      <a:pt x="39" y="65"/>
                      <a:pt x="39" y="65"/>
                    </a:cubicBezTo>
                    <a:cubicBezTo>
                      <a:pt x="36" y="67"/>
                      <a:pt x="36" y="67"/>
                      <a:pt x="36" y="67"/>
                    </a:cubicBezTo>
                    <a:cubicBezTo>
                      <a:pt x="38" y="68"/>
                      <a:pt x="38" y="68"/>
                      <a:pt x="38" y="68"/>
                    </a:cubicBezTo>
                    <a:cubicBezTo>
                      <a:pt x="38" y="76"/>
                      <a:pt x="38" y="76"/>
                      <a:pt x="38" y="76"/>
                    </a:cubicBezTo>
                    <a:cubicBezTo>
                      <a:pt x="25" y="80"/>
                      <a:pt x="25" y="80"/>
                      <a:pt x="25" y="80"/>
                    </a:cubicBezTo>
                    <a:cubicBezTo>
                      <a:pt x="25" y="80"/>
                      <a:pt x="21" y="75"/>
                      <a:pt x="19" y="75"/>
                    </a:cubicBezTo>
                    <a:cubicBezTo>
                      <a:pt x="17" y="76"/>
                      <a:pt x="12" y="77"/>
                      <a:pt x="11" y="81"/>
                    </a:cubicBezTo>
                    <a:cubicBezTo>
                      <a:pt x="9" y="86"/>
                      <a:pt x="14" y="84"/>
                      <a:pt x="14" y="84"/>
                    </a:cubicBezTo>
                    <a:cubicBezTo>
                      <a:pt x="19" y="83"/>
                      <a:pt x="19" y="83"/>
                      <a:pt x="19" y="83"/>
                    </a:cubicBezTo>
                    <a:cubicBezTo>
                      <a:pt x="19" y="83"/>
                      <a:pt x="21" y="83"/>
                      <a:pt x="23" y="90"/>
                    </a:cubicBezTo>
                    <a:cubicBezTo>
                      <a:pt x="25" y="96"/>
                      <a:pt x="11" y="99"/>
                      <a:pt x="10" y="102"/>
                    </a:cubicBezTo>
                    <a:cubicBezTo>
                      <a:pt x="10" y="105"/>
                      <a:pt x="14" y="105"/>
                      <a:pt x="14" y="107"/>
                    </a:cubicBezTo>
                    <a:cubicBezTo>
                      <a:pt x="14" y="108"/>
                      <a:pt x="11" y="110"/>
                      <a:pt x="12" y="113"/>
                    </a:cubicBezTo>
                    <a:cubicBezTo>
                      <a:pt x="12" y="115"/>
                      <a:pt x="17" y="116"/>
                      <a:pt x="17" y="116"/>
                    </a:cubicBezTo>
                    <a:cubicBezTo>
                      <a:pt x="16" y="125"/>
                      <a:pt x="16" y="125"/>
                      <a:pt x="16" y="125"/>
                    </a:cubicBezTo>
                    <a:cubicBezTo>
                      <a:pt x="6" y="126"/>
                      <a:pt x="6" y="126"/>
                      <a:pt x="6" y="126"/>
                    </a:cubicBezTo>
                    <a:cubicBezTo>
                      <a:pt x="0" y="132"/>
                      <a:pt x="0" y="132"/>
                      <a:pt x="0" y="132"/>
                    </a:cubicBezTo>
                    <a:cubicBezTo>
                      <a:pt x="4" y="134"/>
                      <a:pt x="8" y="135"/>
                      <a:pt x="9" y="135"/>
                    </a:cubicBezTo>
                    <a:cubicBezTo>
                      <a:pt x="13" y="137"/>
                      <a:pt x="10" y="139"/>
                      <a:pt x="9" y="141"/>
                    </a:cubicBezTo>
                    <a:cubicBezTo>
                      <a:pt x="9" y="144"/>
                      <a:pt x="13" y="143"/>
                      <a:pt x="13" y="143"/>
                    </a:cubicBezTo>
                    <a:cubicBezTo>
                      <a:pt x="13" y="150"/>
                      <a:pt x="13" y="150"/>
                      <a:pt x="13" y="150"/>
                    </a:cubicBezTo>
                    <a:cubicBezTo>
                      <a:pt x="13" y="153"/>
                      <a:pt x="21" y="152"/>
                      <a:pt x="21" y="152"/>
                    </a:cubicBezTo>
                    <a:cubicBezTo>
                      <a:pt x="21" y="157"/>
                      <a:pt x="21" y="157"/>
                      <a:pt x="21" y="157"/>
                    </a:cubicBezTo>
                    <a:cubicBezTo>
                      <a:pt x="27" y="160"/>
                      <a:pt x="27" y="160"/>
                      <a:pt x="27" y="160"/>
                    </a:cubicBezTo>
                    <a:cubicBezTo>
                      <a:pt x="29" y="165"/>
                      <a:pt x="29" y="165"/>
                      <a:pt x="29" y="165"/>
                    </a:cubicBezTo>
                    <a:cubicBezTo>
                      <a:pt x="29" y="165"/>
                      <a:pt x="36" y="163"/>
                      <a:pt x="38" y="166"/>
                    </a:cubicBezTo>
                    <a:cubicBezTo>
                      <a:pt x="40" y="169"/>
                      <a:pt x="42" y="174"/>
                      <a:pt x="42" y="174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0" y="189"/>
                      <a:pt x="67" y="188"/>
                      <a:pt x="71" y="190"/>
                    </a:cubicBezTo>
                    <a:cubicBezTo>
                      <a:pt x="75" y="192"/>
                      <a:pt x="76" y="198"/>
                      <a:pt x="76" y="198"/>
                    </a:cubicBezTo>
                    <a:cubicBezTo>
                      <a:pt x="76" y="198"/>
                      <a:pt x="94" y="200"/>
                      <a:pt x="99" y="200"/>
                    </a:cubicBezTo>
                    <a:cubicBezTo>
                      <a:pt x="104" y="200"/>
                      <a:pt x="115" y="199"/>
                      <a:pt x="115" y="199"/>
                    </a:cubicBezTo>
                    <a:cubicBezTo>
                      <a:pt x="122" y="189"/>
                      <a:pt x="122" y="189"/>
                      <a:pt x="122" y="189"/>
                    </a:cubicBezTo>
                    <a:cubicBezTo>
                      <a:pt x="129" y="188"/>
                      <a:pt x="129" y="188"/>
                      <a:pt x="129" y="188"/>
                    </a:cubicBezTo>
                    <a:cubicBezTo>
                      <a:pt x="139" y="183"/>
                      <a:pt x="139" y="183"/>
                      <a:pt x="139" y="183"/>
                    </a:cubicBezTo>
                    <a:cubicBezTo>
                      <a:pt x="140" y="179"/>
                      <a:pt x="140" y="179"/>
                      <a:pt x="140" y="179"/>
                    </a:cubicBezTo>
                    <a:cubicBezTo>
                      <a:pt x="145" y="181"/>
                      <a:pt x="145" y="181"/>
                      <a:pt x="145" y="181"/>
                    </a:cubicBezTo>
                    <a:cubicBezTo>
                      <a:pt x="145" y="181"/>
                      <a:pt x="154" y="176"/>
                      <a:pt x="157" y="173"/>
                    </a:cubicBezTo>
                    <a:cubicBezTo>
                      <a:pt x="159" y="170"/>
                      <a:pt x="164" y="165"/>
                      <a:pt x="166" y="165"/>
                    </a:cubicBezTo>
                    <a:cubicBezTo>
                      <a:pt x="169" y="165"/>
                      <a:pt x="173" y="168"/>
                      <a:pt x="173" y="168"/>
                    </a:cubicBezTo>
                    <a:cubicBezTo>
                      <a:pt x="173" y="168"/>
                      <a:pt x="175" y="162"/>
                      <a:pt x="184" y="163"/>
                    </a:cubicBezTo>
                    <a:cubicBezTo>
                      <a:pt x="202" y="163"/>
                      <a:pt x="202" y="163"/>
                      <a:pt x="202" y="163"/>
                    </a:cubicBezTo>
                    <a:cubicBezTo>
                      <a:pt x="204" y="160"/>
                      <a:pt x="204" y="160"/>
                      <a:pt x="204" y="160"/>
                    </a:cubicBezTo>
                    <a:cubicBezTo>
                      <a:pt x="204" y="160"/>
                      <a:pt x="209" y="163"/>
                      <a:pt x="213" y="162"/>
                    </a:cubicBezTo>
                    <a:cubicBezTo>
                      <a:pt x="216" y="161"/>
                      <a:pt x="214" y="154"/>
                      <a:pt x="219" y="153"/>
                    </a:cubicBezTo>
                    <a:cubicBezTo>
                      <a:pt x="225" y="152"/>
                      <a:pt x="231" y="156"/>
                      <a:pt x="234" y="152"/>
                    </a:cubicBezTo>
                    <a:cubicBezTo>
                      <a:pt x="237" y="149"/>
                      <a:pt x="235" y="143"/>
                      <a:pt x="235" y="143"/>
                    </a:cubicBezTo>
                    <a:cubicBezTo>
                      <a:pt x="239" y="140"/>
                      <a:pt x="239" y="140"/>
                      <a:pt x="239" y="140"/>
                    </a:cubicBezTo>
                    <a:cubicBezTo>
                      <a:pt x="237" y="127"/>
                      <a:pt x="237" y="127"/>
                      <a:pt x="237" y="127"/>
                    </a:cubicBezTo>
                    <a:cubicBezTo>
                      <a:pt x="241" y="127"/>
                      <a:pt x="241" y="127"/>
                      <a:pt x="241" y="127"/>
                    </a:cubicBezTo>
                    <a:cubicBezTo>
                      <a:pt x="247" y="119"/>
                      <a:pt x="247" y="119"/>
                      <a:pt x="247" y="119"/>
                    </a:cubicBezTo>
                    <a:cubicBezTo>
                      <a:pt x="245" y="114"/>
                      <a:pt x="245" y="114"/>
                      <a:pt x="245" y="114"/>
                    </a:cubicBezTo>
                    <a:cubicBezTo>
                      <a:pt x="251" y="104"/>
                      <a:pt x="251" y="104"/>
                      <a:pt x="251" y="104"/>
                    </a:cubicBezTo>
                    <a:cubicBezTo>
                      <a:pt x="250" y="98"/>
                      <a:pt x="250" y="98"/>
                      <a:pt x="250" y="98"/>
                    </a:cubicBezTo>
                    <a:cubicBezTo>
                      <a:pt x="257" y="87"/>
                      <a:pt x="257" y="87"/>
                      <a:pt x="257" y="87"/>
                    </a:cubicBezTo>
                    <a:cubicBezTo>
                      <a:pt x="259" y="76"/>
                      <a:pt x="259" y="76"/>
                      <a:pt x="259" y="76"/>
                    </a:cubicBezTo>
                    <a:cubicBezTo>
                      <a:pt x="263" y="73"/>
                      <a:pt x="263" y="73"/>
                      <a:pt x="263" y="73"/>
                    </a:cubicBezTo>
                    <a:cubicBezTo>
                      <a:pt x="262" y="66"/>
                      <a:pt x="262" y="66"/>
                      <a:pt x="262" y="66"/>
                    </a:cubicBezTo>
                    <a:cubicBezTo>
                      <a:pt x="273" y="49"/>
                      <a:pt x="273" y="49"/>
                      <a:pt x="273" y="49"/>
                    </a:cubicBezTo>
                    <a:cubicBezTo>
                      <a:pt x="276" y="46"/>
                      <a:pt x="276" y="46"/>
                      <a:pt x="276" y="46"/>
                    </a:cubicBezTo>
                    <a:cubicBezTo>
                      <a:pt x="285" y="46"/>
                      <a:pt x="285" y="46"/>
                      <a:pt x="285" y="46"/>
                    </a:cubicBezTo>
                    <a:cubicBezTo>
                      <a:pt x="297" y="31"/>
                      <a:pt x="297" y="31"/>
                      <a:pt x="297" y="31"/>
                    </a:cubicBezTo>
                    <a:lnTo>
                      <a:pt x="294" y="30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68" name="Greece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5875338" y="5122863"/>
                <a:ext cx="1027112" cy="962025"/>
              </a:xfrm>
              <a:custGeom>
                <a:avLst/>
                <a:gdLst/>
                <a:ahLst/>
                <a:cxnLst>
                  <a:cxn ang="0">
                    <a:pos x="168" y="214"/>
                  </a:cxn>
                  <a:cxn ang="0">
                    <a:pos x="269" y="244"/>
                  </a:cxn>
                  <a:cxn ang="0">
                    <a:pos x="168" y="189"/>
                  </a:cxn>
                  <a:cxn ang="0">
                    <a:pos x="156" y="148"/>
                  </a:cxn>
                  <a:cxn ang="0">
                    <a:pos x="161" y="113"/>
                  </a:cxn>
                  <a:cxn ang="0">
                    <a:pos x="194" y="117"/>
                  </a:cxn>
                  <a:cxn ang="0">
                    <a:pos x="236" y="119"/>
                  </a:cxn>
                  <a:cxn ang="0">
                    <a:pos x="228" y="73"/>
                  </a:cxn>
                  <a:cxn ang="0">
                    <a:pos x="279" y="58"/>
                  </a:cxn>
                  <a:cxn ang="0">
                    <a:pos x="317" y="0"/>
                  </a:cxn>
                  <a:cxn ang="0">
                    <a:pos x="230" y="26"/>
                  </a:cxn>
                  <a:cxn ang="0">
                    <a:pos x="177" y="46"/>
                  </a:cxn>
                  <a:cxn ang="0">
                    <a:pos x="111" y="71"/>
                  </a:cxn>
                  <a:cxn ang="0">
                    <a:pos x="55" y="132"/>
                  </a:cxn>
                  <a:cxn ang="0">
                    <a:pos x="29" y="182"/>
                  </a:cxn>
                  <a:cxn ang="0">
                    <a:pos x="59" y="230"/>
                  </a:cxn>
                  <a:cxn ang="0">
                    <a:pos x="113" y="255"/>
                  </a:cxn>
                  <a:cxn ang="0">
                    <a:pos x="171" y="245"/>
                  </a:cxn>
                  <a:cxn ang="0">
                    <a:pos x="116" y="267"/>
                  </a:cxn>
                  <a:cxn ang="0">
                    <a:pos x="144" y="353"/>
                  </a:cxn>
                  <a:cxn ang="0">
                    <a:pos x="205" y="353"/>
                  </a:cxn>
                  <a:cxn ang="0">
                    <a:pos x="216" y="296"/>
                  </a:cxn>
                  <a:cxn ang="0">
                    <a:pos x="253" y="275"/>
                  </a:cxn>
                  <a:cxn ang="0">
                    <a:pos x="285" y="129"/>
                  </a:cxn>
                  <a:cxn ang="0">
                    <a:pos x="337" y="172"/>
                  </a:cxn>
                  <a:cxn ang="0">
                    <a:pos x="214" y="193"/>
                  </a:cxn>
                  <a:cxn ang="0">
                    <a:pos x="228" y="180"/>
                  </a:cxn>
                  <a:cxn ang="0">
                    <a:pos x="268" y="198"/>
                  </a:cxn>
                  <a:cxn ang="0">
                    <a:pos x="317" y="213"/>
                  </a:cxn>
                  <a:cxn ang="0">
                    <a:pos x="286" y="255"/>
                  </a:cxn>
                  <a:cxn ang="0">
                    <a:pos x="295" y="273"/>
                  </a:cxn>
                  <a:cxn ang="0">
                    <a:pos x="311" y="283"/>
                  </a:cxn>
                  <a:cxn ang="0">
                    <a:pos x="310" y="303"/>
                  </a:cxn>
                  <a:cxn ang="0">
                    <a:pos x="283" y="316"/>
                  </a:cxn>
                  <a:cxn ang="0">
                    <a:pos x="266" y="290"/>
                  </a:cxn>
                  <a:cxn ang="0">
                    <a:pos x="352" y="262"/>
                  </a:cxn>
                  <a:cxn ang="0">
                    <a:pos x="398" y="246"/>
                  </a:cxn>
                  <a:cxn ang="0">
                    <a:pos x="382" y="274"/>
                  </a:cxn>
                  <a:cxn ang="0">
                    <a:pos x="393" y="285"/>
                  </a:cxn>
                  <a:cxn ang="0">
                    <a:pos x="421" y="296"/>
                  </a:cxn>
                  <a:cxn ang="0">
                    <a:pos x="328" y="330"/>
                  </a:cxn>
                  <a:cxn ang="0">
                    <a:pos x="378" y="333"/>
                  </a:cxn>
                  <a:cxn ang="0">
                    <a:pos x="213" y="278"/>
                  </a:cxn>
                  <a:cxn ang="0">
                    <a:pos x="273" y="334"/>
                  </a:cxn>
                  <a:cxn ang="0">
                    <a:pos x="316" y="332"/>
                  </a:cxn>
                  <a:cxn ang="0">
                    <a:pos x="304" y="339"/>
                  </a:cxn>
                  <a:cxn ang="0">
                    <a:pos x="63" y="291"/>
                  </a:cxn>
                  <a:cxn ang="0">
                    <a:pos x="55" y="260"/>
                  </a:cxn>
                  <a:cxn ang="0">
                    <a:pos x="18" y="190"/>
                  </a:cxn>
                  <a:cxn ang="0">
                    <a:pos x="392" y="415"/>
                  </a:cxn>
                  <a:cxn ang="0">
                    <a:pos x="324" y="420"/>
                  </a:cxn>
                  <a:cxn ang="0">
                    <a:pos x="276" y="414"/>
                  </a:cxn>
                  <a:cxn ang="0">
                    <a:pos x="273" y="440"/>
                  </a:cxn>
                  <a:cxn ang="0">
                    <a:pos x="389" y="429"/>
                  </a:cxn>
                  <a:cxn ang="0">
                    <a:pos x="459" y="352"/>
                  </a:cxn>
                  <a:cxn ang="0">
                    <a:pos x="448" y="337"/>
                  </a:cxn>
                  <a:cxn ang="0">
                    <a:pos x="422" y="322"/>
                  </a:cxn>
                  <a:cxn ang="0">
                    <a:pos x="437" y="390"/>
                  </a:cxn>
                  <a:cxn ang="0">
                    <a:pos x="420" y="398"/>
                  </a:cxn>
                </a:cxnLst>
                <a:rect l="0" t="0" r="r" b="b"/>
                <a:pathLst>
                  <a:path w="482" h="452">
                    <a:moveTo>
                      <a:pt x="253" y="275"/>
                    </a:moveTo>
                    <a:cubicBezTo>
                      <a:pt x="253" y="275"/>
                      <a:pt x="245" y="270"/>
                      <a:pt x="243" y="261"/>
                    </a:cubicBezTo>
                    <a:cubicBezTo>
                      <a:pt x="241" y="254"/>
                      <a:pt x="243" y="248"/>
                      <a:pt x="243" y="244"/>
                    </a:cubicBezTo>
                    <a:cubicBezTo>
                      <a:pt x="243" y="240"/>
                      <a:pt x="223" y="239"/>
                      <a:pt x="219" y="239"/>
                    </a:cubicBezTo>
                    <a:cubicBezTo>
                      <a:pt x="214" y="238"/>
                      <a:pt x="214" y="232"/>
                      <a:pt x="214" y="232"/>
                    </a:cubicBezTo>
                    <a:cubicBezTo>
                      <a:pt x="214" y="232"/>
                      <a:pt x="210" y="235"/>
                      <a:pt x="207" y="232"/>
                    </a:cubicBezTo>
                    <a:cubicBezTo>
                      <a:pt x="204" y="231"/>
                      <a:pt x="193" y="222"/>
                      <a:pt x="193" y="222"/>
                    </a:cubicBezTo>
                    <a:cubicBezTo>
                      <a:pt x="193" y="222"/>
                      <a:pt x="190" y="226"/>
                      <a:pt x="189" y="226"/>
                    </a:cubicBezTo>
                    <a:cubicBezTo>
                      <a:pt x="187" y="226"/>
                      <a:pt x="185" y="220"/>
                      <a:pt x="185" y="220"/>
                    </a:cubicBezTo>
                    <a:cubicBezTo>
                      <a:pt x="169" y="219"/>
                      <a:pt x="169" y="219"/>
                      <a:pt x="169" y="219"/>
                    </a:cubicBezTo>
                    <a:cubicBezTo>
                      <a:pt x="168" y="214"/>
                      <a:pt x="168" y="214"/>
                      <a:pt x="168" y="214"/>
                    </a:cubicBezTo>
                    <a:cubicBezTo>
                      <a:pt x="168" y="214"/>
                      <a:pt x="160" y="217"/>
                      <a:pt x="160" y="213"/>
                    </a:cubicBezTo>
                    <a:cubicBezTo>
                      <a:pt x="160" y="209"/>
                      <a:pt x="174" y="211"/>
                      <a:pt x="174" y="211"/>
                    </a:cubicBezTo>
                    <a:cubicBezTo>
                      <a:pt x="174" y="211"/>
                      <a:pt x="184" y="211"/>
                      <a:pt x="193" y="213"/>
                    </a:cubicBezTo>
                    <a:cubicBezTo>
                      <a:pt x="203" y="216"/>
                      <a:pt x="210" y="224"/>
                      <a:pt x="210" y="224"/>
                    </a:cubicBezTo>
                    <a:cubicBezTo>
                      <a:pt x="216" y="225"/>
                      <a:pt x="216" y="225"/>
                      <a:pt x="216" y="225"/>
                    </a:cubicBezTo>
                    <a:cubicBezTo>
                      <a:pt x="216" y="225"/>
                      <a:pt x="217" y="232"/>
                      <a:pt x="219" y="235"/>
                    </a:cubicBezTo>
                    <a:cubicBezTo>
                      <a:pt x="221" y="237"/>
                      <a:pt x="225" y="235"/>
                      <a:pt x="227" y="235"/>
                    </a:cubicBezTo>
                    <a:cubicBezTo>
                      <a:pt x="229" y="235"/>
                      <a:pt x="238" y="235"/>
                      <a:pt x="244" y="239"/>
                    </a:cubicBezTo>
                    <a:cubicBezTo>
                      <a:pt x="251" y="244"/>
                      <a:pt x="258" y="258"/>
                      <a:pt x="258" y="258"/>
                    </a:cubicBezTo>
                    <a:cubicBezTo>
                      <a:pt x="258" y="258"/>
                      <a:pt x="267" y="259"/>
                      <a:pt x="269" y="257"/>
                    </a:cubicBezTo>
                    <a:cubicBezTo>
                      <a:pt x="271" y="256"/>
                      <a:pt x="269" y="244"/>
                      <a:pt x="269" y="244"/>
                    </a:cubicBezTo>
                    <a:cubicBezTo>
                      <a:pt x="269" y="244"/>
                      <a:pt x="257" y="246"/>
                      <a:pt x="253" y="239"/>
                    </a:cubicBezTo>
                    <a:cubicBezTo>
                      <a:pt x="247" y="231"/>
                      <a:pt x="249" y="224"/>
                      <a:pt x="249" y="224"/>
                    </a:cubicBezTo>
                    <a:cubicBezTo>
                      <a:pt x="242" y="222"/>
                      <a:pt x="242" y="222"/>
                      <a:pt x="242" y="222"/>
                    </a:cubicBezTo>
                    <a:cubicBezTo>
                      <a:pt x="240" y="214"/>
                      <a:pt x="240" y="214"/>
                      <a:pt x="240" y="214"/>
                    </a:cubicBezTo>
                    <a:cubicBezTo>
                      <a:pt x="240" y="214"/>
                      <a:pt x="236" y="216"/>
                      <a:pt x="229" y="216"/>
                    </a:cubicBezTo>
                    <a:cubicBezTo>
                      <a:pt x="222" y="216"/>
                      <a:pt x="220" y="212"/>
                      <a:pt x="220" y="212"/>
                    </a:cubicBezTo>
                    <a:cubicBezTo>
                      <a:pt x="217" y="214"/>
                      <a:pt x="217" y="214"/>
                      <a:pt x="217" y="214"/>
                    </a:cubicBezTo>
                    <a:cubicBezTo>
                      <a:pt x="204" y="207"/>
                      <a:pt x="204" y="207"/>
                      <a:pt x="204" y="207"/>
                    </a:cubicBezTo>
                    <a:cubicBezTo>
                      <a:pt x="204" y="207"/>
                      <a:pt x="200" y="197"/>
                      <a:pt x="196" y="196"/>
                    </a:cubicBezTo>
                    <a:cubicBezTo>
                      <a:pt x="192" y="195"/>
                      <a:pt x="185" y="201"/>
                      <a:pt x="180" y="200"/>
                    </a:cubicBezTo>
                    <a:cubicBezTo>
                      <a:pt x="176" y="199"/>
                      <a:pt x="169" y="192"/>
                      <a:pt x="168" y="189"/>
                    </a:cubicBezTo>
                    <a:cubicBezTo>
                      <a:pt x="167" y="185"/>
                      <a:pt x="174" y="184"/>
                      <a:pt x="174" y="184"/>
                    </a:cubicBezTo>
                    <a:cubicBezTo>
                      <a:pt x="173" y="182"/>
                      <a:pt x="173" y="182"/>
                      <a:pt x="173" y="182"/>
                    </a:cubicBezTo>
                    <a:cubicBezTo>
                      <a:pt x="173" y="182"/>
                      <a:pt x="184" y="181"/>
                      <a:pt x="187" y="186"/>
                    </a:cubicBezTo>
                    <a:cubicBezTo>
                      <a:pt x="191" y="192"/>
                      <a:pt x="182" y="193"/>
                      <a:pt x="182" y="193"/>
                    </a:cubicBezTo>
                    <a:cubicBezTo>
                      <a:pt x="184" y="197"/>
                      <a:pt x="184" y="197"/>
                      <a:pt x="184" y="197"/>
                    </a:cubicBezTo>
                    <a:cubicBezTo>
                      <a:pt x="193" y="193"/>
                      <a:pt x="193" y="193"/>
                      <a:pt x="193" y="193"/>
                    </a:cubicBezTo>
                    <a:cubicBezTo>
                      <a:pt x="193" y="184"/>
                      <a:pt x="193" y="184"/>
                      <a:pt x="193" y="184"/>
                    </a:cubicBezTo>
                    <a:cubicBezTo>
                      <a:pt x="179" y="169"/>
                      <a:pt x="179" y="169"/>
                      <a:pt x="179" y="169"/>
                    </a:cubicBezTo>
                    <a:cubicBezTo>
                      <a:pt x="170" y="166"/>
                      <a:pt x="170" y="166"/>
                      <a:pt x="170" y="166"/>
                    </a:cubicBezTo>
                    <a:cubicBezTo>
                      <a:pt x="170" y="166"/>
                      <a:pt x="167" y="159"/>
                      <a:pt x="167" y="154"/>
                    </a:cubicBezTo>
                    <a:cubicBezTo>
                      <a:pt x="167" y="149"/>
                      <a:pt x="156" y="148"/>
                      <a:pt x="156" y="148"/>
                    </a:cubicBezTo>
                    <a:cubicBezTo>
                      <a:pt x="156" y="143"/>
                      <a:pt x="156" y="143"/>
                      <a:pt x="156" y="143"/>
                    </a:cubicBezTo>
                    <a:cubicBezTo>
                      <a:pt x="156" y="143"/>
                      <a:pt x="151" y="141"/>
                      <a:pt x="147" y="134"/>
                    </a:cubicBezTo>
                    <a:cubicBezTo>
                      <a:pt x="143" y="129"/>
                      <a:pt x="149" y="117"/>
                      <a:pt x="149" y="117"/>
                    </a:cubicBezTo>
                    <a:cubicBezTo>
                      <a:pt x="147" y="112"/>
                      <a:pt x="147" y="112"/>
                      <a:pt x="147" y="112"/>
                    </a:cubicBezTo>
                    <a:cubicBezTo>
                      <a:pt x="148" y="106"/>
                      <a:pt x="148" y="106"/>
                      <a:pt x="148" y="106"/>
                    </a:cubicBezTo>
                    <a:cubicBezTo>
                      <a:pt x="154" y="106"/>
                      <a:pt x="154" y="106"/>
                      <a:pt x="154" y="106"/>
                    </a:cubicBezTo>
                    <a:cubicBezTo>
                      <a:pt x="159" y="100"/>
                      <a:pt x="159" y="100"/>
                      <a:pt x="159" y="100"/>
                    </a:cubicBezTo>
                    <a:cubicBezTo>
                      <a:pt x="159" y="97"/>
                      <a:pt x="159" y="97"/>
                      <a:pt x="159" y="97"/>
                    </a:cubicBezTo>
                    <a:cubicBezTo>
                      <a:pt x="164" y="102"/>
                      <a:pt x="164" y="102"/>
                      <a:pt x="164" y="102"/>
                    </a:cubicBezTo>
                    <a:cubicBezTo>
                      <a:pt x="158" y="106"/>
                      <a:pt x="158" y="106"/>
                      <a:pt x="158" y="106"/>
                    </a:cubicBezTo>
                    <a:cubicBezTo>
                      <a:pt x="161" y="113"/>
                      <a:pt x="161" y="113"/>
                      <a:pt x="161" y="113"/>
                    </a:cubicBezTo>
                    <a:cubicBezTo>
                      <a:pt x="168" y="113"/>
                      <a:pt x="168" y="113"/>
                      <a:pt x="168" y="113"/>
                    </a:cubicBezTo>
                    <a:cubicBezTo>
                      <a:pt x="174" y="117"/>
                      <a:pt x="174" y="117"/>
                      <a:pt x="174" y="117"/>
                    </a:cubicBezTo>
                    <a:cubicBezTo>
                      <a:pt x="174" y="117"/>
                      <a:pt x="182" y="118"/>
                      <a:pt x="186" y="120"/>
                    </a:cubicBezTo>
                    <a:cubicBezTo>
                      <a:pt x="189" y="121"/>
                      <a:pt x="188" y="126"/>
                      <a:pt x="188" y="129"/>
                    </a:cubicBezTo>
                    <a:cubicBezTo>
                      <a:pt x="188" y="132"/>
                      <a:pt x="191" y="134"/>
                      <a:pt x="191" y="134"/>
                    </a:cubicBezTo>
                    <a:cubicBezTo>
                      <a:pt x="192" y="138"/>
                      <a:pt x="192" y="138"/>
                      <a:pt x="192" y="138"/>
                    </a:cubicBezTo>
                    <a:cubicBezTo>
                      <a:pt x="206" y="138"/>
                      <a:pt x="206" y="138"/>
                      <a:pt x="206" y="138"/>
                    </a:cubicBezTo>
                    <a:cubicBezTo>
                      <a:pt x="210" y="138"/>
                      <a:pt x="212" y="135"/>
                      <a:pt x="209" y="134"/>
                    </a:cubicBezTo>
                    <a:cubicBezTo>
                      <a:pt x="205" y="132"/>
                      <a:pt x="195" y="130"/>
                      <a:pt x="195" y="130"/>
                    </a:cubicBezTo>
                    <a:cubicBezTo>
                      <a:pt x="195" y="130"/>
                      <a:pt x="189" y="122"/>
                      <a:pt x="189" y="118"/>
                    </a:cubicBezTo>
                    <a:cubicBezTo>
                      <a:pt x="189" y="114"/>
                      <a:pt x="194" y="117"/>
                      <a:pt x="194" y="117"/>
                    </a:cubicBezTo>
                    <a:cubicBezTo>
                      <a:pt x="202" y="117"/>
                      <a:pt x="202" y="117"/>
                      <a:pt x="202" y="117"/>
                    </a:cubicBezTo>
                    <a:cubicBezTo>
                      <a:pt x="212" y="127"/>
                      <a:pt x="212" y="127"/>
                      <a:pt x="212" y="127"/>
                    </a:cubicBezTo>
                    <a:cubicBezTo>
                      <a:pt x="221" y="134"/>
                      <a:pt x="221" y="134"/>
                      <a:pt x="221" y="134"/>
                    </a:cubicBezTo>
                    <a:cubicBezTo>
                      <a:pt x="221" y="134"/>
                      <a:pt x="225" y="130"/>
                      <a:pt x="222" y="125"/>
                    </a:cubicBezTo>
                    <a:cubicBezTo>
                      <a:pt x="220" y="119"/>
                      <a:pt x="214" y="118"/>
                      <a:pt x="212" y="118"/>
                    </a:cubicBezTo>
                    <a:cubicBezTo>
                      <a:pt x="209" y="117"/>
                      <a:pt x="206" y="115"/>
                      <a:pt x="206" y="111"/>
                    </a:cubicBezTo>
                    <a:cubicBezTo>
                      <a:pt x="205" y="107"/>
                      <a:pt x="209" y="106"/>
                      <a:pt x="209" y="106"/>
                    </a:cubicBezTo>
                    <a:cubicBezTo>
                      <a:pt x="225" y="110"/>
                      <a:pt x="225" y="110"/>
                      <a:pt x="225" y="110"/>
                    </a:cubicBezTo>
                    <a:cubicBezTo>
                      <a:pt x="229" y="111"/>
                      <a:pt x="229" y="111"/>
                      <a:pt x="229" y="111"/>
                    </a:cubicBezTo>
                    <a:cubicBezTo>
                      <a:pt x="230" y="113"/>
                      <a:pt x="230" y="113"/>
                      <a:pt x="230" y="113"/>
                    </a:cubicBezTo>
                    <a:cubicBezTo>
                      <a:pt x="236" y="119"/>
                      <a:pt x="236" y="119"/>
                      <a:pt x="236" y="119"/>
                    </a:cubicBezTo>
                    <a:cubicBezTo>
                      <a:pt x="240" y="114"/>
                      <a:pt x="240" y="114"/>
                      <a:pt x="240" y="114"/>
                    </a:cubicBezTo>
                    <a:cubicBezTo>
                      <a:pt x="227" y="103"/>
                      <a:pt x="227" y="103"/>
                      <a:pt x="227" y="103"/>
                    </a:cubicBezTo>
                    <a:cubicBezTo>
                      <a:pt x="224" y="103"/>
                      <a:pt x="224" y="103"/>
                      <a:pt x="224" y="103"/>
                    </a:cubicBezTo>
                    <a:cubicBezTo>
                      <a:pt x="217" y="100"/>
                      <a:pt x="217" y="100"/>
                      <a:pt x="217" y="100"/>
                    </a:cubicBezTo>
                    <a:cubicBezTo>
                      <a:pt x="217" y="104"/>
                      <a:pt x="217" y="104"/>
                      <a:pt x="217" y="104"/>
                    </a:cubicBezTo>
                    <a:cubicBezTo>
                      <a:pt x="217" y="104"/>
                      <a:pt x="213" y="102"/>
                      <a:pt x="210" y="102"/>
                    </a:cubicBezTo>
                    <a:cubicBezTo>
                      <a:pt x="207" y="101"/>
                      <a:pt x="210" y="95"/>
                      <a:pt x="210" y="95"/>
                    </a:cubicBezTo>
                    <a:cubicBezTo>
                      <a:pt x="210" y="95"/>
                      <a:pt x="200" y="88"/>
                      <a:pt x="200" y="86"/>
                    </a:cubicBezTo>
                    <a:cubicBezTo>
                      <a:pt x="200" y="84"/>
                      <a:pt x="206" y="81"/>
                      <a:pt x="206" y="81"/>
                    </a:cubicBezTo>
                    <a:cubicBezTo>
                      <a:pt x="206" y="81"/>
                      <a:pt x="214" y="82"/>
                      <a:pt x="218" y="82"/>
                    </a:cubicBezTo>
                    <a:cubicBezTo>
                      <a:pt x="221" y="82"/>
                      <a:pt x="228" y="73"/>
                      <a:pt x="228" y="73"/>
                    </a:cubicBezTo>
                    <a:cubicBezTo>
                      <a:pt x="229" y="68"/>
                      <a:pt x="229" y="68"/>
                      <a:pt x="229" y="68"/>
                    </a:cubicBezTo>
                    <a:cubicBezTo>
                      <a:pt x="229" y="68"/>
                      <a:pt x="234" y="64"/>
                      <a:pt x="236" y="64"/>
                    </a:cubicBezTo>
                    <a:cubicBezTo>
                      <a:pt x="239" y="63"/>
                      <a:pt x="244" y="67"/>
                      <a:pt x="250" y="67"/>
                    </a:cubicBezTo>
                    <a:cubicBezTo>
                      <a:pt x="256" y="66"/>
                      <a:pt x="259" y="64"/>
                      <a:pt x="260" y="63"/>
                    </a:cubicBezTo>
                    <a:cubicBezTo>
                      <a:pt x="262" y="60"/>
                      <a:pt x="267" y="55"/>
                      <a:pt x="267" y="55"/>
                    </a:cubicBezTo>
                    <a:cubicBezTo>
                      <a:pt x="263" y="51"/>
                      <a:pt x="263" y="51"/>
                      <a:pt x="263" y="51"/>
                    </a:cubicBezTo>
                    <a:cubicBezTo>
                      <a:pt x="265" y="50"/>
                      <a:pt x="265" y="50"/>
                      <a:pt x="265" y="50"/>
                    </a:cubicBezTo>
                    <a:cubicBezTo>
                      <a:pt x="269" y="54"/>
                      <a:pt x="269" y="54"/>
                      <a:pt x="269" y="54"/>
                    </a:cubicBezTo>
                    <a:cubicBezTo>
                      <a:pt x="269" y="58"/>
                      <a:pt x="269" y="58"/>
                      <a:pt x="269" y="58"/>
                    </a:cubicBezTo>
                    <a:cubicBezTo>
                      <a:pt x="275" y="60"/>
                      <a:pt x="275" y="60"/>
                      <a:pt x="275" y="60"/>
                    </a:cubicBezTo>
                    <a:cubicBezTo>
                      <a:pt x="279" y="58"/>
                      <a:pt x="279" y="58"/>
                      <a:pt x="279" y="58"/>
                    </a:cubicBezTo>
                    <a:cubicBezTo>
                      <a:pt x="279" y="58"/>
                      <a:pt x="305" y="59"/>
                      <a:pt x="310" y="59"/>
                    </a:cubicBezTo>
                    <a:cubicBezTo>
                      <a:pt x="315" y="60"/>
                      <a:pt x="316" y="66"/>
                      <a:pt x="316" y="66"/>
                    </a:cubicBezTo>
                    <a:cubicBezTo>
                      <a:pt x="316" y="66"/>
                      <a:pt x="326" y="55"/>
                      <a:pt x="328" y="50"/>
                    </a:cubicBezTo>
                    <a:cubicBezTo>
                      <a:pt x="331" y="46"/>
                      <a:pt x="323" y="40"/>
                      <a:pt x="323" y="40"/>
                    </a:cubicBezTo>
                    <a:cubicBezTo>
                      <a:pt x="322" y="31"/>
                      <a:pt x="322" y="31"/>
                      <a:pt x="322" y="31"/>
                    </a:cubicBezTo>
                    <a:cubicBezTo>
                      <a:pt x="329" y="24"/>
                      <a:pt x="329" y="24"/>
                      <a:pt x="329" y="24"/>
                    </a:cubicBezTo>
                    <a:cubicBezTo>
                      <a:pt x="329" y="24"/>
                      <a:pt x="335" y="25"/>
                      <a:pt x="337" y="23"/>
                    </a:cubicBezTo>
                    <a:cubicBezTo>
                      <a:pt x="339" y="21"/>
                      <a:pt x="333" y="16"/>
                      <a:pt x="332" y="14"/>
                    </a:cubicBezTo>
                    <a:cubicBezTo>
                      <a:pt x="331" y="11"/>
                      <a:pt x="331" y="5"/>
                      <a:pt x="331" y="5"/>
                    </a:cubicBezTo>
                    <a:cubicBezTo>
                      <a:pt x="324" y="2"/>
                      <a:pt x="324" y="2"/>
                      <a:pt x="324" y="2"/>
                    </a:cubicBezTo>
                    <a:cubicBezTo>
                      <a:pt x="317" y="0"/>
                      <a:pt x="317" y="0"/>
                      <a:pt x="317" y="0"/>
                    </a:cubicBezTo>
                    <a:cubicBezTo>
                      <a:pt x="317" y="0"/>
                      <a:pt x="306" y="1"/>
                      <a:pt x="303" y="3"/>
                    </a:cubicBezTo>
                    <a:cubicBezTo>
                      <a:pt x="301" y="6"/>
                      <a:pt x="311" y="11"/>
                      <a:pt x="311" y="20"/>
                    </a:cubicBezTo>
                    <a:cubicBezTo>
                      <a:pt x="310" y="27"/>
                      <a:pt x="301" y="31"/>
                      <a:pt x="301" y="31"/>
                    </a:cubicBezTo>
                    <a:cubicBezTo>
                      <a:pt x="294" y="30"/>
                      <a:pt x="294" y="30"/>
                      <a:pt x="294" y="30"/>
                    </a:cubicBezTo>
                    <a:cubicBezTo>
                      <a:pt x="294" y="30"/>
                      <a:pt x="271" y="41"/>
                      <a:pt x="270" y="41"/>
                    </a:cubicBezTo>
                    <a:cubicBezTo>
                      <a:pt x="268" y="42"/>
                      <a:pt x="265" y="37"/>
                      <a:pt x="265" y="37"/>
                    </a:cubicBezTo>
                    <a:cubicBezTo>
                      <a:pt x="251" y="33"/>
                      <a:pt x="251" y="33"/>
                      <a:pt x="251" y="33"/>
                    </a:cubicBezTo>
                    <a:cubicBezTo>
                      <a:pt x="245" y="38"/>
                      <a:pt x="245" y="38"/>
                      <a:pt x="245" y="38"/>
                    </a:cubicBezTo>
                    <a:cubicBezTo>
                      <a:pt x="240" y="32"/>
                      <a:pt x="240" y="32"/>
                      <a:pt x="240" y="32"/>
                    </a:cubicBezTo>
                    <a:cubicBezTo>
                      <a:pt x="236" y="33"/>
                      <a:pt x="236" y="33"/>
                      <a:pt x="236" y="33"/>
                    </a:cubicBezTo>
                    <a:cubicBezTo>
                      <a:pt x="230" y="26"/>
                      <a:pt x="230" y="26"/>
                      <a:pt x="230" y="26"/>
                    </a:cubicBezTo>
                    <a:cubicBezTo>
                      <a:pt x="230" y="26"/>
                      <a:pt x="223" y="30"/>
                      <a:pt x="221" y="32"/>
                    </a:cubicBezTo>
                    <a:cubicBezTo>
                      <a:pt x="219" y="33"/>
                      <a:pt x="216" y="27"/>
                      <a:pt x="216" y="27"/>
                    </a:cubicBezTo>
                    <a:cubicBezTo>
                      <a:pt x="213" y="31"/>
                      <a:pt x="213" y="31"/>
                      <a:pt x="213" y="31"/>
                    </a:cubicBezTo>
                    <a:cubicBezTo>
                      <a:pt x="207" y="31"/>
                      <a:pt x="207" y="31"/>
                      <a:pt x="207" y="31"/>
                    </a:cubicBezTo>
                    <a:cubicBezTo>
                      <a:pt x="208" y="36"/>
                      <a:pt x="208" y="36"/>
                      <a:pt x="208" y="36"/>
                    </a:cubicBezTo>
                    <a:cubicBezTo>
                      <a:pt x="203" y="40"/>
                      <a:pt x="203" y="40"/>
                      <a:pt x="203" y="40"/>
                    </a:cubicBezTo>
                    <a:cubicBezTo>
                      <a:pt x="201" y="37"/>
                      <a:pt x="201" y="37"/>
                      <a:pt x="201" y="37"/>
                    </a:cubicBezTo>
                    <a:cubicBezTo>
                      <a:pt x="194" y="42"/>
                      <a:pt x="194" y="42"/>
                      <a:pt x="194" y="42"/>
                    </a:cubicBezTo>
                    <a:cubicBezTo>
                      <a:pt x="191" y="43"/>
                      <a:pt x="191" y="43"/>
                      <a:pt x="191" y="43"/>
                    </a:cubicBezTo>
                    <a:cubicBezTo>
                      <a:pt x="189" y="46"/>
                      <a:pt x="189" y="46"/>
                      <a:pt x="189" y="46"/>
                    </a:cubicBezTo>
                    <a:cubicBezTo>
                      <a:pt x="177" y="46"/>
                      <a:pt x="177" y="46"/>
                      <a:pt x="177" y="46"/>
                    </a:cubicBezTo>
                    <a:cubicBezTo>
                      <a:pt x="175" y="50"/>
                      <a:pt x="175" y="50"/>
                      <a:pt x="175" y="50"/>
                    </a:cubicBezTo>
                    <a:cubicBezTo>
                      <a:pt x="170" y="48"/>
                      <a:pt x="170" y="48"/>
                      <a:pt x="170" y="48"/>
                    </a:cubicBezTo>
                    <a:cubicBezTo>
                      <a:pt x="165" y="53"/>
                      <a:pt x="165" y="53"/>
                      <a:pt x="165" y="53"/>
                    </a:cubicBezTo>
                    <a:cubicBezTo>
                      <a:pt x="155" y="54"/>
                      <a:pt x="155" y="54"/>
                      <a:pt x="155" y="54"/>
                    </a:cubicBezTo>
                    <a:cubicBezTo>
                      <a:pt x="155" y="54"/>
                      <a:pt x="146" y="52"/>
                      <a:pt x="146" y="55"/>
                    </a:cubicBezTo>
                    <a:cubicBezTo>
                      <a:pt x="145" y="59"/>
                      <a:pt x="146" y="69"/>
                      <a:pt x="146" y="69"/>
                    </a:cubicBezTo>
                    <a:cubicBezTo>
                      <a:pt x="142" y="66"/>
                      <a:pt x="142" y="66"/>
                      <a:pt x="142" y="66"/>
                    </a:cubicBezTo>
                    <a:cubicBezTo>
                      <a:pt x="141" y="70"/>
                      <a:pt x="141" y="70"/>
                      <a:pt x="141" y="70"/>
                    </a:cubicBezTo>
                    <a:cubicBezTo>
                      <a:pt x="122" y="69"/>
                      <a:pt x="122" y="69"/>
                      <a:pt x="122" y="69"/>
                    </a:cubicBezTo>
                    <a:cubicBezTo>
                      <a:pt x="118" y="72"/>
                      <a:pt x="118" y="72"/>
                      <a:pt x="118" y="72"/>
                    </a:cubicBezTo>
                    <a:cubicBezTo>
                      <a:pt x="111" y="71"/>
                      <a:pt x="111" y="71"/>
                      <a:pt x="111" y="71"/>
                    </a:cubicBezTo>
                    <a:cubicBezTo>
                      <a:pt x="111" y="71"/>
                      <a:pt x="107" y="72"/>
                      <a:pt x="105" y="75"/>
                    </a:cubicBezTo>
                    <a:cubicBezTo>
                      <a:pt x="103" y="80"/>
                      <a:pt x="105" y="84"/>
                      <a:pt x="102" y="87"/>
                    </a:cubicBezTo>
                    <a:cubicBezTo>
                      <a:pt x="98" y="89"/>
                      <a:pt x="92" y="93"/>
                      <a:pt x="92" y="93"/>
                    </a:cubicBezTo>
                    <a:cubicBezTo>
                      <a:pt x="92" y="93"/>
                      <a:pt x="88" y="91"/>
                      <a:pt x="86" y="91"/>
                    </a:cubicBezTo>
                    <a:cubicBezTo>
                      <a:pt x="82" y="91"/>
                      <a:pt x="77" y="97"/>
                      <a:pt x="77" y="97"/>
                    </a:cubicBezTo>
                    <a:cubicBezTo>
                      <a:pt x="61" y="98"/>
                      <a:pt x="61" y="98"/>
                      <a:pt x="61" y="98"/>
                    </a:cubicBezTo>
                    <a:cubicBezTo>
                      <a:pt x="61" y="105"/>
                      <a:pt x="61" y="105"/>
                      <a:pt x="61" y="105"/>
                    </a:cubicBezTo>
                    <a:cubicBezTo>
                      <a:pt x="61" y="105"/>
                      <a:pt x="65" y="109"/>
                      <a:pt x="66" y="113"/>
                    </a:cubicBezTo>
                    <a:cubicBezTo>
                      <a:pt x="66" y="117"/>
                      <a:pt x="61" y="122"/>
                      <a:pt x="61" y="122"/>
                    </a:cubicBezTo>
                    <a:cubicBezTo>
                      <a:pt x="61" y="122"/>
                      <a:pt x="58" y="122"/>
                      <a:pt x="56" y="123"/>
                    </a:cubicBezTo>
                    <a:cubicBezTo>
                      <a:pt x="53" y="126"/>
                      <a:pt x="55" y="132"/>
                      <a:pt x="55" y="132"/>
                    </a:cubicBezTo>
                    <a:cubicBezTo>
                      <a:pt x="51" y="137"/>
                      <a:pt x="51" y="137"/>
                      <a:pt x="51" y="137"/>
                    </a:cubicBezTo>
                    <a:cubicBezTo>
                      <a:pt x="51" y="137"/>
                      <a:pt x="54" y="144"/>
                      <a:pt x="49" y="149"/>
                    </a:cubicBezTo>
                    <a:cubicBezTo>
                      <a:pt x="44" y="153"/>
                      <a:pt x="42" y="150"/>
                      <a:pt x="39" y="151"/>
                    </a:cubicBezTo>
                    <a:cubicBezTo>
                      <a:pt x="36" y="152"/>
                      <a:pt x="37" y="156"/>
                      <a:pt x="37" y="156"/>
                    </a:cubicBezTo>
                    <a:cubicBezTo>
                      <a:pt x="37" y="156"/>
                      <a:pt x="33" y="154"/>
                      <a:pt x="32" y="159"/>
                    </a:cubicBezTo>
                    <a:cubicBezTo>
                      <a:pt x="31" y="162"/>
                      <a:pt x="37" y="165"/>
                      <a:pt x="37" y="165"/>
                    </a:cubicBezTo>
                    <a:cubicBezTo>
                      <a:pt x="38" y="169"/>
                      <a:pt x="38" y="169"/>
                      <a:pt x="38" y="169"/>
                    </a:cubicBezTo>
                    <a:cubicBezTo>
                      <a:pt x="38" y="169"/>
                      <a:pt x="33" y="168"/>
                      <a:pt x="33" y="169"/>
                    </a:cubicBezTo>
                    <a:cubicBezTo>
                      <a:pt x="32" y="172"/>
                      <a:pt x="33" y="175"/>
                      <a:pt x="33" y="175"/>
                    </a:cubicBezTo>
                    <a:cubicBezTo>
                      <a:pt x="33" y="175"/>
                      <a:pt x="28" y="180"/>
                      <a:pt x="26" y="180"/>
                    </a:cubicBezTo>
                    <a:cubicBezTo>
                      <a:pt x="29" y="182"/>
                      <a:pt x="29" y="182"/>
                      <a:pt x="29" y="182"/>
                    </a:cubicBezTo>
                    <a:cubicBezTo>
                      <a:pt x="29" y="188"/>
                      <a:pt x="29" y="188"/>
                      <a:pt x="29" y="188"/>
                    </a:cubicBezTo>
                    <a:cubicBezTo>
                      <a:pt x="34" y="190"/>
                      <a:pt x="34" y="190"/>
                      <a:pt x="34" y="190"/>
                    </a:cubicBezTo>
                    <a:cubicBezTo>
                      <a:pt x="33" y="195"/>
                      <a:pt x="33" y="195"/>
                      <a:pt x="33" y="195"/>
                    </a:cubicBezTo>
                    <a:cubicBezTo>
                      <a:pt x="40" y="204"/>
                      <a:pt x="40" y="204"/>
                      <a:pt x="40" y="204"/>
                    </a:cubicBezTo>
                    <a:cubicBezTo>
                      <a:pt x="48" y="205"/>
                      <a:pt x="48" y="205"/>
                      <a:pt x="48" y="205"/>
                    </a:cubicBezTo>
                    <a:cubicBezTo>
                      <a:pt x="63" y="222"/>
                      <a:pt x="63" y="222"/>
                      <a:pt x="63" y="222"/>
                    </a:cubicBezTo>
                    <a:cubicBezTo>
                      <a:pt x="70" y="215"/>
                      <a:pt x="70" y="215"/>
                      <a:pt x="70" y="215"/>
                    </a:cubicBezTo>
                    <a:cubicBezTo>
                      <a:pt x="85" y="216"/>
                      <a:pt x="85" y="216"/>
                      <a:pt x="85" y="216"/>
                    </a:cubicBezTo>
                    <a:cubicBezTo>
                      <a:pt x="87" y="223"/>
                      <a:pt x="87" y="223"/>
                      <a:pt x="87" y="223"/>
                    </a:cubicBezTo>
                    <a:cubicBezTo>
                      <a:pt x="73" y="220"/>
                      <a:pt x="73" y="220"/>
                      <a:pt x="73" y="220"/>
                    </a:cubicBezTo>
                    <a:cubicBezTo>
                      <a:pt x="73" y="220"/>
                      <a:pt x="63" y="226"/>
                      <a:pt x="59" y="230"/>
                    </a:cubicBezTo>
                    <a:cubicBezTo>
                      <a:pt x="55" y="235"/>
                      <a:pt x="54" y="244"/>
                      <a:pt x="57" y="246"/>
                    </a:cubicBezTo>
                    <a:cubicBezTo>
                      <a:pt x="61" y="249"/>
                      <a:pt x="64" y="242"/>
                      <a:pt x="65" y="238"/>
                    </a:cubicBezTo>
                    <a:cubicBezTo>
                      <a:pt x="67" y="233"/>
                      <a:pt x="71" y="232"/>
                      <a:pt x="71" y="232"/>
                    </a:cubicBezTo>
                    <a:cubicBezTo>
                      <a:pt x="75" y="238"/>
                      <a:pt x="75" y="238"/>
                      <a:pt x="75" y="238"/>
                    </a:cubicBezTo>
                    <a:cubicBezTo>
                      <a:pt x="74" y="246"/>
                      <a:pt x="74" y="246"/>
                      <a:pt x="74" y="246"/>
                    </a:cubicBezTo>
                    <a:cubicBezTo>
                      <a:pt x="80" y="243"/>
                      <a:pt x="80" y="243"/>
                      <a:pt x="80" y="243"/>
                    </a:cubicBezTo>
                    <a:cubicBezTo>
                      <a:pt x="85" y="248"/>
                      <a:pt x="85" y="248"/>
                      <a:pt x="85" y="248"/>
                    </a:cubicBezTo>
                    <a:cubicBezTo>
                      <a:pt x="85" y="248"/>
                      <a:pt x="80" y="258"/>
                      <a:pt x="89" y="259"/>
                    </a:cubicBezTo>
                    <a:cubicBezTo>
                      <a:pt x="97" y="261"/>
                      <a:pt x="98" y="249"/>
                      <a:pt x="98" y="249"/>
                    </a:cubicBezTo>
                    <a:cubicBezTo>
                      <a:pt x="108" y="260"/>
                      <a:pt x="108" y="260"/>
                      <a:pt x="108" y="260"/>
                    </a:cubicBezTo>
                    <a:cubicBezTo>
                      <a:pt x="108" y="260"/>
                      <a:pt x="111" y="257"/>
                      <a:pt x="113" y="255"/>
                    </a:cubicBezTo>
                    <a:cubicBezTo>
                      <a:pt x="116" y="254"/>
                      <a:pt x="121" y="255"/>
                      <a:pt x="121" y="255"/>
                    </a:cubicBezTo>
                    <a:cubicBezTo>
                      <a:pt x="121" y="255"/>
                      <a:pt x="125" y="248"/>
                      <a:pt x="129" y="248"/>
                    </a:cubicBezTo>
                    <a:cubicBezTo>
                      <a:pt x="134" y="248"/>
                      <a:pt x="144" y="251"/>
                      <a:pt x="144" y="251"/>
                    </a:cubicBezTo>
                    <a:cubicBezTo>
                      <a:pt x="146" y="249"/>
                      <a:pt x="146" y="249"/>
                      <a:pt x="146" y="249"/>
                    </a:cubicBezTo>
                    <a:cubicBezTo>
                      <a:pt x="156" y="251"/>
                      <a:pt x="156" y="251"/>
                      <a:pt x="156" y="251"/>
                    </a:cubicBezTo>
                    <a:cubicBezTo>
                      <a:pt x="153" y="245"/>
                      <a:pt x="153" y="245"/>
                      <a:pt x="153" y="245"/>
                    </a:cubicBezTo>
                    <a:cubicBezTo>
                      <a:pt x="155" y="243"/>
                      <a:pt x="155" y="243"/>
                      <a:pt x="155" y="243"/>
                    </a:cubicBezTo>
                    <a:cubicBezTo>
                      <a:pt x="162" y="247"/>
                      <a:pt x="162" y="247"/>
                      <a:pt x="162" y="247"/>
                    </a:cubicBezTo>
                    <a:cubicBezTo>
                      <a:pt x="161" y="252"/>
                      <a:pt x="161" y="252"/>
                      <a:pt x="161" y="252"/>
                    </a:cubicBezTo>
                    <a:cubicBezTo>
                      <a:pt x="164" y="252"/>
                      <a:pt x="164" y="252"/>
                      <a:pt x="164" y="252"/>
                    </a:cubicBezTo>
                    <a:cubicBezTo>
                      <a:pt x="171" y="245"/>
                      <a:pt x="171" y="245"/>
                      <a:pt x="171" y="245"/>
                    </a:cubicBezTo>
                    <a:cubicBezTo>
                      <a:pt x="177" y="254"/>
                      <a:pt x="177" y="254"/>
                      <a:pt x="177" y="254"/>
                    </a:cubicBezTo>
                    <a:cubicBezTo>
                      <a:pt x="177" y="254"/>
                      <a:pt x="192" y="253"/>
                      <a:pt x="197" y="255"/>
                    </a:cubicBezTo>
                    <a:cubicBezTo>
                      <a:pt x="203" y="257"/>
                      <a:pt x="191" y="262"/>
                      <a:pt x="191" y="262"/>
                    </a:cubicBezTo>
                    <a:cubicBezTo>
                      <a:pt x="187" y="262"/>
                      <a:pt x="187" y="262"/>
                      <a:pt x="187" y="262"/>
                    </a:cubicBezTo>
                    <a:cubicBezTo>
                      <a:pt x="182" y="268"/>
                      <a:pt x="182" y="268"/>
                      <a:pt x="182" y="268"/>
                    </a:cubicBezTo>
                    <a:cubicBezTo>
                      <a:pt x="186" y="270"/>
                      <a:pt x="186" y="270"/>
                      <a:pt x="186" y="270"/>
                    </a:cubicBezTo>
                    <a:cubicBezTo>
                      <a:pt x="184" y="273"/>
                      <a:pt x="184" y="273"/>
                      <a:pt x="184" y="273"/>
                    </a:cubicBezTo>
                    <a:cubicBezTo>
                      <a:pt x="184" y="273"/>
                      <a:pt x="172" y="263"/>
                      <a:pt x="167" y="263"/>
                    </a:cubicBezTo>
                    <a:cubicBezTo>
                      <a:pt x="162" y="262"/>
                      <a:pt x="146" y="260"/>
                      <a:pt x="146" y="260"/>
                    </a:cubicBezTo>
                    <a:cubicBezTo>
                      <a:pt x="146" y="260"/>
                      <a:pt x="136" y="255"/>
                      <a:pt x="129" y="255"/>
                    </a:cubicBezTo>
                    <a:cubicBezTo>
                      <a:pt x="122" y="254"/>
                      <a:pt x="116" y="267"/>
                      <a:pt x="116" y="267"/>
                    </a:cubicBezTo>
                    <a:cubicBezTo>
                      <a:pt x="102" y="267"/>
                      <a:pt x="102" y="267"/>
                      <a:pt x="102" y="267"/>
                    </a:cubicBezTo>
                    <a:cubicBezTo>
                      <a:pt x="100" y="279"/>
                      <a:pt x="100" y="279"/>
                      <a:pt x="100" y="279"/>
                    </a:cubicBezTo>
                    <a:cubicBezTo>
                      <a:pt x="100" y="279"/>
                      <a:pt x="91" y="284"/>
                      <a:pt x="91" y="290"/>
                    </a:cubicBezTo>
                    <a:cubicBezTo>
                      <a:pt x="91" y="296"/>
                      <a:pt x="100" y="294"/>
                      <a:pt x="100" y="294"/>
                    </a:cubicBezTo>
                    <a:cubicBezTo>
                      <a:pt x="104" y="303"/>
                      <a:pt x="104" y="303"/>
                      <a:pt x="104" y="303"/>
                    </a:cubicBezTo>
                    <a:cubicBezTo>
                      <a:pt x="104" y="303"/>
                      <a:pt x="114" y="304"/>
                      <a:pt x="122" y="311"/>
                    </a:cubicBezTo>
                    <a:cubicBezTo>
                      <a:pt x="130" y="319"/>
                      <a:pt x="122" y="326"/>
                      <a:pt x="120" y="334"/>
                    </a:cubicBezTo>
                    <a:cubicBezTo>
                      <a:pt x="119" y="340"/>
                      <a:pt x="129" y="346"/>
                      <a:pt x="129" y="346"/>
                    </a:cubicBezTo>
                    <a:cubicBezTo>
                      <a:pt x="129" y="350"/>
                      <a:pt x="129" y="350"/>
                      <a:pt x="129" y="350"/>
                    </a:cubicBezTo>
                    <a:cubicBezTo>
                      <a:pt x="140" y="356"/>
                      <a:pt x="140" y="356"/>
                      <a:pt x="140" y="356"/>
                    </a:cubicBezTo>
                    <a:cubicBezTo>
                      <a:pt x="144" y="353"/>
                      <a:pt x="144" y="353"/>
                      <a:pt x="144" y="353"/>
                    </a:cubicBezTo>
                    <a:cubicBezTo>
                      <a:pt x="144" y="353"/>
                      <a:pt x="141" y="349"/>
                      <a:pt x="144" y="341"/>
                    </a:cubicBezTo>
                    <a:cubicBezTo>
                      <a:pt x="146" y="333"/>
                      <a:pt x="155" y="339"/>
                      <a:pt x="155" y="339"/>
                    </a:cubicBezTo>
                    <a:cubicBezTo>
                      <a:pt x="155" y="345"/>
                      <a:pt x="155" y="345"/>
                      <a:pt x="155" y="345"/>
                    </a:cubicBezTo>
                    <a:cubicBezTo>
                      <a:pt x="155" y="345"/>
                      <a:pt x="160" y="347"/>
                      <a:pt x="165" y="353"/>
                    </a:cubicBezTo>
                    <a:cubicBezTo>
                      <a:pt x="171" y="358"/>
                      <a:pt x="168" y="369"/>
                      <a:pt x="168" y="369"/>
                    </a:cubicBezTo>
                    <a:cubicBezTo>
                      <a:pt x="176" y="374"/>
                      <a:pt x="176" y="374"/>
                      <a:pt x="176" y="374"/>
                    </a:cubicBezTo>
                    <a:cubicBezTo>
                      <a:pt x="176" y="374"/>
                      <a:pt x="173" y="353"/>
                      <a:pt x="181" y="347"/>
                    </a:cubicBezTo>
                    <a:cubicBezTo>
                      <a:pt x="190" y="340"/>
                      <a:pt x="191" y="353"/>
                      <a:pt x="191" y="353"/>
                    </a:cubicBezTo>
                    <a:cubicBezTo>
                      <a:pt x="210" y="368"/>
                      <a:pt x="210" y="368"/>
                      <a:pt x="210" y="368"/>
                    </a:cubicBezTo>
                    <a:cubicBezTo>
                      <a:pt x="213" y="366"/>
                      <a:pt x="213" y="366"/>
                      <a:pt x="213" y="366"/>
                    </a:cubicBezTo>
                    <a:cubicBezTo>
                      <a:pt x="205" y="353"/>
                      <a:pt x="205" y="353"/>
                      <a:pt x="205" y="353"/>
                    </a:cubicBezTo>
                    <a:cubicBezTo>
                      <a:pt x="205" y="346"/>
                      <a:pt x="205" y="346"/>
                      <a:pt x="205" y="346"/>
                    </a:cubicBezTo>
                    <a:cubicBezTo>
                      <a:pt x="192" y="325"/>
                      <a:pt x="192" y="325"/>
                      <a:pt x="192" y="325"/>
                    </a:cubicBezTo>
                    <a:cubicBezTo>
                      <a:pt x="191" y="317"/>
                      <a:pt x="191" y="317"/>
                      <a:pt x="191" y="317"/>
                    </a:cubicBezTo>
                    <a:cubicBezTo>
                      <a:pt x="179" y="299"/>
                      <a:pt x="179" y="299"/>
                      <a:pt x="179" y="299"/>
                    </a:cubicBezTo>
                    <a:cubicBezTo>
                      <a:pt x="200" y="303"/>
                      <a:pt x="200" y="303"/>
                      <a:pt x="200" y="303"/>
                    </a:cubicBezTo>
                    <a:cubicBezTo>
                      <a:pt x="197" y="309"/>
                      <a:pt x="197" y="309"/>
                      <a:pt x="197" y="309"/>
                    </a:cubicBezTo>
                    <a:cubicBezTo>
                      <a:pt x="206" y="311"/>
                      <a:pt x="206" y="311"/>
                      <a:pt x="206" y="311"/>
                    </a:cubicBezTo>
                    <a:cubicBezTo>
                      <a:pt x="211" y="303"/>
                      <a:pt x="211" y="303"/>
                      <a:pt x="211" y="303"/>
                    </a:cubicBezTo>
                    <a:cubicBezTo>
                      <a:pt x="216" y="304"/>
                      <a:pt x="216" y="304"/>
                      <a:pt x="216" y="304"/>
                    </a:cubicBezTo>
                    <a:cubicBezTo>
                      <a:pt x="221" y="296"/>
                      <a:pt x="221" y="296"/>
                      <a:pt x="221" y="296"/>
                    </a:cubicBezTo>
                    <a:cubicBezTo>
                      <a:pt x="216" y="296"/>
                      <a:pt x="216" y="296"/>
                      <a:pt x="216" y="296"/>
                    </a:cubicBezTo>
                    <a:cubicBezTo>
                      <a:pt x="211" y="287"/>
                      <a:pt x="211" y="287"/>
                      <a:pt x="211" y="287"/>
                    </a:cubicBezTo>
                    <a:cubicBezTo>
                      <a:pt x="211" y="287"/>
                      <a:pt x="205" y="291"/>
                      <a:pt x="202" y="289"/>
                    </a:cubicBezTo>
                    <a:cubicBezTo>
                      <a:pt x="197" y="286"/>
                      <a:pt x="202" y="284"/>
                      <a:pt x="202" y="280"/>
                    </a:cubicBezTo>
                    <a:cubicBezTo>
                      <a:pt x="202" y="276"/>
                      <a:pt x="194" y="277"/>
                      <a:pt x="192" y="275"/>
                    </a:cubicBezTo>
                    <a:cubicBezTo>
                      <a:pt x="190" y="274"/>
                      <a:pt x="196" y="272"/>
                      <a:pt x="196" y="272"/>
                    </a:cubicBezTo>
                    <a:cubicBezTo>
                      <a:pt x="208" y="267"/>
                      <a:pt x="208" y="267"/>
                      <a:pt x="208" y="267"/>
                    </a:cubicBezTo>
                    <a:cubicBezTo>
                      <a:pt x="219" y="260"/>
                      <a:pt x="219" y="260"/>
                      <a:pt x="219" y="260"/>
                    </a:cubicBezTo>
                    <a:cubicBezTo>
                      <a:pt x="220" y="265"/>
                      <a:pt x="220" y="265"/>
                      <a:pt x="220" y="265"/>
                    </a:cubicBezTo>
                    <a:cubicBezTo>
                      <a:pt x="226" y="265"/>
                      <a:pt x="226" y="265"/>
                      <a:pt x="226" y="265"/>
                    </a:cubicBezTo>
                    <a:cubicBezTo>
                      <a:pt x="226" y="265"/>
                      <a:pt x="239" y="279"/>
                      <a:pt x="245" y="282"/>
                    </a:cubicBezTo>
                    <a:cubicBezTo>
                      <a:pt x="251" y="284"/>
                      <a:pt x="253" y="275"/>
                      <a:pt x="253" y="275"/>
                    </a:cubicBezTo>
                    <a:close/>
                    <a:moveTo>
                      <a:pt x="247" y="72"/>
                    </a:moveTo>
                    <a:cubicBezTo>
                      <a:pt x="234" y="72"/>
                      <a:pt x="238" y="86"/>
                      <a:pt x="247" y="87"/>
                    </a:cubicBezTo>
                    <a:cubicBezTo>
                      <a:pt x="258" y="88"/>
                      <a:pt x="262" y="72"/>
                      <a:pt x="247" y="72"/>
                    </a:cubicBezTo>
                    <a:close/>
                    <a:moveTo>
                      <a:pt x="288" y="89"/>
                    </a:moveTo>
                    <a:cubicBezTo>
                      <a:pt x="288" y="89"/>
                      <a:pt x="293" y="91"/>
                      <a:pt x="296" y="94"/>
                    </a:cubicBezTo>
                    <a:cubicBezTo>
                      <a:pt x="300" y="96"/>
                      <a:pt x="303" y="89"/>
                      <a:pt x="298" y="84"/>
                    </a:cubicBezTo>
                    <a:cubicBezTo>
                      <a:pt x="292" y="79"/>
                      <a:pt x="288" y="89"/>
                      <a:pt x="288" y="89"/>
                    </a:cubicBezTo>
                    <a:close/>
                    <a:moveTo>
                      <a:pt x="274" y="125"/>
                    </a:moveTo>
                    <a:cubicBezTo>
                      <a:pt x="276" y="133"/>
                      <a:pt x="276" y="133"/>
                      <a:pt x="276" y="133"/>
                    </a:cubicBezTo>
                    <a:cubicBezTo>
                      <a:pt x="285" y="134"/>
                      <a:pt x="285" y="134"/>
                      <a:pt x="285" y="134"/>
                    </a:cubicBezTo>
                    <a:cubicBezTo>
                      <a:pt x="285" y="129"/>
                      <a:pt x="285" y="129"/>
                      <a:pt x="285" y="129"/>
                    </a:cubicBezTo>
                    <a:cubicBezTo>
                      <a:pt x="285" y="129"/>
                      <a:pt x="288" y="134"/>
                      <a:pt x="291" y="134"/>
                    </a:cubicBezTo>
                    <a:cubicBezTo>
                      <a:pt x="294" y="135"/>
                      <a:pt x="290" y="127"/>
                      <a:pt x="290" y="127"/>
                    </a:cubicBezTo>
                    <a:cubicBezTo>
                      <a:pt x="293" y="116"/>
                      <a:pt x="293" y="116"/>
                      <a:pt x="293" y="116"/>
                    </a:cubicBezTo>
                    <a:cubicBezTo>
                      <a:pt x="291" y="116"/>
                      <a:pt x="291" y="116"/>
                      <a:pt x="291" y="116"/>
                    </a:cubicBezTo>
                    <a:cubicBezTo>
                      <a:pt x="287" y="122"/>
                      <a:pt x="287" y="122"/>
                      <a:pt x="287" y="122"/>
                    </a:cubicBezTo>
                    <a:cubicBezTo>
                      <a:pt x="287" y="122"/>
                      <a:pt x="278" y="118"/>
                      <a:pt x="274" y="125"/>
                    </a:cubicBezTo>
                    <a:close/>
                    <a:moveTo>
                      <a:pt x="322" y="160"/>
                    </a:moveTo>
                    <a:cubicBezTo>
                      <a:pt x="322" y="168"/>
                      <a:pt x="322" y="168"/>
                      <a:pt x="322" y="168"/>
                    </a:cubicBezTo>
                    <a:cubicBezTo>
                      <a:pt x="334" y="173"/>
                      <a:pt x="334" y="173"/>
                      <a:pt x="334" y="173"/>
                    </a:cubicBezTo>
                    <a:cubicBezTo>
                      <a:pt x="339" y="168"/>
                      <a:pt x="339" y="168"/>
                      <a:pt x="339" y="168"/>
                    </a:cubicBezTo>
                    <a:cubicBezTo>
                      <a:pt x="337" y="172"/>
                      <a:pt x="337" y="172"/>
                      <a:pt x="337" y="172"/>
                    </a:cubicBezTo>
                    <a:cubicBezTo>
                      <a:pt x="340" y="177"/>
                      <a:pt x="340" y="177"/>
                      <a:pt x="340" y="177"/>
                    </a:cubicBezTo>
                    <a:cubicBezTo>
                      <a:pt x="353" y="176"/>
                      <a:pt x="353" y="176"/>
                      <a:pt x="353" y="176"/>
                    </a:cubicBezTo>
                    <a:cubicBezTo>
                      <a:pt x="353" y="176"/>
                      <a:pt x="361" y="172"/>
                      <a:pt x="361" y="166"/>
                    </a:cubicBezTo>
                    <a:cubicBezTo>
                      <a:pt x="361" y="161"/>
                      <a:pt x="350" y="157"/>
                      <a:pt x="350" y="157"/>
                    </a:cubicBezTo>
                    <a:cubicBezTo>
                      <a:pt x="350" y="157"/>
                      <a:pt x="348" y="150"/>
                      <a:pt x="343" y="151"/>
                    </a:cubicBezTo>
                    <a:cubicBezTo>
                      <a:pt x="338" y="152"/>
                      <a:pt x="336" y="157"/>
                      <a:pt x="336" y="157"/>
                    </a:cubicBezTo>
                    <a:lnTo>
                      <a:pt x="322" y="160"/>
                    </a:lnTo>
                    <a:close/>
                    <a:moveTo>
                      <a:pt x="274" y="154"/>
                    </a:moveTo>
                    <a:cubicBezTo>
                      <a:pt x="274" y="162"/>
                      <a:pt x="277" y="161"/>
                      <a:pt x="279" y="156"/>
                    </a:cubicBezTo>
                    <a:cubicBezTo>
                      <a:pt x="280" y="149"/>
                      <a:pt x="275" y="149"/>
                      <a:pt x="274" y="154"/>
                    </a:cubicBezTo>
                    <a:close/>
                    <a:moveTo>
                      <a:pt x="214" y="193"/>
                    </a:moveTo>
                    <a:cubicBezTo>
                      <a:pt x="221" y="191"/>
                      <a:pt x="221" y="191"/>
                      <a:pt x="221" y="191"/>
                    </a:cubicBezTo>
                    <a:cubicBezTo>
                      <a:pt x="208" y="184"/>
                      <a:pt x="208" y="184"/>
                      <a:pt x="208" y="184"/>
                    </a:cubicBezTo>
                    <a:lnTo>
                      <a:pt x="214" y="193"/>
                    </a:lnTo>
                    <a:close/>
                    <a:moveTo>
                      <a:pt x="202" y="191"/>
                    </a:moveTo>
                    <a:cubicBezTo>
                      <a:pt x="206" y="188"/>
                      <a:pt x="206" y="188"/>
                      <a:pt x="206" y="188"/>
                    </a:cubicBezTo>
                    <a:cubicBezTo>
                      <a:pt x="202" y="185"/>
                      <a:pt x="202" y="185"/>
                      <a:pt x="202" y="185"/>
                    </a:cubicBezTo>
                    <a:cubicBezTo>
                      <a:pt x="197" y="190"/>
                      <a:pt x="197" y="190"/>
                      <a:pt x="197" y="190"/>
                    </a:cubicBezTo>
                    <a:lnTo>
                      <a:pt x="202" y="191"/>
                    </a:lnTo>
                    <a:close/>
                    <a:moveTo>
                      <a:pt x="222" y="185"/>
                    </a:moveTo>
                    <a:cubicBezTo>
                      <a:pt x="225" y="186"/>
                      <a:pt x="225" y="186"/>
                      <a:pt x="225" y="186"/>
                    </a:cubicBezTo>
                    <a:cubicBezTo>
                      <a:pt x="228" y="180"/>
                      <a:pt x="228" y="180"/>
                      <a:pt x="228" y="180"/>
                    </a:cubicBezTo>
                    <a:cubicBezTo>
                      <a:pt x="224" y="179"/>
                      <a:pt x="224" y="179"/>
                      <a:pt x="224" y="179"/>
                    </a:cubicBezTo>
                    <a:lnTo>
                      <a:pt x="222" y="185"/>
                    </a:lnTo>
                    <a:close/>
                    <a:moveTo>
                      <a:pt x="236" y="193"/>
                    </a:moveTo>
                    <a:cubicBezTo>
                      <a:pt x="240" y="195"/>
                      <a:pt x="240" y="189"/>
                      <a:pt x="236" y="189"/>
                    </a:cubicBezTo>
                    <a:cubicBezTo>
                      <a:pt x="231" y="189"/>
                      <a:pt x="230" y="192"/>
                      <a:pt x="236" y="193"/>
                    </a:cubicBezTo>
                    <a:close/>
                    <a:moveTo>
                      <a:pt x="268" y="198"/>
                    </a:moveTo>
                    <a:cubicBezTo>
                      <a:pt x="262" y="200"/>
                      <a:pt x="262" y="200"/>
                      <a:pt x="262" y="200"/>
                    </a:cubicBezTo>
                    <a:cubicBezTo>
                      <a:pt x="255" y="191"/>
                      <a:pt x="255" y="191"/>
                      <a:pt x="255" y="191"/>
                    </a:cubicBezTo>
                    <a:cubicBezTo>
                      <a:pt x="252" y="198"/>
                      <a:pt x="252" y="198"/>
                      <a:pt x="252" y="198"/>
                    </a:cubicBezTo>
                    <a:cubicBezTo>
                      <a:pt x="260" y="206"/>
                      <a:pt x="260" y="206"/>
                      <a:pt x="260" y="206"/>
                    </a:cubicBezTo>
                    <a:lnTo>
                      <a:pt x="268" y="198"/>
                    </a:lnTo>
                    <a:close/>
                    <a:moveTo>
                      <a:pt x="350" y="220"/>
                    </a:moveTo>
                    <a:cubicBezTo>
                      <a:pt x="350" y="213"/>
                      <a:pt x="343" y="203"/>
                      <a:pt x="343" y="203"/>
                    </a:cubicBezTo>
                    <a:cubicBezTo>
                      <a:pt x="329" y="208"/>
                      <a:pt x="329" y="208"/>
                      <a:pt x="329" y="208"/>
                    </a:cubicBezTo>
                    <a:cubicBezTo>
                      <a:pt x="333" y="213"/>
                      <a:pt x="333" y="213"/>
                      <a:pt x="333" y="213"/>
                    </a:cubicBezTo>
                    <a:cubicBezTo>
                      <a:pt x="333" y="213"/>
                      <a:pt x="337" y="216"/>
                      <a:pt x="339" y="220"/>
                    </a:cubicBezTo>
                    <a:cubicBezTo>
                      <a:pt x="341" y="222"/>
                      <a:pt x="334" y="227"/>
                      <a:pt x="334" y="227"/>
                    </a:cubicBezTo>
                    <a:cubicBezTo>
                      <a:pt x="343" y="233"/>
                      <a:pt x="343" y="233"/>
                      <a:pt x="343" y="233"/>
                    </a:cubicBezTo>
                    <a:cubicBezTo>
                      <a:pt x="343" y="233"/>
                      <a:pt x="350" y="225"/>
                      <a:pt x="350" y="220"/>
                    </a:cubicBezTo>
                    <a:close/>
                    <a:moveTo>
                      <a:pt x="318" y="206"/>
                    </a:moveTo>
                    <a:cubicBezTo>
                      <a:pt x="315" y="207"/>
                      <a:pt x="315" y="207"/>
                      <a:pt x="315" y="207"/>
                    </a:cubicBezTo>
                    <a:cubicBezTo>
                      <a:pt x="317" y="213"/>
                      <a:pt x="317" y="213"/>
                      <a:pt x="317" y="213"/>
                    </a:cubicBezTo>
                    <a:cubicBezTo>
                      <a:pt x="319" y="211"/>
                      <a:pt x="319" y="211"/>
                      <a:pt x="319" y="211"/>
                    </a:cubicBezTo>
                    <a:lnTo>
                      <a:pt x="318" y="206"/>
                    </a:lnTo>
                    <a:close/>
                    <a:moveTo>
                      <a:pt x="355" y="207"/>
                    </a:moveTo>
                    <a:cubicBezTo>
                      <a:pt x="348" y="205"/>
                      <a:pt x="348" y="205"/>
                      <a:pt x="348" y="205"/>
                    </a:cubicBezTo>
                    <a:cubicBezTo>
                      <a:pt x="350" y="208"/>
                      <a:pt x="350" y="208"/>
                      <a:pt x="350" y="208"/>
                    </a:cubicBezTo>
                    <a:lnTo>
                      <a:pt x="355" y="207"/>
                    </a:lnTo>
                    <a:close/>
                    <a:moveTo>
                      <a:pt x="295" y="267"/>
                    </a:moveTo>
                    <a:cubicBezTo>
                      <a:pt x="292" y="263"/>
                      <a:pt x="292" y="263"/>
                      <a:pt x="292" y="263"/>
                    </a:cubicBezTo>
                    <a:cubicBezTo>
                      <a:pt x="294" y="262"/>
                      <a:pt x="294" y="262"/>
                      <a:pt x="294" y="262"/>
                    </a:cubicBezTo>
                    <a:cubicBezTo>
                      <a:pt x="290" y="255"/>
                      <a:pt x="290" y="255"/>
                      <a:pt x="290" y="255"/>
                    </a:cubicBezTo>
                    <a:cubicBezTo>
                      <a:pt x="286" y="255"/>
                      <a:pt x="286" y="255"/>
                      <a:pt x="286" y="255"/>
                    </a:cubicBezTo>
                    <a:cubicBezTo>
                      <a:pt x="282" y="249"/>
                      <a:pt x="282" y="249"/>
                      <a:pt x="282" y="249"/>
                    </a:cubicBezTo>
                    <a:cubicBezTo>
                      <a:pt x="276" y="257"/>
                      <a:pt x="276" y="257"/>
                      <a:pt x="276" y="257"/>
                    </a:cubicBezTo>
                    <a:cubicBezTo>
                      <a:pt x="292" y="271"/>
                      <a:pt x="292" y="271"/>
                      <a:pt x="292" y="271"/>
                    </a:cubicBezTo>
                    <a:lnTo>
                      <a:pt x="295" y="267"/>
                    </a:lnTo>
                    <a:close/>
                    <a:moveTo>
                      <a:pt x="295" y="273"/>
                    </a:moveTo>
                    <a:cubicBezTo>
                      <a:pt x="301" y="276"/>
                      <a:pt x="301" y="276"/>
                      <a:pt x="301" y="276"/>
                    </a:cubicBezTo>
                    <a:cubicBezTo>
                      <a:pt x="302" y="278"/>
                      <a:pt x="302" y="278"/>
                      <a:pt x="302" y="278"/>
                    </a:cubicBezTo>
                    <a:cubicBezTo>
                      <a:pt x="309" y="275"/>
                      <a:pt x="309" y="275"/>
                      <a:pt x="309" y="275"/>
                    </a:cubicBezTo>
                    <a:cubicBezTo>
                      <a:pt x="308" y="271"/>
                      <a:pt x="308" y="271"/>
                      <a:pt x="308" y="271"/>
                    </a:cubicBezTo>
                    <a:cubicBezTo>
                      <a:pt x="296" y="271"/>
                      <a:pt x="296" y="271"/>
                      <a:pt x="296" y="271"/>
                    </a:cubicBezTo>
                    <a:lnTo>
                      <a:pt x="295" y="273"/>
                    </a:lnTo>
                    <a:close/>
                    <a:moveTo>
                      <a:pt x="298" y="288"/>
                    </a:moveTo>
                    <a:cubicBezTo>
                      <a:pt x="293" y="282"/>
                      <a:pt x="293" y="282"/>
                      <a:pt x="293" y="282"/>
                    </a:cubicBezTo>
                    <a:cubicBezTo>
                      <a:pt x="291" y="282"/>
                      <a:pt x="291" y="282"/>
                      <a:pt x="291" y="282"/>
                    </a:cubicBezTo>
                    <a:cubicBezTo>
                      <a:pt x="291" y="290"/>
                      <a:pt x="291" y="290"/>
                      <a:pt x="291" y="290"/>
                    </a:cubicBezTo>
                    <a:lnTo>
                      <a:pt x="298" y="288"/>
                    </a:lnTo>
                    <a:close/>
                    <a:moveTo>
                      <a:pt x="284" y="273"/>
                    </a:moveTo>
                    <a:cubicBezTo>
                      <a:pt x="278" y="278"/>
                      <a:pt x="278" y="278"/>
                      <a:pt x="278" y="278"/>
                    </a:cubicBezTo>
                    <a:cubicBezTo>
                      <a:pt x="285" y="279"/>
                      <a:pt x="285" y="279"/>
                      <a:pt x="285" y="279"/>
                    </a:cubicBezTo>
                    <a:lnTo>
                      <a:pt x="284" y="273"/>
                    </a:lnTo>
                    <a:close/>
                    <a:moveTo>
                      <a:pt x="315" y="278"/>
                    </a:moveTo>
                    <a:cubicBezTo>
                      <a:pt x="311" y="283"/>
                      <a:pt x="311" y="283"/>
                      <a:pt x="311" y="283"/>
                    </a:cubicBezTo>
                    <a:cubicBezTo>
                      <a:pt x="316" y="283"/>
                      <a:pt x="316" y="283"/>
                      <a:pt x="316" y="283"/>
                    </a:cubicBezTo>
                    <a:cubicBezTo>
                      <a:pt x="322" y="278"/>
                      <a:pt x="322" y="278"/>
                      <a:pt x="322" y="278"/>
                    </a:cubicBezTo>
                    <a:lnTo>
                      <a:pt x="315" y="278"/>
                    </a:lnTo>
                    <a:close/>
                    <a:moveTo>
                      <a:pt x="322" y="310"/>
                    </a:moveTo>
                    <a:cubicBezTo>
                      <a:pt x="324" y="314"/>
                      <a:pt x="327" y="316"/>
                      <a:pt x="327" y="316"/>
                    </a:cubicBezTo>
                    <a:cubicBezTo>
                      <a:pt x="333" y="307"/>
                      <a:pt x="333" y="307"/>
                      <a:pt x="333" y="307"/>
                    </a:cubicBezTo>
                    <a:cubicBezTo>
                      <a:pt x="335" y="300"/>
                      <a:pt x="335" y="300"/>
                      <a:pt x="335" y="300"/>
                    </a:cubicBezTo>
                    <a:cubicBezTo>
                      <a:pt x="326" y="295"/>
                      <a:pt x="326" y="295"/>
                      <a:pt x="326" y="295"/>
                    </a:cubicBezTo>
                    <a:cubicBezTo>
                      <a:pt x="320" y="305"/>
                      <a:pt x="320" y="305"/>
                      <a:pt x="320" y="305"/>
                    </a:cubicBezTo>
                    <a:cubicBezTo>
                      <a:pt x="320" y="305"/>
                      <a:pt x="319" y="307"/>
                      <a:pt x="322" y="310"/>
                    </a:cubicBezTo>
                    <a:close/>
                    <a:moveTo>
                      <a:pt x="310" y="303"/>
                    </a:moveTo>
                    <a:cubicBezTo>
                      <a:pt x="310" y="303"/>
                      <a:pt x="308" y="305"/>
                      <a:pt x="308" y="307"/>
                    </a:cubicBezTo>
                    <a:cubicBezTo>
                      <a:pt x="307" y="310"/>
                      <a:pt x="310" y="316"/>
                      <a:pt x="312" y="314"/>
                    </a:cubicBezTo>
                    <a:cubicBezTo>
                      <a:pt x="316" y="310"/>
                      <a:pt x="317" y="303"/>
                      <a:pt x="317" y="303"/>
                    </a:cubicBezTo>
                    <a:lnTo>
                      <a:pt x="310" y="303"/>
                    </a:lnTo>
                    <a:close/>
                    <a:moveTo>
                      <a:pt x="306" y="309"/>
                    </a:moveTo>
                    <a:cubicBezTo>
                      <a:pt x="302" y="315"/>
                      <a:pt x="302" y="315"/>
                      <a:pt x="302" y="315"/>
                    </a:cubicBezTo>
                    <a:cubicBezTo>
                      <a:pt x="307" y="316"/>
                      <a:pt x="307" y="316"/>
                      <a:pt x="307" y="316"/>
                    </a:cubicBezTo>
                    <a:lnTo>
                      <a:pt x="306" y="309"/>
                    </a:lnTo>
                    <a:close/>
                    <a:moveTo>
                      <a:pt x="290" y="320"/>
                    </a:moveTo>
                    <a:cubicBezTo>
                      <a:pt x="290" y="320"/>
                      <a:pt x="290" y="318"/>
                      <a:pt x="288" y="316"/>
                    </a:cubicBezTo>
                    <a:cubicBezTo>
                      <a:pt x="285" y="314"/>
                      <a:pt x="283" y="316"/>
                      <a:pt x="283" y="316"/>
                    </a:cubicBezTo>
                    <a:cubicBezTo>
                      <a:pt x="288" y="323"/>
                      <a:pt x="288" y="323"/>
                      <a:pt x="288" y="323"/>
                    </a:cubicBezTo>
                    <a:lnTo>
                      <a:pt x="290" y="320"/>
                    </a:lnTo>
                    <a:close/>
                    <a:moveTo>
                      <a:pt x="271" y="311"/>
                    </a:moveTo>
                    <a:cubicBezTo>
                      <a:pt x="274" y="311"/>
                      <a:pt x="274" y="311"/>
                      <a:pt x="274" y="311"/>
                    </a:cubicBezTo>
                    <a:cubicBezTo>
                      <a:pt x="277" y="307"/>
                      <a:pt x="277" y="307"/>
                      <a:pt x="277" y="307"/>
                    </a:cubicBezTo>
                    <a:cubicBezTo>
                      <a:pt x="275" y="304"/>
                      <a:pt x="275" y="304"/>
                      <a:pt x="275" y="304"/>
                    </a:cubicBezTo>
                    <a:cubicBezTo>
                      <a:pt x="272" y="306"/>
                      <a:pt x="272" y="306"/>
                      <a:pt x="272" y="306"/>
                    </a:cubicBezTo>
                    <a:lnTo>
                      <a:pt x="271" y="311"/>
                    </a:lnTo>
                    <a:close/>
                    <a:moveTo>
                      <a:pt x="270" y="294"/>
                    </a:moveTo>
                    <a:cubicBezTo>
                      <a:pt x="271" y="290"/>
                      <a:pt x="270" y="288"/>
                      <a:pt x="270" y="288"/>
                    </a:cubicBezTo>
                    <a:cubicBezTo>
                      <a:pt x="266" y="290"/>
                      <a:pt x="266" y="290"/>
                      <a:pt x="266" y="290"/>
                    </a:cubicBezTo>
                    <a:cubicBezTo>
                      <a:pt x="266" y="296"/>
                      <a:pt x="266" y="296"/>
                      <a:pt x="266" y="296"/>
                    </a:cubicBezTo>
                    <a:cubicBezTo>
                      <a:pt x="267" y="301"/>
                      <a:pt x="267" y="301"/>
                      <a:pt x="267" y="301"/>
                    </a:cubicBezTo>
                    <a:cubicBezTo>
                      <a:pt x="267" y="301"/>
                      <a:pt x="270" y="300"/>
                      <a:pt x="270" y="294"/>
                    </a:cubicBezTo>
                    <a:close/>
                    <a:moveTo>
                      <a:pt x="260" y="275"/>
                    </a:moveTo>
                    <a:cubicBezTo>
                      <a:pt x="259" y="287"/>
                      <a:pt x="259" y="287"/>
                      <a:pt x="259" y="287"/>
                    </a:cubicBezTo>
                    <a:cubicBezTo>
                      <a:pt x="267" y="276"/>
                      <a:pt x="267" y="276"/>
                      <a:pt x="267" y="276"/>
                    </a:cubicBezTo>
                    <a:lnTo>
                      <a:pt x="260" y="275"/>
                    </a:lnTo>
                    <a:close/>
                    <a:moveTo>
                      <a:pt x="366" y="261"/>
                    </a:moveTo>
                    <a:cubicBezTo>
                      <a:pt x="367" y="258"/>
                      <a:pt x="367" y="258"/>
                      <a:pt x="367" y="258"/>
                    </a:cubicBezTo>
                    <a:cubicBezTo>
                      <a:pt x="359" y="262"/>
                      <a:pt x="359" y="262"/>
                      <a:pt x="359" y="262"/>
                    </a:cubicBezTo>
                    <a:cubicBezTo>
                      <a:pt x="359" y="262"/>
                      <a:pt x="356" y="257"/>
                      <a:pt x="352" y="262"/>
                    </a:cubicBezTo>
                    <a:cubicBezTo>
                      <a:pt x="348" y="269"/>
                      <a:pt x="351" y="274"/>
                      <a:pt x="351" y="274"/>
                    </a:cubicBezTo>
                    <a:cubicBezTo>
                      <a:pt x="358" y="269"/>
                      <a:pt x="358" y="269"/>
                      <a:pt x="358" y="269"/>
                    </a:cubicBezTo>
                    <a:cubicBezTo>
                      <a:pt x="362" y="269"/>
                      <a:pt x="362" y="269"/>
                      <a:pt x="362" y="269"/>
                    </a:cubicBezTo>
                    <a:lnTo>
                      <a:pt x="366" y="261"/>
                    </a:lnTo>
                    <a:close/>
                    <a:moveTo>
                      <a:pt x="381" y="255"/>
                    </a:moveTo>
                    <a:cubicBezTo>
                      <a:pt x="384" y="253"/>
                      <a:pt x="384" y="253"/>
                      <a:pt x="384" y="253"/>
                    </a:cubicBezTo>
                    <a:cubicBezTo>
                      <a:pt x="384" y="253"/>
                      <a:pt x="390" y="258"/>
                      <a:pt x="393" y="257"/>
                    </a:cubicBezTo>
                    <a:cubicBezTo>
                      <a:pt x="396" y="256"/>
                      <a:pt x="401" y="249"/>
                      <a:pt x="401" y="249"/>
                    </a:cubicBezTo>
                    <a:cubicBezTo>
                      <a:pt x="402" y="244"/>
                      <a:pt x="402" y="244"/>
                      <a:pt x="402" y="244"/>
                    </a:cubicBezTo>
                    <a:cubicBezTo>
                      <a:pt x="398" y="244"/>
                      <a:pt x="398" y="244"/>
                      <a:pt x="398" y="244"/>
                    </a:cubicBezTo>
                    <a:cubicBezTo>
                      <a:pt x="398" y="246"/>
                      <a:pt x="398" y="246"/>
                      <a:pt x="398" y="246"/>
                    </a:cubicBezTo>
                    <a:cubicBezTo>
                      <a:pt x="398" y="246"/>
                      <a:pt x="393" y="242"/>
                      <a:pt x="387" y="245"/>
                    </a:cubicBezTo>
                    <a:cubicBezTo>
                      <a:pt x="381" y="248"/>
                      <a:pt x="376" y="252"/>
                      <a:pt x="376" y="252"/>
                    </a:cubicBezTo>
                    <a:cubicBezTo>
                      <a:pt x="377" y="257"/>
                      <a:pt x="377" y="257"/>
                      <a:pt x="377" y="257"/>
                    </a:cubicBezTo>
                    <a:lnTo>
                      <a:pt x="381" y="255"/>
                    </a:lnTo>
                    <a:close/>
                    <a:moveTo>
                      <a:pt x="373" y="258"/>
                    </a:moveTo>
                    <a:cubicBezTo>
                      <a:pt x="370" y="263"/>
                      <a:pt x="370" y="263"/>
                      <a:pt x="370" y="263"/>
                    </a:cubicBezTo>
                    <a:cubicBezTo>
                      <a:pt x="376" y="264"/>
                      <a:pt x="376" y="264"/>
                      <a:pt x="376" y="264"/>
                    </a:cubicBezTo>
                    <a:lnTo>
                      <a:pt x="373" y="258"/>
                    </a:lnTo>
                    <a:close/>
                    <a:moveTo>
                      <a:pt x="377" y="276"/>
                    </a:moveTo>
                    <a:cubicBezTo>
                      <a:pt x="382" y="284"/>
                      <a:pt x="382" y="284"/>
                      <a:pt x="382" y="284"/>
                    </a:cubicBezTo>
                    <a:cubicBezTo>
                      <a:pt x="382" y="274"/>
                      <a:pt x="382" y="274"/>
                      <a:pt x="382" y="274"/>
                    </a:cubicBezTo>
                    <a:lnTo>
                      <a:pt x="377" y="276"/>
                    </a:lnTo>
                    <a:close/>
                    <a:moveTo>
                      <a:pt x="398" y="264"/>
                    </a:moveTo>
                    <a:cubicBezTo>
                      <a:pt x="402" y="269"/>
                      <a:pt x="402" y="269"/>
                      <a:pt x="402" y="269"/>
                    </a:cubicBezTo>
                    <a:cubicBezTo>
                      <a:pt x="405" y="267"/>
                      <a:pt x="405" y="267"/>
                      <a:pt x="405" y="267"/>
                    </a:cubicBezTo>
                    <a:lnTo>
                      <a:pt x="398" y="264"/>
                    </a:lnTo>
                    <a:close/>
                    <a:moveTo>
                      <a:pt x="387" y="278"/>
                    </a:moveTo>
                    <a:cubicBezTo>
                      <a:pt x="393" y="278"/>
                      <a:pt x="393" y="278"/>
                      <a:pt x="393" y="278"/>
                    </a:cubicBezTo>
                    <a:cubicBezTo>
                      <a:pt x="396" y="276"/>
                      <a:pt x="396" y="276"/>
                      <a:pt x="396" y="276"/>
                    </a:cubicBezTo>
                    <a:cubicBezTo>
                      <a:pt x="387" y="276"/>
                      <a:pt x="387" y="276"/>
                      <a:pt x="387" y="276"/>
                    </a:cubicBezTo>
                    <a:lnTo>
                      <a:pt x="387" y="278"/>
                    </a:lnTo>
                    <a:close/>
                    <a:moveTo>
                      <a:pt x="393" y="285"/>
                    </a:moveTo>
                    <a:cubicBezTo>
                      <a:pt x="398" y="290"/>
                      <a:pt x="398" y="290"/>
                      <a:pt x="398" y="290"/>
                    </a:cubicBezTo>
                    <a:cubicBezTo>
                      <a:pt x="402" y="289"/>
                      <a:pt x="402" y="289"/>
                      <a:pt x="402" y="289"/>
                    </a:cubicBezTo>
                    <a:cubicBezTo>
                      <a:pt x="398" y="284"/>
                      <a:pt x="398" y="284"/>
                      <a:pt x="398" y="284"/>
                    </a:cubicBezTo>
                    <a:lnTo>
                      <a:pt x="393" y="285"/>
                    </a:lnTo>
                    <a:close/>
                    <a:moveTo>
                      <a:pt x="410" y="292"/>
                    </a:moveTo>
                    <a:cubicBezTo>
                      <a:pt x="403" y="292"/>
                      <a:pt x="403" y="292"/>
                      <a:pt x="403" y="292"/>
                    </a:cubicBezTo>
                    <a:cubicBezTo>
                      <a:pt x="405" y="300"/>
                      <a:pt x="405" y="300"/>
                      <a:pt x="405" y="300"/>
                    </a:cubicBezTo>
                    <a:cubicBezTo>
                      <a:pt x="413" y="299"/>
                      <a:pt x="413" y="299"/>
                      <a:pt x="413" y="299"/>
                    </a:cubicBezTo>
                    <a:lnTo>
                      <a:pt x="410" y="292"/>
                    </a:lnTo>
                    <a:close/>
                    <a:moveTo>
                      <a:pt x="430" y="301"/>
                    </a:moveTo>
                    <a:cubicBezTo>
                      <a:pt x="421" y="296"/>
                      <a:pt x="421" y="296"/>
                      <a:pt x="421" y="296"/>
                    </a:cubicBezTo>
                    <a:cubicBezTo>
                      <a:pt x="406" y="314"/>
                      <a:pt x="406" y="314"/>
                      <a:pt x="406" y="314"/>
                    </a:cubicBezTo>
                    <a:cubicBezTo>
                      <a:pt x="409" y="317"/>
                      <a:pt x="409" y="317"/>
                      <a:pt x="409" y="317"/>
                    </a:cubicBezTo>
                    <a:cubicBezTo>
                      <a:pt x="411" y="312"/>
                      <a:pt x="411" y="312"/>
                      <a:pt x="411" y="312"/>
                    </a:cubicBezTo>
                    <a:cubicBezTo>
                      <a:pt x="418" y="311"/>
                      <a:pt x="418" y="311"/>
                      <a:pt x="418" y="311"/>
                    </a:cubicBezTo>
                    <a:cubicBezTo>
                      <a:pt x="421" y="306"/>
                      <a:pt x="421" y="306"/>
                      <a:pt x="421" y="306"/>
                    </a:cubicBezTo>
                    <a:lnTo>
                      <a:pt x="430" y="301"/>
                    </a:lnTo>
                    <a:close/>
                    <a:moveTo>
                      <a:pt x="328" y="330"/>
                    </a:moveTo>
                    <a:cubicBezTo>
                      <a:pt x="319" y="322"/>
                      <a:pt x="319" y="322"/>
                      <a:pt x="319" y="322"/>
                    </a:cubicBezTo>
                    <a:cubicBezTo>
                      <a:pt x="319" y="329"/>
                      <a:pt x="319" y="329"/>
                      <a:pt x="319" y="329"/>
                    </a:cubicBezTo>
                    <a:cubicBezTo>
                      <a:pt x="326" y="333"/>
                      <a:pt x="326" y="333"/>
                      <a:pt x="326" y="333"/>
                    </a:cubicBezTo>
                    <a:lnTo>
                      <a:pt x="328" y="330"/>
                    </a:lnTo>
                    <a:close/>
                    <a:moveTo>
                      <a:pt x="354" y="306"/>
                    </a:moveTo>
                    <a:cubicBezTo>
                      <a:pt x="344" y="321"/>
                      <a:pt x="344" y="321"/>
                      <a:pt x="344" y="321"/>
                    </a:cubicBezTo>
                    <a:cubicBezTo>
                      <a:pt x="352" y="319"/>
                      <a:pt x="352" y="319"/>
                      <a:pt x="352" y="319"/>
                    </a:cubicBezTo>
                    <a:cubicBezTo>
                      <a:pt x="355" y="311"/>
                      <a:pt x="355" y="311"/>
                      <a:pt x="355" y="311"/>
                    </a:cubicBezTo>
                    <a:cubicBezTo>
                      <a:pt x="360" y="308"/>
                      <a:pt x="360" y="308"/>
                      <a:pt x="360" y="308"/>
                    </a:cubicBezTo>
                    <a:lnTo>
                      <a:pt x="354" y="306"/>
                    </a:lnTo>
                    <a:close/>
                    <a:moveTo>
                      <a:pt x="378" y="333"/>
                    </a:moveTo>
                    <a:cubicBezTo>
                      <a:pt x="386" y="323"/>
                      <a:pt x="386" y="323"/>
                      <a:pt x="386" y="323"/>
                    </a:cubicBezTo>
                    <a:cubicBezTo>
                      <a:pt x="383" y="321"/>
                      <a:pt x="383" y="321"/>
                      <a:pt x="383" y="321"/>
                    </a:cubicBezTo>
                    <a:cubicBezTo>
                      <a:pt x="375" y="326"/>
                      <a:pt x="375" y="326"/>
                      <a:pt x="375" y="326"/>
                    </a:cubicBezTo>
                    <a:lnTo>
                      <a:pt x="378" y="333"/>
                    </a:lnTo>
                    <a:close/>
                    <a:moveTo>
                      <a:pt x="231" y="176"/>
                    </a:moveTo>
                    <a:cubicBezTo>
                      <a:pt x="233" y="170"/>
                      <a:pt x="233" y="170"/>
                      <a:pt x="233" y="170"/>
                    </a:cubicBezTo>
                    <a:cubicBezTo>
                      <a:pt x="228" y="175"/>
                      <a:pt x="228" y="175"/>
                      <a:pt x="228" y="175"/>
                    </a:cubicBezTo>
                    <a:lnTo>
                      <a:pt x="231" y="176"/>
                    </a:lnTo>
                    <a:close/>
                    <a:moveTo>
                      <a:pt x="211" y="268"/>
                    </a:moveTo>
                    <a:cubicBezTo>
                      <a:pt x="213" y="272"/>
                      <a:pt x="213" y="272"/>
                      <a:pt x="213" y="272"/>
                    </a:cubicBezTo>
                    <a:cubicBezTo>
                      <a:pt x="218" y="269"/>
                      <a:pt x="218" y="269"/>
                      <a:pt x="218" y="269"/>
                    </a:cubicBezTo>
                    <a:cubicBezTo>
                      <a:pt x="216" y="263"/>
                      <a:pt x="216" y="263"/>
                      <a:pt x="216" y="263"/>
                    </a:cubicBezTo>
                    <a:lnTo>
                      <a:pt x="211" y="268"/>
                    </a:lnTo>
                    <a:close/>
                    <a:moveTo>
                      <a:pt x="222" y="278"/>
                    </a:moveTo>
                    <a:cubicBezTo>
                      <a:pt x="213" y="278"/>
                      <a:pt x="213" y="278"/>
                      <a:pt x="213" y="278"/>
                    </a:cubicBezTo>
                    <a:cubicBezTo>
                      <a:pt x="217" y="286"/>
                      <a:pt x="217" y="286"/>
                      <a:pt x="217" y="286"/>
                    </a:cubicBezTo>
                    <a:lnTo>
                      <a:pt x="222" y="278"/>
                    </a:lnTo>
                    <a:close/>
                    <a:moveTo>
                      <a:pt x="200" y="382"/>
                    </a:moveTo>
                    <a:cubicBezTo>
                      <a:pt x="209" y="386"/>
                      <a:pt x="209" y="386"/>
                      <a:pt x="209" y="386"/>
                    </a:cubicBezTo>
                    <a:cubicBezTo>
                      <a:pt x="210" y="379"/>
                      <a:pt x="210" y="379"/>
                      <a:pt x="210" y="379"/>
                    </a:cubicBezTo>
                    <a:cubicBezTo>
                      <a:pt x="201" y="372"/>
                      <a:pt x="201" y="372"/>
                      <a:pt x="201" y="372"/>
                    </a:cubicBezTo>
                    <a:lnTo>
                      <a:pt x="200" y="382"/>
                    </a:lnTo>
                    <a:close/>
                    <a:moveTo>
                      <a:pt x="283" y="333"/>
                    </a:moveTo>
                    <a:cubicBezTo>
                      <a:pt x="276" y="332"/>
                      <a:pt x="276" y="332"/>
                      <a:pt x="276" y="332"/>
                    </a:cubicBezTo>
                    <a:cubicBezTo>
                      <a:pt x="276" y="337"/>
                      <a:pt x="276" y="337"/>
                      <a:pt x="276" y="337"/>
                    </a:cubicBezTo>
                    <a:cubicBezTo>
                      <a:pt x="273" y="334"/>
                      <a:pt x="273" y="334"/>
                      <a:pt x="273" y="334"/>
                    </a:cubicBezTo>
                    <a:cubicBezTo>
                      <a:pt x="270" y="335"/>
                      <a:pt x="270" y="335"/>
                      <a:pt x="270" y="335"/>
                    </a:cubicBezTo>
                    <a:cubicBezTo>
                      <a:pt x="269" y="345"/>
                      <a:pt x="269" y="345"/>
                      <a:pt x="269" y="345"/>
                    </a:cubicBezTo>
                    <a:cubicBezTo>
                      <a:pt x="283" y="341"/>
                      <a:pt x="283" y="341"/>
                      <a:pt x="283" y="341"/>
                    </a:cubicBezTo>
                    <a:lnTo>
                      <a:pt x="283" y="333"/>
                    </a:lnTo>
                    <a:close/>
                    <a:moveTo>
                      <a:pt x="263" y="327"/>
                    </a:moveTo>
                    <a:cubicBezTo>
                      <a:pt x="259" y="331"/>
                      <a:pt x="259" y="331"/>
                      <a:pt x="259" y="331"/>
                    </a:cubicBezTo>
                    <a:cubicBezTo>
                      <a:pt x="266" y="335"/>
                      <a:pt x="266" y="335"/>
                      <a:pt x="266" y="335"/>
                    </a:cubicBezTo>
                    <a:lnTo>
                      <a:pt x="263" y="327"/>
                    </a:lnTo>
                    <a:close/>
                    <a:moveTo>
                      <a:pt x="311" y="327"/>
                    </a:moveTo>
                    <a:cubicBezTo>
                      <a:pt x="305" y="337"/>
                      <a:pt x="305" y="337"/>
                      <a:pt x="305" y="337"/>
                    </a:cubicBezTo>
                    <a:cubicBezTo>
                      <a:pt x="316" y="332"/>
                      <a:pt x="316" y="332"/>
                      <a:pt x="316" y="332"/>
                    </a:cubicBezTo>
                    <a:lnTo>
                      <a:pt x="311" y="327"/>
                    </a:lnTo>
                    <a:close/>
                    <a:moveTo>
                      <a:pt x="337" y="350"/>
                    </a:moveTo>
                    <a:cubicBezTo>
                      <a:pt x="331" y="340"/>
                      <a:pt x="331" y="340"/>
                      <a:pt x="331" y="340"/>
                    </a:cubicBezTo>
                    <a:cubicBezTo>
                      <a:pt x="325" y="343"/>
                      <a:pt x="325" y="343"/>
                      <a:pt x="325" y="343"/>
                    </a:cubicBezTo>
                    <a:cubicBezTo>
                      <a:pt x="329" y="352"/>
                      <a:pt x="329" y="352"/>
                      <a:pt x="329" y="352"/>
                    </a:cubicBezTo>
                    <a:lnTo>
                      <a:pt x="337" y="350"/>
                    </a:lnTo>
                    <a:close/>
                    <a:moveTo>
                      <a:pt x="349" y="349"/>
                    </a:moveTo>
                    <a:cubicBezTo>
                      <a:pt x="356" y="346"/>
                      <a:pt x="356" y="346"/>
                      <a:pt x="356" y="346"/>
                    </a:cubicBezTo>
                    <a:cubicBezTo>
                      <a:pt x="351" y="341"/>
                      <a:pt x="351" y="341"/>
                      <a:pt x="351" y="341"/>
                    </a:cubicBezTo>
                    <a:lnTo>
                      <a:pt x="349" y="349"/>
                    </a:lnTo>
                    <a:close/>
                    <a:moveTo>
                      <a:pt x="304" y="339"/>
                    </a:moveTo>
                    <a:cubicBezTo>
                      <a:pt x="298" y="335"/>
                      <a:pt x="298" y="335"/>
                      <a:pt x="298" y="335"/>
                    </a:cubicBezTo>
                    <a:cubicBezTo>
                      <a:pt x="296" y="337"/>
                      <a:pt x="296" y="337"/>
                      <a:pt x="296" y="337"/>
                    </a:cubicBezTo>
                    <a:cubicBezTo>
                      <a:pt x="303" y="342"/>
                      <a:pt x="303" y="342"/>
                      <a:pt x="303" y="342"/>
                    </a:cubicBezTo>
                    <a:lnTo>
                      <a:pt x="304" y="339"/>
                    </a:lnTo>
                    <a:close/>
                    <a:moveTo>
                      <a:pt x="63" y="291"/>
                    </a:moveTo>
                    <a:cubicBezTo>
                      <a:pt x="67" y="300"/>
                      <a:pt x="67" y="300"/>
                      <a:pt x="67" y="300"/>
                    </a:cubicBezTo>
                    <a:cubicBezTo>
                      <a:pt x="80" y="306"/>
                      <a:pt x="80" y="306"/>
                      <a:pt x="80" y="306"/>
                    </a:cubicBezTo>
                    <a:cubicBezTo>
                      <a:pt x="80" y="300"/>
                      <a:pt x="80" y="300"/>
                      <a:pt x="80" y="300"/>
                    </a:cubicBezTo>
                    <a:cubicBezTo>
                      <a:pt x="86" y="296"/>
                      <a:pt x="86" y="296"/>
                      <a:pt x="86" y="296"/>
                    </a:cubicBezTo>
                    <a:cubicBezTo>
                      <a:pt x="69" y="287"/>
                      <a:pt x="69" y="287"/>
                      <a:pt x="69" y="287"/>
                    </a:cubicBezTo>
                    <a:lnTo>
                      <a:pt x="63" y="291"/>
                    </a:lnTo>
                    <a:close/>
                    <a:moveTo>
                      <a:pt x="43" y="268"/>
                    </a:moveTo>
                    <a:cubicBezTo>
                      <a:pt x="44" y="273"/>
                      <a:pt x="44" y="273"/>
                      <a:pt x="44" y="273"/>
                    </a:cubicBezTo>
                    <a:cubicBezTo>
                      <a:pt x="47" y="274"/>
                      <a:pt x="47" y="274"/>
                      <a:pt x="47" y="274"/>
                    </a:cubicBezTo>
                    <a:cubicBezTo>
                      <a:pt x="48" y="263"/>
                      <a:pt x="48" y="263"/>
                      <a:pt x="48" y="263"/>
                    </a:cubicBezTo>
                    <a:cubicBezTo>
                      <a:pt x="47" y="260"/>
                      <a:pt x="47" y="260"/>
                      <a:pt x="47" y="260"/>
                    </a:cubicBezTo>
                    <a:lnTo>
                      <a:pt x="43" y="268"/>
                    </a:lnTo>
                    <a:close/>
                    <a:moveTo>
                      <a:pt x="69" y="279"/>
                    </a:moveTo>
                    <a:cubicBezTo>
                      <a:pt x="72" y="277"/>
                      <a:pt x="71" y="272"/>
                      <a:pt x="66" y="267"/>
                    </a:cubicBezTo>
                    <a:cubicBezTo>
                      <a:pt x="62" y="261"/>
                      <a:pt x="57" y="254"/>
                      <a:pt x="57" y="254"/>
                    </a:cubicBezTo>
                    <a:cubicBezTo>
                      <a:pt x="55" y="255"/>
                      <a:pt x="55" y="255"/>
                      <a:pt x="55" y="255"/>
                    </a:cubicBezTo>
                    <a:cubicBezTo>
                      <a:pt x="55" y="260"/>
                      <a:pt x="55" y="260"/>
                      <a:pt x="55" y="260"/>
                    </a:cubicBezTo>
                    <a:cubicBezTo>
                      <a:pt x="51" y="262"/>
                      <a:pt x="51" y="262"/>
                      <a:pt x="51" y="262"/>
                    </a:cubicBezTo>
                    <a:cubicBezTo>
                      <a:pt x="51" y="262"/>
                      <a:pt x="49" y="277"/>
                      <a:pt x="55" y="277"/>
                    </a:cubicBezTo>
                    <a:cubicBezTo>
                      <a:pt x="59" y="277"/>
                      <a:pt x="64" y="276"/>
                      <a:pt x="64" y="276"/>
                    </a:cubicBezTo>
                    <a:cubicBezTo>
                      <a:pt x="64" y="276"/>
                      <a:pt x="64" y="280"/>
                      <a:pt x="69" y="279"/>
                    </a:cubicBezTo>
                    <a:close/>
                    <a:moveTo>
                      <a:pt x="67" y="263"/>
                    </a:moveTo>
                    <a:cubicBezTo>
                      <a:pt x="71" y="264"/>
                      <a:pt x="74" y="267"/>
                      <a:pt x="74" y="267"/>
                    </a:cubicBezTo>
                    <a:cubicBezTo>
                      <a:pt x="74" y="267"/>
                      <a:pt x="76" y="264"/>
                      <a:pt x="72" y="260"/>
                    </a:cubicBezTo>
                    <a:cubicBezTo>
                      <a:pt x="69" y="257"/>
                      <a:pt x="66" y="251"/>
                      <a:pt x="66" y="251"/>
                    </a:cubicBezTo>
                    <a:cubicBezTo>
                      <a:pt x="62" y="252"/>
                      <a:pt x="62" y="252"/>
                      <a:pt x="62" y="252"/>
                    </a:cubicBezTo>
                    <a:cubicBezTo>
                      <a:pt x="62" y="252"/>
                      <a:pt x="64" y="261"/>
                      <a:pt x="67" y="263"/>
                    </a:cubicBezTo>
                    <a:close/>
                    <a:moveTo>
                      <a:pt x="18" y="190"/>
                    </a:moveTo>
                    <a:cubicBezTo>
                      <a:pt x="16" y="185"/>
                      <a:pt x="18" y="183"/>
                      <a:pt x="18" y="183"/>
                    </a:cubicBezTo>
                    <a:cubicBezTo>
                      <a:pt x="12" y="179"/>
                      <a:pt x="12" y="179"/>
                      <a:pt x="12" y="179"/>
                    </a:cubicBezTo>
                    <a:cubicBezTo>
                      <a:pt x="12" y="179"/>
                      <a:pt x="16" y="180"/>
                      <a:pt x="16" y="177"/>
                    </a:cubicBezTo>
                    <a:cubicBezTo>
                      <a:pt x="16" y="173"/>
                      <a:pt x="12" y="169"/>
                      <a:pt x="6" y="173"/>
                    </a:cubicBezTo>
                    <a:cubicBezTo>
                      <a:pt x="0" y="176"/>
                      <a:pt x="0" y="181"/>
                      <a:pt x="5" y="183"/>
                    </a:cubicBezTo>
                    <a:cubicBezTo>
                      <a:pt x="8" y="185"/>
                      <a:pt x="12" y="189"/>
                      <a:pt x="12" y="189"/>
                    </a:cubicBezTo>
                    <a:cubicBezTo>
                      <a:pt x="12" y="189"/>
                      <a:pt x="10" y="193"/>
                      <a:pt x="14" y="195"/>
                    </a:cubicBezTo>
                    <a:cubicBezTo>
                      <a:pt x="29" y="199"/>
                      <a:pt x="29" y="199"/>
                      <a:pt x="29" y="199"/>
                    </a:cubicBezTo>
                    <a:cubicBezTo>
                      <a:pt x="25" y="193"/>
                      <a:pt x="25" y="193"/>
                      <a:pt x="25" y="193"/>
                    </a:cubicBezTo>
                    <a:cubicBezTo>
                      <a:pt x="25" y="193"/>
                      <a:pt x="21" y="194"/>
                      <a:pt x="18" y="190"/>
                    </a:cubicBezTo>
                    <a:close/>
                    <a:moveTo>
                      <a:pt x="392" y="415"/>
                    </a:moveTo>
                    <a:cubicBezTo>
                      <a:pt x="392" y="415"/>
                      <a:pt x="393" y="410"/>
                      <a:pt x="392" y="409"/>
                    </a:cubicBezTo>
                    <a:cubicBezTo>
                      <a:pt x="390" y="409"/>
                      <a:pt x="385" y="418"/>
                      <a:pt x="385" y="418"/>
                    </a:cubicBezTo>
                    <a:cubicBezTo>
                      <a:pt x="385" y="418"/>
                      <a:pt x="383" y="416"/>
                      <a:pt x="382" y="416"/>
                    </a:cubicBezTo>
                    <a:cubicBezTo>
                      <a:pt x="380" y="416"/>
                      <a:pt x="372" y="421"/>
                      <a:pt x="372" y="421"/>
                    </a:cubicBezTo>
                    <a:cubicBezTo>
                      <a:pt x="370" y="422"/>
                      <a:pt x="370" y="422"/>
                      <a:pt x="370" y="422"/>
                    </a:cubicBezTo>
                    <a:cubicBezTo>
                      <a:pt x="370" y="422"/>
                      <a:pt x="369" y="426"/>
                      <a:pt x="366" y="426"/>
                    </a:cubicBezTo>
                    <a:cubicBezTo>
                      <a:pt x="362" y="427"/>
                      <a:pt x="362" y="418"/>
                      <a:pt x="362" y="418"/>
                    </a:cubicBezTo>
                    <a:cubicBezTo>
                      <a:pt x="362" y="418"/>
                      <a:pt x="367" y="413"/>
                      <a:pt x="360" y="413"/>
                    </a:cubicBezTo>
                    <a:cubicBezTo>
                      <a:pt x="353" y="413"/>
                      <a:pt x="349" y="418"/>
                      <a:pt x="347" y="418"/>
                    </a:cubicBezTo>
                    <a:cubicBezTo>
                      <a:pt x="345" y="419"/>
                      <a:pt x="345" y="416"/>
                      <a:pt x="342" y="416"/>
                    </a:cubicBezTo>
                    <a:cubicBezTo>
                      <a:pt x="338" y="416"/>
                      <a:pt x="324" y="420"/>
                      <a:pt x="324" y="420"/>
                    </a:cubicBezTo>
                    <a:cubicBezTo>
                      <a:pt x="321" y="414"/>
                      <a:pt x="321" y="414"/>
                      <a:pt x="321" y="414"/>
                    </a:cubicBezTo>
                    <a:cubicBezTo>
                      <a:pt x="318" y="414"/>
                      <a:pt x="318" y="414"/>
                      <a:pt x="318" y="414"/>
                    </a:cubicBezTo>
                    <a:cubicBezTo>
                      <a:pt x="317" y="416"/>
                      <a:pt x="317" y="416"/>
                      <a:pt x="317" y="416"/>
                    </a:cubicBezTo>
                    <a:cubicBezTo>
                      <a:pt x="317" y="416"/>
                      <a:pt x="309" y="415"/>
                      <a:pt x="305" y="417"/>
                    </a:cubicBezTo>
                    <a:cubicBezTo>
                      <a:pt x="301" y="418"/>
                      <a:pt x="296" y="421"/>
                      <a:pt x="294" y="424"/>
                    </a:cubicBezTo>
                    <a:cubicBezTo>
                      <a:pt x="292" y="425"/>
                      <a:pt x="282" y="424"/>
                      <a:pt x="282" y="424"/>
                    </a:cubicBezTo>
                    <a:cubicBezTo>
                      <a:pt x="284" y="421"/>
                      <a:pt x="284" y="421"/>
                      <a:pt x="284" y="421"/>
                    </a:cubicBezTo>
                    <a:cubicBezTo>
                      <a:pt x="280" y="418"/>
                      <a:pt x="280" y="418"/>
                      <a:pt x="280" y="418"/>
                    </a:cubicBezTo>
                    <a:cubicBezTo>
                      <a:pt x="277" y="421"/>
                      <a:pt x="277" y="421"/>
                      <a:pt x="277" y="421"/>
                    </a:cubicBezTo>
                    <a:cubicBezTo>
                      <a:pt x="277" y="421"/>
                      <a:pt x="272" y="422"/>
                      <a:pt x="272" y="419"/>
                    </a:cubicBezTo>
                    <a:cubicBezTo>
                      <a:pt x="272" y="415"/>
                      <a:pt x="283" y="422"/>
                      <a:pt x="276" y="414"/>
                    </a:cubicBezTo>
                    <a:cubicBezTo>
                      <a:pt x="271" y="405"/>
                      <a:pt x="268" y="417"/>
                      <a:pt x="268" y="417"/>
                    </a:cubicBezTo>
                    <a:cubicBezTo>
                      <a:pt x="268" y="417"/>
                      <a:pt x="263" y="417"/>
                      <a:pt x="260" y="418"/>
                    </a:cubicBezTo>
                    <a:cubicBezTo>
                      <a:pt x="258" y="419"/>
                      <a:pt x="254" y="418"/>
                      <a:pt x="254" y="418"/>
                    </a:cubicBezTo>
                    <a:cubicBezTo>
                      <a:pt x="254" y="418"/>
                      <a:pt x="253" y="408"/>
                      <a:pt x="250" y="409"/>
                    </a:cubicBezTo>
                    <a:cubicBezTo>
                      <a:pt x="245" y="411"/>
                      <a:pt x="252" y="420"/>
                      <a:pt x="247" y="421"/>
                    </a:cubicBezTo>
                    <a:cubicBezTo>
                      <a:pt x="244" y="422"/>
                      <a:pt x="244" y="414"/>
                      <a:pt x="244" y="414"/>
                    </a:cubicBezTo>
                    <a:cubicBezTo>
                      <a:pt x="242" y="413"/>
                      <a:pt x="242" y="413"/>
                      <a:pt x="242" y="413"/>
                    </a:cubicBezTo>
                    <a:cubicBezTo>
                      <a:pt x="242" y="413"/>
                      <a:pt x="241" y="425"/>
                      <a:pt x="240" y="428"/>
                    </a:cubicBezTo>
                    <a:cubicBezTo>
                      <a:pt x="238" y="432"/>
                      <a:pt x="240" y="435"/>
                      <a:pt x="243" y="440"/>
                    </a:cubicBezTo>
                    <a:cubicBezTo>
                      <a:pt x="246" y="443"/>
                      <a:pt x="258" y="437"/>
                      <a:pt x="260" y="437"/>
                    </a:cubicBezTo>
                    <a:cubicBezTo>
                      <a:pt x="263" y="437"/>
                      <a:pt x="269" y="440"/>
                      <a:pt x="273" y="440"/>
                    </a:cubicBezTo>
                    <a:cubicBezTo>
                      <a:pt x="277" y="440"/>
                      <a:pt x="287" y="436"/>
                      <a:pt x="287" y="436"/>
                    </a:cubicBezTo>
                    <a:cubicBezTo>
                      <a:pt x="298" y="438"/>
                      <a:pt x="298" y="438"/>
                      <a:pt x="298" y="438"/>
                    </a:cubicBezTo>
                    <a:cubicBezTo>
                      <a:pt x="298" y="438"/>
                      <a:pt x="303" y="436"/>
                      <a:pt x="309" y="441"/>
                    </a:cubicBezTo>
                    <a:cubicBezTo>
                      <a:pt x="316" y="444"/>
                      <a:pt x="309" y="450"/>
                      <a:pt x="309" y="450"/>
                    </a:cubicBezTo>
                    <a:cubicBezTo>
                      <a:pt x="310" y="452"/>
                      <a:pt x="310" y="452"/>
                      <a:pt x="310" y="452"/>
                    </a:cubicBezTo>
                    <a:cubicBezTo>
                      <a:pt x="310" y="452"/>
                      <a:pt x="318" y="448"/>
                      <a:pt x="323" y="447"/>
                    </a:cubicBezTo>
                    <a:cubicBezTo>
                      <a:pt x="328" y="446"/>
                      <a:pt x="340" y="442"/>
                      <a:pt x="344" y="440"/>
                    </a:cubicBezTo>
                    <a:cubicBezTo>
                      <a:pt x="348" y="437"/>
                      <a:pt x="360" y="435"/>
                      <a:pt x="360" y="435"/>
                    </a:cubicBezTo>
                    <a:cubicBezTo>
                      <a:pt x="367" y="436"/>
                      <a:pt x="367" y="436"/>
                      <a:pt x="367" y="436"/>
                    </a:cubicBezTo>
                    <a:cubicBezTo>
                      <a:pt x="373" y="431"/>
                      <a:pt x="373" y="431"/>
                      <a:pt x="373" y="431"/>
                    </a:cubicBezTo>
                    <a:cubicBezTo>
                      <a:pt x="373" y="431"/>
                      <a:pt x="384" y="431"/>
                      <a:pt x="389" y="429"/>
                    </a:cubicBezTo>
                    <a:cubicBezTo>
                      <a:pt x="394" y="428"/>
                      <a:pt x="394" y="416"/>
                      <a:pt x="394" y="416"/>
                    </a:cubicBezTo>
                    <a:lnTo>
                      <a:pt x="392" y="415"/>
                    </a:lnTo>
                    <a:close/>
                    <a:moveTo>
                      <a:pt x="482" y="322"/>
                    </a:moveTo>
                    <a:cubicBezTo>
                      <a:pt x="482" y="319"/>
                      <a:pt x="480" y="317"/>
                      <a:pt x="480" y="317"/>
                    </a:cubicBezTo>
                    <a:cubicBezTo>
                      <a:pt x="480" y="317"/>
                      <a:pt x="472" y="320"/>
                      <a:pt x="469" y="323"/>
                    </a:cubicBezTo>
                    <a:cubicBezTo>
                      <a:pt x="465" y="326"/>
                      <a:pt x="463" y="332"/>
                      <a:pt x="463" y="332"/>
                    </a:cubicBezTo>
                    <a:cubicBezTo>
                      <a:pt x="463" y="332"/>
                      <a:pt x="458" y="334"/>
                      <a:pt x="458" y="335"/>
                    </a:cubicBezTo>
                    <a:cubicBezTo>
                      <a:pt x="458" y="338"/>
                      <a:pt x="458" y="338"/>
                      <a:pt x="458" y="338"/>
                    </a:cubicBezTo>
                    <a:cubicBezTo>
                      <a:pt x="458" y="338"/>
                      <a:pt x="453" y="340"/>
                      <a:pt x="455" y="342"/>
                    </a:cubicBezTo>
                    <a:cubicBezTo>
                      <a:pt x="457" y="343"/>
                      <a:pt x="459" y="346"/>
                      <a:pt x="459" y="346"/>
                    </a:cubicBezTo>
                    <a:cubicBezTo>
                      <a:pt x="459" y="352"/>
                      <a:pt x="459" y="352"/>
                      <a:pt x="459" y="352"/>
                    </a:cubicBezTo>
                    <a:cubicBezTo>
                      <a:pt x="459" y="354"/>
                      <a:pt x="462" y="358"/>
                      <a:pt x="462" y="358"/>
                    </a:cubicBezTo>
                    <a:cubicBezTo>
                      <a:pt x="465" y="358"/>
                      <a:pt x="469" y="351"/>
                      <a:pt x="470" y="349"/>
                    </a:cubicBezTo>
                    <a:cubicBezTo>
                      <a:pt x="471" y="347"/>
                      <a:pt x="474" y="343"/>
                      <a:pt x="474" y="343"/>
                    </a:cubicBezTo>
                    <a:cubicBezTo>
                      <a:pt x="478" y="343"/>
                      <a:pt x="478" y="343"/>
                      <a:pt x="478" y="343"/>
                    </a:cubicBezTo>
                    <a:cubicBezTo>
                      <a:pt x="479" y="340"/>
                      <a:pt x="479" y="340"/>
                      <a:pt x="479" y="340"/>
                    </a:cubicBezTo>
                    <a:cubicBezTo>
                      <a:pt x="479" y="340"/>
                      <a:pt x="476" y="340"/>
                      <a:pt x="476" y="338"/>
                    </a:cubicBezTo>
                    <a:cubicBezTo>
                      <a:pt x="478" y="335"/>
                      <a:pt x="480" y="333"/>
                      <a:pt x="480" y="333"/>
                    </a:cubicBezTo>
                    <a:cubicBezTo>
                      <a:pt x="480" y="333"/>
                      <a:pt x="482" y="325"/>
                      <a:pt x="482" y="322"/>
                    </a:cubicBezTo>
                    <a:close/>
                    <a:moveTo>
                      <a:pt x="448" y="337"/>
                    </a:moveTo>
                    <a:cubicBezTo>
                      <a:pt x="442" y="339"/>
                      <a:pt x="444" y="341"/>
                      <a:pt x="448" y="340"/>
                    </a:cubicBezTo>
                    <a:cubicBezTo>
                      <a:pt x="452" y="340"/>
                      <a:pt x="452" y="335"/>
                      <a:pt x="448" y="337"/>
                    </a:cubicBezTo>
                    <a:close/>
                    <a:moveTo>
                      <a:pt x="459" y="310"/>
                    </a:moveTo>
                    <a:cubicBezTo>
                      <a:pt x="457" y="308"/>
                      <a:pt x="457" y="308"/>
                      <a:pt x="457" y="308"/>
                    </a:cubicBezTo>
                    <a:cubicBezTo>
                      <a:pt x="454" y="314"/>
                      <a:pt x="454" y="314"/>
                      <a:pt x="454" y="314"/>
                    </a:cubicBezTo>
                    <a:cubicBezTo>
                      <a:pt x="460" y="317"/>
                      <a:pt x="460" y="317"/>
                      <a:pt x="460" y="317"/>
                    </a:cubicBezTo>
                    <a:lnTo>
                      <a:pt x="459" y="310"/>
                    </a:lnTo>
                    <a:close/>
                    <a:moveTo>
                      <a:pt x="432" y="325"/>
                    </a:moveTo>
                    <a:cubicBezTo>
                      <a:pt x="433" y="329"/>
                      <a:pt x="433" y="329"/>
                      <a:pt x="433" y="329"/>
                    </a:cubicBezTo>
                    <a:cubicBezTo>
                      <a:pt x="441" y="332"/>
                      <a:pt x="441" y="332"/>
                      <a:pt x="441" y="332"/>
                    </a:cubicBezTo>
                    <a:cubicBezTo>
                      <a:pt x="440" y="329"/>
                      <a:pt x="440" y="329"/>
                      <a:pt x="440" y="329"/>
                    </a:cubicBezTo>
                    <a:lnTo>
                      <a:pt x="432" y="325"/>
                    </a:lnTo>
                    <a:close/>
                    <a:moveTo>
                      <a:pt x="422" y="322"/>
                    </a:moveTo>
                    <a:cubicBezTo>
                      <a:pt x="427" y="320"/>
                      <a:pt x="426" y="316"/>
                      <a:pt x="422" y="318"/>
                    </a:cubicBezTo>
                    <a:cubicBezTo>
                      <a:pt x="417" y="320"/>
                      <a:pt x="420" y="323"/>
                      <a:pt x="422" y="322"/>
                    </a:cubicBezTo>
                    <a:close/>
                    <a:moveTo>
                      <a:pt x="435" y="364"/>
                    </a:moveTo>
                    <a:cubicBezTo>
                      <a:pt x="432" y="366"/>
                      <a:pt x="432" y="366"/>
                      <a:pt x="432" y="366"/>
                    </a:cubicBezTo>
                    <a:cubicBezTo>
                      <a:pt x="430" y="380"/>
                      <a:pt x="430" y="380"/>
                      <a:pt x="430" y="380"/>
                    </a:cubicBezTo>
                    <a:cubicBezTo>
                      <a:pt x="427" y="380"/>
                      <a:pt x="427" y="380"/>
                      <a:pt x="427" y="380"/>
                    </a:cubicBezTo>
                    <a:cubicBezTo>
                      <a:pt x="429" y="384"/>
                      <a:pt x="429" y="384"/>
                      <a:pt x="429" y="384"/>
                    </a:cubicBezTo>
                    <a:cubicBezTo>
                      <a:pt x="432" y="386"/>
                      <a:pt x="432" y="386"/>
                      <a:pt x="432" y="386"/>
                    </a:cubicBezTo>
                    <a:cubicBezTo>
                      <a:pt x="433" y="392"/>
                      <a:pt x="433" y="392"/>
                      <a:pt x="433" y="392"/>
                    </a:cubicBezTo>
                    <a:cubicBezTo>
                      <a:pt x="437" y="394"/>
                      <a:pt x="437" y="394"/>
                      <a:pt x="437" y="394"/>
                    </a:cubicBezTo>
                    <a:cubicBezTo>
                      <a:pt x="437" y="390"/>
                      <a:pt x="437" y="390"/>
                      <a:pt x="437" y="390"/>
                    </a:cubicBezTo>
                    <a:cubicBezTo>
                      <a:pt x="439" y="388"/>
                      <a:pt x="439" y="388"/>
                      <a:pt x="439" y="388"/>
                    </a:cubicBezTo>
                    <a:cubicBezTo>
                      <a:pt x="439" y="385"/>
                      <a:pt x="439" y="385"/>
                      <a:pt x="439" y="385"/>
                    </a:cubicBezTo>
                    <a:cubicBezTo>
                      <a:pt x="436" y="382"/>
                      <a:pt x="436" y="382"/>
                      <a:pt x="436" y="382"/>
                    </a:cubicBezTo>
                    <a:lnTo>
                      <a:pt x="435" y="364"/>
                    </a:lnTo>
                    <a:close/>
                    <a:moveTo>
                      <a:pt x="434" y="362"/>
                    </a:moveTo>
                    <a:cubicBezTo>
                      <a:pt x="436" y="358"/>
                      <a:pt x="435" y="353"/>
                      <a:pt x="433" y="357"/>
                    </a:cubicBezTo>
                    <a:cubicBezTo>
                      <a:pt x="431" y="363"/>
                      <a:pt x="431" y="366"/>
                      <a:pt x="434" y="362"/>
                    </a:cubicBezTo>
                    <a:close/>
                    <a:moveTo>
                      <a:pt x="420" y="398"/>
                    </a:moveTo>
                    <a:cubicBezTo>
                      <a:pt x="419" y="402"/>
                      <a:pt x="422" y="400"/>
                      <a:pt x="424" y="399"/>
                    </a:cubicBezTo>
                    <a:cubicBezTo>
                      <a:pt x="430" y="396"/>
                      <a:pt x="429" y="394"/>
                      <a:pt x="429" y="394"/>
                    </a:cubicBezTo>
                    <a:cubicBezTo>
                      <a:pt x="429" y="394"/>
                      <a:pt x="420" y="393"/>
                      <a:pt x="420" y="398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69" name="Great Britain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3381375" y="2557463"/>
                <a:ext cx="760412" cy="1425575"/>
              </a:xfrm>
              <a:custGeom>
                <a:avLst/>
                <a:gdLst/>
                <a:ahLst/>
                <a:cxnLst>
                  <a:cxn ang="0">
                    <a:pos x="281" y="467"/>
                  </a:cxn>
                  <a:cxn ang="0">
                    <a:pos x="290" y="431"/>
                  </a:cxn>
                  <a:cxn ang="0">
                    <a:pos x="245" y="321"/>
                  </a:cxn>
                  <a:cxn ang="0">
                    <a:pos x="210" y="295"/>
                  </a:cxn>
                  <a:cxn ang="0">
                    <a:pos x="257" y="247"/>
                  </a:cxn>
                  <a:cxn ang="0">
                    <a:pos x="197" y="186"/>
                  </a:cxn>
                  <a:cxn ang="0">
                    <a:pos x="248" y="141"/>
                  </a:cxn>
                  <a:cxn ang="0">
                    <a:pos x="191" y="133"/>
                  </a:cxn>
                  <a:cxn ang="0">
                    <a:pos x="164" y="140"/>
                  </a:cxn>
                  <a:cxn ang="0">
                    <a:pos x="143" y="161"/>
                  </a:cxn>
                  <a:cxn ang="0">
                    <a:pos x="146" y="202"/>
                  </a:cxn>
                  <a:cxn ang="0">
                    <a:pos x="111" y="230"/>
                  </a:cxn>
                  <a:cxn ang="0">
                    <a:pos x="127" y="247"/>
                  </a:cxn>
                  <a:cxn ang="0">
                    <a:pos x="131" y="260"/>
                  </a:cxn>
                  <a:cxn ang="0">
                    <a:pos x="101" y="317"/>
                  </a:cxn>
                  <a:cxn ang="0">
                    <a:pos x="142" y="276"/>
                  </a:cxn>
                  <a:cxn ang="0">
                    <a:pos x="148" y="287"/>
                  </a:cxn>
                  <a:cxn ang="0">
                    <a:pos x="127" y="344"/>
                  </a:cxn>
                  <a:cxn ang="0">
                    <a:pos x="145" y="363"/>
                  </a:cxn>
                  <a:cxn ang="0">
                    <a:pos x="188" y="366"/>
                  </a:cxn>
                  <a:cxn ang="0">
                    <a:pos x="180" y="416"/>
                  </a:cxn>
                  <a:cxn ang="0">
                    <a:pos x="186" y="472"/>
                  </a:cxn>
                  <a:cxn ang="0">
                    <a:pos x="109" y="492"/>
                  </a:cxn>
                  <a:cxn ang="0">
                    <a:pos x="102" y="536"/>
                  </a:cxn>
                  <a:cxn ang="0">
                    <a:pos x="74" y="560"/>
                  </a:cxn>
                  <a:cxn ang="0">
                    <a:pos x="109" y="569"/>
                  </a:cxn>
                  <a:cxn ang="0">
                    <a:pos x="171" y="582"/>
                  </a:cxn>
                  <a:cxn ang="0">
                    <a:pos x="55" y="640"/>
                  </a:cxn>
                  <a:cxn ang="0">
                    <a:pos x="62" y="657"/>
                  </a:cxn>
                  <a:cxn ang="0">
                    <a:pos x="122" y="645"/>
                  </a:cxn>
                  <a:cxn ang="0">
                    <a:pos x="201" y="649"/>
                  </a:cxn>
                  <a:cxn ang="0">
                    <a:pos x="310" y="653"/>
                  </a:cxn>
                  <a:cxn ang="0">
                    <a:pos x="295" y="614"/>
                  </a:cxn>
                  <a:cxn ang="0">
                    <a:pos x="319" y="598"/>
                  </a:cxn>
                  <a:cxn ang="0">
                    <a:pos x="209" y="650"/>
                  </a:cxn>
                  <a:cxn ang="0">
                    <a:pos x="121" y="471"/>
                  </a:cxn>
                  <a:cxn ang="0">
                    <a:pos x="139" y="396"/>
                  </a:cxn>
                  <a:cxn ang="0">
                    <a:pos x="138" y="302"/>
                  </a:cxn>
                  <a:cxn ang="0">
                    <a:pos x="89" y="291"/>
                  </a:cxn>
                  <a:cxn ang="0">
                    <a:pos x="109" y="281"/>
                  </a:cxn>
                  <a:cxn ang="0">
                    <a:pos x="88" y="238"/>
                  </a:cxn>
                  <a:cxn ang="0">
                    <a:pos x="112" y="235"/>
                  </a:cxn>
                  <a:cxn ang="0">
                    <a:pos x="103" y="260"/>
                  </a:cxn>
                  <a:cxn ang="0">
                    <a:pos x="117" y="217"/>
                  </a:cxn>
                  <a:cxn ang="0">
                    <a:pos x="82" y="197"/>
                  </a:cxn>
                  <a:cxn ang="0">
                    <a:pos x="88" y="177"/>
                  </a:cxn>
                  <a:cxn ang="0">
                    <a:pos x="114" y="176"/>
                  </a:cxn>
                  <a:cxn ang="0">
                    <a:pos x="127" y="203"/>
                  </a:cxn>
                  <a:cxn ang="0">
                    <a:pos x="135" y="173"/>
                  </a:cxn>
                  <a:cxn ang="0">
                    <a:pos x="81" y="165"/>
                  </a:cxn>
                  <a:cxn ang="0">
                    <a:pos x="141" y="134"/>
                  </a:cxn>
                  <a:cxn ang="0">
                    <a:pos x="104" y="132"/>
                  </a:cxn>
                  <a:cxn ang="0">
                    <a:pos x="242" y="113"/>
                  </a:cxn>
                  <a:cxn ang="0">
                    <a:pos x="256" y="107"/>
                  </a:cxn>
                  <a:cxn ang="0">
                    <a:pos x="259" y="94"/>
                  </a:cxn>
                  <a:cxn ang="0">
                    <a:pos x="310" y="82"/>
                  </a:cxn>
                  <a:cxn ang="0">
                    <a:pos x="282" y="93"/>
                  </a:cxn>
                  <a:cxn ang="0">
                    <a:pos x="339" y="23"/>
                  </a:cxn>
                  <a:cxn ang="0">
                    <a:pos x="357" y="3"/>
                  </a:cxn>
                  <a:cxn ang="0">
                    <a:pos x="49" y="396"/>
                  </a:cxn>
                  <a:cxn ang="0">
                    <a:pos x="96" y="386"/>
                  </a:cxn>
                  <a:cxn ang="0">
                    <a:pos x="34" y="332"/>
                  </a:cxn>
                  <a:cxn ang="0">
                    <a:pos x="13" y="377"/>
                  </a:cxn>
                </a:cxnLst>
                <a:rect l="0" t="0" r="r" b="b"/>
                <a:pathLst>
                  <a:path w="357" h="670">
                    <a:moveTo>
                      <a:pt x="342" y="526"/>
                    </a:moveTo>
                    <a:cubicBezTo>
                      <a:pt x="330" y="519"/>
                      <a:pt x="330" y="519"/>
                      <a:pt x="330" y="519"/>
                    </a:cubicBezTo>
                    <a:cubicBezTo>
                      <a:pt x="328" y="520"/>
                      <a:pt x="328" y="520"/>
                      <a:pt x="328" y="520"/>
                    </a:cubicBezTo>
                    <a:cubicBezTo>
                      <a:pt x="310" y="519"/>
                      <a:pt x="310" y="519"/>
                      <a:pt x="310" y="519"/>
                    </a:cubicBezTo>
                    <a:cubicBezTo>
                      <a:pt x="303" y="530"/>
                      <a:pt x="303" y="530"/>
                      <a:pt x="303" y="530"/>
                    </a:cubicBezTo>
                    <a:cubicBezTo>
                      <a:pt x="299" y="528"/>
                      <a:pt x="299" y="528"/>
                      <a:pt x="299" y="528"/>
                    </a:cubicBezTo>
                    <a:cubicBezTo>
                      <a:pt x="295" y="522"/>
                      <a:pt x="295" y="522"/>
                      <a:pt x="295" y="522"/>
                    </a:cubicBezTo>
                    <a:cubicBezTo>
                      <a:pt x="291" y="520"/>
                      <a:pt x="291" y="520"/>
                      <a:pt x="291" y="520"/>
                    </a:cubicBezTo>
                    <a:cubicBezTo>
                      <a:pt x="291" y="520"/>
                      <a:pt x="292" y="515"/>
                      <a:pt x="296" y="514"/>
                    </a:cubicBezTo>
                    <a:cubicBezTo>
                      <a:pt x="301" y="512"/>
                      <a:pt x="308" y="508"/>
                      <a:pt x="308" y="504"/>
                    </a:cubicBezTo>
                    <a:cubicBezTo>
                      <a:pt x="309" y="501"/>
                      <a:pt x="305" y="486"/>
                      <a:pt x="305" y="486"/>
                    </a:cubicBezTo>
                    <a:cubicBezTo>
                      <a:pt x="299" y="480"/>
                      <a:pt x="299" y="480"/>
                      <a:pt x="299" y="480"/>
                    </a:cubicBezTo>
                    <a:cubicBezTo>
                      <a:pt x="292" y="473"/>
                      <a:pt x="292" y="473"/>
                      <a:pt x="292" y="473"/>
                    </a:cubicBezTo>
                    <a:cubicBezTo>
                      <a:pt x="292" y="473"/>
                      <a:pt x="290" y="469"/>
                      <a:pt x="287" y="468"/>
                    </a:cubicBezTo>
                    <a:cubicBezTo>
                      <a:pt x="285" y="468"/>
                      <a:pt x="281" y="467"/>
                      <a:pt x="281" y="467"/>
                    </a:cubicBezTo>
                    <a:cubicBezTo>
                      <a:pt x="279" y="469"/>
                      <a:pt x="279" y="469"/>
                      <a:pt x="279" y="469"/>
                    </a:cubicBezTo>
                    <a:cubicBezTo>
                      <a:pt x="276" y="466"/>
                      <a:pt x="276" y="466"/>
                      <a:pt x="276" y="466"/>
                    </a:cubicBezTo>
                    <a:cubicBezTo>
                      <a:pt x="268" y="465"/>
                      <a:pt x="268" y="465"/>
                      <a:pt x="268" y="465"/>
                    </a:cubicBezTo>
                    <a:cubicBezTo>
                      <a:pt x="276" y="463"/>
                      <a:pt x="276" y="463"/>
                      <a:pt x="276" y="463"/>
                    </a:cubicBezTo>
                    <a:cubicBezTo>
                      <a:pt x="279" y="466"/>
                      <a:pt x="279" y="466"/>
                      <a:pt x="279" y="466"/>
                    </a:cubicBezTo>
                    <a:cubicBezTo>
                      <a:pt x="289" y="465"/>
                      <a:pt x="289" y="465"/>
                      <a:pt x="289" y="465"/>
                    </a:cubicBezTo>
                    <a:cubicBezTo>
                      <a:pt x="289" y="465"/>
                      <a:pt x="293" y="472"/>
                      <a:pt x="294" y="473"/>
                    </a:cubicBezTo>
                    <a:cubicBezTo>
                      <a:pt x="298" y="473"/>
                      <a:pt x="298" y="473"/>
                      <a:pt x="298" y="473"/>
                    </a:cubicBezTo>
                    <a:cubicBezTo>
                      <a:pt x="301" y="477"/>
                      <a:pt x="301" y="477"/>
                      <a:pt x="301" y="477"/>
                    </a:cubicBezTo>
                    <a:cubicBezTo>
                      <a:pt x="303" y="475"/>
                      <a:pt x="303" y="475"/>
                      <a:pt x="303" y="475"/>
                    </a:cubicBezTo>
                    <a:cubicBezTo>
                      <a:pt x="295" y="455"/>
                      <a:pt x="295" y="455"/>
                      <a:pt x="295" y="455"/>
                    </a:cubicBezTo>
                    <a:cubicBezTo>
                      <a:pt x="295" y="443"/>
                      <a:pt x="295" y="443"/>
                      <a:pt x="295" y="443"/>
                    </a:cubicBezTo>
                    <a:cubicBezTo>
                      <a:pt x="298" y="441"/>
                      <a:pt x="298" y="441"/>
                      <a:pt x="298" y="441"/>
                    </a:cubicBezTo>
                    <a:cubicBezTo>
                      <a:pt x="294" y="431"/>
                      <a:pt x="294" y="431"/>
                      <a:pt x="294" y="431"/>
                    </a:cubicBezTo>
                    <a:cubicBezTo>
                      <a:pt x="290" y="431"/>
                      <a:pt x="290" y="431"/>
                      <a:pt x="290" y="431"/>
                    </a:cubicBezTo>
                    <a:cubicBezTo>
                      <a:pt x="286" y="416"/>
                      <a:pt x="286" y="416"/>
                      <a:pt x="286" y="416"/>
                    </a:cubicBezTo>
                    <a:cubicBezTo>
                      <a:pt x="277" y="407"/>
                      <a:pt x="277" y="407"/>
                      <a:pt x="277" y="407"/>
                    </a:cubicBezTo>
                    <a:cubicBezTo>
                      <a:pt x="273" y="406"/>
                      <a:pt x="273" y="406"/>
                      <a:pt x="273" y="406"/>
                    </a:cubicBezTo>
                    <a:cubicBezTo>
                      <a:pt x="267" y="395"/>
                      <a:pt x="267" y="395"/>
                      <a:pt x="267" y="395"/>
                    </a:cubicBezTo>
                    <a:cubicBezTo>
                      <a:pt x="263" y="392"/>
                      <a:pt x="263" y="392"/>
                      <a:pt x="263" y="392"/>
                    </a:cubicBezTo>
                    <a:cubicBezTo>
                      <a:pt x="262" y="380"/>
                      <a:pt x="262" y="380"/>
                      <a:pt x="262" y="380"/>
                    </a:cubicBezTo>
                    <a:cubicBezTo>
                      <a:pt x="259" y="372"/>
                      <a:pt x="259" y="372"/>
                      <a:pt x="259" y="372"/>
                    </a:cubicBezTo>
                    <a:cubicBezTo>
                      <a:pt x="260" y="354"/>
                      <a:pt x="260" y="354"/>
                      <a:pt x="260" y="354"/>
                    </a:cubicBezTo>
                    <a:cubicBezTo>
                      <a:pt x="257" y="349"/>
                      <a:pt x="257" y="349"/>
                      <a:pt x="257" y="349"/>
                    </a:cubicBezTo>
                    <a:cubicBezTo>
                      <a:pt x="259" y="337"/>
                      <a:pt x="259" y="337"/>
                      <a:pt x="259" y="337"/>
                    </a:cubicBezTo>
                    <a:cubicBezTo>
                      <a:pt x="253" y="332"/>
                      <a:pt x="253" y="332"/>
                      <a:pt x="253" y="332"/>
                    </a:cubicBezTo>
                    <a:cubicBezTo>
                      <a:pt x="253" y="327"/>
                      <a:pt x="253" y="327"/>
                      <a:pt x="253" y="327"/>
                    </a:cubicBezTo>
                    <a:cubicBezTo>
                      <a:pt x="249" y="324"/>
                      <a:pt x="249" y="324"/>
                      <a:pt x="249" y="324"/>
                    </a:cubicBezTo>
                    <a:cubicBezTo>
                      <a:pt x="248" y="319"/>
                      <a:pt x="248" y="319"/>
                      <a:pt x="248" y="319"/>
                    </a:cubicBezTo>
                    <a:cubicBezTo>
                      <a:pt x="245" y="321"/>
                      <a:pt x="245" y="321"/>
                      <a:pt x="245" y="321"/>
                    </a:cubicBezTo>
                    <a:cubicBezTo>
                      <a:pt x="248" y="317"/>
                      <a:pt x="248" y="317"/>
                      <a:pt x="248" y="317"/>
                    </a:cubicBezTo>
                    <a:cubicBezTo>
                      <a:pt x="245" y="315"/>
                      <a:pt x="245" y="315"/>
                      <a:pt x="245" y="315"/>
                    </a:cubicBezTo>
                    <a:cubicBezTo>
                      <a:pt x="245" y="315"/>
                      <a:pt x="247" y="312"/>
                      <a:pt x="244" y="311"/>
                    </a:cubicBezTo>
                    <a:cubicBezTo>
                      <a:pt x="241" y="311"/>
                      <a:pt x="238" y="310"/>
                      <a:pt x="238" y="310"/>
                    </a:cubicBezTo>
                    <a:cubicBezTo>
                      <a:pt x="228" y="298"/>
                      <a:pt x="228" y="298"/>
                      <a:pt x="228" y="298"/>
                    </a:cubicBezTo>
                    <a:cubicBezTo>
                      <a:pt x="228" y="298"/>
                      <a:pt x="228" y="296"/>
                      <a:pt x="223" y="297"/>
                    </a:cubicBezTo>
                    <a:cubicBezTo>
                      <a:pt x="217" y="298"/>
                      <a:pt x="217" y="305"/>
                      <a:pt x="213" y="305"/>
                    </a:cubicBezTo>
                    <a:cubicBezTo>
                      <a:pt x="209" y="305"/>
                      <a:pt x="208" y="299"/>
                      <a:pt x="208" y="299"/>
                    </a:cubicBezTo>
                    <a:cubicBezTo>
                      <a:pt x="208" y="299"/>
                      <a:pt x="203" y="301"/>
                      <a:pt x="200" y="300"/>
                    </a:cubicBezTo>
                    <a:cubicBezTo>
                      <a:pt x="197" y="299"/>
                      <a:pt x="195" y="296"/>
                      <a:pt x="195" y="296"/>
                    </a:cubicBezTo>
                    <a:cubicBezTo>
                      <a:pt x="195" y="296"/>
                      <a:pt x="187" y="295"/>
                      <a:pt x="188" y="294"/>
                    </a:cubicBezTo>
                    <a:cubicBezTo>
                      <a:pt x="189" y="292"/>
                      <a:pt x="196" y="292"/>
                      <a:pt x="196" y="292"/>
                    </a:cubicBezTo>
                    <a:cubicBezTo>
                      <a:pt x="196" y="292"/>
                      <a:pt x="197" y="296"/>
                      <a:pt x="200" y="296"/>
                    </a:cubicBezTo>
                    <a:cubicBezTo>
                      <a:pt x="202" y="296"/>
                      <a:pt x="207" y="294"/>
                      <a:pt x="207" y="294"/>
                    </a:cubicBezTo>
                    <a:cubicBezTo>
                      <a:pt x="210" y="295"/>
                      <a:pt x="210" y="295"/>
                      <a:pt x="210" y="295"/>
                    </a:cubicBezTo>
                    <a:cubicBezTo>
                      <a:pt x="210" y="291"/>
                      <a:pt x="210" y="291"/>
                      <a:pt x="210" y="291"/>
                    </a:cubicBezTo>
                    <a:cubicBezTo>
                      <a:pt x="218" y="287"/>
                      <a:pt x="218" y="287"/>
                      <a:pt x="218" y="287"/>
                    </a:cubicBezTo>
                    <a:cubicBezTo>
                      <a:pt x="226" y="290"/>
                      <a:pt x="226" y="290"/>
                      <a:pt x="226" y="290"/>
                    </a:cubicBezTo>
                    <a:cubicBezTo>
                      <a:pt x="234" y="283"/>
                      <a:pt x="234" y="283"/>
                      <a:pt x="234" y="283"/>
                    </a:cubicBezTo>
                    <a:cubicBezTo>
                      <a:pt x="226" y="279"/>
                      <a:pt x="226" y="279"/>
                      <a:pt x="226" y="279"/>
                    </a:cubicBezTo>
                    <a:cubicBezTo>
                      <a:pt x="226" y="279"/>
                      <a:pt x="230" y="278"/>
                      <a:pt x="228" y="275"/>
                    </a:cubicBezTo>
                    <a:cubicBezTo>
                      <a:pt x="226" y="272"/>
                      <a:pt x="227" y="271"/>
                      <a:pt x="224" y="271"/>
                    </a:cubicBezTo>
                    <a:cubicBezTo>
                      <a:pt x="219" y="272"/>
                      <a:pt x="217" y="276"/>
                      <a:pt x="215" y="276"/>
                    </a:cubicBezTo>
                    <a:cubicBezTo>
                      <a:pt x="213" y="277"/>
                      <a:pt x="208" y="276"/>
                      <a:pt x="208" y="276"/>
                    </a:cubicBezTo>
                    <a:cubicBezTo>
                      <a:pt x="208" y="276"/>
                      <a:pt x="214" y="275"/>
                      <a:pt x="215" y="274"/>
                    </a:cubicBezTo>
                    <a:cubicBezTo>
                      <a:pt x="216" y="272"/>
                      <a:pt x="220" y="269"/>
                      <a:pt x="223" y="269"/>
                    </a:cubicBezTo>
                    <a:cubicBezTo>
                      <a:pt x="225" y="269"/>
                      <a:pt x="230" y="272"/>
                      <a:pt x="230" y="272"/>
                    </a:cubicBezTo>
                    <a:cubicBezTo>
                      <a:pt x="241" y="267"/>
                      <a:pt x="241" y="267"/>
                      <a:pt x="241" y="267"/>
                    </a:cubicBezTo>
                    <a:cubicBezTo>
                      <a:pt x="246" y="256"/>
                      <a:pt x="246" y="256"/>
                      <a:pt x="246" y="256"/>
                    </a:cubicBezTo>
                    <a:cubicBezTo>
                      <a:pt x="257" y="247"/>
                      <a:pt x="257" y="247"/>
                      <a:pt x="257" y="247"/>
                    </a:cubicBezTo>
                    <a:cubicBezTo>
                      <a:pt x="264" y="234"/>
                      <a:pt x="264" y="234"/>
                      <a:pt x="264" y="234"/>
                    </a:cubicBezTo>
                    <a:cubicBezTo>
                      <a:pt x="264" y="234"/>
                      <a:pt x="264" y="231"/>
                      <a:pt x="266" y="229"/>
                    </a:cubicBezTo>
                    <a:cubicBezTo>
                      <a:pt x="267" y="227"/>
                      <a:pt x="281" y="214"/>
                      <a:pt x="279" y="206"/>
                    </a:cubicBezTo>
                    <a:cubicBezTo>
                      <a:pt x="277" y="199"/>
                      <a:pt x="265" y="197"/>
                      <a:pt x="265" y="197"/>
                    </a:cubicBezTo>
                    <a:cubicBezTo>
                      <a:pt x="257" y="198"/>
                      <a:pt x="257" y="198"/>
                      <a:pt x="257" y="198"/>
                    </a:cubicBezTo>
                    <a:cubicBezTo>
                      <a:pt x="242" y="192"/>
                      <a:pt x="242" y="192"/>
                      <a:pt x="242" y="192"/>
                    </a:cubicBezTo>
                    <a:cubicBezTo>
                      <a:pt x="235" y="193"/>
                      <a:pt x="235" y="193"/>
                      <a:pt x="235" y="193"/>
                    </a:cubicBezTo>
                    <a:cubicBezTo>
                      <a:pt x="235" y="193"/>
                      <a:pt x="231" y="189"/>
                      <a:pt x="226" y="188"/>
                    </a:cubicBezTo>
                    <a:cubicBezTo>
                      <a:pt x="220" y="188"/>
                      <a:pt x="207" y="192"/>
                      <a:pt x="207" y="192"/>
                    </a:cubicBezTo>
                    <a:cubicBezTo>
                      <a:pt x="203" y="191"/>
                      <a:pt x="203" y="191"/>
                      <a:pt x="203" y="191"/>
                    </a:cubicBezTo>
                    <a:cubicBezTo>
                      <a:pt x="199" y="196"/>
                      <a:pt x="199" y="196"/>
                      <a:pt x="199" y="196"/>
                    </a:cubicBezTo>
                    <a:cubicBezTo>
                      <a:pt x="185" y="197"/>
                      <a:pt x="185" y="197"/>
                      <a:pt x="185" y="197"/>
                    </a:cubicBezTo>
                    <a:cubicBezTo>
                      <a:pt x="196" y="193"/>
                      <a:pt x="196" y="193"/>
                      <a:pt x="196" y="193"/>
                    </a:cubicBezTo>
                    <a:cubicBezTo>
                      <a:pt x="202" y="187"/>
                      <a:pt x="202" y="187"/>
                      <a:pt x="202" y="187"/>
                    </a:cubicBezTo>
                    <a:cubicBezTo>
                      <a:pt x="202" y="187"/>
                      <a:pt x="198" y="186"/>
                      <a:pt x="197" y="186"/>
                    </a:cubicBezTo>
                    <a:cubicBezTo>
                      <a:pt x="196" y="186"/>
                      <a:pt x="191" y="188"/>
                      <a:pt x="191" y="188"/>
                    </a:cubicBezTo>
                    <a:cubicBezTo>
                      <a:pt x="188" y="187"/>
                      <a:pt x="188" y="187"/>
                      <a:pt x="188" y="187"/>
                    </a:cubicBezTo>
                    <a:cubicBezTo>
                      <a:pt x="196" y="184"/>
                      <a:pt x="196" y="184"/>
                      <a:pt x="196" y="184"/>
                    </a:cubicBezTo>
                    <a:cubicBezTo>
                      <a:pt x="204" y="185"/>
                      <a:pt x="204" y="185"/>
                      <a:pt x="204" y="185"/>
                    </a:cubicBezTo>
                    <a:cubicBezTo>
                      <a:pt x="214" y="176"/>
                      <a:pt x="214" y="176"/>
                      <a:pt x="214" y="176"/>
                    </a:cubicBezTo>
                    <a:cubicBezTo>
                      <a:pt x="208" y="176"/>
                      <a:pt x="208" y="176"/>
                      <a:pt x="208" y="176"/>
                    </a:cubicBezTo>
                    <a:cubicBezTo>
                      <a:pt x="201" y="174"/>
                      <a:pt x="201" y="174"/>
                      <a:pt x="201" y="174"/>
                    </a:cubicBezTo>
                    <a:cubicBezTo>
                      <a:pt x="207" y="173"/>
                      <a:pt x="207" y="173"/>
                      <a:pt x="207" y="173"/>
                    </a:cubicBezTo>
                    <a:cubicBezTo>
                      <a:pt x="204" y="169"/>
                      <a:pt x="204" y="169"/>
                      <a:pt x="204" y="169"/>
                    </a:cubicBezTo>
                    <a:cubicBezTo>
                      <a:pt x="209" y="169"/>
                      <a:pt x="209" y="169"/>
                      <a:pt x="209" y="169"/>
                    </a:cubicBezTo>
                    <a:cubicBezTo>
                      <a:pt x="215" y="164"/>
                      <a:pt x="215" y="164"/>
                      <a:pt x="215" y="164"/>
                    </a:cubicBezTo>
                    <a:cubicBezTo>
                      <a:pt x="215" y="164"/>
                      <a:pt x="221" y="163"/>
                      <a:pt x="227" y="158"/>
                    </a:cubicBezTo>
                    <a:cubicBezTo>
                      <a:pt x="231" y="154"/>
                      <a:pt x="233" y="153"/>
                      <a:pt x="233" y="153"/>
                    </a:cubicBezTo>
                    <a:cubicBezTo>
                      <a:pt x="233" y="153"/>
                      <a:pt x="240" y="152"/>
                      <a:pt x="243" y="151"/>
                    </a:cubicBezTo>
                    <a:cubicBezTo>
                      <a:pt x="245" y="149"/>
                      <a:pt x="248" y="141"/>
                      <a:pt x="248" y="141"/>
                    </a:cubicBezTo>
                    <a:cubicBezTo>
                      <a:pt x="248" y="141"/>
                      <a:pt x="245" y="144"/>
                      <a:pt x="246" y="141"/>
                    </a:cubicBezTo>
                    <a:cubicBezTo>
                      <a:pt x="246" y="138"/>
                      <a:pt x="251" y="132"/>
                      <a:pt x="251" y="132"/>
                    </a:cubicBezTo>
                    <a:cubicBezTo>
                      <a:pt x="242" y="129"/>
                      <a:pt x="242" y="129"/>
                      <a:pt x="242" y="129"/>
                    </a:cubicBezTo>
                    <a:cubicBezTo>
                      <a:pt x="237" y="129"/>
                      <a:pt x="237" y="129"/>
                      <a:pt x="237" y="129"/>
                    </a:cubicBezTo>
                    <a:cubicBezTo>
                      <a:pt x="240" y="132"/>
                      <a:pt x="240" y="132"/>
                      <a:pt x="240" y="132"/>
                    </a:cubicBezTo>
                    <a:cubicBezTo>
                      <a:pt x="231" y="129"/>
                      <a:pt x="231" y="129"/>
                      <a:pt x="231" y="129"/>
                    </a:cubicBezTo>
                    <a:cubicBezTo>
                      <a:pt x="225" y="132"/>
                      <a:pt x="225" y="132"/>
                      <a:pt x="225" y="132"/>
                    </a:cubicBezTo>
                    <a:cubicBezTo>
                      <a:pt x="218" y="130"/>
                      <a:pt x="218" y="130"/>
                      <a:pt x="218" y="130"/>
                    </a:cubicBezTo>
                    <a:cubicBezTo>
                      <a:pt x="216" y="127"/>
                      <a:pt x="216" y="127"/>
                      <a:pt x="216" y="127"/>
                    </a:cubicBezTo>
                    <a:cubicBezTo>
                      <a:pt x="215" y="130"/>
                      <a:pt x="215" y="130"/>
                      <a:pt x="215" y="130"/>
                    </a:cubicBezTo>
                    <a:cubicBezTo>
                      <a:pt x="207" y="130"/>
                      <a:pt x="207" y="130"/>
                      <a:pt x="207" y="130"/>
                    </a:cubicBezTo>
                    <a:cubicBezTo>
                      <a:pt x="199" y="135"/>
                      <a:pt x="199" y="135"/>
                      <a:pt x="199" y="135"/>
                    </a:cubicBezTo>
                    <a:cubicBezTo>
                      <a:pt x="202" y="129"/>
                      <a:pt x="202" y="129"/>
                      <a:pt x="202" y="129"/>
                    </a:cubicBezTo>
                    <a:cubicBezTo>
                      <a:pt x="198" y="124"/>
                      <a:pt x="198" y="124"/>
                      <a:pt x="198" y="124"/>
                    </a:cubicBezTo>
                    <a:cubicBezTo>
                      <a:pt x="198" y="124"/>
                      <a:pt x="192" y="133"/>
                      <a:pt x="191" y="133"/>
                    </a:cubicBezTo>
                    <a:cubicBezTo>
                      <a:pt x="188" y="132"/>
                      <a:pt x="193" y="126"/>
                      <a:pt x="193" y="126"/>
                    </a:cubicBezTo>
                    <a:cubicBezTo>
                      <a:pt x="192" y="120"/>
                      <a:pt x="192" y="120"/>
                      <a:pt x="192" y="120"/>
                    </a:cubicBezTo>
                    <a:cubicBezTo>
                      <a:pt x="189" y="123"/>
                      <a:pt x="189" y="123"/>
                      <a:pt x="189" y="123"/>
                    </a:cubicBezTo>
                    <a:cubicBezTo>
                      <a:pt x="188" y="121"/>
                      <a:pt x="188" y="121"/>
                      <a:pt x="188" y="121"/>
                    </a:cubicBezTo>
                    <a:cubicBezTo>
                      <a:pt x="188" y="121"/>
                      <a:pt x="184" y="120"/>
                      <a:pt x="183" y="120"/>
                    </a:cubicBezTo>
                    <a:cubicBezTo>
                      <a:pt x="181" y="120"/>
                      <a:pt x="182" y="122"/>
                      <a:pt x="182" y="122"/>
                    </a:cubicBezTo>
                    <a:cubicBezTo>
                      <a:pt x="182" y="122"/>
                      <a:pt x="179" y="123"/>
                      <a:pt x="178" y="125"/>
                    </a:cubicBezTo>
                    <a:cubicBezTo>
                      <a:pt x="177" y="127"/>
                      <a:pt x="179" y="132"/>
                      <a:pt x="179" y="132"/>
                    </a:cubicBezTo>
                    <a:cubicBezTo>
                      <a:pt x="179" y="132"/>
                      <a:pt x="176" y="130"/>
                      <a:pt x="176" y="134"/>
                    </a:cubicBezTo>
                    <a:cubicBezTo>
                      <a:pt x="175" y="137"/>
                      <a:pt x="176" y="140"/>
                      <a:pt x="176" y="140"/>
                    </a:cubicBezTo>
                    <a:cubicBezTo>
                      <a:pt x="180" y="143"/>
                      <a:pt x="180" y="143"/>
                      <a:pt x="180" y="143"/>
                    </a:cubicBezTo>
                    <a:cubicBezTo>
                      <a:pt x="175" y="141"/>
                      <a:pt x="175" y="141"/>
                      <a:pt x="175" y="141"/>
                    </a:cubicBezTo>
                    <a:cubicBezTo>
                      <a:pt x="169" y="142"/>
                      <a:pt x="169" y="142"/>
                      <a:pt x="169" y="142"/>
                    </a:cubicBezTo>
                    <a:cubicBezTo>
                      <a:pt x="165" y="140"/>
                      <a:pt x="165" y="140"/>
                      <a:pt x="165" y="140"/>
                    </a:cubicBezTo>
                    <a:cubicBezTo>
                      <a:pt x="164" y="140"/>
                      <a:pt x="164" y="140"/>
                      <a:pt x="164" y="140"/>
                    </a:cubicBezTo>
                    <a:cubicBezTo>
                      <a:pt x="166" y="143"/>
                      <a:pt x="166" y="143"/>
                      <a:pt x="166" y="143"/>
                    </a:cubicBezTo>
                    <a:cubicBezTo>
                      <a:pt x="165" y="152"/>
                      <a:pt x="165" y="152"/>
                      <a:pt x="165" y="152"/>
                    </a:cubicBezTo>
                    <a:cubicBezTo>
                      <a:pt x="161" y="151"/>
                      <a:pt x="161" y="151"/>
                      <a:pt x="161" y="151"/>
                    </a:cubicBezTo>
                    <a:cubicBezTo>
                      <a:pt x="161" y="154"/>
                      <a:pt x="161" y="154"/>
                      <a:pt x="161" y="154"/>
                    </a:cubicBezTo>
                    <a:cubicBezTo>
                      <a:pt x="164" y="156"/>
                      <a:pt x="164" y="156"/>
                      <a:pt x="164" y="156"/>
                    </a:cubicBezTo>
                    <a:cubicBezTo>
                      <a:pt x="163" y="158"/>
                      <a:pt x="163" y="158"/>
                      <a:pt x="163" y="158"/>
                    </a:cubicBezTo>
                    <a:cubicBezTo>
                      <a:pt x="166" y="160"/>
                      <a:pt x="166" y="160"/>
                      <a:pt x="166" y="160"/>
                    </a:cubicBezTo>
                    <a:cubicBezTo>
                      <a:pt x="169" y="168"/>
                      <a:pt x="169" y="168"/>
                      <a:pt x="169" y="168"/>
                    </a:cubicBezTo>
                    <a:cubicBezTo>
                      <a:pt x="162" y="158"/>
                      <a:pt x="162" y="158"/>
                      <a:pt x="162" y="158"/>
                    </a:cubicBezTo>
                    <a:cubicBezTo>
                      <a:pt x="155" y="164"/>
                      <a:pt x="155" y="164"/>
                      <a:pt x="155" y="164"/>
                    </a:cubicBezTo>
                    <a:cubicBezTo>
                      <a:pt x="153" y="159"/>
                      <a:pt x="153" y="159"/>
                      <a:pt x="153" y="159"/>
                    </a:cubicBezTo>
                    <a:cubicBezTo>
                      <a:pt x="150" y="160"/>
                      <a:pt x="150" y="160"/>
                      <a:pt x="150" y="160"/>
                    </a:cubicBezTo>
                    <a:cubicBezTo>
                      <a:pt x="151" y="167"/>
                      <a:pt x="151" y="167"/>
                      <a:pt x="151" y="167"/>
                    </a:cubicBezTo>
                    <a:cubicBezTo>
                      <a:pt x="148" y="161"/>
                      <a:pt x="148" y="161"/>
                      <a:pt x="148" y="161"/>
                    </a:cubicBezTo>
                    <a:cubicBezTo>
                      <a:pt x="143" y="161"/>
                      <a:pt x="143" y="161"/>
                      <a:pt x="143" y="161"/>
                    </a:cubicBezTo>
                    <a:cubicBezTo>
                      <a:pt x="143" y="168"/>
                      <a:pt x="143" y="168"/>
                      <a:pt x="143" y="168"/>
                    </a:cubicBezTo>
                    <a:cubicBezTo>
                      <a:pt x="146" y="172"/>
                      <a:pt x="146" y="172"/>
                      <a:pt x="146" y="172"/>
                    </a:cubicBezTo>
                    <a:cubicBezTo>
                      <a:pt x="143" y="171"/>
                      <a:pt x="143" y="171"/>
                      <a:pt x="143" y="171"/>
                    </a:cubicBezTo>
                    <a:cubicBezTo>
                      <a:pt x="142" y="174"/>
                      <a:pt x="142" y="174"/>
                      <a:pt x="142" y="174"/>
                    </a:cubicBezTo>
                    <a:cubicBezTo>
                      <a:pt x="144" y="179"/>
                      <a:pt x="144" y="179"/>
                      <a:pt x="144" y="179"/>
                    </a:cubicBezTo>
                    <a:cubicBezTo>
                      <a:pt x="149" y="183"/>
                      <a:pt x="149" y="183"/>
                      <a:pt x="149" y="183"/>
                    </a:cubicBezTo>
                    <a:cubicBezTo>
                      <a:pt x="143" y="183"/>
                      <a:pt x="143" y="183"/>
                      <a:pt x="143" y="183"/>
                    </a:cubicBezTo>
                    <a:cubicBezTo>
                      <a:pt x="143" y="183"/>
                      <a:pt x="141" y="179"/>
                      <a:pt x="138" y="179"/>
                    </a:cubicBezTo>
                    <a:cubicBezTo>
                      <a:pt x="136" y="179"/>
                      <a:pt x="136" y="185"/>
                      <a:pt x="136" y="186"/>
                    </a:cubicBezTo>
                    <a:cubicBezTo>
                      <a:pt x="137" y="187"/>
                      <a:pt x="134" y="189"/>
                      <a:pt x="135" y="191"/>
                    </a:cubicBezTo>
                    <a:cubicBezTo>
                      <a:pt x="136" y="193"/>
                      <a:pt x="139" y="192"/>
                      <a:pt x="139" y="192"/>
                    </a:cubicBezTo>
                    <a:cubicBezTo>
                      <a:pt x="147" y="193"/>
                      <a:pt x="147" y="193"/>
                      <a:pt x="147" y="193"/>
                    </a:cubicBezTo>
                    <a:cubicBezTo>
                      <a:pt x="141" y="195"/>
                      <a:pt x="141" y="195"/>
                      <a:pt x="141" y="195"/>
                    </a:cubicBezTo>
                    <a:cubicBezTo>
                      <a:pt x="141" y="195"/>
                      <a:pt x="138" y="196"/>
                      <a:pt x="139" y="198"/>
                    </a:cubicBezTo>
                    <a:cubicBezTo>
                      <a:pt x="139" y="200"/>
                      <a:pt x="144" y="200"/>
                      <a:pt x="146" y="202"/>
                    </a:cubicBezTo>
                    <a:cubicBezTo>
                      <a:pt x="147" y="204"/>
                      <a:pt x="147" y="206"/>
                      <a:pt x="147" y="206"/>
                    </a:cubicBezTo>
                    <a:cubicBezTo>
                      <a:pt x="147" y="206"/>
                      <a:pt x="144" y="203"/>
                      <a:pt x="142" y="202"/>
                    </a:cubicBezTo>
                    <a:cubicBezTo>
                      <a:pt x="141" y="201"/>
                      <a:pt x="137" y="206"/>
                      <a:pt x="137" y="206"/>
                    </a:cubicBezTo>
                    <a:cubicBezTo>
                      <a:pt x="142" y="213"/>
                      <a:pt x="142" y="213"/>
                      <a:pt x="142" y="213"/>
                    </a:cubicBezTo>
                    <a:cubicBezTo>
                      <a:pt x="135" y="207"/>
                      <a:pt x="135" y="207"/>
                      <a:pt x="135" y="207"/>
                    </a:cubicBezTo>
                    <a:cubicBezTo>
                      <a:pt x="132" y="212"/>
                      <a:pt x="132" y="212"/>
                      <a:pt x="132" y="212"/>
                    </a:cubicBezTo>
                    <a:cubicBezTo>
                      <a:pt x="136" y="217"/>
                      <a:pt x="136" y="217"/>
                      <a:pt x="136" y="217"/>
                    </a:cubicBezTo>
                    <a:cubicBezTo>
                      <a:pt x="136" y="218"/>
                      <a:pt x="136" y="218"/>
                      <a:pt x="136" y="218"/>
                    </a:cubicBezTo>
                    <a:cubicBezTo>
                      <a:pt x="131" y="215"/>
                      <a:pt x="131" y="215"/>
                      <a:pt x="131" y="215"/>
                    </a:cubicBezTo>
                    <a:cubicBezTo>
                      <a:pt x="123" y="221"/>
                      <a:pt x="123" y="221"/>
                      <a:pt x="123" y="221"/>
                    </a:cubicBezTo>
                    <a:cubicBezTo>
                      <a:pt x="123" y="221"/>
                      <a:pt x="132" y="222"/>
                      <a:pt x="131" y="223"/>
                    </a:cubicBezTo>
                    <a:cubicBezTo>
                      <a:pt x="129" y="226"/>
                      <a:pt x="123" y="226"/>
                      <a:pt x="123" y="226"/>
                    </a:cubicBezTo>
                    <a:cubicBezTo>
                      <a:pt x="122" y="232"/>
                      <a:pt x="122" y="232"/>
                      <a:pt x="122" y="232"/>
                    </a:cubicBezTo>
                    <a:cubicBezTo>
                      <a:pt x="120" y="229"/>
                      <a:pt x="120" y="229"/>
                      <a:pt x="120" y="229"/>
                    </a:cubicBezTo>
                    <a:cubicBezTo>
                      <a:pt x="120" y="229"/>
                      <a:pt x="111" y="229"/>
                      <a:pt x="111" y="230"/>
                    </a:cubicBezTo>
                    <a:cubicBezTo>
                      <a:pt x="111" y="232"/>
                      <a:pt x="121" y="235"/>
                      <a:pt x="121" y="235"/>
                    </a:cubicBezTo>
                    <a:cubicBezTo>
                      <a:pt x="127" y="234"/>
                      <a:pt x="127" y="234"/>
                      <a:pt x="127" y="234"/>
                    </a:cubicBezTo>
                    <a:cubicBezTo>
                      <a:pt x="130" y="231"/>
                      <a:pt x="130" y="231"/>
                      <a:pt x="130" y="231"/>
                    </a:cubicBezTo>
                    <a:cubicBezTo>
                      <a:pt x="139" y="228"/>
                      <a:pt x="139" y="228"/>
                      <a:pt x="139" y="228"/>
                    </a:cubicBezTo>
                    <a:cubicBezTo>
                      <a:pt x="139" y="230"/>
                      <a:pt x="139" y="230"/>
                      <a:pt x="139" y="230"/>
                    </a:cubicBezTo>
                    <a:cubicBezTo>
                      <a:pt x="132" y="232"/>
                      <a:pt x="132" y="232"/>
                      <a:pt x="132" y="232"/>
                    </a:cubicBezTo>
                    <a:cubicBezTo>
                      <a:pt x="130" y="234"/>
                      <a:pt x="130" y="234"/>
                      <a:pt x="130" y="234"/>
                    </a:cubicBezTo>
                    <a:cubicBezTo>
                      <a:pt x="134" y="236"/>
                      <a:pt x="134" y="236"/>
                      <a:pt x="134" y="236"/>
                    </a:cubicBezTo>
                    <a:cubicBezTo>
                      <a:pt x="132" y="237"/>
                      <a:pt x="132" y="237"/>
                      <a:pt x="132" y="237"/>
                    </a:cubicBezTo>
                    <a:cubicBezTo>
                      <a:pt x="129" y="235"/>
                      <a:pt x="129" y="235"/>
                      <a:pt x="129" y="235"/>
                    </a:cubicBezTo>
                    <a:cubicBezTo>
                      <a:pt x="122" y="237"/>
                      <a:pt x="122" y="237"/>
                      <a:pt x="122" y="237"/>
                    </a:cubicBezTo>
                    <a:cubicBezTo>
                      <a:pt x="118" y="236"/>
                      <a:pt x="118" y="236"/>
                      <a:pt x="118" y="236"/>
                    </a:cubicBezTo>
                    <a:cubicBezTo>
                      <a:pt x="117" y="240"/>
                      <a:pt x="117" y="240"/>
                      <a:pt x="117" y="240"/>
                    </a:cubicBezTo>
                    <a:cubicBezTo>
                      <a:pt x="122" y="244"/>
                      <a:pt x="122" y="244"/>
                      <a:pt x="122" y="244"/>
                    </a:cubicBezTo>
                    <a:cubicBezTo>
                      <a:pt x="127" y="247"/>
                      <a:pt x="127" y="247"/>
                      <a:pt x="127" y="247"/>
                    </a:cubicBezTo>
                    <a:cubicBezTo>
                      <a:pt x="135" y="244"/>
                      <a:pt x="135" y="244"/>
                      <a:pt x="135" y="244"/>
                    </a:cubicBezTo>
                    <a:cubicBezTo>
                      <a:pt x="148" y="233"/>
                      <a:pt x="148" y="233"/>
                      <a:pt x="148" y="233"/>
                    </a:cubicBezTo>
                    <a:cubicBezTo>
                      <a:pt x="146" y="231"/>
                      <a:pt x="146" y="231"/>
                      <a:pt x="146" y="231"/>
                    </a:cubicBezTo>
                    <a:cubicBezTo>
                      <a:pt x="149" y="230"/>
                      <a:pt x="149" y="230"/>
                      <a:pt x="149" y="230"/>
                    </a:cubicBezTo>
                    <a:cubicBezTo>
                      <a:pt x="153" y="232"/>
                      <a:pt x="153" y="232"/>
                      <a:pt x="153" y="232"/>
                    </a:cubicBezTo>
                    <a:cubicBezTo>
                      <a:pt x="145" y="238"/>
                      <a:pt x="145" y="238"/>
                      <a:pt x="145" y="238"/>
                    </a:cubicBezTo>
                    <a:cubicBezTo>
                      <a:pt x="145" y="238"/>
                      <a:pt x="152" y="240"/>
                      <a:pt x="151" y="240"/>
                    </a:cubicBezTo>
                    <a:cubicBezTo>
                      <a:pt x="145" y="240"/>
                      <a:pt x="145" y="240"/>
                      <a:pt x="145" y="240"/>
                    </a:cubicBezTo>
                    <a:cubicBezTo>
                      <a:pt x="137" y="246"/>
                      <a:pt x="137" y="246"/>
                      <a:pt x="137" y="246"/>
                    </a:cubicBezTo>
                    <a:cubicBezTo>
                      <a:pt x="141" y="249"/>
                      <a:pt x="141" y="249"/>
                      <a:pt x="141" y="249"/>
                    </a:cubicBezTo>
                    <a:cubicBezTo>
                      <a:pt x="137" y="249"/>
                      <a:pt x="137" y="249"/>
                      <a:pt x="137" y="249"/>
                    </a:cubicBezTo>
                    <a:cubicBezTo>
                      <a:pt x="134" y="251"/>
                      <a:pt x="134" y="251"/>
                      <a:pt x="134" y="251"/>
                    </a:cubicBezTo>
                    <a:cubicBezTo>
                      <a:pt x="141" y="254"/>
                      <a:pt x="141" y="254"/>
                      <a:pt x="141" y="254"/>
                    </a:cubicBezTo>
                    <a:cubicBezTo>
                      <a:pt x="135" y="253"/>
                      <a:pt x="135" y="253"/>
                      <a:pt x="135" y="253"/>
                    </a:cubicBezTo>
                    <a:cubicBezTo>
                      <a:pt x="131" y="260"/>
                      <a:pt x="131" y="260"/>
                      <a:pt x="131" y="260"/>
                    </a:cubicBezTo>
                    <a:cubicBezTo>
                      <a:pt x="125" y="260"/>
                      <a:pt x="125" y="260"/>
                      <a:pt x="125" y="260"/>
                    </a:cubicBezTo>
                    <a:cubicBezTo>
                      <a:pt x="122" y="267"/>
                      <a:pt x="122" y="267"/>
                      <a:pt x="122" y="267"/>
                    </a:cubicBezTo>
                    <a:cubicBezTo>
                      <a:pt x="126" y="267"/>
                      <a:pt x="126" y="267"/>
                      <a:pt x="126" y="267"/>
                    </a:cubicBezTo>
                    <a:cubicBezTo>
                      <a:pt x="125" y="277"/>
                      <a:pt x="125" y="277"/>
                      <a:pt x="125" y="277"/>
                    </a:cubicBezTo>
                    <a:cubicBezTo>
                      <a:pt x="120" y="277"/>
                      <a:pt x="120" y="277"/>
                      <a:pt x="120" y="277"/>
                    </a:cubicBezTo>
                    <a:cubicBezTo>
                      <a:pt x="115" y="281"/>
                      <a:pt x="115" y="281"/>
                      <a:pt x="115" y="281"/>
                    </a:cubicBezTo>
                    <a:cubicBezTo>
                      <a:pt x="118" y="285"/>
                      <a:pt x="118" y="285"/>
                      <a:pt x="118" y="285"/>
                    </a:cubicBezTo>
                    <a:cubicBezTo>
                      <a:pt x="115" y="292"/>
                      <a:pt x="115" y="292"/>
                      <a:pt x="115" y="292"/>
                    </a:cubicBezTo>
                    <a:cubicBezTo>
                      <a:pt x="116" y="294"/>
                      <a:pt x="116" y="294"/>
                      <a:pt x="116" y="294"/>
                    </a:cubicBezTo>
                    <a:cubicBezTo>
                      <a:pt x="121" y="294"/>
                      <a:pt x="121" y="294"/>
                      <a:pt x="121" y="294"/>
                    </a:cubicBezTo>
                    <a:cubicBezTo>
                      <a:pt x="116" y="296"/>
                      <a:pt x="116" y="296"/>
                      <a:pt x="116" y="296"/>
                    </a:cubicBezTo>
                    <a:cubicBezTo>
                      <a:pt x="111" y="305"/>
                      <a:pt x="111" y="305"/>
                      <a:pt x="111" y="305"/>
                    </a:cubicBezTo>
                    <a:cubicBezTo>
                      <a:pt x="110" y="306"/>
                      <a:pt x="110" y="306"/>
                      <a:pt x="110" y="306"/>
                    </a:cubicBezTo>
                    <a:cubicBezTo>
                      <a:pt x="110" y="306"/>
                      <a:pt x="109" y="313"/>
                      <a:pt x="106" y="315"/>
                    </a:cubicBezTo>
                    <a:cubicBezTo>
                      <a:pt x="105" y="316"/>
                      <a:pt x="101" y="317"/>
                      <a:pt x="101" y="317"/>
                    </a:cubicBezTo>
                    <a:cubicBezTo>
                      <a:pt x="101" y="317"/>
                      <a:pt x="100" y="324"/>
                      <a:pt x="105" y="324"/>
                    </a:cubicBezTo>
                    <a:cubicBezTo>
                      <a:pt x="112" y="325"/>
                      <a:pt x="114" y="318"/>
                      <a:pt x="114" y="318"/>
                    </a:cubicBezTo>
                    <a:cubicBezTo>
                      <a:pt x="113" y="316"/>
                      <a:pt x="113" y="316"/>
                      <a:pt x="113" y="316"/>
                    </a:cubicBezTo>
                    <a:cubicBezTo>
                      <a:pt x="114" y="314"/>
                      <a:pt x="114" y="314"/>
                      <a:pt x="114" y="314"/>
                    </a:cubicBezTo>
                    <a:cubicBezTo>
                      <a:pt x="121" y="300"/>
                      <a:pt x="121" y="300"/>
                      <a:pt x="121" y="300"/>
                    </a:cubicBezTo>
                    <a:cubicBezTo>
                      <a:pt x="128" y="296"/>
                      <a:pt x="128" y="296"/>
                      <a:pt x="128" y="296"/>
                    </a:cubicBezTo>
                    <a:cubicBezTo>
                      <a:pt x="125" y="292"/>
                      <a:pt x="125" y="292"/>
                      <a:pt x="125" y="292"/>
                    </a:cubicBezTo>
                    <a:cubicBezTo>
                      <a:pt x="126" y="282"/>
                      <a:pt x="126" y="282"/>
                      <a:pt x="126" y="282"/>
                    </a:cubicBezTo>
                    <a:cubicBezTo>
                      <a:pt x="129" y="282"/>
                      <a:pt x="129" y="282"/>
                      <a:pt x="129" y="282"/>
                    </a:cubicBezTo>
                    <a:cubicBezTo>
                      <a:pt x="136" y="276"/>
                      <a:pt x="136" y="276"/>
                      <a:pt x="136" y="276"/>
                    </a:cubicBezTo>
                    <a:cubicBezTo>
                      <a:pt x="139" y="275"/>
                      <a:pt x="139" y="275"/>
                      <a:pt x="139" y="275"/>
                    </a:cubicBezTo>
                    <a:cubicBezTo>
                      <a:pt x="144" y="271"/>
                      <a:pt x="144" y="271"/>
                      <a:pt x="144" y="271"/>
                    </a:cubicBezTo>
                    <a:cubicBezTo>
                      <a:pt x="148" y="270"/>
                      <a:pt x="148" y="270"/>
                      <a:pt x="148" y="270"/>
                    </a:cubicBezTo>
                    <a:cubicBezTo>
                      <a:pt x="145" y="272"/>
                      <a:pt x="145" y="272"/>
                      <a:pt x="145" y="272"/>
                    </a:cubicBezTo>
                    <a:cubicBezTo>
                      <a:pt x="142" y="276"/>
                      <a:pt x="142" y="276"/>
                      <a:pt x="142" y="276"/>
                    </a:cubicBezTo>
                    <a:cubicBezTo>
                      <a:pt x="137" y="277"/>
                      <a:pt x="137" y="277"/>
                      <a:pt x="137" y="277"/>
                    </a:cubicBezTo>
                    <a:cubicBezTo>
                      <a:pt x="132" y="282"/>
                      <a:pt x="132" y="282"/>
                      <a:pt x="132" y="282"/>
                    </a:cubicBezTo>
                    <a:cubicBezTo>
                      <a:pt x="129" y="283"/>
                      <a:pt x="129" y="283"/>
                      <a:pt x="129" y="283"/>
                    </a:cubicBezTo>
                    <a:cubicBezTo>
                      <a:pt x="127" y="291"/>
                      <a:pt x="127" y="291"/>
                      <a:pt x="127" y="291"/>
                    </a:cubicBezTo>
                    <a:cubicBezTo>
                      <a:pt x="132" y="295"/>
                      <a:pt x="132" y="295"/>
                      <a:pt x="132" y="295"/>
                    </a:cubicBezTo>
                    <a:cubicBezTo>
                      <a:pt x="131" y="287"/>
                      <a:pt x="131" y="287"/>
                      <a:pt x="131" y="287"/>
                    </a:cubicBezTo>
                    <a:cubicBezTo>
                      <a:pt x="135" y="290"/>
                      <a:pt x="135" y="290"/>
                      <a:pt x="135" y="290"/>
                    </a:cubicBezTo>
                    <a:cubicBezTo>
                      <a:pt x="137" y="287"/>
                      <a:pt x="137" y="287"/>
                      <a:pt x="137" y="287"/>
                    </a:cubicBezTo>
                    <a:cubicBezTo>
                      <a:pt x="139" y="294"/>
                      <a:pt x="139" y="294"/>
                      <a:pt x="139" y="294"/>
                    </a:cubicBezTo>
                    <a:cubicBezTo>
                      <a:pt x="144" y="290"/>
                      <a:pt x="144" y="290"/>
                      <a:pt x="144" y="290"/>
                    </a:cubicBezTo>
                    <a:cubicBezTo>
                      <a:pt x="143" y="285"/>
                      <a:pt x="143" y="285"/>
                      <a:pt x="143" y="285"/>
                    </a:cubicBezTo>
                    <a:cubicBezTo>
                      <a:pt x="145" y="285"/>
                      <a:pt x="145" y="285"/>
                      <a:pt x="145" y="285"/>
                    </a:cubicBezTo>
                    <a:cubicBezTo>
                      <a:pt x="145" y="285"/>
                      <a:pt x="147" y="279"/>
                      <a:pt x="148" y="280"/>
                    </a:cubicBezTo>
                    <a:cubicBezTo>
                      <a:pt x="150" y="280"/>
                      <a:pt x="148" y="283"/>
                      <a:pt x="148" y="283"/>
                    </a:cubicBezTo>
                    <a:cubicBezTo>
                      <a:pt x="148" y="287"/>
                      <a:pt x="148" y="287"/>
                      <a:pt x="148" y="287"/>
                    </a:cubicBezTo>
                    <a:cubicBezTo>
                      <a:pt x="149" y="285"/>
                      <a:pt x="149" y="285"/>
                      <a:pt x="149" y="285"/>
                    </a:cubicBezTo>
                    <a:cubicBezTo>
                      <a:pt x="152" y="290"/>
                      <a:pt x="152" y="290"/>
                      <a:pt x="152" y="290"/>
                    </a:cubicBezTo>
                    <a:cubicBezTo>
                      <a:pt x="158" y="294"/>
                      <a:pt x="158" y="294"/>
                      <a:pt x="158" y="294"/>
                    </a:cubicBezTo>
                    <a:cubicBezTo>
                      <a:pt x="151" y="293"/>
                      <a:pt x="151" y="293"/>
                      <a:pt x="151" y="293"/>
                    </a:cubicBezTo>
                    <a:cubicBezTo>
                      <a:pt x="148" y="290"/>
                      <a:pt x="148" y="290"/>
                      <a:pt x="148" y="290"/>
                    </a:cubicBezTo>
                    <a:cubicBezTo>
                      <a:pt x="145" y="292"/>
                      <a:pt x="145" y="292"/>
                      <a:pt x="145" y="292"/>
                    </a:cubicBezTo>
                    <a:cubicBezTo>
                      <a:pt x="144" y="302"/>
                      <a:pt x="144" y="302"/>
                      <a:pt x="144" y="302"/>
                    </a:cubicBezTo>
                    <a:cubicBezTo>
                      <a:pt x="144" y="302"/>
                      <a:pt x="141" y="302"/>
                      <a:pt x="141" y="303"/>
                    </a:cubicBezTo>
                    <a:cubicBezTo>
                      <a:pt x="141" y="311"/>
                      <a:pt x="141" y="311"/>
                      <a:pt x="141" y="311"/>
                    </a:cubicBezTo>
                    <a:cubicBezTo>
                      <a:pt x="141" y="311"/>
                      <a:pt x="148" y="313"/>
                      <a:pt x="147" y="317"/>
                    </a:cubicBezTo>
                    <a:cubicBezTo>
                      <a:pt x="147" y="322"/>
                      <a:pt x="142" y="325"/>
                      <a:pt x="142" y="325"/>
                    </a:cubicBezTo>
                    <a:cubicBezTo>
                      <a:pt x="141" y="329"/>
                      <a:pt x="141" y="329"/>
                      <a:pt x="141" y="329"/>
                    </a:cubicBezTo>
                    <a:cubicBezTo>
                      <a:pt x="137" y="329"/>
                      <a:pt x="137" y="329"/>
                      <a:pt x="137" y="329"/>
                    </a:cubicBezTo>
                    <a:cubicBezTo>
                      <a:pt x="137" y="329"/>
                      <a:pt x="137" y="333"/>
                      <a:pt x="135" y="335"/>
                    </a:cubicBezTo>
                    <a:cubicBezTo>
                      <a:pt x="133" y="337"/>
                      <a:pt x="128" y="341"/>
                      <a:pt x="127" y="344"/>
                    </a:cubicBezTo>
                    <a:cubicBezTo>
                      <a:pt x="126" y="347"/>
                      <a:pt x="123" y="355"/>
                      <a:pt x="123" y="355"/>
                    </a:cubicBezTo>
                    <a:cubicBezTo>
                      <a:pt x="121" y="348"/>
                      <a:pt x="121" y="348"/>
                      <a:pt x="121" y="348"/>
                    </a:cubicBezTo>
                    <a:cubicBezTo>
                      <a:pt x="120" y="348"/>
                      <a:pt x="120" y="348"/>
                      <a:pt x="120" y="348"/>
                    </a:cubicBezTo>
                    <a:cubicBezTo>
                      <a:pt x="120" y="348"/>
                      <a:pt x="117" y="355"/>
                      <a:pt x="119" y="358"/>
                    </a:cubicBezTo>
                    <a:cubicBezTo>
                      <a:pt x="120" y="360"/>
                      <a:pt x="122" y="365"/>
                      <a:pt x="122" y="365"/>
                    </a:cubicBezTo>
                    <a:cubicBezTo>
                      <a:pt x="122" y="371"/>
                      <a:pt x="122" y="371"/>
                      <a:pt x="122" y="371"/>
                    </a:cubicBezTo>
                    <a:cubicBezTo>
                      <a:pt x="125" y="373"/>
                      <a:pt x="125" y="373"/>
                      <a:pt x="125" y="373"/>
                    </a:cubicBezTo>
                    <a:cubicBezTo>
                      <a:pt x="126" y="370"/>
                      <a:pt x="126" y="370"/>
                      <a:pt x="126" y="370"/>
                    </a:cubicBezTo>
                    <a:cubicBezTo>
                      <a:pt x="126" y="370"/>
                      <a:pt x="122" y="363"/>
                      <a:pt x="127" y="361"/>
                    </a:cubicBezTo>
                    <a:cubicBezTo>
                      <a:pt x="130" y="359"/>
                      <a:pt x="132" y="360"/>
                      <a:pt x="132" y="360"/>
                    </a:cubicBezTo>
                    <a:cubicBezTo>
                      <a:pt x="132" y="363"/>
                      <a:pt x="132" y="363"/>
                      <a:pt x="132" y="363"/>
                    </a:cubicBezTo>
                    <a:cubicBezTo>
                      <a:pt x="139" y="368"/>
                      <a:pt x="139" y="368"/>
                      <a:pt x="139" y="368"/>
                    </a:cubicBezTo>
                    <a:cubicBezTo>
                      <a:pt x="144" y="374"/>
                      <a:pt x="144" y="374"/>
                      <a:pt x="144" y="374"/>
                    </a:cubicBezTo>
                    <a:cubicBezTo>
                      <a:pt x="147" y="368"/>
                      <a:pt x="147" y="368"/>
                      <a:pt x="147" y="368"/>
                    </a:cubicBezTo>
                    <a:cubicBezTo>
                      <a:pt x="145" y="363"/>
                      <a:pt x="145" y="363"/>
                      <a:pt x="145" y="363"/>
                    </a:cubicBezTo>
                    <a:cubicBezTo>
                      <a:pt x="145" y="360"/>
                      <a:pt x="145" y="360"/>
                      <a:pt x="145" y="360"/>
                    </a:cubicBezTo>
                    <a:cubicBezTo>
                      <a:pt x="145" y="360"/>
                      <a:pt x="147" y="364"/>
                      <a:pt x="149" y="365"/>
                    </a:cubicBezTo>
                    <a:cubicBezTo>
                      <a:pt x="153" y="365"/>
                      <a:pt x="153" y="365"/>
                      <a:pt x="153" y="365"/>
                    </a:cubicBezTo>
                    <a:cubicBezTo>
                      <a:pt x="153" y="365"/>
                      <a:pt x="149" y="372"/>
                      <a:pt x="153" y="372"/>
                    </a:cubicBezTo>
                    <a:cubicBezTo>
                      <a:pt x="158" y="372"/>
                      <a:pt x="164" y="371"/>
                      <a:pt x="164" y="371"/>
                    </a:cubicBezTo>
                    <a:cubicBezTo>
                      <a:pt x="166" y="368"/>
                      <a:pt x="166" y="368"/>
                      <a:pt x="166" y="368"/>
                    </a:cubicBezTo>
                    <a:cubicBezTo>
                      <a:pt x="170" y="369"/>
                      <a:pt x="170" y="369"/>
                      <a:pt x="170" y="369"/>
                    </a:cubicBezTo>
                    <a:cubicBezTo>
                      <a:pt x="178" y="369"/>
                      <a:pt x="178" y="369"/>
                      <a:pt x="178" y="369"/>
                    </a:cubicBezTo>
                    <a:cubicBezTo>
                      <a:pt x="179" y="357"/>
                      <a:pt x="179" y="357"/>
                      <a:pt x="179" y="357"/>
                    </a:cubicBezTo>
                    <a:cubicBezTo>
                      <a:pt x="179" y="357"/>
                      <a:pt x="179" y="362"/>
                      <a:pt x="181" y="363"/>
                    </a:cubicBezTo>
                    <a:cubicBezTo>
                      <a:pt x="183" y="363"/>
                      <a:pt x="198" y="365"/>
                      <a:pt x="198" y="365"/>
                    </a:cubicBezTo>
                    <a:cubicBezTo>
                      <a:pt x="196" y="368"/>
                      <a:pt x="196" y="368"/>
                      <a:pt x="196" y="368"/>
                    </a:cubicBezTo>
                    <a:cubicBezTo>
                      <a:pt x="194" y="368"/>
                      <a:pt x="194" y="368"/>
                      <a:pt x="194" y="368"/>
                    </a:cubicBezTo>
                    <a:cubicBezTo>
                      <a:pt x="193" y="366"/>
                      <a:pt x="193" y="366"/>
                      <a:pt x="193" y="366"/>
                    </a:cubicBezTo>
                    <a:cubicBezTo>
                      <a:pt x="188" y="366"/>
                      <a:pt x="188" y="366"/>
                      <a:pt x="188" y="366"/>
                    </a:cubicBezTo>
                    <a:cubicBezTo>
                      <a:pt x="189" y="370"/>
                      <a:pt x="189" y="370"/>
                      <a:pt x="189" y="370"/>
                    </a:cubicBezTo>
                    <a:cubicBezTo>
                      <a:pt x="186" y="369"/>
                      <a:pt x="186" y="369"/>
                      <a:pt x="186" y="369"/>
                    </a:cubicBezTo>
                    <a:cubicBezTo>
                      <a:pt x="180" y="373"/>
                      <a:pt x="180" y="373"/>
                      <a:pt x="180" y="373"/>
                    </a:cubicBezTo>
                    <a:cubicBezTo>
                      <a:pt x="181" y="375"/>
                      <a:pt x="181" y="375"/>
                      <a:pt x="181" y="375"/>
                    </a:cubicBezTo>
                    <a:cubicBezTo>
                      <a:pt x="181" y="375"/>
                      <a:pt x="176" y="378"/>
                      <a:pt x="175" y="381"/>
                    </a:cubicBezTo>
                    <a:cubicBezTo>
                      <a:pt x="174" y="384"/>
                      <a:pt x="172" y="388"/>
                      <a:pt x="172" y="388"/>
                    </a:cubicBezTo>
                    <a:cubicBezTo>
                      <a:pt x="169" y="390"/>
                      <a:pt x="169" y="390"/>
                      <a:pt x="169" y="390"/>
                    </a:cubicBezTo>
                    <a:cubicBezTo>
                      <a:pt x="172" y="396"/>
                      <a:pt x="172" y="396"/>
                      <a:pt x="172" y="396"/>
                    </a:cubicBezTo>
                    <a:cubicBezTo>
                      <a:pt x="174" y="400"/>
                      <a:pt x="174" y="400"/>
                      <a:pt x="174" y="400"/>
                    </a:cubicBezTo>
                    <a:cubicBezTo>
                      <a:pt x="174" y="400"/>
                      <a:pt x="176" y="401"/>
                      <a:pt x="176" y="403"/>
                    </a:cubicBezTo>
                    <a:cubicBezTo>
                      <a:pt x="176" y="404"/>
                      <a:pt x="175" y="409"/>
                      <a:pt x="175" y="410"/>
                    </a:cubicBezTo>
                    <a:cubicBezTo>
                      <a:pt x="176" y="412"/>
                      <a:pt x="178" y="414"/>
                      <a:pt x="178" y="414"/>
                    </a:cubicBezTo>
                    <a:cubicBezTo>
                      <a:pt x="182" y="409"/>
                      <a:pt x="182" y="409"/>
                      <a:pt x="182" y="409"/>
                    </a:cubicBezTo>
                    <a:cubicBezTo>
                      <a:pt x="182" y="413"/>
                      <a:pt x="182" y="413"/>
                      <a:pt x="182" y="413"/>
                    </a:cubicBezTo>
                    <a:cubicBezTo>
                      <a:pt x="180" y="416"/>
                      <a:pt x="180" y="416"/>
                      <a:pt x="180" y="416"/>
                    </a:cubicBezTo>
                    <a:cubicBezTo>
                      <a:pt x="179" y="416"/>
                      <a:pt x="181" y="422"/>
                      <a:pt x="181" y="422"/>
                    </a:cubicBezTo>
                    <a:cubicBezTo>
                      <a:pt x="185" y="417"/>
                      <a:pt x="185" y="417"/>
                      <a:pt x="185" y="417"/>
                    </a:cubicBezTo>
                    <a:cubicBezTo>
                      <a:pt x="186" y="412"/>
                      <a:pt x="186" y="412"/>
                      <a:pt x="186" y="412"/>
                    </a:cubicBezTo>
                    <a:cubicBezTo>
                      <a:pt x="189" y="420"/>
                      <a:pt x="189" y="420"/>
                      <a:pt x="189" y="420"/>
                    </a:cubicBezTo>
                    <a:cubicBezTo>
                      <a:pt x="194" y="417"/>
                      <a:pt x="194" y="417"/>
                      <a:pt x="194" y="417"/>
                    </a:cubicBezTo>
                    <a:cubicBezTo>
                      <a:pt x="194" y="423"/>
                      <a:pt x="194" y="423"/>
                      <a:pt x="194" y="423"/>
                    </a:cubicBezTo>
                    <a:cubicBezTo>
                      <a:pt x="194" y="423"/>
                      <a:pt x="189" y="424"/>
                      <a:pt x="189" y="425"/>
                    </a:cubicBezTo>
                    <a:cubicBezTo>
                      <a:pt x="189" y="427"/>
                      <a:pt x="192" y="428"/>
                      <a:pt x="192" y="428"/>
                    </a:cubicBezTo>
                    <a:cubicBezTo>
                      <a:pt x="191" y="432"/>
                      <a:pt x="191" y="432"/>
                      <a:pt x="191" y="432"/>
                    </a:cubicBezTo>
                    <a:cubicBezTo>
                      <a:pt x="182" y="433"/>
                      <a:pt x="182" y="433"/>
                      <a:pt x="182" y="433"/>
                    </a:cubicBezTo>
                    <a:cubicBezTo>
                      <a:pt x="182" y="433"/>
                      <a:pt x="180" y="442"/>
                      <a:pt x="182" y="443"/>
                    </a:cubicBezTo>
                    <a:cubicBezTo>
                      <a:pt x="184" y="444"/>
                      <a:pt x="185" y="448"/>
                      <a:pt x="185" y="448"/>
                    </a:cubicBezTo>
                    <a:cubicBezTo>
                      <a:pt x="185" y="448"/>
                      <a:pt x="177" y="452"/>
                      <a:pt x="177" y="457"/>
                    </a:cubicBezTo>
                    <a:cubicBezTo>
                      <a:pt x="178" y="461"/>
                      <a:pt x="181" y="470"/>
                      <a:pt x="181" y="470"/>
                    </a:cubicBezTo>
                    <a:cubicBezTo>
                      <a:pt x="186" y="472"/>
                      <a:pt x="186" y="472"/>
                      <a:pt x="186" y="472"/>
                    </a:cubicBezTo>
                    <a:cubicBezTo>
                      <a:pt x="186" y="472"/>
                      <a:pt x="185" y="474"/>
                      <a:pt x="184" y="474"/>
                    </a:cubicBezTo>
                    <a:cubicBezTo>
                      <a:pt x="183" y="474"/>
                      <a:pt x="179" y="472"/>
                      <a:pt x="179" y="472"/>
                    </a:cubicBezTo>
                    <a:cubicBezTo>
                      <a:pt x="177" y="465"/>
                      <a:pt x="177" y="465"/>
                      <a:pt x="177" y="465"/>
                    </a:cubicBezTo>
                    <a:cubicBezTo>
                      <a:pt x="177" y="465"/>
                      <a:pt x="171" y="464"/>
                      <a:pt x="171" y="466"/>
                    </a:cubicBezTo>
                    <a:cubicBezTo>
                      <a:pt x="170" y="467"/>
                      <a:pt x="172" y="474"/>
                      <a:pt x="172" y="474"/>
                    </a:cubicBezTo>
                    <a:cubicBezTo>
                      <a:pt x="165" y="467"/>
                      <a:pt x="165" y="467"/>
                      <a:pt x="165" y="467"/>
                    </a:cubicBezTo>
                    <a:cubicBezTo>
                      <a:pt x="152" y="469"/>
                      <a:pt x="152" y="469"/>
                      <a:pt x="152" y="469"/>
                    </a:cubicBezTo>
                    <a:cubicBezTo>
                      <a:pt x="144" y="464"/>
                      <a:pt x="144" y="464"/>
                      <a:pt x="144" y="464"/>
                    </a:cubicBezTo>
                    <a:cubicBezTo>
                      <a:pt x="144" y="467"/>
                      <a:pt x="144" y="467"/>
                      <a:pt x="144" y="467"/>
                    </a:cubicBezTo>
                    <a:cubicBezTo>
                      <a:pt x="133" y="469"/>
                      <a:pt x="133" y="469"/>
                      <a:pt x="133" y="469"/>
                    </a:cubicBezTo>
                    <a:cubicBezTo>
                      <a:pt x="121" y="475"/>
                      <a:pt x="121" y="475"/>
                      <a:pt x="121" y="475"/>
                    </a:cubicBezTo>
                    <a:cubicBezTo>
                      <a:pt x="121" y="475"/>
                      <a:pt x="120" y="482"/>
                      <a:pt x="117" y="483"/>
                    </a:cubicBezTo>
                    <a:cubicBezTo>
                      <a:pt x="115" y="485"/>
                      <a:pt x="111" y="485"/>
                      <a:pt x="111" y="485"/>
                    </a:cubicBezTo>
                    <a:cubicBezTo>
                      <a:pt x="111" y="485"/>
                      <a:pt x="100" y="490"/>
                      <a:pt x="101" y="491"/>
                    </a:cubicBezTo>
                    <a:cubicBezTo>
                      <a:pt x="103" y="492"/>
                      <a:pt x="107" y="491"/>
                      <a:pt x="109" y="492"/>
                    </a:cubicBezTo>
                    <a:cubicBezTo>
                      <a:pt x="110" y="494"/>
                      <a:pt x="110" y="497"/>
                      <a:pt x="110" y="497"/>
                    </a:cubicBezTo>
                    <a:cubicBezTo>
                      <a:pt x="110" y="497"/>
                      <a:pt x="112" y="496"/>
                      <a:pt x="112" y="494"/>
                    </a:cubicBezTo>
                    <a:cubicBezTo>
                      <a:pt x="113" y="491"/>
                      <a:pt x="114" y="489"/>
                      <a:pt x="116" y="489"/>
                    </a:cubicBezTo>
                    <a:cubicBezTo>
                      <a:pt x="117" y="488"/>
                      <a:pt x="119" y="490"/>
                      <a:pt x="119" y="490"/>
                    </a:cubicBezTo>
                    <a:cubicBezTo>
                      <a:pt x="122" y="489"/>
                      <a:pt x="122" y="489"/>
                      <a:pt x="122" y="489"/>
                    </a:cubicBezTo>
                    <a:cubicBezTo>
                      <a:pt x="129" y="490"/>
                      <a:pt x="129" y="490"/>
                      <a:pt x="129" y="490"/>
                    </a:cubicBezTo>
                    <a:cubicBezTo>
                      <a:pt x="127" y="494"/>
                      <a:pt x="127" y="494"/>
                      <a:pt x="127" y="494"/>
                    </a:cubicBezTo>
                    <a:cubicBezTo>
                      <a:pt x="127" y="494"/>
                      <a:pt x="126" y="499"/>
                      <a:pt x="127" y="500"/>
                    </a:cubicBezTo>
                    <a:cubicBezTo>
                      <a:pt x="128" y="501"/>
                      <a:pt x="128" y="503"/>
                      <a:pt x="128" y="503"/>
                    </a:cubicBezTo>
                    <a:cubicBezTo>
                      <a:pt x="128" y="503"/>
                      <a:pt x="123" y="506"/>
                      <a:pt x="123" y="510"/>
                    </a:cubicBezTo>
                    <a:cubicBezTo>
                      <a:pt x="123" y="512"/>
                      <a:pt x="128" y="514"/>
                      <a:pt x="128" y="514"/>
                    </a:cubicBezTo>
                    <a:cubicBezTo>
                      <a:pt x="126" y="516"/>
                      <a:pt x="126" y="516"/>
                      <a:pt x="126" y="516"/>
                    </a:cubicBezTo>
                    <a:cubicBezTo>
                      <a:pt x="126" y="516"/>
                      <a:pt x="119" y="531"/>
                      <a:pt x="116" y="531"/>
                    </a:cubicBezTo>
                    <a:cubicBezTo>
                      <a:pt x="113" y="532"/>
                      <a:pt x="110" y="532"/>
                      <a:pt x="109" y="533"/>
                    </a:cubicBezTo>
                    <a:cubicBezTo>
                      <a:pt x="106" y="534"/>
                      <a:pt x="102" y="536"/>
                      <a:pt x="102" y="536"/>
                    </a:cubicBezTo>
                    <a:cubicBezTo>
                      <a:pt x="98" y="535"/>
                      <a:pt x="98" y="535"/>
                      <a:pt x="98" y="535"/>
                    </a:cubicBezTo>
                    <a:cubicBezTo>
                      <a:pt x="88" y="538"/>
                      <a:pt x="88" y="538"/>
                      <a:pt x="88" y="538"/>
                    </a:cubicBezTo>
                    <a:cubicBezTo>
                      <a:pt x="87" y="542"/>
                      <a:pt x="87" y="542"/>
                      <a:pt x="87" y="542"/>
                    </a:cubicBezTo>
                    <a:cubicBezTo>
                      <a:pt x="82" y="542"/>
                      <a:pt x="82" y="542"/>
                      <a:pt x="82" y="542"/>
                    </a:cubicBezTo>
                    <a:cubicBezTo>
                      <a:pt x="79" y="538"/>
                      <a:pt x="79" y="538"/>
                      <a:pt x="79" y="538"/>
                    </a:cubicBezTo>
                    <a:cubicBezTo>
                      <a:pt x="76" y="539"/>
                      <a:pt x="76" y="539"/>
                      <a:pt x="76" y="539"/>
                    </a:cubicBezTo>
                    <a:cubicBezTo>
                      <a:pt x="77" y="542"/>
                      <a:pt x="77" y="542"/>
                      <a:pt x="77" y="542"/>
                    </a:cubicBezTo>
                    <a:cubicBezTo>
                      <a:pt x="77" y="542"/>
                      <a:pt x="66" y="543"/>
                      <a:pt x="66" y="545"/>
                    </a:cubicBezTo>
                    <a:cubicBezTo>
                      <a:pt x="65" y="547"/>
                      <a:pt x="65" y="548"/>
                      <a:pt x="65" y="548"/>
                    </a:cubicBezTo>
                    <a:cubicBezTo>
                      <a:pt x="72" y="549"/>
                      <a:pt x="72" y="549"/>
                      <a:pt x="72" y="549"/>
                    </a:cubicBezTo>
                    <a:cubicBezTo>
                      <a:pt x="72" y="549"/>
                      <a:pt x="73" y="554"/>
                      <a:pt x="71" y="554"/>
                    </a:cubicBezTo>
                    <a:cubicBezTo>
                      <a:pt x="68" y="554"/>
                      <a:pt x="66" y="555"/>
                      <a:pt x="66" y="555"/>
                    </a:cubicBezTo>
                    <a:cubicBezTo>
                      <a:pt x="67" y="561"/>
                      <a:pt x="67" y="561"/>
                      <a:pt x="67" y="561"/>
                    </a:cubicBezTo>
                    <a:cubicBezTo>
                      <a:pt x="67" y="561"/>
                      <a:pt x="70" y="559"/>
                      <a:pt x="71" y="559"/>
                    </a:cubicBezTo>
                    <a:cubicBezTo>
                      <a:pt x="72" y="559"/>
                      <a:pt x="74" y="560"/>
                      <a:pt x="74" y="560"/>
                    </a:cubicBezTo>
                    <a:cubicBezTo>
                      <a:pt x="80" y="559"/>
                      <a:pt x="80" y="559"/>
                      <a:pt x="80" y="559"/>
                    </a:cubicBezTo>
                    <a:cubicBezTo>
                      <a:pt x="82" y="555"/>
                      <a:pt x="82" y="555"/>
                      <a:pt x="82" y="555"/>
                    </a:cubicBezTo>
                    <a:cubicBezTo>
                      <a:pt x="86" y="555"/>
                      <a:pt x="86" y="555"/>
                      <a:pt x="86" y="555"/>
                    </a:cubicBezTo>
                    <a:cubicBezTo>
                      <a:pt x="83" y="558"/>
                      <a:pt x="83" y="558"/>
                      <a:pt x="83" y="558"/>
                    </a:cubicBezTo>
                    <a:cubicBezTo>
                      <a:pt x="82" y="561"/>
                      <a:pt x="82" y="561"/>
                      <a:pt x="82" y="561"/>
                    </a:cubicBezTo>
                    <a:cubicBezTo>
                      <a:pt x="73" y="561"/>
                      <a:pt x="73" y="561"/>
                      <a:pt x="73" y="561"/>
                    </a:cubicBezTo>
                    <a:cubicBezTo>
                      <a:pt x="71" y="562"/>
                      <a:pt x="71" y="562"/>
                      <a:pt x="71" y="562"/>
                    </a:cubicBezTo>
                    <a:cubicBezTo>
                      <a:pt x="71" y="562"/>
                      <a:pt x="71" y="567"/>
                      <a:pt x="73" y="567"/>
                    </a:cubicBezTo>
                    <a:cubicBezTo>
                      <a:pt x="76" y="567"/>
                      <a:pt x="80" y="566"/>
                      <a:pt x="80" y="566"/>
                    </a:cubicBezTo>
                    <a:cubicBezTo>
                      <a:pt x="80" y="566"/>
                      <a:pt x="83" y="567"/>
                      <a:pt x="84" y="566"/>
                    </a:cubicBezTo>
                    <a:cubicBezTo>
                      <a:pt x="86" y="565"/>
                      <a:pt x="88" y="563"/>
                      <a:pt x="88" y="563"/>
                    </a:cubicBezTo>
                    <a:cubicBezTo>
                      <a:pt x="96" y="563"/>
                      <a:pt x="96" y="563"/>
                      <a:pt x="96" y="563"/>
                    </a:cubicBezTo>
                    <a:cubicBezTo>
                      <a:pt x="96" y="563"/>
                      <a:pt x="100" y="560"/>
                      <a:pt x="102" y="561"/>
                    </a:cubicBezTo>
                    <a:cubicBezTo>
                      <a:pt x="104" y="562"/>
                      <a:pt x="99" y="565"/>
                      <a:pt x="101" y="566"/>
                    </a:cubicBezTo>
                    <a:cubicBezTo>
                      <a:pt x="103" y="567"/>
                      <a:pt x="109" y="569"/>
                      <a:pt x="109" y="569"/>
                    </a:cubicBezTo>
                    <a:cubicBezTo>
                      <a:pt x="115" y="568"/>
                      <a:pt x="115" y="568"/>
                      <a:pt x="115" y="568"/>
                    </a:cubicBezTo>
                    <a:cubicBezTo>
                      <a:pt x="114" y="570"/>
                      <a:pt x="114" y="570"/>
                      <a:pt x="114" y="570"/>
                    </a:cubicBezTo>
                    <a:cubicBezTo>
                      <a:pt x="109" y="571"/>
                      <a:pt x="109" y="571"/>
                      <a:pt x="109" y="571"/>
                    </a:cubicBezTo>
                    <a:cubicBezTo>
                      <a:pt x="109" y="571"/>
                      <a:pt x="103" y="570"/>
                      <a:pt x="103" y="573"/>
                    </a:cubicBezTo>
                    <a:cubicBezTo>
                      <a:pt x="102" y="575"/>
                      <a:pt x="102" y="577"/>
                      <a:pt x="104" y="577"/>
                    </a:cubicBezTo>
                    <a:cubicBezTo>
                      <a:pt x="107" y="577"/>
                      <a:pt x="112" y="578"/>
                      <a:pt x="112" y="578"/>
                    </a:cubicBezTo>
                    <a:cubicBezTo>
                      <a:pt x="112" y="578"/>
                      <a:pt x="115" y="574"/>
                      <a:pt x="118" y="575"/>
                    </a:cubicBezTo>
                    <a:cubicBezTo>
                      <a:pt x="122" y="576"/>
                      <a:pt x="126" y="587"/>
                      <a:pt x="126" y="587"/>
                    </a:cubicBezTo>
                    <a:cubicBezTo>
                      <a:pt x="126" y="587"/>
                      <a:pt x="131" y="593"/>
                      <a:pt x="137" y="594"/>
                    </a:cubicBezTo>
                    <a:cubicBezTo>
                      <a:pt x="143" y="594"/>
                      <a:pt x="152" y="589"/>
                      <a:pt x="152" y="589"/>
                    </a:cubicBezTo>
                    <a:cubicBezTo>
                      <a:pt x="163" y="586"/>
                      <a:pt x="163" y="586"/>
                      <a:pt x="163" y="586"/>
                    </a:cubicBezTo>
                    <a:cubicBezTo>
                      <a:pt x="170" y="580"/>
                      <a:pt x="170" y="580"/>
                      <a:pt x="170" y="580"/>
                    </a:cubicBezTo>
                    <a:cubicBezTo>
                      <a:pt x="180" y="575"/>
                      <a:pt x="180" y="575"/>
                      <a:pt x="180" y="575"/>
                    </a:cubicBezTo>
                    <a:cubicBezTo>
                      <a:pt x="181" y="576"/>
                      <a:pt x="181" y="576"/>
                      <a:pt x="181" y="576"/>
                    </a:cubicBezTo>
                    <a:cubicBezTo>
                      <a:pt x="171" y="582"/>
                      <a:pt x="171" y="582"/>
                      <a:pt x="171" y="582"/>
                    </a:cubicBezTo>
                    <a:cubicBezTo>
                      <a:pt x="166" y="589"/>
                      <a:pt x="166" y="589"/>
                      <a:pt x="166" y="589"/>
                    </a:cubicBezTo>
                    <a:cubicBezTo>
                      <a:pt x="161" y="590"/>
                      <a:pt x="161" y="590"/>
                      <a:pt x="161" y="590"/>
                    </a:cubicBezTo>
                    <a:cubicBezTo>
                      <a:pt x="161" y="590"/>
                      <a:pt x="151" y="597"/>
                      <a:pt x="151" y="599"/>
                    </a:cubicBezTo>
                    <a:cubicBezTo>
                      <a:pt x="150" y="602"/>
                      <a:pt x="152" y="605"/>
                      <a:pt x="148" y="606"/>
                    </a:cubicBezTo>
                    <a:cubicBezTo>
                      <a:pt x="144" y="607"/>
                      <a:pt x="132" y="608"/>
                      <a:pt x="130" y="605"/>
                    </a:cubicBezTo>
                    <a:cubicBezTo>
                      <a:pt x="128" y="602"/>
                      <a:pt x="121" y="600"/>
                      <a:pt x="118" y="599"/>
                    </a:cubicBezTo>
                    <a:cubicBezTo>
                      <a:pt x="115" y="599"/>
                      <a:pt x="102" y="597"/>
                      <a:pt x="99" y="600"/>
                    </a:cubicBezTo>
                    <a:cubicBezTo>
                      <a:pt x="97" y="602"/>
                      <a:pt x="100" y="608"/>
                      <a:pt x="100" y="608"/>
                    </a:cubicBezTo>
                    <a:cubicBezTo>
                      <a:pt x="100" y="608"/>
                      <a:pt x="98" y="609"/>
                      <a:pt x="94" y="610"/>
                    </a:cubicBezTo>
                    <a:cubicBezTo>
                      <a:pt x="90" y="611"/>
                      <a:pt x="88" y="607"/>
                      <a:pt x="86" y="608"/>
                    </a:cubicBezTo>
                    <a:cubicBezTo>
                      <a:pt x="83" y="609"/>
                      <a:pt x="81" y="623"/>
                      <a:pt x="81" y="623"/>
                    </a:cubicBezTo>
                    <a:cubicBezTo>
                      <a:pt x="70" y="628"/>
                      <a:pt x="70" y="628"/>
                      <a:pt x="70" y="628"/>
                    </a:cubicBezTo>
                    <a:cubicBezTo>
                      <a:pt x="69" y="631"/>
                      <a:pt x="69" y="631"/>
                      <a:pt x="69" y="631"/>
                    </a:cubicBezTo>
                    <a:cubicBezTo>
                      <a:pt x="56" y="636"/>
                      <a:pt x="56" y="636"/>
                      <a:pt x="56" y="636"/>
                    </a:cubicBezTo>
                    <a:cubicBezTo>
                      <a:pt x="55" y="640"/>
                      <a:pt x="55" y="640"/>
                      <a:pt x="55" y="640"/>
                    </a:cubicBezTo>
                    <a:cubicBezTo>
                      <a:pt x="55" y="640"/>
                      <a:pt x="51" y="641"/>
                      <a:pt x="50" y="643"/>
                    </a:cubicBezTo>
                    <a:cubicBezTo>
                      <a:pt x="48" y="644"/>
                      <a:pt x="47" y="647"/>
                      <a:pt x="47" y="647"/>
                    </a:cubicBezTo>
                    <a:cubicBezTo>
                      <a:pt x="38" y="652"/>
                      <a:pt x="38" y="652"/>
                      <a:pt x="38" y="652"/>
                    </a:cubicBezTo>
                    <a:cubicBezTo>
                      <a:pt x="34" y="653"/>
                      <a:pt x="34" y="653"/>
                      <a:pt x="34" y="653"/>
                    </a:cubicBezTo>
                    <a:cubicBezTo>
                      <a:pt x="34" y="653"/>
                      <a:pt x="25" y="652"/>
                      <a:pt x="23" y="654"/>
                    </a:cubicBezTo>
                    <a:cubicBezTo>
                      <a:pt x="20" y="656"/>
                      <a:pt x="21" y="662"/>
                      <a:pt x="21" y="662"/>
                    </a:cubicBezTo>
                    <a:cubicBezTo>
                      <a:pt x="30" y="661"/>
                      <a:pt x="30" y="661"/>
                      <a:pt x="30" y="661"/>
                    </a:cubicBezTo>
                    <a:cubicBezTo>
                      <a:pt x="30" y="658"/>
                      <a:pt x="30" y="658"/>
                      <a:pt x="30" y="658"/>
                    </a:cubicBezTo>
                    <a:cubicBezTo>
                      <a:pt x="30" y="658"/>
                      <a:pt x="35" y="660"/>
                      <a:pt x="36" y="661"/>
                    </a:cubicBezTo>
                    <a:cubicBezTo>
                      <a:pt x="37" y="662"/>
                      <a:pt x="41" y="670"/>
                      <a:pt x="41" y="670"/>
                    </a:cubicBezTo>
                    <a:cubicBezTo>
                      <a:pt x="48" y="665"/>
                      <a:pt x="48" y="665"/>
                      <a:pt x="48" y="665"/>
                    </a:cubicBezTo>
                    <a:cubicBezTo>
                      <a:pt x="47" y="662"/>
                      <a:pt x="47" y="662"/>
                      <a:pt x="47" y="662"/>
                    </a:cubicBezTo>
                    <a:cubicBezTo>
                      <a:pt x="47" y="662"/>
                      <a:pt x="52" y="655"/>
                      <a:pt x="52" y="656"/>
                    </a:cubicBezTo>
                    <a:cubicBezTo>
                      <a:pt x="52" y="657"/>
                      <a:pt x="53" y="660"/>
                      <a:pt x="53" y="660"/>
                    </a:cubicBezTo>
                    <a:cubicBezTo>
                      <a:pt x="53" y="660"/>
                      <a:pt x="61" y="657"/>
                      <a:pt x="62" y="657"/>
                    </a:cubicBezTo>
                    <a:cubicBezTo>
                      <a:pt x="63" y="656"/>
                      <a:pt x="66" y="652"/>
                      <a:pt x="66" y="652"/>
                    </a:cubicBezTo>
                    <a:cubicBezTo>
                      <a:pt x="66" y="652"/>
                      <a:pt x="72" y="654"/>
                      <a:pt x="74" y="653"/>
                    </a:cubicBezTo>
                    <a:cubicBezTo>
                      <a:pt x="78" y="653"/>
                      <a:pt x="84" y="652"/>
                      <a:pt x="85" y="653"/>
                    </a:cubicBezTo>
                    <a:cubicBezTo>
                      <a:pt x="85" y="654"/>
                      <a:pt x="86" y="658"/>
                      <a:pt x="86" y="658"/>
                    </a:cubicBezTo>
                    <a:cubicBezTo>
                      <a:pt x="89" y="656"/>
                      <a:pt x="89" y="656"/>
                      <a:pt x="89" y="656"/>
                    </a:cubicBezTo>
                    <a:cubicBezTo>
                      <a:pt x="90" y="650"/>
                      <a:pt x="90" y="650"/>
                      <a:pt x="90" y="650"/>
                    </a:cubicBezTo>
                    <a:cubicBezTo>
                      <a:pt x="93" y="659"/>
                      <a:pt x="93" y="659"/>
                      <a:pt x="93" y="659"/>
                    </a:cubicBezTo>
                    <a:cubicBezTo>
                      <a:pt x="100" y="659"/>
                      <a:pt x="100" y="659"/>
                      <a:pt x="100" y="659"/>
                    </a:cubicBezTo>
                    <a:cubicBezTo>
                      <a:pt x="100" y="659"/>
                      <a:pt x="101" y="666"/>
                      <a:pt x="104" y="666"/>
                    </a:cubicBezTo>
                    <a:cubicBezTo>
                      <a:pt x="109" y="668"/>
                      <a:pt x="112" y="662"/>
                      <a:pt x="112" y="662"/>
                    </a:cubicBezTo>
                    <a:cubicBezTo>
                      <a:pt x="115" y="660"/>
                      <a:pt x="115" y="660"/>
                      <a:pt x="115" y="660"/>
                    </a:cubicBezTo>
                    <a:cubicBezTo>
                      <a:pt x="114" y="656"/>
                      <a:pt x="114" y="656"/>
                      <a:pt x="114" y="656"/>
                    </a:cubicBezTo>
                    <a:cubicBezTo>
                      <a:pt x="118" y="653"/>
                      <a:pt x="118" y="653"/>
                      <a:pt x="118" y="653"/>
                    </a:cubicBezTo>
                    <a:cubicBezTo>
                      <a:pt x="119" y="647"/>
                      <a:pt x="119" y="647"/>
                      <a:pt x="119" y="647"/>
                    </a:cubicBezTo>
                    <a:cubicBezTo>
                      <a:pt x="122" y="645"/>
                      <a:pt x="122" y="645"/>
                      <a:pt x="122" y="645"/>
                    </a:cubicBezTo>
                    <a:cubicBezTo>
                      <a:pt x="122" y="639"/>
                      <a:pt x="122" y="639"/>
                      <a:pt x="122" y="639"/>
                    </a:cubicBezTo>
                    <a:cubicBezTo>
                      <a:pt x="123" y="644"/>
                      <a:pt x="123" y="644"/>
                      <a:pt x="123" y="644"/>
                    </a:cubicBezTo>
                    <a:cubicBezTo>
                      <a:pt x="123" y="644"/>
                      <a:pt x="129" y="641"/>
                      <a:pt x="141" y="641"/>
                    </a:cubicBezTo>
                    <a:cubicBezTo>
                      <a:pt x="153" y="642"/>
                      <a:pt x="160" y="653"/>
                      <a:pt x="160" y="653"/>
                    </a:cubicBezTo>
                    <a:cubicBezTo>
                      <a:pt x="162" y="657"/>
                      <a:pt x="162" y="657"/>
                      <a:pt x="162" y="657"/>
                    </a:cubicBezTo>
                    <a:cubicBezTo>
                      <a:pt x="164" y="655"/>
                      <a:pt x="164" y="655"/>
                      <a:pt x="164" y="655"/>
                    </a:cubicBezTo>
                    <a:cubicBezTo>
                      <a:pt x="164" y="655"/>
                      <a:pt x="161" y="654"/>
                      <a:pt x="163" y="652"/>
                    </a:cubicBezTo>
                    <a:cubicBezTo>
                      <a:pt x="165" y="648"/>
                      <a:pt x="171" y="652"/>
                      <a:pt x="171" y="652"/>
                    </a:cubicBezTo>
                    <a:cubicBezTo>
                      <a:pt x="177" y="652"/>
                      <a:pt x="177" y="652"/>
                      <a:pt x="177" y="652"/>
                    </a:cubicBezTo>
                    <a:cubicBezTo>
                      <a:pt x="178" y="653"/>
                      <a:pt x="182" y="657"/>
                      <a:pt x="184" y="655"/>
                    </a:cubicBezTo>
                    <a:cubicBezTo>
                      <a:pt x="187" y="654"/>
                      <a:pt x="185" y="650"/>
                      <a:pt x="185" y="650"/>
                    </a:cubicBezTo>
                    <a:cubicBezTo>
                      <a:pt x="185" y="650"/>
                      <a:pt x="178" y="647"/>
                      <a:pt x="180" y="646"/>
                    </a:cubicBezTo>
                    <a:cubicBezTo>
                      <a:pt x="182" y="645"/>
                      <a:pt x="185" y="649"/>
                      <a:pt x="186" y="648"/>
                    </a:cubicBezTo>
                    <a:cubicBezTo>
                      <a:pt x="188" y="648"/>
                      <a:pt x="195" y="646"/>
                      <a:pt x="195" y="646"/>
                    </a:cubicBezTo>
                    <a:cubicBezTo>
                      <a:pt x="195" y="646"/>
                      <a:pt x="199" y="649"/>
                      <a:pt x="201" y="649"/>
                    </a:cubicBezTo>
                    <a:cubicBezTo>
                      <a:pt x="202" y="649"/>
                      <a:pt x="203" y="646"/>
                      <a:pt x="203" y="646"/>
                    </a:cubicBezTo>
                    <a:cubicBezTo>
                      <a:pt x="203" y="646"/>
                      <a:pt x="209" y="648"/>
                      <a:pt x="211" y="647"/>
                    </a:cubicBezTo>
                    <a:cubicBezTo>
                      <a:pt x="213" y="646"/>
                      <a:pt x="212" y="642"/>
                      <a:pt x="212" y="642"/>
                    </a:cubicBezTo>
                    <a:cubicBezTo>
                      <a:pt x="212" y="642"/>
                      <a:pt x="216" y="648"/>
                      <a:pt x="218" y="648"/>
                    </a:cubicBezTo>
                    <a:cubicBezTo>
                      <a:pt x="220" y="648"/>
                      <a:pt x="220" y="643"/>
                      <a:pt x="220" y="644"/>
                    </a:cubicBezTo>
                    <a:cubicBezTo>
                      <a:pt x="221" y="646"/>
                      <a:pt x="224" y="649"/>
                      <a:pt x="224" y="649"/>
                    </a:cubicBezTo>
                    <a:cubicBezTo>
                      <a:pt x="224" y="649"/>
                      <a:pt x="226" y="643"/>
                      <a:pt x="229" y="646"/>
                    </a:cubicBezTo>
                    <a:cubicBezTo>
                      <a:pt x="232" y="649"/>
                      <a:pt x="231" y="654"/>
                      <a:pt x="232" y="654"/>
                    </a:cubicBezTo>
                    <a:cubicBezTo>
                      <a:pt x="234" y="654"/>
                      <a:pt x="237" y="653"/>
                      <a:pt x="237" y="653"/>
                    </a:cubicBezTo>
                    <a:cubicBezTo>
                      <a:pt x="237" y="653"/>
                      <a:pt x="248" y="650"/>
                      <a:pt x="257" y="652"/>
                    </a:cubicBezTo>
                    <a:cubicBezTo>
                      <a:pt x="264" y="654"/>
                      <a:pt x="270" y="659"/>
                      <a:pt x="276" y="659"/>
                    </a:cubicBezTo>
                    <a:cubicBezTo>
                      <a:pt x="281" y="659"/>
                      <a:pt x="283" y="657"/>
                      <a:pt x="283" y="657"/>
                    </a:cubicBezTo>
                    <a:cubicBezTo>
                      <a:pt x="295" y="656"/>
                      <a:pt x="295" y="656"/>
                      <a:pt x="295" y="656"/>
                    </a:cubicBezTo>
                    <a:cubicBezTo>
                      <a:pt x="301" y="649"/>
                      <a:pt x="301" y="649"/>
                      <a:pt x="301" y="649"/>
                    </a:cubicBezTo>
                    <a:cubicBezTo>
                      <a:pt x="310" y="653"/>
                      <a:pt x="310" y="653"/>
                      <a:pt x="310" y="653"/>
                    </a:cubicBezTo>
                    <a:cubicBezTo>
                      <a:pt x="310" y="653"/>
                      <a:pt x="309" y="643"/>
                      <a:pt x="312" y="643"/>
                    </a:cubicBezTo>
                    <a:cubicBezTo>
                      <a:pt x="315" y="643"/>
                      <a:pt x="318" y="644"/>
                      <a:pt x="318" y="644"/>
                    </a:cubicBezTo>
                    <a:cubicBezTo>
                      <a:pt x="328" y="641"/>
                      <a:pt x="328" y="641"/>
                      <a:pt x="328" y="641"/>
                    </a:cubicBezTo>
                    <a:cubicBezTo>
                      <a:pt x="329" y="631"/>
                      <a:pt x="329" y="631"/>
                      <a:pt x="329" y="631"/>
                    </a:cubicBezTo>
                    <a:cubicBezTo>
                      <a:pt x="332" y="627"/>
                      <a:pt x="332" y="627"/>
                      <a:pt x="332" y="627"/>
                    </a:cubicBezTo>
                    <a:cubicBezTo>
                      <a:pt x="331" y="625"/>
                      <a:pt x="331" y="625"/>
                      <a:pt x="331" y="625"/>
                    </a:cubicBezTo>
                    <a:cubicBezTo>
                      <a:pt x="310" y="626"/>
                      <a:pt x="310" y="626"/>
                      <a:pt x="310" y="626"/>
                    </a:cubicBezTo>
                    <a:cubicBezTo>
                      <a:pt x="307" y="625"/>
                      <a:pt x="307" y="625"/>
                      <a:pt x="307" y="625"/>
                    </a:cubicBezTo>
                    <a:cubicBezTo>
                      <a:pt x="311" y="623"/>
                      <a:pt x="311" y="623"/>
                      <a:pt x="311" y="623"/>
                    </a:cubicBezTo>
                    <a:cubicBezTo>
                      <a:pt x="311" y="623"/>
                      <a:pt x="312" y="621"/>
                      <a:pt x="309" y="620"/>
                    </a:cubicBezTo>
                    <a:cubicBezTo>
                      <a:pt x="306" y="618"/>
                      <a:pt x="302" y="621"/>
                      <a:pt x="302" y="621"/>
                    </a:cubicBezTo>
                    <a:cubicBezTo>
                      <a:pt x="296" y="621"/>
                      <a:pt x="296" y="621"/>
                      <a:pt x="296" y="621"/>
                    </a:cubicBezTo>
                    <a:cubicBezTo>
                      <a:pt x="303" y="617"/>
                      <a:pt x="303" y="617"/>
                      <a:pt x="303" y="617"/>
                    </a:cubicBezTo>
                    <a:cubicBezTo>
                      <a:pt x="298" y="614"/>
                      <a:pt x="298" y="614"/>
                      <a:pt x="298" y="614"/>
                    </a:cubicBezTo>
                    <a:cubicBezTo>
                      <a:pt x="295" y="614"/>
                      <a:pt x="295" y="614"/>
                      <a:pt x="295" y="614"/>
                    </a:cubicBezTo>
                    <a:cubicBezTo>
                      <a:pt x="293" y="615"/>
                      <a:pt x="293" y="615"/>
                      <a:pt x="293" y="615"/>
                    </a:cubicBezTo>
                    <a:cubicBezTo>
                      <a:pt x="290" y="615"/>
                      <a:pt x="290" y="615"/>
                      <a:pt x="290" y="615"/>
                    </a:cubicBezTo>
                    <a:cubicBezTo>
                      <a:pt x="292" y="614"/>
                      <a:pt x="292" y="614"/>
                      <a:pt x="292" y="614"/>
                    </a:cubicBezTo>
                    <a:cubicBezTo>
                      <a:pt x="294" y="612"/>
                      <a:pt x="294" y="612"/>
                      <a:pt x="294" y="612"/>
                    </a:cubicBezTo>
                    <a:cubicBezTo>
                      <a:pt x="298" y="612"/>
                      <a:pt x="298" y="612"/>
                      <a:pt x="298" y="612"/>
                    </a:cubicBezTo>
                    <a:cubicBezTo>
                      <a:pt x="307" y="613"/>
                      <a:pt x="307" y="613"/>
                      <a:pt x="307" y="613"/>
                    </a:cubicBezTo>
                    <a:cubicBezTo>
                      <a:pt x="312" y="609"/>
                      <a:pt x="312" y="609"/>
                      <a:pt x="312" y="609"/>
                    </a:cubicBezTo>
                    <a:cubicBezTo>
                      <a:pt x="309" y="607"/>
                      <a:pt x="309" y="607"/>
                      <a:pt x="309" y="607"/>
                    </a:cubicBezTo>
                    <a:cubicBezTo>
                      <a:pt x="313" y="606"/>
                      <a:pt x="313" y="606"/>
                      <a:pt x="313" y="606"/>
                    </a:cubicBezTo>
                    <a:cubicBezTo>
                      <a:pt x="314" y="599"/>
                      <a:pt x="314" y="599"/>
                      <a:pt x="314" y="599"/>
                    </a:cubicBezTo>
                    <a:cubicBezTo>
                      <a:pt x="308" y="601"/>
                      <a:pt x="308" y="601"/>
                      <a:pt x="308" y="601"/>
                    </a:cubicBezTo>
                    <a:cubicBezTo>
                      <a:pt x="306" y="599"/>
                      <a:pt x="306" y="599"/>
                      <a:pt x="306" y="599"/>
                    </a:cubicBezTo>
                    <a:cubicBezTo>
                      <a:pt x="315" y="596"/>
                      <a:pt x="315" y="596"/>
                      <a:pt x="315" y="596"/>
                    </a:cubicBezTo>
                    <a:cubicBezTo>
                      <a:pt x="316" y="594"/>
                      <a:pt x="316" y="594"/>
                      <a:pt x="316" y="594"/>
                    </a:cubicBezTo>
                    <a:cubicBezTo>
                      <a:pt x="319" y="598"/>
                      <a:pt x="319" y="598"/>
                      <a:pt x="319" y="598"/>
                    </a:cubicBezTo>
                    <a:cubicBezTo>
                      <a:pt x="319" y="598"/>
                      <a:pt x="324" y="598"/>
                      <a:pt x="327" y="596"/>
                    </a:cubicBezTo>
                    <a:cubicBezTo>
                      <a:pt x="330" y="595"/>
                      <a:pt x="327" y="592"/>
                      <a:pt x="327" y="592"/>
                    </a:cubicBezTo>
                    <a:cubicBezTo>
                      <a:pt x="329" y="590"/>
                      <a:pt x="329" y="590"/>
                      <a:pt x="329" y="590"/>
                    </a:cubicBezTo>
                    <a:cubicBezTo>
                      <a:pt x="323" y="587"/>
                      <a:pt x="323" y="587"/>
                      <a:pt x="323" y="587"/>
                    </a:cubicBezTo>
                    <a:cubicBezTo>
                      <a:pt x="328" y="585"/>
                      <a:pt x="328" y="585"/>
                      <a:pt x="328" y="585"/>
                    </a:cubicBezTo>
                    <a:cubicBezTo>
                      <a:pt x="328" y="582"/>
                      <a:pt x="328" y="582"/>
                      <a:pt x="328" y="582"/>
                    </a:cubicBezTo>
                    <a:cubicBezTo>
                      <a:pt x="330" y="582"/>
                      <a:pt x="330" y="582"/>
                      <a:pt x="330" y="582"/>
                    </a:cubicBezTo>
                    <a:cubicBezTo>
                      <a:pt x="331" y="587"/>
                      <a:pt x="331" y="587"/>
                      <a:pt x="331" y="587"/>
                    </a:cubicBezTo>
                    <a:cubicBezTo>
                      <a:pt x="331" y="587"/>
                      <a:pt x="343" y="583"/>
                      <a:pt x="345" y="580"/>
                    </a:cubicBezTo>
                    <a:cubicBezTo>
                      <a:pt x="348" y="577"/>
                      <a:pt x="345" y="569"/>
                      <a:pt x="348" y="567"/>
                    </a:cubicBezTo>
                    <a:cubicBezTo>
                      <a:pt x="351" y="564"/>
                      <a:pt x="357" y="553"/>
                      <a:pt x="355" y="545"/>
                    </a:cubicBezTo>
                    <a:cubicBezTo>
                      <a:pt x="354" y="535"/>
                      <a:pt x="342" y="526"/>
                      <a:pt x="342" y="526"/>
                    </a:cubicBezTo>
                    <a:close/>
                    <a:moveTo>
                      <a:pt x="217" y="652"/>
                    </a:moveTo>
                    <a:cubicBezTo>
                      <a:pt x="217" y="652"/>
                      <a:pt x="214" y="648"/>
                      <a:pt x="212" y="648"/>
                    </a:cubicBezTo>
                    <a:cubicBezTo>
                      <a:pt x="211" y="648"/>
                      <a:pt x="209" y="650"/>
                      <a:pt x="209" y="650"/>
                    </a:cubicBezTo>
                    <a:cubicBezTo>
                      <a:pt x="200" y="652"/>
                      <a:pt x="200" y="652"/>
                      <a:pt x="200" y="652"/>
                    </a:cubicBezTo>
                    <a:cubicBezTo>
                      <a:pt x="202" y="655"/>
                      <a:pt x="202" y="655"/>
                      <a:pt x="202" y="655"/>
                    </a:cubicBezTo>
                    <a:cubicBezTo>
                      <a:pt x="205" y="655"/>
                      <a:pt x="205" y="655"/>
                      <a:pt x="205" y="655"/>
                    </a:cubicBezTo>
                    <a:cubicBezTo>
                      <a:pt x="210" y="661"/>
                      <a:pt x="210" y="661"/>
                      <a:pt x="210" y="661"/>
                    </a:cubicBezTo>
                    <a:cubicBezTo>
                      <a:pt x="216" y="660"/>
                      <a:pt x="216" y="660"/>
                      <a:pt x="216" y="660"/>
                    </a:cubicBezTo>
                    <a:cubicBezTo>
                      <a:pt x="216" y="660"/>
                      <a:pt x="217" y="658"/>
                      <a:pt x="218" y="657"/>
                    </a:cubicBezTo>
                    <a:cubicBezTo>
                      <a:pt x="220" y="657"/>
                      <a:pt x="221" y="655"/>
                      <a:pt x="221" y="655"/>
                    </a:cubicBezTo>
                    <a:cubicBezTo>
                      <a:pt x="219" y="652"/>
                      <a:pt x="219" y="652"/>
                      <a:pt x="219" y="652"/>
                    </a:cubicBezTo>
                    <a:lnTo>
                      <a:pt x="217" y="652"/>
                    </a:lnTo>
                    <a:close/>
                    <a:moveTo>
                      <a:pt x="117" y="454"/>
                    </a:moveTo>
                    <a:cubicBezTo>
                      <a:pt x="115" y="458"/>
                      <a:pt x="115" y="458"/>
                      <a:pt x="115" y="458"/>
                    </a:cubicBezTo>
                    <a:cubicBezTo>
                      <a:pt x="112" y="456"/>
                      <a:pt x="112" y="456"/>
                      <a:pt x="112" y="456"/>
                    </a:cubicBezTo>
                    <a:cubicBezTo>
                      <a:pt x="111" y="459"/>
                      <a:pt x="111" y="459"/>
                      <a:pt x="111" y="459"/>
                    </a:cubicBezTo>
                    <a:cubicBezTo>
                      <a:pt x="115" y="465"/>
                      <a:pt x="115" y="465"/>
                      <a:pt x="115" y="465"/>
                    </a:cubicBezTo>
                    <a:cubicBezTo>
                      <a:pt x="115" y="465"/>
                      <a:pt x="115" y="470"/>
                      <a:pt x="121" y="471"/>
                    </a:cubicBezTo>
                    <a:cubicBezTo>
                      <a:pt x="128" y="472"/>
                      <a:pt x="129" y="466"/>
                      <a:pt x="129" y="466"/>
                    </a:cubicBezTo>
                    <a:cubicBezTo>
                      <a:pt x="135" y="465"/>
                      <a:pt x="135" y="465"/>
                      <a:pt x="135" y="465"/>
                    </a:cubicBezTo>
                    <a:cubicBezTo>
                      <a:pt x="136" y="463"/>
                      <a:pt x="136" y="463"/>
                      <a:pt x="136" y="463"/>
                    </a:cubicBezTo>
                    <a:cubicBezTo>
                      <a:pt x="130" y="460"/>
                      <a:pt x="130" y="460"/>
                      <a:pt x="130" y="460"/>
                    </a:cubicBezTo>
                    <a:cubicBezTo>
                      <a:pt x="128" y="453"/>
                      <a:pt x="128" y="453"/>
                      <a:pt x="128" y="453"/>
                    </a:cubicBezTo>
                    <a:cubicBezTo>
                      <a:pt x="121" y="452"/>
                      <a:pt x="121" y="452"/>
                      <a:pt x="121" y="452"/>
                    </a:cubicBezTo>
                    <a:lnTo>
                      <a:pt x="117" y="454"/>
                    </a:lnTo>
                    <a:close/>
                    <a:moveTo>
                      <a:pt x="134" y="391"/>
                    </a:moveTo>
                    <a:cubicBezTo>
                      <a:pt x="128" y="400"/>
                      <a:pt x="128" y="400"/>
                      <a:pt x="128" y="400"/>
                    </a:cubicBezTo>
                    <a:cubicBezTo>
                      <a:pt x="123" y="401"/>
                      <a:pt x="123" y="401"/>
                      <a:pt x="123" y="401"/>
                    </a:cubicBezTo>
                    <a:cubicBezTo>
                      <a:pt x="123" y="401"/>
                      <a:pt x="121" y="404"/>
                      <a:pt x="123" y="406"/>
                    </a:cubicBezTo>
                    <a:cubicBezTo>
                      <a:pt x="126" y="409"/>
                      <a:pt x="128" y="410"/>
                      <a:pt x="128" y="410"/>
                    </a:cubicBezTo>
                    <a:cubicBezTo>
                      <a:pt x="132" y="408"/>
                      <a:pt x="132" y="408"/>
                      <a:pt x="132" y="408"/>
                    </a:cubicBezTo>
                    <a:cubicBezTo>
                      <a:pt x="138" y="403"/>
                      <a:pt x="142" y="400"/>
                      <a:pt x="142" y="400"/>
                    </a:cubicBezTo>
                    <a:cubicBezTo>
                      <a:pt x="139" y="396"/>
                      <a:pt x="139" y="396"/>
                      <a:pt x="139" y="396"/>
                    </a:cubicBezTo>
                    <a:cubicBezTo>
                      <a:pt x="139" y="392"/>
                      <a:pt x="139" y="392"/>
                      <a:pt x="139" y="392"/>
                    </a:cubicBezTo>
                    <a:lnTo>
                      <a:pt x="134" y="391"/>
                    </a:lnTo>
                    <a:close/>
                    <a:moveTo>
                      <a:pt x="129" y="302"/>
                    </a:moveTo>
                    <a:cubicBezTo>
                      <a:pt x="126" y="301"/>
                      <a:pt x="126" y="301"/>
                      <a:pt x="126" y="301"/>
                    </a:cubicBezTo>
                    <a:cubicBezTo>
                      <a:pt x="122" y="305"/>
                      <a:pt x="122" y="305"/>
                      <a:pt x="122" y="305"/>
                    </a:cubicBezTo>
                    <a:cubicBezTo>
                      <a:pt x="121" y="317"/>
                      <a:pt x="121" y="317"/>
                      <a:pt x="121" y="317"/>
                    </a:cubicBezTo>
                    <a:cubicBezTo>
                      <a:pt x="121" y="317"/>
                      <a:pt x="125" y="322"/>
                      <a:pt x="128" y="319"/>
                    </a:cubicBezTo>
                    <a:cubicBezTo>
                      <a:pt x="130" y="317"/>
                      <a:pt x="129" y="313"/>
                      <a:pt x="129" y="313"/>
                    </a:cubicBezTo>
                    <a:cubicBezTo>
                      <a:pt x="131" y="309"/>
                      <a:pt x="131" y="309"/>
                      <a:pt x="131" y="309"/>
                    </a:cubicBezTo>
                    <a:lnTo>
                      <a:pt x="129" y="302"/>
                    </a:lnTo>
                    <a:close/>
                    <a:moveTo>
                      <a:pt x="135" y="292"/>
                    </a:moveTo>
                    <a:cubicBezTo>
                      <a:pt x="133" y="292"/>
                      <a:pt x="133" y="292"/>
                      <a:pt x="133" y="292"/>
                    </a:cubicBezTo>
                    <a:cubicBezTo>
                      <a:pt x="134" y="301"/>
                      <a:pt x="134" y="301"/>
                      <a:pt x="134" y="301"/>
                    </a:cubicBezTo>
                    <a:cubicBezTo>
                      <a:pt x="136" y="303"/>
                      <a:pt x="136" y="303"/>
                      <a:pt x="136" y="303"/>
                    </a:cubicBezTo>
                    <a:cubicBezTo>
                      <a:pt x="138" y="302"/>
                      <a:pt x="138" y="302"/>
                      <a:pt x="138" y="302"/>
                    </a:cubicBezTo>
                    <a:cubicBezTo>
                      <a:pt x="137" y="299"/>
                      <a:pt x="137" y="299"/>
                      <a:pt x="137" y="299"/>
                    </a:cubicBezTo>
                    <a:cubicBezTo>
                      <a:pt x="138" y="297"/>
                      <a:pt x="138" y="297"/>
                      <a:pt x="138" y="297"/>
                    </a:cubicBezTo>
                    <a:lnTo>
                      <a:pt x="135" y="292"/>
                    </a:lnTo>
                    <a:close/>
                    <a:moveTo>
                      <a:pt x="99" y="286"/>
                    </a:moveTo>
                    <a:cubicBezTo>
                      <a:pt x="99" y="283"/>
                      <a:pt x="100" y="280"/>
                      <a:pt x="100" y="280"/>
                    </a:cubicBezTo>
                    <a:cubicBezTo>
                      <a:pt x="92" y="283"/>
                      <a:pt x="92" y="283"/>
                      <a:pt x="92" y="283"/>
                    </a:cubicBezTo>
                    <a:cubicBezTo>
                      <a:pt x="92" y="284"/>
                      <a:pt x="92" y="284"/>
                      <a:pt x="92" y="284"/>
                    </a:cubicBezTo>
                    <a:cubicBezTo>
                      <a:pt x="87" y="282"/>
                      <a:pt x="87" y="282"/>
                      <a:pt x="87" y="282"/>
                    </a:cubicBezTo>
                    <a:cubicBezTo>
                      <a:pt x="87" y="282"/>
                      <a:pt x="84" y="283"/>
                      <a:pt x="83" y="287"/>
                    </a:cubicBezTo>
                    <a:cubicBezTo>
                      <a:pt x="83" y="291"/>
                      <a:pt x="82" y="293"/>
                      <a:pt x="82" y="293"/>
                    </a:cubicBezTo>
                    <a:cubicBezTo>
                      <a:pt x="84" y="293"/>
                      <a:pt x="84" y="293"/>
                      <a:pt x="84" y="293"/>
                    </a:cubicBezTo>
                    <a:cubicBezTo>
                      <a:pt x="88" y="286"/>
                      <a:pt x="88" y="286"/>
                      <a:pt x="88" y="286"/>
                    </a:cubicBezTo>
                    <a:cubicBezTo>
                      <a:pt x="93" y="287"/>
                      <a:pt x="93" y="287"/>
                      <a:pt x="93" y="287"/>
                    </a:cubicBezTo>
                    <a:cubicBezTo>
                      <a:pt x="93" y="291"/>
                      <a:pt x="93" y="291"/>
                      <a:pt x="93" y="291"/>
                    </a:cubicBezTo>
                    <a:cubicBezTo>
                      <a:pt x="93" y="291"/>
                      <a:pt x="89" y="290"/>
                      <a:pt x="89" y="291"/>
                    </a:cubicBezTo>
                    <a:cubicBezTo>
                      <a:pt x="89" y="292"/>
                      <a:pt x="90" y="296"/>
                      <a:pt x="90" y="296"/>
                    </a:cubicBezTo>
                    <a:cubicBezTo>
                      <a:pt x="90" y="296"/>
                      <a:pt x="86" y="297"/>
                      <a:pt x="86" y="299"/>
                    </a:cubicBezTo>
                    <a:cubicBezTo>
                      <a:pt x="87" y="301"/>
                      <a:pt x="92" y="299"/>
                      <a:pt x="92" y="299"/>
                    </a:cubicBezTo>
                    <a:cubicBezTo>
                      <a:pt x="92" y="299"/>
                      <a:pt x="97" y="299"/>
                      <a:pt x="99" y="295"/>
                    </a:cubicBezTo>
                    <a:cubicBezTo>
                      <a:pt x="100" y="292"/>
                      <a:pt x="97" y="291"/>
                      <a:pt x="97" y="291"/>
                    </a:cubicBezTo>
                    <a:cubicBezTo>
                      <a:pt x="99" y="289"/>
                      <a:pt x="99" y="289"/>
                      <a:pt x="99" y="289"/>
                    </a:cubicBezTo>
                    <a:lnTo>
                      <a:pt x="99" y="286"/>
                    </a:lnTo>
                    <a:close/>
                    <a:moveTo>
                      <a:pt x="111" y="283"/>
                    </a:moveTo>
                    <a:cubicBezTo>
                      <a:pt x="118" y="271"/>
                      <a:pt x="118" y="271"/>
                      <a:pt x="118" y="271"/>
                    </a:cubicBezTo>
                    <a:cubicBezTo>
                      <a:pt x="115" y="272"/>
                      <a:pt x="115" y="272"/>
                      <a:pt x="115" y="272"/>
                    </a:cubicBezTo>
                    <a:cubicBezTo>
                      <a:pt x="111" y="276"/>
                      <a:pt x="111" y="276"/>
                      <a:pt x="111" y="276"/>
                    </a:cubicBezTo>
                    <a:cubicBezTo>
                      <a:pt x="107" y="276"/>
                      <a:pt x="107" y="276"/>
                      <a:pt x="107" y="276"/>
                    </a:cubicBezTo>
                    <a:cubicBezTo>
                      <a:pt x="106" y="280"/>
                      <a:pt x="106" y="280"/>
                      <a:pt x="106" y="280"/>
                    </a:cubicBezTo>
                    <a:cubicBezTo>
                      <a:pt x="110" y="280"/>
                      <a:pt x="110" y="280"/>
                      <a:pt x="110" y="280"/>
                    </a:cubicBezTo>
                    <a:cubicBezTo>
                      <a:pt x="109" y="281"/>
                      <a:pt x="109" y="281"/>
                      <a:pt x="109" y="281"/>
                    </a:cubicBezTo>
                    <a:cubicBezTo>
                      <a:pt x="102" y="283"/>
                      <a:pt x="102" y="283"/>
                      <a:pt x="102" y="283"/>
                    </a:cubicBezTo>
                    <a:cubicBezTo>
                      <a:pt x="101" y="287"/>
                      <a:pt x="101" y="287"/>
                      <a:pt x="101" y="287"/>
                    </a:cubicBezTo>
                    <a:cubicBezTo>
                      <a:pt x="102" y="291"/>
                      <a:pt x="102" y="291"/>
                      <a:pt x="102" y="291"/>
                    </a:cubicBezTo>
                    <a:lnTo>
                      <a:pt x="111" y="283"/>
                    </a:lnTo>
                    <a:close/>
                    <a:moveTo>
                      <a:pt x="103" y="269"/>
                    </a:moveTo>
                    <a:cubicBezTo>
                      <a:pt x="103" y="269"/>
                      <a:pt x="102" y="267"/>
                      <a:pt x="99" y="268"/>
                    </a:cubicBezTo>
                    <a:cubicBezTo>
                      <a:pt x="97" y="269"/>
                      <a:pt x="97" y="272"/>
                      <a:pt x="97" y="272"/>
                    </a:cubicBezTo>
                    <a:cubicBezTo>
                      <a:pt x="100" y="274"/>
                      <a:pt x="100" y="274"/>
                      <a:pt x="100" y="274"/>
                    </a:cubicBezTo>
                    <a:cubicBezTo>
                      <a:pt x="100" y="271"/>
                      <a:pt x="100" y="271"/>
                      <a:pt x="100" y="271"/>
                    </a:cubicBezTo>
                    <a:lnTo>
                      <a:pt x="103" y="269"/>
                    </a:lnTo>
                    <a:close/>
                    <a:moveTo>
                      <a:pt x="81" y="236"/>
                    </a:moveTo>
                    <a:cubicBezTo>
                      <a:pt x="79" y="242"/>
                      <a:pt x="79" y="242"/>
                      <a:pt x="79" y="242"/>
                    </a:cubicBezTo>
                    <a:cubicBezTo>
                      <a:pt x="81" y="243"/>
                      <a:pt x="81" y="243"/>
                      <a:pt x="81" y="243"/>
                    </a:cubicBezTo>
                    <a:cubicBezTo>
                      <a:pt x="85" y="239"/>
                      <a:pt x="85" y="239"/>
                      <a:pt x="85" y="239"/>
                    </a:cubicBezTo>
                    <a:cubicBezTo>
                      <a:pt x="88" y="238"/>
                      <a:pt x="88" y="238"/>
                      <a:pt x="88" y="238"/>
                    </a:cubicBezTo>
                    <a:cubicBezTo>
                      <a:pt x="89" y="236"/>
                      <a:pt x="89" y="236"/>
                      <a:pt x="89" y="236"/>
                    </a:cubicBezTo>
                    <a:cubicBezTo>
                      <a:pt x="86" y="235"/>
                      <a:pt x="86" y="235"/>
                      <a:pt x="86" y="235"/>
                    </a:cubicBezTo>
                    <a:cubicBezTo>
                      <a:pt x="84" y="237"/>
                      <a:pt x="84" y="237"/>
                      <a:pt x="84" y="237"/>
                    </a:cubicBezTo>
                    <a:lnTo>
                      <a:pt x="81" y="236"/>
                    </a:lnTo>
                    <a:close/>
                    <a:moveTo>
                      <a:pt x="99" y="230"/>
                    </a:moveTo>
                    <a:cubicBezTo>
                      <a:pt x="92" y="234"/>
                      <a:pt x="92" y="234"/>
                      <a:pt x="92" y="234"/>
                    </a:cubicBezTo>
                    <a:cubicBezTo>
                      <a:pt x="96" y="236"/>
                      <a:pt x="96" y="236"/>
                      <a:pt x="96" y="236"/>
                    </a:cubicBezTo>
                    <a:cubicBezTo>
                      <a:pt x="101" y="232"/>
                      <a:pt x="101" y="232"/>
                      <a:pt x="101" y="232"/>
                    </a:cubicBezTo>
                    <a:lnTo>
                      <a:pt x="99" y="230"/>
                    </a:lnTo>
                    <a:close/>
                    <a:moveTo>
                      <a:pt x="125" y="255"/>
                    </a:moveTo>
                    <a:cubicBezTo>
                      <a:pt x="126" y="252"/>
                      <a:pt x="126" y="252"/>
                      <a:pt x="126" y="252"/>
                    </a:cubicBezTo>
                    <a:cubicBezTo>
                      <a:pt x="121" y="247"/>
                      <a:pt x="121" y="247"/>
                      <a:pt x="121" y="247"/>
                    </a:cubicBezTo>
                    <a:cubicBezTo>
                      <a:pt x="116" y="245"/>
                      <a:pt x="116" y="245"/>
                      <a:pt x="116" y="245"/>
                    </a:cubicBezTo>
                    <a:cubicBezTo>
                      <a:pt x="115" y="240"/>
                      <a:pt x="115" y="240"/>
                      <a:pt x="115" y="240"/>
                    </a:cubicBezTo>
                    <a:cubicBezTo>
                      <a:pt x="112" y="235"/>
                      <a:pt x="112" y="235"/>
                      <a:pt x="112" y="235"/>
                    </a:cubicBezTo>
                    <a:cubicBezTo>
                      <a:pt x="110" y="235"/>
                      <a:pt x="110" y="235"/>
                      <a:pt x="110" y="235"/>
                    </a:cubicBezTo>
                    <a:cubicBezTo>
                      <a:pt x="109" y="237"/>
                      <a:pt x="109" y="237"/>
                      <a:pt x="109" y="237"/>
                    </a:cubicBezTo>
                    <a:cubicBezTo>
                      <a:pt x="106" y="236"/>
                      <a:pt x="106" y="236"/>
                      <a:pt x="106" y="236"/>
                    </a:cubicBezTo>
                    <a:cubicBezTo>
                      <a:pt x="103" y="239"/>
                      <a:pt x="103" y="239"/>
                      <a:pt x="103" y="239"/>
                    </a:cubicBezTo>
                    <a:cubicBezTo>
                      <a:pt x="110" y="245"/>
                      <a:pt x="110" y="245"/>
                      <a:pt x="110" y="245"/>
                    </a:cubicBezTo>
                    <a:cubicBezTo>
                      <a:pt x="110" y="245"/>
                      <a:pt x="114" y="244"/>
                      <a:pt x="114" y="246"/>
                    </a:cubicBezTo>
                    <a:cubicBezTo>
                      <a:pt x="115" y="248"/>
                      <a:pt x="109" y="248"/>
                      <a:pt x="109" y="248"/>
                    </a:cubicBezTo>
                    <a:cubicBezTo>
                      <a:pt x="105" y="252"/>
                      <a:pt x="105" y="252"/>
                      <a:pt x="105" y="252"/>
                    </a:cubicBezTo>
                    <a:cubicBezTo>
                      <a:pt x="105" y="252"/>
                      <a:pt x="114" y="251"/>
                      <a:pt x="114" y="252"/>
                    </a:cubicBezTo>
                    <a:cubicBezTo>
                      <a:pt x="113" y="254"/>
                      <a:pt x="103" y="254"/>
                      <a:pt x="103" y="254"/>
                    </a:cubicBezTo>
                    <a:cubicBezTo>
                      <a:pt x="102" y="255"/>
                      <a:pt x="102" y="255"/>
                      <a:pt x="102" y="255"/>
                    </a:cubicBezTo>
                    <a:cubicBezTo>
                      <a:pt x="99" y="251"/>
                      <a:pt x="99" y="251"/>
                      <a:pt x="99" y="251"/>
                    </a:cubicBezTo>
                    <a:cubicBezTo>
                      <a:pt x="96" y="252"/>
                      <a:pt x="96" y="252"/>
                      <a:pt x="96" y="252"/>
                    </a:cubicBezTo>
                    <a:cubicBezTo>
                      <a:pt x="100" y="258"/>
                      <a:pt x="100" y="258"/>
                      <a:pt x="100" y="258"/>
                    </a:cubicBezTo>
                    <a:cubicBezTo>
                      <a:pt x="103" y="260"/>
                      <a:pt x="103" y="260"/>
                      <a:pt x="103" y="260"/>
                    </a:cubicBezTo>
                    <a:cubicBezTo>
                      <a:pt x="106" y="259"/>
                      <a:pt x="106" y="259"/>
                      <a:pt x="106" y="259"/>
                    </a:cubicBezTo>
                    <a:cubicBezTo>
                      <a:pt x="107" y="259"/>
                      <a:pt x="107" y="259"/>
                      <a:pt x="107" y="259"/>
                    </a:cubicBezTo>
                    <a:cubicBezTo>
                      <a:pt x="117" y="256"/>
                      <a:pt x="117" y="256"/>
                      <a:pt x="117" y="256"/>
                    </a:cubicBezTo>
                    <a:cubicBezTo>
                      <a:pt x="117" y="259"/>
                      <a:pt x="117" y="259"/>
                      <a:pt x="117" y="259"/>
                    </a:cubicBezTo>
                    <a:cubicBezTo>
                      <a:pt x="122" y="256"/>
                      <a:pt x="122" y="256"/>
                      <a:pt x="122" y="256"/>
                    </a:cubicBezTo>
                    <a:cubicBezTo>
                      <a:pt x="122" y="256"/>
                      <a:pt x="120" y="255"/>
                      <a:pt x="120" y="254"/>
                    </a:cubicBezTo>
                    <a:cubicBezTo>
                      <a:pt x="121" y="252"/>
                      <a:pt x="125" y="255"/>
                      <a:pt x="125" y="255"/>
                    </a:cubicBezTo>
                    <a:close/>
                    <a:moveTo>
                      <a:pt x="133" y="246"/>
                    </a:moveTo>
                    <a:cubicBezTo>
                      <a:pt x="130" y="250"/>
                      <a:pt x="130" y="250"/>
                      <a:pt x="130" y="250"/>
                    </a:cubicBezTo>
                    <a:cubicBezTo>
                      <a:pt x="135" y="248"/>
                      <a:pt x="135" y="248"/>
                      <a:pt x="135" y="248"/>
                    </a:cubicBezTo>
                    <a:lnTo>
                      <a:pt x="133" y="246"/>
                    </a:lnTo>
                    <a:close/>
                    <a:moveTo>
                      <a:pt x="117" y="217"/>
                    </a:moveTo>
                    <a:cubicBezTo>
                      <a:pt x="114" y="219"/>
                      <a:pt x="114" y="219"/>
                      <a:pt x="114" y="219"/>
                    </a:cubicBezTo>
                    <a:cubicBezTo>
                      <a:pt x="116" y="221"/>
                      <a:pt x="116" y="221"/>
                      <a:pt x="116" y="221"/>
                    </a:cubicBezTo>
                    <a:lnTo>
                      <a:pt x="117" y="217"/>
                    </a:lnTo>
                    <a:close/>
                    <a:moveTo>
                      <a:pt x="114" y="211"/>
                    </a:moveTo>
                    <a:cubicBezTo>
                      <a:pt x="112" y="208"/>
                      <a:pt x="112" y="208"/>
                      <a:pt x="112" y="208"/>
                    </a:cubicBezTo>
                    <a:cubicBezTo>
                      <a:pt x="107" y="211"/>
                      <a:pt x="107" y="211"/>
                      <a:pt x="107" y="211"/>
                    </a:cubicBezTo>
                    <a:cubicBezTo>
                      <a:pt x="110" y="216"/>
                      <a:pt x="110" y="216"/>
                      <a:pt x="110" y="216"/>
                    </a:cubicBezTo>
                    <a:cubicBezTo>
                      <a:pt x="113" y="214"/>
                      <a:pt x="113" y="214"/>
                      <a:pt x="113" y="214"/>
                    </a:cubicBezTo>
                    <a:lnTo>
                      <a:pt x="114" y="211"/>
                    </a:lnTo>
                    <a:close/>
                    <a:moveTo>
                      <a:pt x="106" y="204"/>
                    </a:moveTo>
                    <a:cubicBezTo>
                      <a:pt x="102" y="204"/>
                      <a:pt x="102" y="204"/>
                      <a:pt x="102" y="204"/>
                    </a:cubicBezTo>
                    <a:cubicBezTo>
                      <a:pt x="106" y="208"/>
                      <a:pt x="106" y="208"/>
                      <a:pt x="106" y="208"/>
                    </a:cubicBezTo>
                    <a:lnTo>
                      <a:pt x="106" y="204"/>
                    </a:lnTo>
                    <a:close/>
                    <a:moveTo>
                      <a:pt x="71" y="205"/>
                    </a:moveTo>
                    <a:cubicBezTo>
                      <a:pt x="80" y="201"/>
                      <a:pt x="78" y="197"/>
                      <a:pt x="70" y="200"/>
                    </a:cubicBezTo>
                    <a:cubicBezTo>
                      <a:pt x="62" y="204"/>
                      <a:pt x="71" y="205"/>
                      <a:pt x="71" y="205"/>
                    </a:cubicBezTo>
                    <a:close/>
                    <a:moveTo>
                      <a:pt x="80" y="198"/>
                    </a:moveTo>
                    <a:cubicBezTo>
                      <a:pt x="82" y="197"/>
                      <a:pt x="82" y="197"/>
                      <a:pt x="82" y="197"/>
                    </a:cubicBezTo>
                    <a:cubicBezTo>
                      <a:pt x="79" y="193"/>
                      <a:pt x="79" y="193"/>
                      <a:pt x="79" y="193"/>
                    </a:cubicBezTo>
                    <a:cubicBezTo>
                      <a:pt x="82" y="193"/>
                      <a:pt x="82" y="193"/>
                      <a:pt x="82" y="193"/>
                    </a:cubicBezTo>
                    <a:cubicBezTo>
                      <a:pt x="82" y="189"/>
                      <a:pt x="82" y="189"/>
                      <a:pt x="82" y="189"/>
                    </a:cubicBezTo>
                    <a:cubicBezTo>
                      <a:pt x="84" y="188"/>
                      <a:pt x="84" y="188"/>
                      <a:pt x="84" y="188"/>
                    </a:cubicBezTo>
                    <a:cubicBezTo>
                      <a:pt x="84" y="188"/>
                      <a:pt x="85" y="186"/>
                      <a:pt x="84" y="183"/>
                    </a:cubicBezTo>
                    <a:cubicBezTo>
                      <a:pt x="84" y="179"/>
                      <a:pt x="81" y="179"/>
                      <a:pt x="81" y="179"/>
                    </a:cubicBezTo>
                    <a:cubicBezTo>
                      <a:pt x="79" y="185"/>
                      <a:pt x="79" y="185"/>
                      <a:pt x="79" y="185"/>
                    </a:cubicBezTo>
                    <a:cubicBezTo>
                      <a:pt x="79" y="185"/>
                      <a:pt x="77" y="182"/>
                      <a:pt x="77" y="185"/>
                    </a:cubicBezTo>
                    <a:cubicBezTo>
                      <a:pt x="76" y="188"/>
                      <a:pt x="74" y="195"/>
                      <a:pt x="76" y="196"/>
                    </a:cubicBezTo>
                    <a:cubicBezTo>
                      <a:pt x="77" y="197"/>
                      <a:pt x="80" y="198"/>
                      <a:pt x="80" y="198"/>
                    </a:cubicBezTo>
                    <a:close/>
                    <a:moveTo>
                      <a:pt x="85" y="173"/>
                    </a:moveTo>
                    <a:cubicBezTo>
                      <a:pt x="84" y="171"/>
                      <a:pt x="84" y="171"/>
                      <a:pt x="84" y="171"/>
                    </a:cubicBezTo>
                    <a:cubicBezTo>
                      <a:pt x="81" y="171"/>
                      <a:pt x="81" y="171"/>
                      <a:pt x="81" y="171"/>
                    </a:cubicBezTo>
                    <a:cubicBezTo>
                      <a:pt x="82" y="176"/>
                      <a:pt x="82" y="176"/>
                      <a:pt x="82" y="176"/>
                    </a:cubicBezTo>
                    <a:cubicBezTo>
                      <a:pt x="88" y="177"/>
                      <a:pt x="88" y="177"/>
                      <a:pt x="88" y="177"/>
                    </a:cubicBezTo>
                    <a:cubicBezTo>
                      <a:pt x="88" y="173"/>
                      <a:pt x="88" y="173"/>
                      <a:pt x="88" y="173"/>
                    </a:cubicBezTo>
                    <a:lnTo>
                      <a:pt x="85" y="173"/>
                    </a:lnTo>
                    <a:close/>
                    <a:moveTo>
                      <a:pt x="123" y="212"/>
                    </a:moveTo>
                    <a:cubicBezTo>
                      <a:pt x="127" y="212"/>
                      <a:pt x="132" y="207"/>
                      <a:pt x="132" y="207"/>
                    </a:cubicBezTo>
                    <a:cubicBezTo>
                      <a:pt x="132" y="205"/>
                      <a:pt x="132" y="205"/>
                      <a:pt x="132" y="205"/>
                    </a:cubicBezTo>
                    <a:cubicBezTo>
                      <a:pt x="132" y="205"/>
                      <a:pt x="136" y="205"/>
                      <a:pt x="136" y="203"/>
                    </a:cubicBezTo>
                    <a:cubicBezTo>
                      <a:pt x="137" y="200"/>
                      <a:pt x="131" y="199"/>
                      <a:pt x="131" y="199"/>
                    </a:cubicBezTo>
                    <a:cubicBezTo>
                      <a:pt x="125" y="193"/>
                      <a:pt x="125" y="193"/>
                      <a:pt x="125" y="193"/>
                    </a:cubicBezTo>
                    <a:cubicBezTo>
                      <a:pt x="126" y="188"/>
                      <a:pt x="126" y="188"/>
                      <a:pt x="126" y="188"/>
                    </a:cubicBezTo>
                    <a:cubicBezTo>
                      <a:pt x="123" y="187"/>
                      <a:pt x="123" y="187"/>
                      <a:pt x="123" y="187"/>
                    </a:cubicBezTo>
                    <a:cubicBezTo>
                      <a:pt x="123" y="187"/>
                      <a:pt x="128" y="183"/>
                      <a:pt x="128" y="176"/>
                    </a:cubicBezTo>
                    <a:cubicBezTo>
                      <a:pt x="128" y="170"/>
                      <a:pt x="125" y="167"/>
                      <a:pt x="125" y="167"/>
                    </a:cubicBezTo>
                    <a:cubicBezTo>
                      <a:pt x="119" y="170"/>
                      <a:pt x="119" y="170"/>
                      <a:pt x="119" y="170"/>
                    </a:cubicBezTo>
                    <a:cubicBezTo>
                      <a:pt x="119" y="179"/>
                      <a:pt x="119" y="179"/>
                      <a:pt x="119" y="179"/>
                    </a:cubicBezTo>
                    <a:cubicBezTo>
                      <a:pt x="114" y="176"/>
                      <a:pt x="114" y="176"/>
                      <a:pt x="114" y="176"/>
                    </a:cubicBezTo>
                    <a:cubicBezTo>
                      <a:pt x="112" y="170"/>
                      <a:pt x="112" y="170"/>
                      <a:pt x="112" y="170"/>
                    </a:cubicBezTo>
                    <a:cubicBezTo>
                      <a:pt x="112" y="170"/>
                      <a:pt x="110" y="170"/>
                      <a:pt x="111" y="173"/>
                    </a:cubicBezTo>
                    <a:cubicBezTo>
                      <a:pt x="111" y="176"/>
                      <a:pt x="112" y="177"/>
                      <a:pt x="112" y="177"/>
                    </a:cubicBezTo>
                    <a:cubicBezTo>
                      <a:pt x="109" y="180"/>
                      <a:pt x="109" y="180"/>
                      <a:pt x="109" y="180"/>
                    </a:cubicBezTo>
                    <a:cubicBezTo>
                      <a:pt x="106" y="174"/>
                      <a:pt x="106" y="174"/>
                      <a:pt x="106" y="174"/>
                    </a:cubicBezTo>
                    <a:cubicBezTo>
                      <a:pt x="103" y="179"/>
                      <a:pt x="103" y="179"/>
                      <a:pt x="103" y="179"/>
                    </a:cubicBezTo>
                    <a:cubicBezTo>
                      <a:pt x="107" y="187"/>
                      <a:pt x="107" y="187"/>
                      <a:pt x="107" y="187"/>
                    </a:cubicBezTo>
                    <a:cubicBezTo>
                      <a:pt x="112" y="184"/>
                      <a:pt x="112" y="184"/>
                      <a:pt x="112" y="184"/>
                    </a:cubicBezTo>
                    <a:cubicBezTo>
                      <a:pt x="115" y="190"/>
                      <a:pt x="115" y="190"/>
                      <a:pt x="115" y="190"/>
                    </a:cubicBezTo>
                    <a:cubicBezTo>
                      <a:pt x="115" y="190"/>
                      <a:pt x="112" y="188"/>
                      <a:pt x="112" y="190"/>
                    </a:cubicBezTo>
                    <a:cubicBezTo>
                      <a:pt x="112" y="191"/>
                      <a:pt x="112" y="200"/>
                      <a:pt x="114" y="201"/>
                    </a:cubicBezTo>
                    <a:cubicBezTo>
                      <a:pt x="117" y="202"/>
                      <a:pt x="118" y="199"/>
                      <a:pt x="120" y="200"/>
                    </a:cubicBezTo>
                    <a:cubicBezTo>
                      <a:pt x="121" y="201"/>
                      <a:pt x="121" y="205"/>
                      <a:pt x="121" y="205"/>
                    </a:cubicBezTo>
                    <a:cubicBezTo>
                      <a:pt x="125" y="200"/>
                      <a:pt x="125" y="200"/>
                      <a:pt x="125" y="200"/>
                    </a:cubicBezTo>
                    <a:cubicBezTo>
                      <a:pt x="127" y="203"/>
                      <a:pt x="127" y="203"/>
                      <a:pt x="127" y="203"/>
                    </a:cubicBezTo>
                    <a:cubicBezTo>
                      <a:pt x="131" y="203"/>
                      <a:pt x="131" y="203"/>
                      <a:pt x="131" y="203"/>
                    </a:cubicBezTo>
                    <a:cubicBezTo>
                      <a:pt x="131" y="203"/>
                      <a:pt x="128" y="205"/>
                      <a:pt x="126" y="206"/>
                    </a:cubicBezTo>
                    <a:cubicBezTo>
                      <a:pt x="123" y="208"/>
                      <a:pt x="121" y="211"/>
                      <a:pt x="123" y="212"/>
                    </a:cubicBezTo>
                    <a:close/>
                    <a:moveTo>
                      <a:pt x="128" y="186"/>
                    </a:moveTo>
                    <a:cubicBezTo>
                      <a:pt x="128" y="190"/>
                      <a:pt x="128" y="190"/>
                      <a:pt x="128" y="190"/>
                    </a:cubicBezTo>
                    <a:cubicBezTo>
                      <a:pt x="128" y="192"/>
                      <a:pt x="128" y="192"/>
                      <a:pt x="128" y="192"/>
                    </a:cubicBezTo>
                    <a:cubicBezTo>
                      <a:pt x="130" y="190"/>
                      <a:pt x="130" y="190"/>
                      <a:pt x="130" y="190"/>
                    </a:cubicBezTo>
                    <a:cubicBezTo>
                      <a:pt x="129" y="187"/>
                      <a:pt x="129" y="187"/>
                      <a:pt x="129" y="187"/>
                    </a:cubicBezTo>
                    <a:cubicBezTo>
                      <a:pt x="131" y="183"/>
                      <a:pt x="131" y="183"/>
                      <a:pt x="131" y="183"/>
                    </a:cubicBezTo>
                    <a:cubicBezTo>
                      <a:pt x="131" y="183"/>
                      <a:pt x="128" y="185"/>
                      <a:pt x="128" y="186"/>
                    </a:cubicBezTo>
                    <a:close/>
                    <a:moveTo>
                      <a:pt x="132" y="196"/>
                    </a:moveTo>
                    <a:cubicBezTo>
                      <a:pt x="131" y="191"/>
                      <a:pt x="131" y="191"/>
                      <a:pt x="131" y="191"/>
                    </a:cubicBezTo>
                    <a:cubicBezTo>
                      <a:pt x="129" y="193"/>
                      <a:pt x="129" y="193"/>
                      <a:pt x="129" y="193"/>
                    </a:cubicBezTo>
                    <a:lnTo>
                      <a:pt x="132" y="196"/>
                    </a:lnTo>
                    <a:close/>
                    <a:moveTo>
                      <a:pt x="135" y="173"/>
                    </a:moveTo>
                    <a:cubicBezTo>
                      <a:pt x="134" y="174"/>
                      <a:pt x="134" y="174"/>
                      <a:pt x="134" y="174"/>
                    </a:cubicBezTo>
                    <a:cubicBezTo>
                      <a:pt x="133" y="180"/>
                      <a:pt x="133" y="180"/>
                      <a:pt x="133" y="180"/>
                    </a:cubicBezTo>
                    <a:cubicBezTo>
                      <a:pt x="133" y="180"/>
                      <a:pt x="135" y="181"/>
                      <a:pt x="135" y="179"/>
                    </a:cubicBezTo>
                    <a:lnTo>
                      <a:pt x="135" y="173"/>
                    </a:lnTo>
                    <a:close/>
                    <a:moveTo>
                      <a:pt x="87" y="170"/>
                    </a:moveTo>
                    <a:cubicBezTo>
                      <a:pt x="89" y="170"/>
                      <a:pt x="93" y="172"/>
                      <a:pt x="93" y="172"/>
                    </a:cubicBezTo>
                    <a:cubicBezTo>
                      <a:pt x="93" y="166"/>
                      <a:pt x="93" y="166"/>
                      <a:pt x="93" y="166"/>
                    </a:cubicBezTo>
                    <a:cubicBezTo>
                      <a:pt x="95" y="166"/>
                      <a:pt x="95" y="166"/>
                      <a:pt x="95" y="166"/>
                    </a:cubicBezTo>
                    <a:cubicBezTo>
                      <a:pt x="96" y="165"/>
                      <a:pt x="96" y="165"/>
                      <a:pt x="96" y="165"/>
                    </a:cubicBezTo>
                    <a:cubicBezTo>
                      <a:pt x="94" y="163"/>
                      <a:pt x="94" y="163"/>
                      <a:pt x="94" y="163"/>
                    </a:cubicBezTo>
                    <a:cubicBezTo>
                      <a:pt x="97" y="158"/>
                      <a:pt x="97" y="158"/>
                      <a:pt x="97" y="158"/>
                    </a:cubicBezTo>
                    <a:cubicBezTo>
                      <a:pt x="95" y="158"/>
                      <a:pt x="95" y="158"/>
                      <a:pt x="95" y="158"/>
                    </a:cubicBezTo>
                    <a:cubicBezTo>
                      <a:pt x="90" y="161"/>
                      <a:pt x="90" y="161"/>
                      <a:pt x="90" y="161"/>
                    </a:cubicBezTo>
                    <a:cubicBezTo>
                      <a:pt x="83" y="160"/>
                      <a:pt x="83" y="160"/>
                      <a:pt x="83" y="160"/>
                    </a:cubicBezTo>
                    <a:cubicBezTo>
                      <a:pt x="81" y="165"/>
                      <a:pt x="81" y="165"/>
                      <a:pt x="81" y="165"/>
                    </a:cubicBezTo>
                    <a:cubicBezTo>
                      <a:pt x="85" y="165"/>
                      <a:pt x="85" y="165"/>
                      <a:pt x="85" y="165"/>
                    </a:cubicBezTo>
                    <a:cubicBezTo>
                      <a:pt x="85" y="165"/>
                      <a:pt x="84" y="170"/>
                      <a:pt x="87" y="170"/>
                    </a:cubicBezTo>
                    <a:close/>
                    <a:moveTo>
                      <a:pt x="111" y="155"/>
                    </a:moveTo>
                    <a:cubicBezTo>
                      <a:pt x="112" y="152"/>
                      <a:pt x="112" y="152"/>
                      <a:pt x="112" y="152"/>
                    </a:cubicBezTo>
                    <a:cubicBezTo>
                      <a:pt x="114" y="152"/>
                      <a:pt x="114" y="152"/>
                      <a:pt x="114" y="152"/>
                    </a:cubicBezTo>
                    <a:cubicBezTo>
                      <a:pt x="114" y="145"/>
                      <a:pt x="114" y="145"/>
                      <a:pt x="114" y="145"/>
                    </a:cubicBezTo>
                    <a:cubicBezTo>
                      <a:pt x="116" y="145"/>
                      <a:pt x="116" y="145"/>
                      <a:pt x="116" y="145"/>
                    </a:cubicBezTo>
                    <a:cubicBezTo>
                      <a:pt x="116" y="145"/>
                      <a:pt x="115" y="150"/>
                      <a:pt x="118" y="151"/>
                    </a:cubicBezTo>
                    <a:cubicBezTo>
                      <a:pt x="121" y="153"/>
                      <a:pt x="122" y="148"/>
                      <a:pt x="122" y="148"/>
                    </a:cubicBezTo>
                    <a:cubicBezTo>
                      <a:pt x="122" y="148"/>
                      <a:pt x="126" y="149"/>
                      <a:pt x="127" y="146"/>
                    </a:cubicBezTo>
                    <a:cubicBezTo>
                      <a:pt x="129" y="144"/>
                      <a:pt x="123" y="141"/>
                      <a:pt x="123" y="141"/>
                    </a:cubicBezTo>
                    <a:cubicBezTo>
                      <a:pt x="128" y="139"/>
                      <a:pt x="128" y="139"/>
                      <a:pt x="128" y="139"/>
                    </a:cubicBezTo>
                    <a:cubicBezTo>
                      <a:pt x="130" y="136"/>
                      <a:pt x="130" y="136"/>
                      <a:pt x="130" y="136"/>
                    </a:cubicBezTo>
                    <a:cubicBezTo>
                      <a:pt x="130" y="136"/>
                      <a:pt x="133" y="138"/>
                      <a:pt x="136" y="137"/>
                    </a:cubicBezTo>
                    <a:cubicBezTo>
                      <a:pt x="141" y="136"/>
                      <a:pt x="141" y="134"/>
                      <a:pt x="141" y="134"/>
                    </a:cubicBezTo>
                    <a:cubicBezTo>
                      <a:pt x="139" y="132"/>
                      <a:pt x="139" y="132"/>
                      <a:pt x="139" y="132"/>
                    </a:cubicBezTo>
                    <a:cubicBezTo>
                      <a:pt x="134" y="135"/>
                      <a:pt x="134" y="135"/>
                      <a:pt x="134" y="135"/>
                    </a:cubicBezTo>
                    <a:cubicBezTo>
                      <a:pt x="134" y="135"/>
                      <a:pt x="133" y="135"/>
                      <a:pt x="133" y="133"/>
                    </a:cubicBezTo>
                    <a:cubicBezTo>
                      <a:pt x="133" y="130"/>
                      <a:pt x="139" y="126"/>
                      <a:pt x="139" y="126"/>
                    </a:cubicBezTo>
                    <a:cubicBezTo>
                      <a:pt x="139" y="125"/>
                      <a:pt x="139" y="125"/>
                      <a:pt x="139" y="125"/>
                    </a:cubicBezTo>
                    <a:cubicBezTo>
                      <a:pt x="141" y="123"/>
                      <a:pt x="141" y="123"/>
                      <a:pt x="141" y="123"/>
                    </a:cubicBezTo>
                    <a:cubicBezTo>
                      <a:pt x="139" y="118"/>
                      <a:pt x="139" y="118"/>
                      <a:pt x="139" y="118"/>
                    </a:cubicBezTo>
                    <a:cubicBezTo>
                      <a:pt x="139" y="118"/>
                      <a:pt x="135" y="118"/>
                      <a:pt x="133" y="120"/>
                    </a:cubicBezTo>
                    <a:cubicBezTo>
                      <a:pt x="131" y="121"/>
                      <a:pt x="129" y="124"/>
                      <a:pt x="129" y="124"/>
                    </a:cubicBezTo>
                    <a:cubicBezTo>
                      <a:pt x="129" y="124"/>
                      <a:pt x="119" y="124"/>
                      <a:pt x="117" y="126"/>
                    </a:cubicBezTo>
                    <a:cubicBezTo>
                      <a:pt x="115" y="128"/>
                      <a:pt x="118" y="134"/>
                      <a:pt x="118" y="134"/>
                    </a:cubicBezTo>
                    <a:cubicBezTo>
                      <a:pt x="112" y="132"/>
                      <a:pt x="112" y="132"/>
                      <a:pt x="112" y="132"/>
                    </a:cubicBezTo>
                    <a:cubicBezTo>
                      <a:pt x="113" y="129"/>
                      <a:pt x="113" y="129"/>
                      <a:pt x="113" y="129"/>
                    </a:cubicBezTo>
                    <a:cubicBezTo>
                      <a:pt x="109" y="127"/>
                      <a:pt x="109" y="127"/>
                      <a:pt x="109" y="127"/>
                    </a:cubicBezTo>
                    <a:cubicBezTo>
                      <a:pt x="109" y="127"/>
                      <a:pt x="106" y="128"/>
                      <a:pt x="104" y="132"/>
                    </a:cubicBezTo>
                    <a:cubicBezTo>
                      <a:pt x="101" y="136"/>
                      <a:pt x="104" y="142"/>
                      <a:pt x="104" y="142"/>
                    </a:cubicBezTo>
                    <a:cubicBezTo>
                      <a:pt x="101" y="143"/>
                      <a:pt x="101" y="143"/>
                      <a:pt x="101" y="143"/>
                    </a:cubicBezTo>
                    <a:cubicBezTo>
                      <a:pt x="101" y="143"/>
                      <a:pt x="105" y="145"/>
                      <a:pt x="107" y="148"/>
                    </a:cubicBezTo>
                    <a:cubicBezTo>
                      <a:pt x="110" y="149"/>
                      <a:pt x="109" y="150"/>
                      <a:pt x="109" y="150"/>
                    </a:cubicBezTo>
                    <a:cubicBezTo>
                      <a:pt x="106" y="149"/>
                      <a:pt x="106" y="149"/>
                      <a:pt x="106" y="149"/>
                    </a:cubicBezTo>
                    <a:cubicBezTo>
                      <a:pt x="105" y="150"/>
                      <a:pt x="105" y="150"/>
                      <a:pt x="105" y="150"/>
                    </a:cubicBezTo>
                    <a:cubicBezTo>
                      <a:pt x="105" y="153"/>
                      <a:pt x="105" y="153"/>
                      <a:pt x="105" y="153"/>
                    </a:cubicBezTo>
                    <a:cubicBezTo>
                      <a:pt x="101" y="154"/>
                      <a:pt x="101" y="154"/>
                      <a:pt x="101" y="154"/>
                    </a:cubicBezTo>
                    <a:cubicBezTo>
                      <a:pt x="99" y="153"/>
                      <a:pt x="99" y="153"/>
                      <a:pt x="99" y="153"/>
                    </a:cubicBezTo>
                    <a:cubicBezTo>
                      <a:pt x="98" y="153"/>
                      <a:pt x="98" y="153"/>
                      <a:pt x="98" y="153"/>
                    </a:cubicBezTo>
                    <a:cubicBezTo>
                      <a:pt x="103" y="159"/>
                      <a:pt x="103" y="159"/>
                      <a:pt x="103" y="159"/>
                    </a:cubicBezTo>
                    <a:lnTo>
                      <a:pt x="111" y="155"/>
                    </a:lnTo>
                    <a:close/>
                    <a:moveTo>
                      <a:pt x="249" y="123"/>
                    </a:moveTo>
                    <a:cubicBezTo>
                      <a:pt x="249" y="123"/>
                      <a:pt x="251" y="123"/>
                      <a:pt x="248" y="114"/>
                    </a:cubicBezTo>
                    <a:cubicBezTo>
                      <a:pt x="245" y="106"/>
                      <a:pt x="242" y="113"/>
                      <a:pt x="242" y="113"/>
                    </a:cubicBezTo>
                    <a:cubicBezTo>
                      <a:pt x="244" y="122"/>
                      <a:pt x="244" y="122"/>
                      <a:pt x="244" y="122"/>
                    </a:cubicBezTo>
                    <a:lnTo>
                      <a:pt x="249" y="123"/>
                    </a:lnTo>
                    <a:close/>
                    <a:moveTo>
                      <a:pt x="253" y="121"/>
                    </a:moveTo>
                    <a:cubicBezTo>
                      <a:pt x="256" y="126"/>
                      <a:pt x="256" y="126"/>
                      <a:pt x="256" y="126"/>
                    </a:cubicBezTo>
                    <a:cubicBezTo>
                      <a:pt x="258" y="120"/>
                      <a:pt x="258" y="120"/>
                      <a:pt x="258" y="120"/>
                    </a:cubicBezTo>
                    <a:cubicBezTo>
                      <a:pt x="256" y="119"/>
                      <a:pt x="256" y="119"/>
                      <a:pt x="256" y="119"/>
                    </a:cubicBezTo>
                    <a:cubicBezTo>
                      <a:pt x="256" y="119"/>
                      <a:pt x="253" y="118"/>
                      <a:pt x="253" y="121"/>
                    </a:cubicBezTo>
                    <a:close/>
                    <a:moveTo>
                      <a:pt x="251" y="111"/>
                    </a:moveTo>
                    <a:cubicBezTo>
                      <a:pt x="257" y="111"/>
                      <a:pt x="257" y="111"/>
                      <a:pt x="257" y="111"/>
                    </a:cubicBezTo>
                    <a:cubicBezTo>
                      <a:pt x="258" y="114"/>
                      <a:pt x="258" y="114"/>
                      <a:pt x="258" y="114"/>
                    </a:cubicBezTo>
                    <a:cubicBezTo>
                      <a:pt x="262" y="117"/>
                      <a:pt x="262" y="117"/>
                      <a:pt x="262" y="117"/>
                    </a:cubicBezTo>
                    <a:cubicBezTo>
                      <a:pt x="264" y="113"/>
                      <a:pt x="264" y="113"/>
                      <a:pt x="264" y="113"/>
                    </a:cubicBezTo>
                    <a:cubicBezTo>
                      <a:pt x="262" y="111"/>
                      <a:pt x="262" y="111"/>
                      <a:pt x="262" y="111"/>
                    </a:cubicBezTo>
                    <a:cubicBezTo>
                      <a:pt x="261" y="108"/>
                      <a:pt x="261" y="108"/>
                      <a:pt x="261" y="108"/>
                    </a:cubicBezTo>
                    <a:cubicBezTo>
                      <a:pt x="256" y="107"/>
                      <a:pt x="256" y="107"/>
                      <a:pt x="256" y="107"/>
                    </a:cubicBezTo>
                    <a:cubicBezTo>
                      <a:pt x="258" y="104"/>
                      <a:pt x="258" y="104"/>
                      <a:pt x="258" y="104"/>
                    </a:cubicBezTo>
                    <a:cubicBezTo>
                      <a:pt x="258" y="104"/>
                      <a:pt x="258" y="101"/>
                      <a:pt x="253" y="98"/>
                    </a:cubicBezTo>
                    <a:cubicBezTo>
                      <a:pt x="249" y="96"/>
                      <a:pt x="249" y="94"/>
                      <a:pt x="247" y="101"/>
                    </a:cubicBezTo>
                    <a:cubicBezTo>
                      <a:pt x="244" y="106"/>
                      <a:pt x="246" y="108"/>
                      <a:pt x="251" y="111"/>
                    </a:cubicBezTo>
                    <a:close/>
                    <a:moveTo>
                      <a:pt x="260" y="105"/>
                    </a:moveTo>
                    <a:cubicBezTo>
                      <a:pt x="264" y="108"/>
                      <a:pt x="264" y="108"/>
                      <a:pt x="264" y="108"/>
                    </a:cubicBezTo>
                    <a:cubicBezTo>
                      <a:pt x="265" y="106"/>
                      <a:pt x="265" y="106"/>
                      <a:pt x="265" y="106"/>
                    </a:cubicBezTo>
                    <a:cubicBezTo>
                      <a:pt x="261" y="104"/>
                      <a:pt x="261" y="104"/>
                      <a:pt x="261" y="104"/>
                    </a:cubicBezTo>
                    <a:lnTo>
                      <a:pt x="260" y="105"/>
                    </a:lnTo>
                    <a:close/>
                    <a:moveTo>
                      <a:pt x="275" y="106"/>
                    </a:moveTo>
                    <a:cubicBezTo>
                      <a:pt x="271" y="101"/>
                      <a:pt x="271" y="101"/>
                      <a:pt x="271" y="101"/>
                    </a:cubicBezTo>
                    <a:cubicBezTo>
                      <a:pt x="270" y="107"/>
                      <a:pt x="270" y="107"/>
                      <a:pt x="270" y="107"/>
                    </a:cubicBezTo>
                    <a:lnTo>
                      <a:pt x="275" y="106"/>
                    </a:lnTo>
                    <a:close/>
                    <a:moveTo>
                      <a:pt x="263" y="97"/>
                    </a:moveTo>
                    <a:cubicBezTo>
                      <a:pt x="259" y="94"/>
                      <a:pt x="259" y="94"/>
                      <a:pt x="259" y="94"/>
                    </a:cubicBezTo>
                    <a:cubicBezTo>
                      <a:pt x="258" y="98"/>
                      <a:pt x="258" y="98"/>
                      <a:pt x="258" y="98"/>
                    </a:cubicBezTo>
                    <a:cubicBezTo>
                      <a:pt x="262" y="101"/>
                      <a:pt x="262" y="101"/>
                      <a:pt x="262" y="101"/>
                    </a:cubicBezTo>
                    <a:lnTo>
                      <a:pt x="263" y="97"/>
                    </a:lnTo>
                    <a:close/>
                    <a:moveTo>
                      <a:pt x="265" y="89"/>
                    </a:moveTo>
                    <a:cubicBezTo>
                      <a:pt x="268" y="89"/>
                      <a:pt x="268" y="89"/>
                      <a:pt x="268" y="89"/>
                    </a:cubicBezTo>
                    <a:cubicBezTo>
                      <a:pt x="268" y="85"/>
                      <a:pt x="268" y="85"/>
                      <a:pt x="268" y="85"/>
                    </a:cubicBezTo>
                    <a:cubicBezTo>
                      <a:pt x="261" y="87"/>
                      <a:pt x="261" y="87"/>
                      <a:pt x="261" y="87"/>
                    </a:cubicBezTo>
                    <a:cubicBezTo>
                      <a:pt x="266" y="94"/>
                      <a:pt x="266" y="94"/>
                      <a:pt x="266" y="94"/>
                    </a:cubicBezTo>
                    <a:lnTo>
                      <a:pt x="265" y="89"/>
                    </a:lnTo>
                    <a:close/>
                    <a:moveTo>
                      <a:pt x="282" y="87"/>
                    </a:moveTo>
                    <a:cubicBezTo>
                      <a:pt x="281" y="89"/>
                      <a:pt x="281" y="89"/>
                      <a:pt x="281" y="89"/>
                    </a:cubicBezTo>
                    <a:cubicBezTo>
                      <a:pt x="284" y="88"/>
                      <a:pt x="284" y="88"/>
                      <a:pt x="284" y="88"/>
                    </a:cubicBezTo>
                    <a:lnTo>
                      <a:pt x="282" y="87"/>
                    </a:lnTo>
                    <a:close/>
                    <a:moveTo>
                      <a:pt x="311" y="82"/>
                    </a:moveTo>
                    <a:cubicBezTo>
                      <a:pt x="310" y="82"/>
                      <a:pt x="310" y="82"/>
                      <a:pt x="310" y="82"/>
                    </a:cubicBezTo>
                    <a:cubicBezTo>
                      <a:pt x="309" y="86"/>
                      <a:pt x="309" y="86"/>
                      <a:pt x="309" y="86"/>
                    </a:cubicBezTo>
                    <a:cubicBezTo>
                      <a:pt x="311" y="85"/>
                      <a:pt x="311" y="85"/>
                      <a:pt x="311" y="85"/>
                    </a:cubicBezTo>
                    <a:lnTo>
                      <a:pt x="311" y="82"/>
                    </a:lnTo>
                    <a:close/>
                    <a:moveTo>
                      <a:pt x="268" y="102"/>
                    </a:moveTo>
                    <a:cubicBezTo>
                      <a:pt x="269" y="95"/>
                      <a:pt x="269" y="95"/>
                      <a:pt x="269" y="95"/>
                    </a:cubicBezTo>
                    <a:cubicBezTo>
                      <a:pt x="269" y="94"/>
                      <a:pt x="269" y="94"/>
                      <a:pt x="269" y="94"/>
                    </a:cubicBezTo>
                    <a:cubicBezTo>
                      <a:pt x="265" y="100"/>
                      <a:pt x="265" y="100"/>
                      <a:pt x="265" y="100"/>
                    </a:cubicBezTo>
                    <a:lnTo>
                      <a:pt x="268" y="102"/>
                    </a:lnTo>
                    <a:close/>
                    <a:moveTo>
                      <a:pt x="282" y="93"/>
                    </a:moveTo>
                    <a:cubicBezTo>
                      <a:pt x="276" y="94"/>
                      <a:pt x="276" y="94"/>
                      <a:pt x="276" y="94"/>
                    </a:cubicBezTo>
                    <a:cubicBezTo>
                      <a:pt x="278" y="93"/>
                      <a:pt x="278" y="93"/>
                      <a:pt x="278" y="93"/>
                    </a:cubicBezTo>
                    <a:cubicBezTo>
                      <a:pt x="278" y="91"/>
                      <a:pt x="278" y="91"/>
                      <a:pt x="278" y="91"/>
                    </a:cubicBezTo>
                    <a:cubicBezTo>
                      <a:pt x="269" y="97"/>
                      <a:pt x="269" y="97"/>
                      <a:pt x="269" y="97"/>
                    </a:cubicBezTo>
                    <a:cubicBezTo>
                      <a:pt x="282" y="95"/>
                      <a:pt x="282" y="95"/>
                      <a:pt x="282" y="95"/>
                    </a:cubicBezTo>
                    <a:lnTo>
                      <a:pt x="282" y="93"/>
                    </a:lnTo>
                    <a:close/>
                    <a:moveTo>
                      <a:pt x="330" y="34"/>
                    </a:moveTo>
                    <a:cubicBezTo>
                      <a:pt x="318" y="34"/>
                      <a:pt x="318" y="34"/>
                      <a:pt x="318" y="34"/>
                    </a:cubicBezTo>
                    <a:cubicBezTo>
                      <a:pt x="320" y="38"/>
                      <a:pt x="320" y="38"/>
                      <a:pt x="320" y="38"/>
                    </a:cubicBezTo>
                    <a:cubicBezTo>
                      <a:pt x="324" y="39"/>
                      <a:pt x="324" y="39"/>
                      <a:pt x="324" y="39"/>
                    </a:cubicBezTo>
                    <a:cubicBezTo>
                      <a:pt x="323" y="44"/>
                      <a:pt x="323" y="44"/>
                      <a:pt x="323" y="44"/>
                    </a:cubicBezTo>
                    <a:cubicBezTo>
                      <a:pt x="331" y="40"/>
                      <a:pt x="331" y="40"/>
                      <a:pt x="331" y="40"/>
                    </a:cubicBezTo>
                    <a:cubicBezTo>
                      <a:pt x="323" y="61"/>
                      <a:pt x="323" y="61"/>
                      <a:pt x="323" y="61"/>
                    </a:cubicBezTo>
                    <a:cubicBezTo>
                      <a:pt x="326" y="65"/>
                      <a:pt x="326" y="65"/>
                      <a:pt x="326" y="65"/>
                    </a:cubicBezTo>
                    <a:cubicBezTo>
                      <a:pt x="333" y="48"/>
                      <a:pt x="333" y="48"/>
                      <a:pt x="333" y="48"/>
                    </a:cubicBezTo>
                    <a:cubicBezTo>
                      <a:pt x="333" y="48"/>
                      <a:pt x="334" y="53"/>
                      <a:pt x="336" y="49"/>
                    </a:cubicBezTo>
                    <a:cubicBezTo>
                      <a:pt x="339" y="47"/>
                      <a:pt x="336" y="45"/>
                      <a:pt x="335" y="43"/>
                    </a:cubicBezTo>
                    <a:cubicBezTo>
                      <a:pt x="334" y="40"/>
                      <a:pt x="336" y="42"/>
                      <a:pt x="338" y="39"/>
                    </a:cubicBezTo>
                    <a:cubicBezTo>
                      <a:pt x="339" y="37"/>
                      <a:pt x="342" y="28"/>
                      <a:pt x="342" y="28"/>
                    </a:cubicBezTo>
                    <a:cubicBezTo>
                      <a:pt x="338" y="28"/>
                      <a:pt x="338" y="28"/>
                      <a:pt x="338" y="28"/>
                    </a:cubicBezTo>
                    <a:cubicBezTo>
                      <a:pt x="339" y="23"/>
                      <a:pt x="339" y="23"/>
                      <a:pt x="339" y="23"/>
                    </a:cubicBezTo>
                    <a:cubicBezTo>
                      <a:pt x="336" y="23"/>
                      <a:pt x="336" y="23"/>
                      <a:pt x="336" y="23"/>
                    </a:cubicBezTo>
                    <a:cubicBezTo>
                      <a:pt x="336" y="23"/>
                      <a:pt x="334" y="30"/>
                      <a:pt x="333" y="27"/>
                    </a:cubicBezTo>
                    <a:cubicBezTo>
                      <a:pt x="332" y="24"/>
                      <a:pt x="336" y="17"/>
                      <a:pt x="335" y="15"/>
                    </a:cubicBezTo>
                    <a:cubicBezTo>
                      <a:pt x="334" y="13"/>
                      <a:pt x="327" y="19"/>
                      <a:pt x="327" y="19"/>
                    </a:cubicBezTo>
                    <a:cubicBezTo>
                      <a:pt x="325" y="19"/>
                      <a:pt x="325" y="19"/>
                      <a:pt x="325" y="19"/>
                    </a:cubicBezTo>
                    <a:cubicBezTo>
                      <a:pt x="325" y="23"/>
                      <a:pt x="325" y="23"/>
                      <a:pt x="325" y="23"/>
                    </a:cubicBezTo>
                    <a:cubicBezTo>
                      <a:pt x="327" y="24"/>
                      <a:pt x="327" y="24"/>
                      <a:pt x="327" y="24"/>
                    </a:cubicBezTo>
                    <a:cubicBezTo>
                      <a:pt x="327" y="31"/>
                      <a:pt x="327" y="31"/>
                      <a:pt x="327" y="31"/>
                    </a:cubicBezTo>
                    <a:cubicBezTo>
                      <a:pt x="327" y="31"/>
                      <a:pt x="336" y="34"/>
                      <a:pt x="330" y="34"/>
                    </a:cubicBezTo>
                    <a:close/>
                    <a:moveTo>
                      <a:pt x="342" y="25"/>
                    </a:moveTo>
                    <a:cubicBezTo>
                      <a:pt x="345" y="25"/>
                      <a:pt x="344" y="20"/>
                      <a:pt x="345" y="17"/>
                    </a:cubicBezTo>
                    <a:cubicBezTo>
                      <a:pt x="345" y="14"/>
                      <a:pt x="348" y="11"/>
                      <a:pt x="346" y="10"/>
                    </a:cubicBezTo>
                    <a:cubicBezTo>
                      <a:pt x="344" y="8"/>
                      <a:pt x="340" y="13"/>
                      <a:pt x="340" y="16"/>
                    </a:cubicBezTo>
                    <a:cubicBezTo>
                      <a:pt x="340" y="19"/>
                      <a:pt x="339" y="24"/>
                      <a:pt x="342" y="25"/>
                    </a:cubicBezTo>
                    <a:close/>
                    <a:moveTo>
                      <a:pt x="357" y="3"/>
                    </a:moveTo>
                    <a:cubicBezTo>
                      <a:pt x="357" y="3"/>
                      <a:pt x="354" y="0"/>
                      <a:pt x="351" y="4"/>
                    </a:cubicBezTo>
                    <a:cubicBezTo>
                      <a:pt x="349" y="8"/>
                      <a:pt x="349" y="12"/>
                      <a:pt x="349" y="12"/>
                    </a:cubicBezTo>
                    <a:cubicBezTo>
                      <a:pt x="352" y="12"/>
                      <a:pt x="352" y="12"/>
                      <a:pt x="352" y="12"/>
                    </a:cubicBezTo>
                    <a:lnTo>
                      <a:pt x="357" y="3"/>
                    </a:lnTo>
                    <a:close/>
                    <a:moveTo>
                      <a:pt x="349" y="16"/>
                    </a:moveTo>
                    <a:cubicBezTo>
                      <a:pt x="348" y="19"/>
                      <a:pt x="348" y="19"/>
                      <a:pt x="348" y="19"/>
                    </a:cubicBezTo>
                    <a:cubicBezTo>
                      <a:pt x="355" y="19"/>
                      <a:pt x="355" y="19"/>
                      <a:pt x="355" y="19"/>
                    </a:cubicBezTo>
                    <a:lnTo>
                      <a:pt x="349" y="16"/>
                    </a:lnTo>
                    <a:close/>
                    <a:moveTo>
                      <a:pt x="33" y="379"/>
                    </a:moveTo>
                    <a:cubicBezTo>
                      <a:pt x="32" y="375"/>
                      <a:pt x="32" y="375"/>
                      <a:pt x="32" y="375"/>
                    </a:cubicBezTo>
                    <a:cubicBezTo>
                      <a:pt x="32" y="375"/>
                      <a:pt x="35" y="368"/>
                      <a:pt x="40" y="369"/>
                    </a:cubicBezTo>
                    <a:cubicBezTo>
                      <a:pt x="45" y="370"/>
                      <a:pt x="46" y="378"/>
                      <a:pt x="46" y="378"/>
                    </a:cubicBezTo>
                    <a:cubicBezTo>
                      <a:pt x="46" y="386"/>
                      <a:pt x="46" y="386"/>
                      <a:pt x="46" y="386"/>
                    </a:cubicBezTo>
                    <a:cubicBezTo>
                      <a:pt x="51" y="387"/>
                      <a:pt x="51" y="387"/>
                      <a:pt x="51" y="387"/>
                    </a:cubicBezTo>
                    <a:cubicBezTo>
                      <a:pt x="51" y="387"/>
                      <a:pt x="44" y="396"/>
                      <a:pt x="49" y="396"/>
                    </a:cubicBezTo>
                    <a:cubicBezTo>
                      <a:pt x="55" y="396"/>
                      <a:pt x="60" y="397"/>
                      <a:pt x="60" y="397"/>
                    </a:cubicBezTo>
                    <a:cubicBezTo>
                      <a:pt x="62" y="393"/>
                      <a:pt x="62" y="393"/>
                      <a:pt x="62" y="393"/>
                    </a:cubicBezTo>
                    <a:cubicBezTo>
                      <a:pt x="64" y="397"/>
                      <a:pt x="64" y="397"/>
                      <a:pt x="64" y="397"/>
                    </a:cubicBezTo>
                    <a:cubicBezTo>
                      <a:pt x="64" y="396"/>
                      <a:pt x="64" y="396"/>
                      <a:pt x="64" y="396"/>
                    </a:cubicBezTo>
                    <a:cubicBezTo>
                      <a:pt x="65" y="396"/>
                      <a:pt x="70" y="405"/>
                      <a:pt x="74" y="401"/>
                    </a:cubicBezTo>
                    <a:cubicBezTo>
                      <a:pt x="80" y="396"/>
                      <a:pt x="78" y="392"/>
                      <a:pt x="81" y="390"/>
                    </a:cubicBezTo>
                    <a:cubicBezTo>
                      <a:pt x="84" y="389"/>
                      <a:pt x="85" y="394"/>
                      <a:pt x="90" y="392"/>
                    </a:cubicBezTo>
                    <a:cubicBezTo>
                      <a:pt x="95" y="389"/>
                      <a:pt x="93" y="386"/>
                      <a:pt x="93" y="386"/>
                    </a:cubicBezTo>
                    <a:cubicBezTo>
                      <a:pt x="90" y="384"/>
                      <a:pt x="90" y="384"/>
                      <a:pt x="90" y="384"/>
                    </a:cubicBezTo>
                    <a:cubicBezTo>
                      <a:pt x="94" y="376"/>
                      <a:pt x="94" y="376"/>
                      <a:pt x="94" y="376"/>
                    </a:cubicBezTo>
                    <a:cubicBezTo>
                      <a:pt x="93" y="373"/>
                      <a:pt x="93" y="373"/>
                      <a:pt x="93" y="373"/>
                    </a:cubicBezTo>
                    <a:cubicBezTo>
                      <a:pt x="96" y="371"/>
                      <a:pt x="96" y="371"/>
                      <a:pt x="96" y="371"/>
                    </a:cubicBezTo>
                    <a:cubicBezTo>
                      <a:pt x="97" y="379"/>
                      <a:pt x="97" y="379"/>
                      <a:pt x="97" y="379"/>
                    </a:cubicBezTo>
                    <a:cubicBezTo>
                      <a:pt x="95" y="382"/>
                      <a:pt x="95" y="382"/>
                      <a:pt x="95" y="382"/>
                    </a:cubicBezTo>
                    <a:cubicBezTo>
                      <a:pt x="96" y="386"/>
                      <a:pt x="96" y="386"/>
                      <a:pt x="96" y="386"/>
                    </a:cubicBezTo>
                    <a:cubicBezTo>
                      <a:pt x="96" y="386"/>
                      <a:pt x="99" y="386"/>
                      <a:pt x="100" y="380"/>
                    </a:cubicBezTo>
                    <a:cubicBezTo>
                      <a:pt x="100" y="376"/>
                      <a:pt x="104" y="368"/>
                      <a:pt x="99" y="365"/>
                    </a:cubicBezTo>
                    <a:cubicBezTo>
                      <a:pt x="93" y="363"/>
                      <a:pt x="83" y="368"/>
                      <a:pt x="85" y="364"/>
                    </a:cubicBezTo>
                    <a:cubicBezTo>
                      <a:pt x="87" y="361"/>
                      <a:pt x="96" y="362"/>
                      <a:pt x="96" y="356"/>
                    </a:cubicBezTo>
                    <a:cubicBezTo>
                      <a:pt x="96" y="349"/>
                      <a:pt x="94" y="350"/>
                      <a:pt x="94" y="350"/>
                    </a:cubicBezTo>
                    <a:cubicBezTo>
                      <a:pt x="89" y="340"/>
                      <a:pt x="89" y="340"/>
                      <a:pt x="89" y="340"/>
                    </a:cubicBezTo>
                    <a:cubicBezTo>
                      <a:pt x="89" y="330"/>
                      <a:pt x="89" y="330"/>
                      <a:pt x="89" y="330"/>
                    </a:cubicBezTo>
                    <a:cubicBezTo>
                      <a:pt x="89" y="330"/>
                      <a:pt x="90" y="325"/>
                      <a:pt x="82" y="323"/>
                    </a:cubicBezTo>
                    <a:cubicBezTo>
                      <a:pt x="73" y="321"/>
                      <a:pt x="64" y="324"/>
                      <a:pt x="64" y="324"/>
                    </a:cubicBezTo>
                    <a:cubicBezTo>
                      <a:pt x="57" y="319"/>
                      <a:pt x="57" y="319"/>
                      <a:pt x="57" y="319"/>
                    </a:cubicBezTo>
                    <a:cubicBezTo>
                      <a:pt x="51" y="327"/>
                      <a:pt x="51" y="327"/>
                      <a:pt x="51" y="327"/>
                    </a:cubicBezTo>
                    <a:cubicBezTo>
                      <a:pt x="45" y="326"/>
                      <a:pt x="45" y="326"/>
                      <a:pt x="45" y="326"/>
                    </a:cubicBezTo>
                    <a:cubicBezTo>
                      <a:pt x="39" y="325"/>
                      <a:pt x="39" y="325"/>
                      <a:pt x="39" y="325"/>
                    </a:cubicBezTo>
                    <a:cubicBezTo>
                      <a:pt x="36" y="332"/>
                      <a:pt x="36" y="332"/>
                      <a:pt x="36" y="332"/>
                    </a:cubicBezTo>
                    <a:cubicBezTo>
                      <a:pt x="34" y="332"/>
                      <a:pt x="34" y="332"/>
                      <a:pt x="34" y="332"/>
                    </a:cubicBezTo>
                    <a:cubicBezTo>
                      <a:pt x="33" y="338"/>
                      <a:pt x="33" y="338"/>
                      <a:pt x="33" y="338"/>
                    </a:cubicBezTo>
                    <a:cubicBezTo>
                      <a:pt x="27" y="345"/>
                      <a:pt x="27" y="345"/>
                      <a:pt x="27" y="345"/>
                    </a:cubicBezTo>
                    <a:cubicBezTo>
                      <a:pt x="27" y="345"/>
                      <a:pt x="28" y="343"/>
                      <a:pt x="24" y="343"/>
                    </a:cubicBezTo>
                    <a:cubicBezTo>
                      <a:pt x="22" y="343"/>
                      <a:pt x="20" y="345"/>
                      <a:pt x="20" y="345"/>
                    </a:cubicBezTo>
                    <a:cubicBezTo>
                      <a:pt x="20" y="345"/>
                      <a:pt x="19" y="341"/>
                      <a:pt x="17" y="341"/>
                    </a:cubicBezTo>
                    <a:cubicBezTo>
                      <a:pt x="16" y="341"/>
                      <a:pt x="12" y="342"/>
                      <a:pt x="12" y="345"/>
                    </a:cubicBezTo>
                    <a:cubicBezTo>
                      <a:pt x="12" y="347"/>
                      <a:pt x="20" y="349"/>
                      <a:pt x="20" y="349"/>
                    </a:cubicBezTo>
                    <a:cubicBezTo>
                      <a:pt x="17" y="350"/>
                      <a:pt x="17" y="350"/>
                      <a:pt x="17" y="350"/>
                    </a:cubicBezTo>
                    <a:cubicBezTo>
                      <a:pt x="13" y="353"/>
                      <a:pt x="13" y="353"/>
                      <a:pt x="13" y="353"/>
                    </a:cubicBezTo>
                    <a:cubicBezTo>
                      <a:pt x="7" y="350"/>
                      <a:pt x="7" y="350"/>
                      <a:pt x="7" y="350"/>
                    </a:cubicBezTo>
                    <a:cubicBezTo>
                      <a:pt x="5" y="355"/>
                      <a:pt x="5" y="355"/>
                      <a:pt x="5" y="355"/>
                    </a:cubicBezTo>
                    <a:cubicBezTo>
                      <a:pt x="5" y="355"/>
                      <a:pt x="0" y="353"/>
                      <a:pt x="0" y="356"/>
                    </a:cubicBezTo>
                    <a:cubicBezTo>
                      <a:pt x="0" y="359"/>
                      <a:pt x="7" y="370"/>
                      <a:pt x="7" y="370"/>
                    </a:cubicBezTo>
                    <a:cubicBezTo>
                      <a:pt x="6" y="376"/>
                      <a:pt x="6" y="376"/>
                      <a:pt x="6" y="376"/>
                    </a:cubicBezTo>
                    <a:cubicBezTo>
                      <a:pt x="13" y="377"/>
                      <a:pt x="13" y="377"/>
                      <a:pt x="13" y="377"/>
                    </a:cubicBezTo>
                    <a:cubicBezTo>
                      <a:pt x="13" y="377"/>
                      <a:pt x="15" y="384"/>
                      <a:pt x="22" y="384"/>
                    </a:cubicBezTo>
                    <a:cubicBezTo>
                      <a:pt x="30" y="385"/>
                      <a:pt x="33" y="379"/>
                      <a:pt x="33" y="379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70" name="Germany (example: colored)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4478338" y="3413125"/>
                <a:ext cx="812800" cy="1096962"/>
              </a:xfrm>
              <a:custGeom>
                <a:avLst/>
                <a:gdLst/>
                <a:ahLst/>
                <a:cxnLst>
                  <a:cxn ang="0">
                    <a:pos x="296" y="88"/>
                  </a:cxn>
                  <a:cxn ang="0">
                    <a:pos x="316" y="94"/>
                  </a:cxn>
                  <a:cxn ang="0">
                    <a:pos x="301" y="195"/>
                  </a:cxn>
                  <a:cxn ang="0">
                    <a:pos x="291" y="184"/>
                  </a:cxn>
                  <a:cxn ang="0">
                    <a:pos x="772" y="96"/>
                  </a:cxn>
                  <a:cxn ang="0">
                    <a:pos x="777" y="96"/>
                  </a:cxn>
                  <a:cxn ang="0">
                    <a:pos x="793" y="138"/>
                  </a:cxn>
                  <a:cxn ang="0">
                    <a:pos x="821" y="130"/>
                  </a:cxn>
                  <a:cxn ang="0">
                    <a:pos x="775" y="70"/>
                  </a:cxn>
                  <a:cxn ang="0">
                    <a:pos x="783" y="91"/>
                  </a:cxn>
                  <a:cxn ang="0">
                    <a:pos x="847" y="179"/>
                  </a:cxn>
                  <a:cxn ang="0">
                    <a:pos x="834" y="171"/>
                  </a:cxn>
                  <a:cxn ang="0">
                    <a:pos x="596" y="180"/>
                  </a:cxn>
                  <a:cxn ang="0">
                    <a:pos x="550" y="109"/>
                  </a:cxn>
                  <a:cxn ang="0">
                    <a:pos x="749" y="104"/>
                  </a:cxn>
                  <a:cxn ang="0">
                    <a:pos x="146" y="231"/>
                  </a:cxn>
                  <a:cxn ang="0">
                    <a:pos x="210" y="221"/>
                  </a:cxn>
                  <a:cxn ang="0">
                    <a:pos x="972" y="618"/>
                  </a:cxn>
                  <a:cxn ang="0">
                    <a:pos x="928" y="434"/>
                  </a:cxn>
                  <a:cxn ang="0">
                    <a:pos x="853" y="221"/>
                  </a:cxn>
                  <a:cxn ang="0">
                    <a:pos x="788" y="151"/>
                  </a:cxn>
                  <a:cxn ang="0">
                    <a:pos x="689" y="130"/>
                  </a:cxn>
                  <a:cxn ang="0">
                    <a:pos x="656" y="158"/>
                  </a:cxn>
                  <a:cxn ang="0">
                    <a:pos x="575" y="200"/>
                  </a:cxn>
                  <a:cxn ang="0">
                    <a:pos x="550" y="161"/>
                  </a:cxn>
                  <a:cxn ang="0">
                    <a:pos x="464" y="130"/>
                  </a:cxn>
                  <a:cxn ang="0">
                    <a:pos x="397" y="47"/>
                  </a:cxn>
                  <a:cxn ang="0">
                    <a:pos x="348" y="94"/>
                  </a:cxn>
                  <a:cxn ang="0">
                    <a:pos x="332" y="158"/>
                  </a:cxn>
                  <a:cxn ang="0">
                    <a:pos x="384" y="221"/>
                  </a:cxn>
                  <a:cxn ang="0">
                    <a:pos x="272" y="255"/>
                  </a:cxn>
                  <a:cxn ang="0">
                    <a:pos x="174" y="231"/>
                  </a:cxn>
                  <a:cxn ang="0">
                    <a:pos x="148" y="374"/>
                  </a:cxn>
                  <a:cxn ang="0">
                    <a:pos x="102" y="532"/>
                  </a:cxn>
                  <a:cxn ang="0">
                    <a:pos x="37" y="590"/>
                  </a:cxn>
                  <a:cxn ang="0">
                    <a:pos x="24" y="709"/>
                  </a:cxn>
                  <a:cxn ang="0">
                    <a:pos x="21" y="841"/>
                  </a:cxn>
                  <a:cxn ang="0">
                    <a:pos x="76" y="992"/>
                  </a:cxn>
                  <a:cxn ang="0">
                    <a:pos x="153" y="1005"/>
                  </a:cxn>
                  <a:cxn ang="0">
                    <a:pos x="195" y="1104"/>
                  </a:cxn>
                  <a:cxn ang="0">
                    <a:pos x="213" y="1285"/>
                  </a:cxn>
                  <a:cxn ang="0">
                    <a:pos x="283" y="1249"/>
                  </a:cxn>
                  <a:cxn ang="0">
                    <a:pos x="417" y="1285"/>
                  </a:cxn>
                  <a:cxn ang="0">
                    <a:pos x="503" y="1291"/>
                  </a:cxn>
                  <a:cxn ang="0">
                    <a:pos x="599" y="1306"/>
                  </a:cxn>
                  <a:cxn ang="0">
                    <a:pos x="762" y="1267"/>
                  </a:cxn>
                  <a:cxn ang="0">
                    <a:pos x="757" y="1189"/>
                  </a:cxn>
                  <a:cxn ang="0">
                    <a:pos x="824" y="1031"/>
                  </a:cxn>
                  <a:cxn ang="0">
                    <a:pos x="720" y="880"/>
                  </a:cxn>
                  <a:cxn ang="0">
                    <a:pos x="736" y="800"/>
                  </a:cxn>
                  <a:cxn ang="0">
                    <a:pos x="902" y="712"/>
                  </a:cxn>
                  <a:cxn ang="0">
                    <a:pos x="967" y="704"/>
                  </a:cxn>
                  <a:cxn ang="0">
                    <a:pos x="138" y="234"/>
                  </a:cxn>
                  <a:cxn ang="0">
                    <a:pos x="239" y="216"/>
                  </a:cxn>
                  <a:cxn ang="0">
                    <a:pos x="278" y="68"/>
                  </a:cxn>
                  <a:cxn ang="0">
                    <a:pos x="280" y="49"/>
                  </a:cxn>
                  <a:cxn ang="0">
                    <a:pos x="291" y="26"/>
                  </a:cxn>
                  <a:cxn ang="0">
                    <a:pos x="296" y="0"/>
                  </a:cxn>
                  <a:cxn ang="0">
                    <a:pos x="265" y="229"/>
                  </a:cxn>
                  <a:cxn ang="0">
                    <a:pos x="241" y="151"/>
                  </a:cxn>
                </a:cxnLst>
                <a:rect l="0" t="0" r="r" b="b"/>
                <a:pathLst>
                  <a:path w="987" h="1337">
                    <a:moveTo>
                      <a:pt x="285" y="1267"/>
                    </a:moveTo>
                    <a:cubicBezTo>
                      <a:pt x="293" y="1267"/>
                      <a:pt x="293" y="1267"/>
                      <a:pt x="293" y="1267"/>
                    </a:cubicBezTo>
                    <a:cubicBezTo>
                      <a:pt x="293" y="1262"/>
                      <a:pt x="293" y="1262"/>
                      <a:pt x="293" y="1262"/>
                    </a:cubicBezTo>
                    <a:cubicBezTo>
                      <a:pt x="288" y="1262"/>
                      <a:pt x="288" y="1262"/>
                      <a:pt x="288" y="1262"/>
                    </a:cubicBezTo>
                    <a:cubicBezTo>
                      <a:pt x="285" y="1267"/>
                      <a:pt x="285" y="1267"/>
                      <a:pt x="285" y="1267"/>
                    </a:cubicBezTo>
                    <a:close/>
                    <a:moveTo>
                      <a:pt x="296" y="94"/>
                    </a:moveTo>
                    <a:cubicBezTo>
                      <a:pt x="298" y="91"/>
                      <a:pt x="298" y="88"/>
                      <a:pt x="296" y="88"/>
                    </a:cubicBezTo>
                    <a:cubicBezTo>
                      <a:pt x="283" y="91"/>
                      <a:pt x="301" y="96"/>
                      <a:pt x="296" y="94"/>
                    </a:cubicBezTo>
                    <a:close/>
                    <a:moveTo>
                      <a:pt x="319" y="101"/>
                    </a:moveTo>
                    <a:cubicBezTo>
                      <a:pt x="322" y="101"/>
                      <a:pt x="322" y="99"/>
                      <a:pt x="322" y="99"/>
                    </a:cubicBezTo>
                    <a:cubicBezTo>
                      <a:pt x="319" y="99"/>
                      <a:pt x="316" y="101"/>
                      <a:pt x="319" y="101"/>
                    </a:cubicBezTo>
                    <a:close/>
                    <a:moveTo>
                      <a:pt x="316" y="94"/>
                    </a:moveTo>
                    <a:cubicBezTo>
                      <a:pt x="319" y="91"/>
                      <a:pt x="322" y="91"/>
                      <a:pt x="319" y="86"/>
                    </a:cubicBezTo>
                    <a:cubicBezTo>
                      <a:pt x="314" y="83"/>
                      <a:pt x="298" y="101"/>
                      <a:pt x="316" y="94"/>
                    </a:cubicBezTo>
                    <a:close/>
                    <a:moveTo>
                      <a:pt x="314" y="68"/>
                    </a:moveTo>
                    <a:cubicBezTo>
                      <a:pt x="311" y="70"/>
                      <a:pt x="309" y="70"/>
                      <a:pt x="306" y="70"/>
                    </a:cubicBezTo>
                    <a:cubicBezTo>
                      <a:pt x="311" y="78"/>
                      <a:pt x="311" y="70"/>
                      <a:pt x="314" y="68"/>
                    </a:cubicBezTo>
                    <a:close/>
                    <a:moveTo>
                      <a:pt x="296" y="83"/>
                    </a:moveTo>
                    <a:cubicBezTo>
                      <a:pt x="296" y="81"/>
                      <a:pt x="293" y="81"/>
                      <a:pt x="293" y="83"/>
                    </a:cubicBezTo>
                    <a:cubicBezTo>
                      <a:pt x="293" y="88"/>
                      <a:pt x="296" y="83"/>
                      <a:pt x="296" y="83"/>
                    </a:cubicBezTo>
                    <a:close/>
                    <a:moveTo>
                      <a:pt x="301" y="195"/>
                    </a:moveTo>
                    <a:cubicBezTo>
                      <a:pt x="306" y="195"/>
                      <a:pt x="301" y="192"/>
                      <a:pt x="301" y="192"/>
                    </a:cubicBezTo>
                    <a:cubicBezTo>
                      <a:pt x="296" y="192"/>
                      <a:pt x="296" y="195"/>
                      <a:pt x="301" y="195"/>
                    </a:cubicBezTo>
                    <a:close/>
                    <a:moveTo>
                      <a:pt x="301" y="101"/>
                    </a:moveTo>
                    <a:cubicBezTo>
                      <a:pt x="301" y="104"/>
                      <a:pt x="306" y="101"/>
                      <a:pt x="306" y="101"/>
                    </a:cubicBezTo>
                    <a:cubicBezTo>
                      <a:pt x="306" y="96"/>
                      <a:pt x="301" y="99"/>
                      <a:pt x="301" y="101"/>
                    </a:cubicBezTo>
                    <a:close/>
                    <a:moveTo>
                      <a:pt x="296" y="187"/>
                    </a:moveTo>
                    <a:cubicBezTo>
                      <a:pt x="298" y="184"/>
                      <a:pt x="291" y="184"/>
                      <a:pt x="291" y="184"/>
                    </a:cubicBezTo>
                    <a:cubicBezTo>
                      <a:pt x="288" y="182"/>
                      <a:pt x="293" y="200"/>
                      <a:pt x="296" y="187"/>
                    </a:cubicBezTo>
                    <a:close/>
                    <a:moveTo>
                      <a:pt x="298" y="107"/>
                    </a:moveTo>
                    <a:cubicBezTo>
                      <a:pt x="298" y="107"/>
                      <a:pt x="298" y="104"/>
                      <a:pt x="296" y="101"/>
                    </a:cubicBezTo>
                    <a:cubicBezTo>
                      <a:pt x="291" y="96"/>
                      <a:pt x="293" y="109"/>
                      <a:pt x="298" y="107"/>
                    </a:cubicBezTo>
                    <a:close/>
                    <a:moveTo>
                      <a:pt x="772" y="96"/>
                    </a:moveTo>
                    <a:cubicBezTo>
                      <a:pt x="765" y="91"/>
                      <a:pt x="765" y="99"/>
                      <a:pt x="759" y="101"/>
                    </a:cubicBezTo>
                    <a:cubicBezTo>
                      <a:pt x="762" y="101"/>
                      <a:pt x="767" y="99"/>
                      <a:pt x="772" y="96"/>
                    </a:cubicBezTo>
                    <a:close/>
                    <a:moveTo>
                      <a:pt x="845" y="135"/>
                    </a:moveTo>
                    <a:cubicBezTo>
                      <a:pt x="842" y="132"/>
                      <a:pt x="842" y="132"/>
                      <a:pt x="840" y="135"/>
                    </a:cubicBezTo>
                    <a:cubicBezTo>
                      <a:pt x="840" y="140"/>
                      <a:pt x="842" y="135"/>
                      <a:pt x="845" y="135"/>
                    </a:cubicBezTo>
                    <a:close/>
                    <a:moveTo>
                      <a:pt x="759" y="75"/>
                    </a:moveTo>
                    <a:cubicBezTo>
                      <a:pt x="752" y="68"/>
                      <a:pt x="754" y="96"/>
                      <a:pt x="754" y="99"/>
                    </a:cubicBezTo>
                    <a:cubicBezTo>
                      <a:pt x="757" y="94"/>
                      <a:pt x="759" y="75"/>
                      <a:pt x="759" y="75"/>
                    </a:cubicBezTo>
                    <a:close/>
                    <a:moveTo>
                      <a:pt x="777" y="96"/>
                    </a:moveTo>
                    <a:cubicBezTo>
                      <a:pt x="777" y="99"/>
                      <a:pt x="762" y="101"/>
                      <a:pt x="765" y="104"/>
                    </a:cubicBezTo>
                    <a:cubicBezTo>
                      <a:pt x="765" y="107"/>
                      <a:pt x="775" y="101"/>
                      <a:pt x="775" y="107"/>
                    </a:cubicBezTo>
                    <a:cubicBezTo>
                      <a:pt x="775" y="112"/>
                      <a:pt x="777" y="117"/>
                      <a:pt x="767" y="117"/>
                    </a:cubicBezTo>
                    <a:cubicBezTo>
                      <a:pt x="759" y="117"/>
                      <a:pt x="759" y="125"/>
                      <a:pt x="762" y="127"/>
                    </a:cubicBezTo>
                    <a:cubicBezTo>
                      <a:pt x="765" y="130"/>
                      <a:pt x="780" y="135"/>
                      <a:pt x="783" y="135"/>
                    </a:cubicBezTo>
                    <a:cubicBezTo>
                      <a:pt x="785" y="138"/>
                      <a:pt x="783" y="138"/>
                      <a:pt x="783" y="138"/>
                    </a:cubicBezTo>
                    <a:cubicBezTo>
                      <a:pt x="785" y="140"/>
                      <a:pt x="793" y="140"/>
                      <a:pt x="793" y="138"/>
                    </a:cubicBezTo>
                    <a:cubicBezTo>
                      <a:pt x="793" y="132"/>
                      <a:pt x="788" y="138"/>
                      <a:pt x="788" y="132"/>
                    </a:cubicBezTo>
                    <a:cubicBezTo>
                      <a:pt x="788" y="127"/>
                      <a:pt x="798" y="127"/>
                      <a:pt x="793" y="122"/>
                    </a:cubicBezTo>
                    <a:cubicBezTo>
                      <a:pt x="796" y="122"/>
                      <a:pt x="816" y="117"/>
                      <a:pt x="816" y="120"/>
                    </a:cubicBezTo>
                    <a:cubicBezTo>
                      <a:pt x="816" y="120"/>
                      <a:pt x="809" y="122"/>
                      <a:pt x="809" y="125"/>
                    </a:cubicBezTo>
                    <a:cubicBezTo>
                      <a:pt x="814" y="122"/>
                      <a:pt x="816" y="122"/>
                      <a:pt x="819" y="122"/>
                    </a:cubicBezTo>
                    <a:cubicBezTo>
                      <a:pt x="814" y="127"/>
                      <a:pt x="814" y="127"/>
                      <a:pt x="814" y="127"/>
                    </a:cubicBezTo>
                    <a:cubicBezTo>
                      <a:pt x="816" y="127"/>
                      <a:pt x="821" y="130"/>
                      <a:pt x="821" y="130"/>
                    </a:cubicBezTo>
                    <a:cubicBezTo>
                      <a:pt x="821" y="127"/>
                      <a:pt x="827" y="120"/>
                      <a:pt x="827" y="120"/>
                    </a:cubicBezTo>
                    <a:cubicBezTo>
                      <a:pt x="827" y="112"/>
                      <a:pt x="806" y="107"/>
                      <a:pt x="806" y="101"/>
                    </a:cubicBezTo>
                    <a:cubicBezTo>
                      <a:pt x="803" y="91"/>
                      <a:pt x="829" y="70"/>
                      <a:pt x="798" y="81"/>
                    </a:cubicBezTo>
                    <a:cubicBezTo>
                      <a:pt x="796" y="81"/>
                      <a:pt x="788" y="75"/>
                      <a:pt x="788" y="68"/>
                    </a:cubicBezTo>
                    <a:cubicBezTo>
                      <a:pt x="788" y="65"/>
                      <a:pt x="798" y="60"/>
                      <a:pt x="788" y="60"/>
                    </a:cubicBezTo>
                    <a:cubicBezTo>
                      <a:pt x="783" y="60"/>
                      <a:pt x="757" y="78"/>
                      <a:pt x="765" y="83"/>
                    </a:cubicBezTo>
                    <a:cubicBezTo>
                      <a:pt x="767" y="86"/>
                      <a:pt x="775" y="70"/>
                      <a:pt x="775" y="70"/>
                    </a:cubicBezTo>
                    <a:cubicBezTo>
                      <a:pt x="780" y="68"/>
                      <a:pt x="775" y="83"/>
                      <a:pt x="775" y="83"/>
                    </a:cubicBezTo>
                    <a:cubicBezTo>
                      <a:pt x="780" y="83"/>
                      <a:pt x="783" y="75"/>
                      <a:pt x="785" y="75"/>
                    </a:cubicBezTo>
                    <a:cubicBezTo>
                      <a:pt x="785" y="75"/>
                      <a:pt x="798" y="88"/>
                      <a:pt x="798" y="86"/>
                    </a:cubicBezTo>
                    <a:cubicBezTo>
                      <a:pt x="798" y="109"/>
                      <a:pt x="790" y="83"/>
                      <a:pt x="788" y="83"/>
                    </a:cubicBezTo>
                    <a:cubicBezTo>
                      <a:pt x="785" y="86"/>
                      <a:pt x="788" y="88"/>
                      <a:pt x="785" y="88"/>
                    </a:cubicBezTo>
                    <a:cubicBezTo>
                      <a:pt x="785" y="88"/>
                      <a:pt x="788" y="81"/>
                      <a:pt x="785" y="81"/>
                    </a:cubicBezTo>
                    <a:cubicBezTo>
                      <a:pt x="780" y="78"/>
                      <a:pt x="780" y="88"/>
                      <a:pt x="783" y="91"/>
                    </a:cubicBezTo>
                    <a:cubicBezTo>
                      <a:pt x="780" y="88"/>
                      <a:pt x="762" y="81"/>
                      <a:pt x="762" y="88"/>
                    </a:cubicBezTo>
                    <a:cubicBezTo>
                      <a:pt x="762" y="94"/>
                      <a:pt x="775" y="91"/>
                      <a:pt x="777" y="96"/>
                    </a:cubicBezTo>
                    <a:close/>
                    <a:moveTo>
                      <a:pt x="834" y="171"/>
                    </a:moveTo>
                    <a:cubicBezTo>
                      <a:pt x="837" y="174"/>
                      <a:pt x="840" y="174"/>
                      <a:pt x="840" y="177"/>
                    </a:cubicBezTo>
                    <a:cubicBezTo>
                      <a:pt x="842" y="169"/>
                      <a:pt x="860" y="171"/>
                      <a:pt x="858" y="187"/>
                    </a:cubicBezTo>
                    <a:cubicBezTo>
                      <a:pt x="850" y="184"/>
                      <a:pt x="853" y="187"/>
                      <a:pt x="847" y="187"/>
                    </a:cubicBezTo>
                    <a:cubicBezTo>
                      <a:pt x="847" y="179"/>
                      <a:pt x="847" y="179"/>
                      <a:pt x="847" y="179"/>
                    </a:cubicBezTo>
                    <a:cubicBezTo>
                      <a:pt x="842" y="187"/>
                      <a:pt x="850" y="195"/>
                      <a:pt x="837" y="203"/>
                    </a:cubicBezTo>
                    <a:cubicBezTo>
                      <a:pt x="847" y="203"/>
                      <a:pt x="847" y="203"/>
                      <a:pt x="847" y="203"/>
                    </a:cubicBezTo>
                    <a:cubicBezTo>
                      <a:pt x="850" y="203"/>
                      <a:pt x="878" y="192"/>
                      <a:pt x="881" y="203"/>
                    </a:cubicBezTo>
                    <a:cubicBezTo>
                      <a:pt x="878" y="192"/>
                      <a:pt x="873" y="179"/>
                      <a:pt x="863" y="174"/>
                    </a:cubicBezTo>
                    <a:cubicBezTo>
                      <a:pt x="850" y="171"/>
                      <a:pt x="840" y="151"/>
                      <a:pt x="829" y="148"/>
                    </a:cubicBezTo>
                    <a:cubicBezTo>
                      <a:pt x="829" y="148"/>
                      <a:pt x="832" y="169"/>
                      <a:pt x="830" y="173"/>
                    </a:cubicBezTo>
                    <a:cubicBezTo>
                      <a:pt x="831" y="173"/>
                      <a:pt x="834" y="176"/>
                      <a:pt x="834" y="171"/>
                    </a:cubicBezTo>
                    <a:close/>
                    <a:moveTo>
                      <a:pt x="829" y="174"/>
                    </a:moveTo>
                    <a:cubicBezTo>
                      <a:pt x="829" y="174"/>
                      <a:pt x="830" y="174"/>
                      <a:pt x="830" y="173"/>
                    </a:cubicBezTo>
                    <a:cubicBezTo>
                      <a:pt x="829" y="173"/>
                      <a:pt x="829" y="174"/>
                      <a:pt x="829" y="174"/>
                    </a:cubicBezTo>
                    <a:close/>
                    <a:moveTo>
                      <a:pt x="585" y="188"/>
                    </a:moveTo>
                    <a:cubicBezTo>
                      <a:pt x="588" y="193"/>
                      <a:pt x="590" y="188"/>
                      <a:pt x="593" y="188"/>
                    </a:cubicBezTo>
                    <a:cubicBezTo>
                      <a:pt x="590" y="190"/>
                      <a:pt x="590" y="190"/>
                      <a:pt x="593" y="190"/>
                    </a:cubicBezTo>
                    <a:cubicBezTo>
                      <a:pt x="593" y="190"/>
                      <a:pt x="598" y="180"/>
                      <a:pt x="596" y="180"/>
                    </a:cubicBezTo>
                    <a:cubicBezTo>
                      <a:pt x="596" y="180"/>
                      <a:pt x="580" y="185"/>
                      <a:pt x="585" y="188"/>
                    </a:cubicBezTo>
                    <a:close/>
                    <a:moveTo>
                      <a:pt x="322" y="70"/>
                    </a:moveTo>
                    <a:cubicBezTo>
                      <a:pt x="316" y="78"/>
                      <a:pt x="322" y="75"/>
                      <a:pt x="322" y="75"/>
                    </a:cubicBezTo>
                    <a:cubicBezTo>
                      <a:pt x="322" y="75"/>
                      <a:pt x="327" y="65"/>
                      <a:pt x="322" y="70"/>
                    </a:cubicBezTo>
                    <a:close/>
                    <a:moveTo>
                      <a:pt x="560" y="109"/>
                    </a:moveTo>
                    <a:cubicBezTo>
                      <a:pt x="568" y="117"/>
                      <a:pt x="573" y="120"/>
                      <a:pt x="581" y="120"/>
                    </a:cubicBezTo>
                    <a:cubicBezTo>
                      <a:pt x="581" y="101"/>
                      <a:pt x="547" y="86"/>
                      <a:pt x="550" y="109"/>
                    </a:cubicBezTo>
                    <a:cubicBezTo>
                      <a:pt x="552" y="112"/>
                      <a:pt x="555" y="112"/>
                      <a:pt x="560" y="109"/>
                    </a:cubicBezTo>
                    <a:close/>
                    <a:moveTo>
                      <a:pt x="301" y="86"/>
                    </a:moveTo>
                    <a:cubicBezTo>
                      <a:pt x="301" y="86"/>
                      <a:pt x="311" y="88"/>
                      <a:pt x="306" y="83"/>
                    </a:cubicBezTo>
                    <a:cubicBezTo>
                      <a:pt x="306" y="83"/>
                      <a:pt x="301" y="83"/>
                      <a:pt x="301" y="81"/>
                    </a:cubicBezTo>
                    <a:cubicBezTo>
                      <a:pt x="296" y="83"/>
                      <a:pt x="298" y="86"/>
                      <a:pt x="301" y="86"/>
                    </a:cubicBezTo>
                    <a:close/>
                    <a:moveTo>
                      <a:pt x="757" y="101"/>
                    </a:moveTo>
                    <a:cubicBezTo>
                      <a:pt x="749" y="104"/>
                      <a:pt x="749" y="104"/>
                      <a:pt x="749" y="104"/>
                    </a:cubicBezTo>
                    <a:cubicBezTo>
                      <a:pt x="749" y="104"/>
                      <a:pt x="754" y="107"/>
                      <a:pt x="757" y="101"/>
                    </a:cubicBezTo>
                    <a:close/>
                    <a:moveTo>
                      <a:pt x="190" y="221"/>
                    </a:moveTo>
                    <a:cubicBezTo>
                      <a:pt x="187" y="221"/>
                      <a:pt x="190" y="226"/>
                      <a:pt x="190" y="226"/>
                    </a:cubicBezTo>
                    <a:cubicBezTo>
                      <a:pt x="192" y="226"/>
                      <a:pt x="195" y="223"/>
                      <a:pt x="190" y="221"/>
                    </a:cubicBezTo>
                    <a:close/>
                    <a:moveTo>
                      <a:pt x="158" y="229"/>
                    </a:moveTo>
                    <a:cubicBezTo>
                      <a:pt x="156" y="223"/>
                      <a:pt x="143" y="231"/>
                      <a:pt x="138" y="231"/>
                    </a:cubicBezTo>
                    <a:cubicBezTo>
                      <a:pt x="146" y="231"/>
                      <a:pt x="146" y="231"/>
                      <a:pt x="146" y="231"/>
                    </a:cubicBezTo>
                    <a:cubicBezTo>
                      <a:pt x="148" y="231"/>
                      <a:pt x="153" y="231"/>
                      <a:pt x="158" y="229"/>
                    </a:cubicBezTo>
                    <a:close/>
                    <a:moveTo>
                      <a:pt x="174" y="226"/>
                    </a:moveTo>
                    <a:cubicBezTo>
                      <a:pt x="179" y="226"/>
                      <a:pt x="184" y="229"/>
                      <a:pt x="184" y="223"/>
                    </a:cubicBezTo>
                    <a:cubicBezTo>
                      <a:pt x="184" y="216"/>
                      <a:pt x="158" y="226"/>
                      <a:pt x="161" y="229"/>
                    </a:cubicBezTo>
                    <a:cubicBezTo>
                      <a:pt x="164" y="229"/>
                      <a:pt x="171" y="226"/>
                      <a:pt x="174" y="226"/>
                    </a:cubicBezTo>
                    <a:close/>
                    <a:moveTo>
                      <a:pt x="197" y="226"/>
                    </a:moveTo>
                    <a:cubicBezTo>
                      <a:pt x="200" y="226"/>
                      <a:pt x="208" y="221"/>
                      <a:pt x="210" y="221"/>
                    </a:cubicBezTo>
                    <a:cubicBezTo>
                      <a:pt x="210" y="218"/>
                      <a:pt x="208" y="216"/>
                      <a:pt x="200" y="218"/>
                    </a:cubicBezTo>
                    <a:cubicBezTo>
                      <a:pt x="202" y="218"/>
                      <a:pt x="190" y="226"/>
                      <a:pt x="197" y="226"/>
                    </a:cubicBezTo>
                    <a:close/>
                    <a:moveTo>
                      <a:pt x="234" y="218"/>
                    </a:moveTo>
                    <a:cubicBezTo>
                      <a:pt x="236" y="216"/>
                      <a:pt x="223" y="216"/>
                      <a:pt x="223" y="216"/>
                    </a:cubicBezTo>
                    <a:cubicBezTo>
                      <a:pt x="223" y="216"/>
                      <a:pt x="213" y="216"/>
                      <a:pt x="215" y="221"/>
                    </a:cubicBezTo>
                    <a:cubicBezTo>
                      <a:pt x="221" y="223"/>
                      <a:pt x="228" y="218"/>
                      <a:pt x="234" y="218"/>
                    </a:cubicBezTo>
                    <a:close/>
                    <a:moveTo>
                      <a:pt x="972" y="618"/>
                    </a:moveTo>
                    <a:cubicBezTo>
                      <a:pt x="972" y="600"/>
                      <a:pt x="959" y="603"/>
                      <a:pt x="948" y="597"/>
                    </a:cubicBezTo>
                    <a:cubicBezTo>
                      <a:pt x="938" y="592"/>
                      <a:pt x="954" y="582"/>
                      <a:pt x="948" y="577"/>
                    </a:cubicBezTo>
                    <a:cubicBezTo>
                      <a:pt x="943" y="561"/>
                      <a:pt x="923" y="551"/>
                      <a:pt x="933" y="538"/>
                    </a:cubicBezTo>
                    <a:cubicBezTo>
                      <a:pt x="938" y="530"/>
                      <a:pt x="951" y="504"/>
                      <a:pt x="935" y="501"/>
                    </a:cubicBezTo>
                    <a:cubicBezTo>
                      <a:pt x="933" y="501"/>
                      <a:pt x="943" y="475"/>
                      <a:pt x="933" y="473"/>
                    </a:cubicBezTo>
                    <a:cubicBezTo>
                      <a:pt x="923" y="467"/>
                      <a:pt x="923" y="465"/>
                      <a:pt x="920" y="455"/>
                    </a:cubicBezTo>
                    <a:cubicBezTo>
                      <a:pt x="917" y="439"/>
                      <a:pt x="928" y="444"/>
                      <a:pt x="928" y="434"/>
                    </a:cubicBezTo>
                    <a:cubicBezTo>
                      <a:pt x="928" y="416"/>
                      <a:pt x="894" y="379"/>
                      <a:pt x="871" y="377"/>
                    </a:cubicBezTo>
                    <a:cubicBezTo>
                      <a:pt x="873" y="371"/>
                      <a:pt x="873" y="356"/>
                      <a:pt x="876" y="353"/>
                    </a:cubicBezTo>
                    <a:cubicBezTo>
                      <a:pt x="881" y="345"/>
                      <a:pt x="891" y="345"/>
                      <a:pt x="894" y="335"/>
                    </a:cubicBezTo>
                    <a:cubicBezTo>
                      <a:pt x="899" y="317"/>
                      <a:pt x="904" y="301"/>
                      <a:pt x="894" y="286"/>
                    </a:cubicBezTo>
                    <a:cubicBezTo>
                      <a:pt x="884" y="268"/>
                      <a:pt x="891" y="239"/>
                      <a:pt x="873" y="229"/>
                    </a:cubicBezTo>
                    <a:cubicBezTo>
                      <a:pt x="873" y="226"/>
                      <a:pt x="881" y="223"/>
                      <a:pt x="878" y="221"/>
                    </a:cubicBezTo>
                    <a:cubicBezTo>
                      <a:pt x="876" y="218"/>
                      <a:pt x="863" y="223"/>
                      <a:pt x="853" y="221"/>
                    </a:cubicBezTo>
                    <a:cubicBezTo>
                      <a:pt x="850" y="221"/>
                      <a:pt x="842" y="216"/>
                      <a:pt x="840" y="213"/>
                    </a:cubicBezTo>
                    <a:cubicBezTo>
                      <a:pt x="837" y="210"/>
                      <a:pt x="829" y="208"/>
                      <a:pt x="834" y="200"/>
                    </a:cubicBezTo>
                    <a:cubicBezTo>
                      <a:pt x="845" y="190"/>
                      <a:pt x="834" y="195"/>
                      <a:pt x="834" y="184"/>
                    </a:cubicBezTo>
                    <a:cubicBezTo>
                      <a:pt x="834" y="174"/>
                      <a:pt x="824" y="182"/>
                      <a:pt x="827" y="166"/>
                    </a:cubicBezTo>
                    <a:cubicBezTo>
                      <a:pt x="829" y="161"/>
                      <a:pt x="821" y="161"/>
                      <a:pt x="821" y="153"/>
                    </a:cubicBezTo>
                    <a:cubicBezTo>
                      <a:pt x="821" y="148"/>
                      <a:pt x="796" y="166"/>
                      <a:pt x="796" y="166"/>
                    </a:cubicBezTo>
                    <a:cubicBezTo>
                      <a:pt x="796" y="166"/>
                      <a:pt x="788" y="153"/>
                      <a:pt x="788" y="151"/>
                    </a:cubicBezTo>
                    <a:cubicBezTo>
                      <a:pt x="788" y="151"/>
                      <a:pt x="759" y="138"/>
                      <a:pt x="757" y="132"/>
                    </a:cubicBezTo>
                    <a:cubicBezTo>
                      <a:pt x="757" y="127"/>
                      <a:pt x="749" y="109"/>
                      <a:pt x="749" y="107"/>
                    </a:cubicBezTo>
                    <a:cubicBezTo>
                      <a:pt x="746" y="112"/>
                      <a:pt x="736" y="112"/>
                      <a:pt x="736" y="120"/>
                    </a:cubicBezTo>
                    <a:cubicBezTo>
                      <a:pt x="739" y="130"/>
                      <a:pt x="723" y="120"/>
                      <a:pt x="726" y="120"/>
                    </a:cubicBezTo>
                    <a:cubicBezTo>
                      <a:pt x="720" y="122"/>
                      <a:pt x="713" y="117"/>
                      <a:pt x="708" y="125"/>
                    </a:cubicBezTo>
                    <a:cubicBezTo>
                      <a:pt x="697" y="120"/>
                      <a:pt x="692" y="143"/>
                      <a:pt x="695" y="143"/>
                    </a:cubicBezTo>
                    <a:cubicBezTo>
                      <a:pt x="676" y="143"/>
                      <a:pt x="695" y="130"/>
                      <a:pt x="689" y="130"/>
                    </a:cubicBezTo>
                    <a:cubicBezTo>
                      <a:pt x="687" y="127"/>
                      <a:pt x="702" y="120"/>
                      <a:pt x="708" y="120"/>
                    </a:cubicBezTo>
                    <a:cubicBezTo>
                      <a:pt x="705" y="120"/>
                      <a:pt x="718" y="112"/>
                      <a:pt x="718" y="112"/>
                    </a:cubicBezTo>
                    <a:cubicBezTo>
                      <a:pt x="726" y="112"/>
                      <a:pt x="741" y="117"/>
                      <a:pt x="744" y="107"/>
                    </a:cubicBezTo>
                    <a:cubicBezTo>
                      <a:pt x="741" y="112"/>
                      <a:pt x="726" y="109"/>
                      <a:pt x="715" y="107"/>
                    </a:cubicBezTo>
                    <a:cubicBezTo>
                      <a:pt x="708" y="107"/>
                      <a:pt x="697" y="96"/>
                      <a:pt x="697" y="112"/>
                    </a:cubicBezTo>
                    <a:cubicBezTo>
                      <a:pt x="697" y="120"/>
                      <a:pt x="682" y="122"/>
                      <a:pt x="676" y="127"/>
                    </a:cubicBezTo>
                    <a:cubicBezTo>
                      <a:pt x="669" y="140"/>
                      <a:pt x="664" y="158"/>
                      <a:pt x="656" y="158"/>
                    </a:cubicBezTo>
                    <a:cubicBezTo>
                      <a:pt x="648" y="158"/>
                      <a:pt x="640" y="164"/>
                      <a:pt x="632" y="164"/>
                    </a:cubicBezTo>
                    <a:cubicBezTo>
                      <a:pt x="625" y="164"/>
                      <a:pt x="622" y="158"/>
                      <a:pt x="617" y="161"/>
                    </a:cubicBezTo>
                    <a:cubicBezTo>
                      <a:pt x="614" y="161"/>
                      <a:pt x="594" y="177"/>
                      <a:pt x="596" y="179"/>
                    </a:cubicBezTo>
                    <a:cubicBezTo>
                      <a:pt x="604" y="182"/>
                      <a:pt x="607" y="171"/>
                      <a:pt x="612" y="171"/>
                    </a:cubicBezTo>
                    <a:cubicBezTo>
                      <a:pt x="609" y="171"/>
                      <a:pt x="596" y="190"/>
                      <a:pt x="596" y="192"/>
                    </a:cubicBezTo>
                    <a:cubicBezTo>
                      <a:pt x="594" y="208"/>
                      <a:pt x="594" y="200"/>
                      <a:pt x="586" y="200"/>
                    </a:cubicBezTo>
                    <a:cubicBezTo>
                      <a:pt x="575" y="200"/>
                      <a:pt x="575" y="200"/>
                      <a:pt x="575" y="200"/>
                    </a:cubicBezTo>
                    <a:cubicBezTo>
                      <a:pt x="578" y="200"/>
                      <a:pt x="570" y="187"/>
                      <a:pt x="568" y="184"/>
                    </a:cubicBezTo>
                    <a:cubicBezTo>
                      <a:pt x="565" y="184"/>
                      <a:pt x="550" y="184"/>
                      <a:pt x="547" y="187"/>
                    </a:cubicBezTo>
                    <a:cubicBezTo>
                      <a:pt x="537" y="195"/>
                      <a:pt x="531" y="192"/>
                      <a:pt x="547" y="203"/>
                    </a:cubicBezTo>
                    <a:cubicBezTo>
                      <a:pt x="534" y="195"/>
                      <a:pt x="521" y="221"/>
                      <a:pt x="511" y="221"/>
                    </a:cubicBezTo>
                    <a:cubicBezTo>
                      <a:pt x="506" y="221"/>
                      <a:pt x="534" y="200"/>
                      <a:pt x="534" y="200"/>
                    </a:cubicBezTo>
                    <a:cubicBezTo>
                      <a:pt x="534" y="187"/>
                      <a:pt x="531" y="190"/>
                      <a:pt x="524" y="179"/>
                    </a:cubicBezTo>
                    <a:cubicBezTo>
                      <a:pt x="524" y="179"/>
                      <a:pt x="547" y="161"/>
                      <a:pt x="550" y="161"/>
                    </a:cubicBezTo>
                    <a:cubicBezTo>
                      <a:pt x="563" y="153"/>
                      <a:pt x="555" y="148"/>
                      <a:pt x="555" y="140"/>
                    </a:cubicBezTo>
                    <a:cubicBezTo>
                      <a:pt x="555" y="122"/>
                      <a:pt x="560" y="132"/>
                      <a:pt x="563" y="122"/>
                    </a:cubicBezTo>
                    <a:cubicBezTo>
                      <a:pt x="565" y="117"/>
                      <a:pt x="550" y="125"/>
                      <a:pt x="547" y="125"/>
                    </a:cubicBezTo>
                    <a:cubicBezTo>
                      <a:pt x="547" y="125"/>
                      <a:pt x="542" y="120"/>
                      <a:pt x="531" y="130"/>
                    </a:cubicBezTo>
                    <a:cubicBezTo>
                      <a:pt x="521" y="138"/>
                      <a:pt x="521" y="130"/>
                      <a:pt x="508" y="125"/>
                    </a:cubicBezTo>
                    <a:cubicBezTo>
                      <a:pt x="503" y="120"/>
                      <a:pt x="493" y="117"/>
                      <a:pt x="485" y="112"/>
                    </a:cubicBezTo>
                    <a:cubicBezTo>
                      <a:pt x="469" y="107"/>
                      <a:pt x="474" y="130"/>
                      <a:pt x="464" y="130"/>
                    </a:cubicBezTo>
                    <a:cubicBezTo>
                      <a:pt x="467" y="109"/>
                      <a:pt x="467" y="109"/>
                      <a:pt x="467" y="109"/>
                    </a:cubicBezTo>
                    <a:cubicBezTo>
                      <a:pt x="467" y="99"/>
                      <a:pt x="443" y="109"/>
                      <a:pt x="438" y="107"/>
                    </a:cubicBezTo>
                    <a:cubicBezTo>
                      <a:pt x="446" y="109"/>
                      <a:pt x="459" y="78"/>
                      <a:pt x="449" y="68"/>
                    </a:cubicBezTo>
                    <a:cubicBezTo>
                      <a:pt x="456" y="75"/>
                      <a:pt x="449" y="57"/>
                      <a:pt x="449" y="57"/>
                    </a:cubicBezTo>
                    <a:cubicBezTo>
                      <a:pt x="449" y="44"/>
                      <a:pt x="441" y="55"/>
                      <a:pt x="438" y="55"/>
                    </a:cubicBezTo>
                    <a:cubicBezTo>
                      <a:pt x="428" y="57"/>
                      <a:pt x="415" y="39"/>
                      <a:pt x="410" y="39"/>
                    </a:cubicBezTo>
                    <a:cubicBezTo>
                      <a:pt x="410" y="36"/>
                      <a:pt x="397" y="47"/>
                      <a:pt x="397" y="47"/>
                    </a:cubicBezTo>
                    <a:cubicBezTo>
                      <a:pt x="394" y="31"/>
                      <a:pt x="392" y="42"/>
                      <a:pt x="384" y="47"/>
                    </a:cubicBezTo>
                    <a:cubicBezTo>
                      <a:pt x="373" y="49"/>
                      <a:pt x="376" y="36"/>
                      <a:pt x="371" y="36"/>
                    </a:cubicBezTo>
                    <a:cubicBezTo>
                      <a:pt x="355" y="31"/>
                      <a:pt x="342" y="26"/>
                      <a:pt x="327" y="29"/>
                    </a:cubicBezTo>
                    <a:cubicBezTo>
                      <a:pt x="319" y="29"/>
                      <a:pt x="319" y="21"/>
                      <a:pt x="314" y="31"/>
                    </a:cubicBezTo>
                    <a:cubicBezTo>
                      <a:pt x="311" y="39"/>
                      <a:pt x="324" y="55"/>
                      <a:pt x="322" y="57"/>
                    </a:cubicBezTo>
                    <a:cubicBezTo>
                      <a:pt x="322" y="55"/>
                      <a:pt x="332" y="83"/>
                      <a:pt x="332" y="83"/>
                    </a:cubicBezTo>
                    <a:cubicBezTo>
                      <a:pt x="332" y="83"/>
                      <a:pt x="350" y="88"/>
                      <a:pt x="348" y="94"/>
                    </a:cubicBezTo>
                    <a:cubicBezTo>
                      <a:pt x="342" y="99"/>
                      <a:pt x="329" y="91"/>
                      <a:pt x="329" y="101"/>
                    </a:cubicBezTo>
                    <a:cubicBezTo>
                      <a:pt x="332" y="112"/>
                      <a:pt x="348" y="99"/>
                      <a:pt x="348" y="99"/>
                    </a:cubicBezTo>
                    <a:cubicBezTo>
                      <a:pt x="348" y="99"/>
                      <a:pt x="342" y="109"/>
                      <a:pt x="337" y="117"/>
                    </a:cubicBezTo>
                    <a:cubicBezTo>
                      <a:pt x="337" y="117"/>
                      <a:pt x="309" y="112"/>
                      <a:pt x="314" y="120"/>
                    </a:cubicBezTo>
                    <a:cubicBezTo>
                      <a:pt x="316" y="120"/>
                      <a:pt x="316" y="122"/>
                      <a:pt x="316" y="122"/>
                    </a:cubicBezTo>
                    <a:cubicBezTo>
                      <a:pt x="283" y="135"/>
                      <a:pt x="342" y="143"/>
                      <a:pt x="342" y="132"/>
                    </a:cubicBezTo>
                    <a:cubicBezTo>
                      <a:pt x="342" y="143"/>
                      <a:pt x="324" y="140"/>
                      <a:pt x="332" y="158"/>
                    </a:cubicBezTo>
                    <a:cubicBezTo>
                      <a:pt x="332" y="161"/>
                      <a:pt x="340" y="164"/>
                      <a:pt x="342" y="169"/>
                    </a:cubicBezTo>
                    <a:cubicBezTo>
                      <a:pt x="353" y="182"/>
                      <a:pt x="337" y="174"/>
                      <a:pt x="332" y="179"/>
                    </a:cubicBezTo>
                    <a:cubicBezTo>
                      <a:pt x="329" y="182"/>
                      <a:pt x="335" y="187"/>
                      <a:pt x="337" y="190"/>
                    </a:cubicBezTo>
                    <a:cubicBezTo>
                      <a:pt x="340" y="210"/>
                      <a:pt x="358" y="200"/>
                      <a:pt x="371" y="203"/>
                    </a:cubicBezTo>
                    <a:cubicBezTo>
                      <a:pt x="381" y="205"/>
                      <a:pt x="386" y="213"/>
                      <a:pt x="392" y="223"/>
                    </a:cubicBezTo>
                    <a:cubicBezTo>
                      <a:pt x="397" y="234"/>
                      <a:pt x="412" y="265"/>
                      <a:pt x="428" y="262"/>
                    </a:cubicBezTo>
                    <a:cubicBezTo>
                      <a:pt x="405" y="265"/>
                      <a:pt x="392" y="242"/>
                      <a:pt x="384" y="221"/>
                    </a:cubicBezTo>
                    <a:cubicBezTo>
                      <a:pt x="376" y="192"/>
                      <a:pt x="350" y="221"/>
                      <a:pt x="332" y="213"/>
                    </a:cubicBezTo>
                    <a:cubicBezTo>
                      <a:pt x="309" y="203"/>
                      <a:pt x="314" y="200"/>
                      <a:pt x="298" y="226"/>
                    </a:cubicBezTo>
                    <a:cubicBezTo>
                      <a:pt x="291" y="242"/>
                      <a:pt x="311" y="255"/>
                      <a:pt x="306" y="262"/>
                    </a:cubicBezTo>
                    <a:cubicBezTo>
                      <a:pt x="306" y="265"/>
                      <a:pt x="293" y="286"/>
                      <a:pt x="296" y="286"/>
                    </a:cubicBezTo>
                    <a:cubicBezTo>
                      <a:pt x="291" y="286"/>
                      <a:pt x="296" y="268"/>
                      <a:pt x="296" y="268"/>
                    </a:cubicBezTo>
                    <a:cubicBezTo>
                      <a:pt x="298" y="257"/>
                      <a:pt x="296" y="260"/>
                      <a:pt x="285" y="257"/>
                    </a:cubicBezTo>
                    <a:cubicBezTo>
                      <a:pt x="280" y="255"/>
                      <a:pt x="278" y="239"/>
                      <a:pt x="272" y="255"/>
                    </a:cubicBezTo>
                    <a:cubicBezTo>
                      <a:pt x="267" y="265"/>
                      <a:pt x="272" y="262"/>
                      <a:pt x="278" y="262"/>
                    </a:cubicBezTo>
                    <a:cubicBezTo>
                      <a:pt x="280" y="262"/>
                      <a:pt x="275" y="281"/>
                      <a:pt x="275" y="281"/>
                    </a:cubicBezTo>
                    <a:cubicBezTo>
                      <a:pt x="270" y="291"/>
                      <a:pt x="265" y="275"/>
                      <a:pt x="257" y="273"/>
                    </a:cubicBezTo>
                    <a:cubicBezTo>
                      <a:pt x="254" y="273"/>
                      <a:pt x="244" y="270"/>
                      <a:pt x="257" y="265"/>
                    </a:cubicBezTo>
                    <a:cubicBezTo>
                      <a:pt x="272" y="257"/>
                      <a:pt x="247" y="229"/>
                      <a:pt x="239" y="229"/>
                    </a:cubicBezTo>
                    <a:cubicBezTo>
                      <a:pt x="226" y="226"/>
                      <a:pt x="210" y="234"/>
                      <a:pt x="197" y="234"/>
                    </a:cubicBezTo>
                    <a:cubicBezTo>
                      <a:pt x="192" y="234"/>
                      <a:pt x="184" y="231"/>
                      <a:pt x="174" y="231"/>
                    </a:cubicBezTo>
                    <a:cubicBezTo>
                      <a:pt x="164" y="231"/>
                      <a:pt x="151" y="249"/>
                      <a:pt x="156" y="257"/>
                    </a:cubicBezTo>
                    <a:cubicBezTo>
                      <a:pt x="153" y="257"/>
                      <a:pt x="156" y="260"/>
                      <a:pt x="153" y="262"/>
                    </a:cubicBezTo>
                    <a:cubicBezTo>
                      <a:pt x="148" y="257"/>
                      <a:pt x="151" y="260"/>
                      <a:pt x="146" y="257"/>
                    </a:cubicBezTo>
                    <a:cubicBezTo>
                      <a:pt x="148" y="268"/>
                      <a:pt x="146" y="281"/>
                      <a:pt x="143" y="291"/>
                    </a:cubicBezTo>
                    <a:cubicBezTo>
                      <a:pt x="169" y="294"/>
                      <a:pt x="161" y="296"/>
                      <a:pt x="164" y="314"/>
                    </a:cubicBezTo>
                    <a:cubicBezTo>
                      <a:pt x="164" y="322"/>
                      <a:pt x="158" y="335"/>
                      <a:pt x="158" y="343"/>
                    </a:cubicBezTo>
                    <a:cubicBezTo>
                      <a:pt x="161" y="353"/>
                      <a:pt x="153" y="366"/>
                      <a:pt x="148" y="374"/>
                    </a:cubicBezTo>
                    <a:cubicBezTo>
                      <a:pt x="140" y="384"/>
                      <a:pt x="148" y="405"/>
                      <a:pt x="135" y="410"/>
                    </a:cubicBezTo>
                    <a:cubicBezTo>
                      <a:pt x="127" y="413"/>
                      <a:pt x="96" y="395"/>
                      <a:pt x="109" y="418"/>
                    </a:cubicBezTo>
                    <a:cubicBezTo>
                      <a:pt x="86" y="429"/>
                      <a:pt x="122" y="455"/>
                      <a:pt x="130" y="436"/>
                    </a:cubicBezTo>
                    <a:cubicBezTo>
                      <a:pt x="146" y="452"/>
                      <a:pt x="127" y="467"/>
                      <a:pt x="140" y="475"/>
                    </a:cubicBezTo>
                    <a:cubicBezTo>
                      <a:pt x="135" y="478"/>
                      <a:pt x="117" y="496"/>
                      <a:pt x="117" y="496"/>
                    </a:cubicBezTo>
                    <a:cubicBezTo>
                      <a:pt x="107" y="496"/>
                      <a:pt x="102" y="501"/>
                      <a:pt x="96" y="509"/>
                    </a:cubicBezTo>
                    <a:cubicBezTo>
                      <a:pt x="117" y="509"/>
                      <a:pt x="107" y="535"/>
                      <a:pt x="102" y="532"/>
                    </a:cubicBezTo>
                    <a:cubicBezTo>
                      <a:pt x="89" y="522"/>
                      <a:pt x="78" y="540"/>
                      <a:pt x="68" y="538"/>
                    </a:cubicBezTo>
                    <a:cubicBezTo>
                      <a:pt x="68" y="543"/>
                      <a:pt x="68" y="543"/>
                      <a:pt x="68" y="543"/>
                    </a:cubicBezTo>
                    <a:cubicBezTo>
                      <a:pt x="60" y="538"/>
                      <a:pt x="45" y="532"/>
                      <a:pt x="34" y="532"/>
                    </a:cubicBezTo>
                    <a:cubicBezTo>
                      <a:pt x="37" y="535"/>
                      <a:pt x="37" y="540"/>
                      <a:pt x="39" y="543"/>
                    </a:cubicBezTo>
                    <a:cubicBezTo>
                      <a:pt x="32" y="538"/>
                      <a:pt x="26" y="540"/>
                      <a:pt x="19" y="540"/>
                    </a:cubicBezTo>
                    <a:cubicBezTo>
                      <a:pt x="19" y="540"/>
                      <a:pt x="26" y="566"/>
                      <a:pt x="26" y="561"/>
                    </a:cubicBezTo>
                    <a:cubicBezTo>
                      <a:pt x="26" y="571"/>
                      <a:pt x="32" y="582"/>
                      <a:pt x="37" y="590"/>
                    </a:cubicBezTo>
                    <a:cubicBezTo>
                      <a:pt x="42" y="597"/>
                      <a:pt x="42" y="610"/>
                      <a:pt x="42" y="621"/>
                    </a:cubicBezTo>
                    <a:cubicBezTo>
                      <a:pt x="42" y="634"/>
                      <a:pt x="21" y="636"/>
                      <a:pt x="26" y="657"/>
                    </a:cubicBezTo>
                    <a:cubicBezTo>
                      <a:pt x="34" y="655"/>
                      <a:pt x="34" y="655"/>
                      <a:pt x="34" y="655"/>
                    </a:cubicBezTo>
                    <a:cubicBezTo>
                      <a:pt x="32" y="667"/>
                      <a:pt x="16" y="665"/>
                      <a:pt x="13" y="678"/>
                    </a:cubicBezTo>
                    <a:cubicBezTo>
                      <a:pt x="11" y="675"/>
                      <a:pt x="11" y="673"/>
                      <a:pt x="8" y="670"/>
                    </a:cubicBezTo>
                    <a:cubicBezTo>
                      <a:pt x="0" y="673"/>
                      <a:pt x="0" y="680"/>
                      <a:pt x="3" y="686"/>
                    </a:cubicBezTo>
                    <a:cubicBezTo>
                      <a:pt x="21" y="680"/>
                      <a:pt x="21" y="699"/>
                      <a:pt x="24" y="709"/>
                    </a:cubicBezTo>
                    <a:cubicBezTo>
                      <a:pt x="19" y="709"/>
                      <a:pt x="16" y="712"/>
                      <a:pt x="11" y="717"/>
                    </a:cubicBezTo>
                    <a:cubicBezTo>
                      <a:pt x="13" y="727"/>
                      <a:pt x="29" y="748"/>
                      <a:pt x="39" y="751"/>
                    </a:cubicBezTo>
                    <a:cubicBezTo>
                      <a:pt x="37" y="753"/>
                      <a:pt x="29" y="758"/>
                      <a:pt x="29" y="761"/>
                    </a:cubicBezTo>
                    <a:cubicBezTo>
                      <a:pt x="29" y="777"/>
                      <a:pt x="39" y="766"/>
                      <a:pt x="45" y="774"/>
                    </a:cubicBezTo>
                    <a:cubicBezTo>
                      <a:pt x="47" y="777"/>
                      <a:pt x="55" y="797"/>
                      <a:pt x="52" y="802"/>
                    </a:cubicBezTo>
                    <a:cubicBezTo>
                      <a:pt x="47" y="805"/>
                      <a:pt x="34" y="808"/>
                      <a:pt x="29" y="815"/>
                    </a:cubicBezTo>
                    <a:cubicBezTo>
                      <a:pt x="24" y="821"/>
                      <a:pt x="21" y="834"/>
                      <a:pt x="21" y="841"/>
                    </a:cubicBezTo>
                    <a:cubicBezTo>
                      <a:pt x="21" y="860"/>
                      <a:pt x="32" y="886"/>
                      <a:pt x="45" y="883"/>
                    </a:cubicBezTo>
                    <a:cubicBezTo>
                      <a:pt x="47" y="896"/>
                      <a:pt x="63" y="886"/>
                      <a:pt x="60" y="906"/>
                    </a:cubicBezTo>
                    <a:cubicBezTo>
                      <a:pt x="57" y="909"/>
                      <a:pt x="45" y="922"/>
                      <a:pt x="42" y="925"/>
                    </a:cubicBezTo>
                    <a:cubicBezTo>
                      <a:pt x="37" y="927"/>
                      <a:pt x="39" y="935"/>
                      <a:pt x="39" y="940"/>
                    </a:cubicBezTo>
                    <a:cubicBezTo>
                      <a:pt x="37" y="953"/>
                      <a:pt x="47" y="945"/>
                      <a:pt x="60" y="956"/>
                    </a:cubicBezTo>
                    <a:cubicBezTo>
                      <a:pt x="63" y="958"/>
                      <a:pt x="63" y="966"/>
                      <a:pt x="57" y="969"/>
                    </a:cubicBezTo>
                    <a:cubicBezTo>
                      <a:pt x="60" y="966"/>
                      <a:pt x="76" y="995"/>
                      <a:pt x="76" y="992"/>
                    </a:cubicBezTo>
                    <a:cubicBezTo>
                      <a:pt x="78" y="997"/>
                      <a:pt x="73" y="1000"/>
                      <a:pt x="81" y="1002"/>
                    </a:cubicBezTo>
                    <a:cubicBezTo>
                      <a:pt x="89" y="1002"/>
                      <a:pt x="94" y="1002"/>
                      <a:pt x="89" y="995"/>
                    </a:cubicBezTo>
                    <a:cubicBezTo>
                      <a:pt x="96" y="995"/>
                      <a:pt x="109" y="997"/>
                      <a:pt x="109" y="1002"/>
                    </a:cubicBezTo>
                    <a:cubicBezTo>
                      <a:pt x="112" y="1021"/>
                      <a:pt x="114" y="1005"/>
                      <a:pt x="120" y="1005"/>
                    </a:cubicBezTo>
                    <a:cubicBezTo>
                      <a:pt x="120" y="1005"/>
                      <a:pt x="135" y="1013"/>
                      <a:pt x="140" y="1013"/>
                    </a:cubicBezTo>
                    <a:cubicBezTo>
                      <a:pt x="143" y="1013"/>
                      <a:pt x="143" y="1010"/>
                      <a:pt x="151" y="1008"/>
                    </a:cubicBezTo>
                    <a:cubicBezTo>
                      <a:pt x="151" y="1008"/>
                      <a:pt x="146" y="1005"/>
                      <a:pt x="153" y="1005"/>
                    </a:cubicBezTo>
                    <a:cubicBezTo>
                      <a:pt x="156" y="1005"/>
                      <a:pt x="158" y="1008"/>
                      <a:pt x="161" y="1008"/>
                    </a:cubicBezTo>
                    <a:cubicBezTo>
                      <a:pt x="156" y="1008"/>
                      <a:pt x="166" y="1021"/>
                      <a:pt x="169" y="1021"/>
                    </a:cubicBezTo>
                    <a:cubicBezTo>
                      <a:pt x="174" y="1023"/>
                      <a:pt x="200" y="1036"/>
                      <a:pt x="202" y="1031"/>
                    </a:cubicBezTo>
                    <a:cubicBezTo>
                      <a:pt x="210" y="1023"/>
                      <a:pt x="234" y="1041"/>
                      <a:pt x="241" y="1044"/>
                    </a:cubicBezTo>
                    <a:cubicBezTo>
                      <a:pt x="231" y="1049"/>
                      <a:pt x="234" y="1065"/>
                      <a:pt x="228" y="1073"/>
                    </a:cubicBezTo>
                    <a:cubicBezTo>
                      <a:pt x="223" y="1078"/>
                      <a:pt x="210" y="1075"/>
                      <a:pt x="208" y="1086"/>
                    </a:cubicBezTo>
                    <a:cubicBezTo>
                      <a:pt x="195" y="1104"/>
                      <a:pt x="195" y="1104"/>
                      <a:pt x="195" y="1104"/>
                    </a:cubicBezTo>
                    <a:cubicBezTo>
                      <a:pt x="182" y="1143"/>
                      <a:pt x="182" y="1143"/>
                      <a:pt x="182" y="1143"/>
                    </a:cubicBezTo>
                    <a:cubicBezTo>
                      <a:pt x="184" y="1150"/>
                      <a:pt x="179" y="1161"/>
                      <a:pt x="171" y="1169"/>
                    </a:cubicBezTo>
                    <a:cubicBezTo>
                      <a:pt x="166" y="1176"/>
                      <a:pt x="166" y="1208"/>
                      <a:pt x="164" y="1213"/>
                    </a:cubicBezTo>
                    <a:cubicBezTo>
                      <a:pt x="156" y="1234"/>
                      <a:pt x="151" y="1262"/>
                      <a:pt x="161" y="1278"/>
                    </a:cubicBezTo>
                    <a:cubicBezTo>
                      <a:pt x="164" y="1278"/>
                      <a:pt x="169" y="1280"/>
                      <a:pt x="171" y="1280"/>
                    </a:cubicBezTo>
                    <a:cubicBezTo>
                      <a:pt x="169" y="1280"/>
                      <a:pt x="166" y="1280"/>
                      <a:pt x="166" y="1283"/>
                    </a:cubicBezTo>
                    <a:cubicBezTo>
                      <a:pt x="174" y="1291"/>
                      <a:pt x="187" y="1275"/>
                      <a:pt x="213" y="1285"/>
                    </a:cubicBezTo>
                    <a:cubicBezTo>
                      <a:pt x="223" y="1291"/>
                      <a:pt x="228" y="1275"/>
                      <a:pt x="241" y="1278"/>
                    </a:cubicBezTo>
                    <a:cubicBezTo>
                      <a:pt x="249" y="1278"/>
                      <a:pt x="252" y="1288"/>
                      <a:pt x="267" y="1283"/>
                    </a:cubicBezTo>
                    <a:cubicBezTo>
                      <a:pt x="267" y="1275"/>
                      <a:pt x="272" y="1273"/>
                      <a:pt x="275" y="1280"/>
                    </a:cubicBezTo>
                    <a:cubicBezTo>
                      <a:pt x="293" y="1267"/>
                      <a:pt x="270" y="1273"/>
                      <a:pt x="267" y="1270"/>
                    </a:cubicBezTo>
                    <a:cubicBezTo>
                      <a:pt x="262" y="1267"/>
                      <a:pt x="257" y="1273"/>
                      <a:pt x="257" y="1265"/>
                    </a:cubicBezTo>
                    <a:cubicBezTo>
                      <a:pt x="254" y="1254"/>
                      <a:pt x="270" y="1249"/>
                      <a:pt x="275" y="1247"/>
                    </a:cubicBezTo>
                    <a:cubicBezTo>
                      <a:pt x="275" y="1247"/>
                      <a:pt x="280" y="1244"/>
                      <a:pt x="283" y="1249"/>
                    </a:cubicBezTo>
                    <a:cubicBezTo>
                      <a:pt x="291" y="1244"/>
                      <a:pt x="293" y="1257"/>
                      <a:pt x="298" y="1267"/>
                    </a:cubicBezTo>
                    <a:cubicBezTo>
                      <a:pt x="301" y="1265"/>
                      <a:pt x="301" y="1257"/>
                      <a:pt x="301" y="1254"/>
                    </a:cubicBezTo>
                    <a:cubicBezTo>
                      <a:pt x="306" y="1262"/>
                      <a:pt x="309" y="1270"/>
                      <a:pt x="314" y="1273"/>
                    </a:cubicBezTo>
                    <a:cubicBezTo>
                      <a:pt x="316" y="1273"/>
                      <a:pt x="327" y="1265"/>
                      <a:pt x="335" y="1267"/>
                    </a:cubicBezTo>
                    <a:cubicBezTo>
                      <a:pt x="342" y="1270"/>
                      <a:pt x="353" y="1273"/>
                      <a:pt x="360" y="1275"/>
                    </a:cubicBezTo>
                    <a:cubicBezTo>
                      <a:pt x="379" y="1280"/>
                      <a:pt x="381" y="1291"/>
                      <a:pt x="402" y="1293"/>
                    </a:cubicBezTo>
                    <a:cubicBezTo>
                      <a:pt x="412" y="1293"/>
                      <a:pt x="407" y="1280"/>
                      <a:pt x="417" y="1285"/>
                    </a:cubicBezTo>
                    <a:cubicBezTo>
                      <a:pt x="420" y="1285"/>
                      <a:pt x="433" y="1296"/>
                      <a:pt x="441" y="1304"/>
                    </a:cubicBezTo>
                    <a:cubicBezTo>
                      <a:pt x="449" y="1311"/>
                      <a:pt x="446" y="1311"/>
                      <a:pt x="451" y="1324"/>
                    </a:cubicBezTo>
                    <a:cubicBezTo>
                      <a:pt x="451" y="1322"/>
                      <a:pt x="459" y="1317"/>
                      <a:pt x="461" y="1319"/>
                    </a:cubicBezTo>
                    <a:cubicBezTo>
                      <a:pt x="469" y="1322"/>
                      <a:pt x="459" y="1335"/>
                      <a:pt x="459" y="1337"/>
                    </a:cubicBezTo>
                    <a:cubicBezTo>
                      <a:pt x="469" y="1335"/>
                      <a:pt x="493" y="1324"/>
                      <a:pt x="495" y="1311"/>
                    </a:cubicBezTo>
                    <a:cubicBezTo>
                      <a:pt x="495" y="1299"/>
                      <a:pt x="485" y="1291"/>
                      <a:pt x="495" y="1286"/>
                    </a:cubicBezTo>
                    <a:cubicBezTo>
                      <a:pt x="493" y="1288"/>
                      <a:pt x="498" y="1303"/>
                      <a:pt x="503" y="1291"/>
                    </a:cubicBezTo>
                    <a:cubicBezTo>
                      <a:pt x="508" y="1285"/>
                      <a:pt x="542" y="1293"/>
                      <a:pt x="539" y="1293"/>
                    </a:cubicBezTo>
                    <a:cubicBezTo>
                      <a:pt x="544" y="1296"/>
                      <a:pt x="542" y="1298"/>
                      <a:pt x="539" y="1304"/>
                    </a:cubicBezTo>
                    <a:cubicBezTo>
                      <a:pt x="544" y="1306"/>
                      <a:pt x="550" y="1311"/>
                      <a:pt x="550" y="1319"/>
                    </a:cubicBezTo>
                    <a:cubicBezTo>
                      <a:pt x="563" y="1319"/>
                      <a:pt x="573" y="1317"/>
                      <a:pt x="581" y="1311"/>
                    </a:cubicBezTo>
                    <a:cubicBezTo>
                      <a:pt x="578" y="1319"/>
                      <a:pt x="578" y="1319"/>
                      <a:pt x="578" y="1319"/>
                    </a:cubicBezTo>
                    <a:cubicBezTo>
                      <a:pt x="588" y="1317"/>
                      <a:pt x="591" y="1306"/>
                      <a:pt x="604" y="1311"/>
                    </a:cubicBezTo>
                    <a:cubicBezTo>
                      <a:pt x="604" y="1309"/>
                      <a:pt x="599" y="1306"/>
                      <a:pt x="599" y="1306"/>
                    </a:cubicBezTo>
                    <a:cubicBezTo>
                      <a:pt x="604" y="1298"/>
                      <a:pt x="619" y="1288"/>
                      <a:pt x="625" y="1285"/>
                    </a:cubicBezTo>
                    <a:cubicBezTo>
                      <a:pt x="635" y="1283"/>
                      <a:pt x="648" y="1283"/>
                      <a:pt x="656" y="1280"/>
                    </a:cubicBezTo>
                    <a:cubicBezTo>
                      <a:pt x="661" y="1280"/>
                      <a:pt x="689" y="1283"/>
                      <a:pt x="692" y="1280"/>
                    </a:cubicBezTo>
                    <a:cubicBezTo>
                      <a:pt x="700" y="1273"/>
                      <a:pt x="679" y="1267"/>
                      <a:pt x="697" y="1254"/>
                    </a:cubicBezTo>
                    <a:cubicBezTo>
                      <a:pt x="697" y="1270"/>
                      <a:pt x="697" y="1270"/>
                      <a:pt x="697" y="1270"/>
                    </a:cubicBezTo>
                    <a:cubicBezTo>
                      <a:pt x="710" y="1265"/>
                      <a:pt x="718" y="1270"/>
                      <a:pt x="731" y="1278"/>
                    </a:cubicBezTo>
                    <a:cubicBezTo>
                      <a:pt x="741" y="1285"/>
                      <a:pt x="744" y="1257"/>
                      <a:pt x="762" y="1267"/>
                    </a:cubicBezTo>
                    <a:cubicBezTo>
                      <a:pt x="759" y="1270"/>
                      <a:pt x="757" y="1285"/>
                      <a:pt x="759" y="1288"/>
                    </a:cubicBezTo>
                    <a:cubicBezTo>
                      <a:pt x="762" y="1293"/>
                      <a:pt x="785" y="1304"/>
                      <a:pt x="790" y="1298"/>
                    </a:cubicBezTo>
                    <a:cubicBezTo>
                      <a:pt x="793" y="1293"/>
                      <a:pt x="796" y="1273"/>
                      <a:pt x="796" y="1270"/>
                    </a:cubicBezTo>
                    <a:cubicBezTo>
                      <a:pt x="790" y="1262"/>
                      <a:pt x="788" y="1257"/>
                      <a:pt x="775" y="1262"/>
                    </a:cubicBezTo>
                    <a:cubicBezTo>
                      <a:pt x="777" y="1244"/>
                      <a:pt x="790" y="1241"/>
                      <a:pt x="780" y="1226"/>
                    </a:cubicBezTo>
                    <a:cubicBezTo>
                      <a:pt x="775" y="1215"/>
                      <a:pt x="767" y="1215"/>
                      <a:pt x="765" y="1208"/>
                    </a:cubicBezTo>
                    <a:cubicBezTo>
                      <a:pt x="762" y="1202"/>
                      <a:pt x="746" y="1195"/>
                      <a:pt x="757" y="1189"/>
                    </a:cubicBezTo>
                    <a:cubicBezTo>
                      <a:pt x="767" y="1187"/>
                      <a:pt x="780" y="1166"/>
                      <a:pt x="785" y="1163"/>
                    </a:cubicBezTo>
                    <a:cubicBezTo>
                      <a:pt x="793" y="1161"/>
                      <a:pt x="801" y="1158"/>
                      <a:pt x="809" y="1158"/>
                    </a:cubicBezTo>
                    <a:cubicBezTo>
                      <a:pt x="827" y="1158"/>
                      <a:pt x="834" y="1125"/>
                      <a:pt x="829" y="1114"/>
                    </a:cubicBezTo>
                    <a:cubicBezTo>
                      <a:pt x="840" y="1109"/>
                      <a:pt x="847" y="1109"/>
                      <a:pt x="863" y="1119"/>
                    </a:cubicBezTo>
                    <a:cubicBezTo>
                      <a:pt x="868" y="1112"/>
                      <a:pt x="873" y="1099"/>
                      <a:pt x="873" y="1086"/>
                    </a:cubicBezTo>
                    <a:cubicBezTo>
                      <a:pt x="871" y="1070"/>
                      <a:pt x="858" y="1060"/>
                      <a:pt x="850" y="1047"/>
                    </a:cubicBezTo>
                    <a:cubicBezTo>
                      <a:pt x="842" y="1034"/>
                      <a:pt x="827" y="1052"/>
                      <a:pt x="824" y="1031"/>
                    </a:cubicBezTo>
                    <a:cubicBezTo>
                      <a:pt x="824" y="1021"/>
                      <a:pt x="809" y="1018"/>
                      <a:pt x="801" y="1018"/>
                    </a:cubicBezTo>
                    <a:cubicBezTo>
                      <a:pt x="798" y="1018"/>
                      <a:pt x="775" y="984"/>
                      <a:pt x="757" y="982"/>
                    </a:cubicBezTo>
                    <a:cubicBezTo>
                      <a:pt x="746" y="979"/>
                      <a:pt x="733" y="956"/>
                      <a:pt x="731" y="948"/>
                    </a:cubicBezTo>
                    <a:cubicBezTo>
                      <a:pt x="726" y="940"/>
                      <a:pt x="726" y="930"/>
                      <a:pt x="720" y="922"/>
                    </a:cubicBezTo>
                    <a:cubicBezTo>
                      <a:pt x="718" y="919"/>
                      <a:pt x="708" y="919"/>
                      <a:pt x="708" y="909"/>
                    </a:cubicBezTo>
                    <a:cubicBezTo>
                      <a:pt x="715" y="899"/>
                      <a:pt x="715" y="899"/>
                      <a:pt x="715" y="899"/>
                    </a:cubicBezTo>
                    <a:cubicBezTo>
                      <a:pt x="718" y="899"/>
                      <a:pt x="720" y="886"/>
                      <a:pt x="720" y="880"/>
                    </a:cubicBezTo>
                    <a:cubicBezTo>
                      <a:pt x="718" y="880"/>
                      <a:pt x="715" y="878"/>
                      <a:pt x="713" y="878"/>
                    </a:cubicBezTo>
                    <a:cubicBezTo>
                      <a:pt x="718" y="867"/>
                      <a:pt x="695" y="862"/>
                      <a:pt x="689" y="854"/>
                    </a:cubicBezTo>
                    <a:cubicBezTo>
                      <a:pt x="682" y="844"/>
                      <a:pt x="671" y="828"/>
                      <a:pt x="671" y="815"/>
                    </a:cubicBezTo>
                    <a:cubicBezTo>
                      <a:pt x="676" y="815"/>
                      <a:pt x="676" y="815"/>
                      <a:pt x="676" y="815"/>
                    </a:cubicBezTo>
                    <a:cubicBezTo>
                      <a:pt x="679" y="821"/>
                      <a:pt x="695" y="841"/>
                      <a:pt x="697" y="841"/>
                    </a:cubicBezTo>
                    <a:cubicBezTo>
                      <a:pt x="700" y="839"/>
                      <a:pt x="708" y="815"/>
                      <a:pt x="713" y="808"/>
                    </a:cubicBezTo>
                    <a:cubicBezTo>
                      <a:pt x="718" y="805"/>
                      <a:pt x="720" y="792"/>
                      <a:pt x="736" y="800"/>
                    </a:cubicBezTo>
                    <a:cubicBezTo>
                      <a:pt x="736" y="800"/>
                      <a:pt x="746" y="795"/>
                      <a:pt x="749" y="795"/>
                    </a:cubicBezTo>
                    <a:cubicBezTo>
                      <a:pt x="757" y="790"/>
                      <a:pt x="775" y="805"/>
                      <a:pt x="777" y="782"/>
                    </a:cubicBezTo>
                    <a:cubicBezTo>
                      <a:pt x="783" y="784"/>
                      <a:pt x="788" y="782"/>
                      <a:pt x="793" y="777"/>
                    </a:cubicBezTo>
                    <a:cubicBezTo>
                      <a:pt x="801" y="764"/>
                      <a:pt x="809" y="758"/>
                      <a:pt x="809" y="758"/>
                    </a:cubicBezTo>
                    <a:cubicBezTo>
                      <a:pt x="821" y="771"/>
                      <a:pt x="827" y="745"/>
                      <a:pt x="837" y="740"/>
                    </a:cubicBezTo>
                    <a:cubicBezTo>
                      <a:pt x="842" y="738"/>
                      <a:pt x="863" y="727"/>
                      <a:pt x="871" y="727"/>
                    </a:cubicBezTo>
                    <a:cubicBezTo>
                      <a:pt x="878" y="727"/>
                      <a:pt x="889" y="717"/>
                      <a:pt x="902" y="712"/>
                    </a:cubicBezTo>
                    <a:cubicBezTo>
                      <a:pt x="910" y="706"/>
                      <a:pt x="917" y="712"/>
                      <a:pt x="917" y="701"/>
                    </a:cubicBezTo>
                    <a:cubicBezTo>
                      <a:pt x="917" y="699"/>
                      <a:pt x="904" y="693"/>
                      <a:pt x="902" y="693"/>
                    </a:cubicBezTo>
                    <a:cubicBezTo>
                      <a:pt x="902" y="691"/>
                      <a:pt x="904" y="683"/>
                      <a:pt x="907" y="680"/>
                    </a:cubicBezTo>
                    <a:cubicBezTo>
                      <a:pt x="915" y="686"/>
                      <a:pt x="948" y="683"/>
                      <a:pt x="933" y="704"/>
                    </a:cubicBezTo>
                    <a:cubicBezTo>
                      <a:pt x="935" y="704"/>
                      <a:pt x="943" y="704"/>
                      <a:pt x="946" y="701"/>
                    </a:cubicBezTo>
                    <a:cubicBezTo>
                      <a:pt x="933" y="717"/>
                      <a:pt x="948" y="712"/>
                      <a:pt x="956" y="717"/>
                    </a:cubicBezTo>
                    <a:cubicBezTo>
                      <a:pt x="964" y="722"/>
                      <a:pt x="964" y="706"/>
                      <a:pt x="967" y="704"/>
                    </a:cubicBezTo>
                    <a:cubicBezTo>
                      <a:pt x="974" y="699"/>
                      <a:pt x="979" y="670"/>
                      <a:pt x="979" y="660"/>
                    </a:cubicBezTo>
                    <a:cubicBezTo>
                      <a:pt x="987" y="642"/>
                      <a:pt x="972" y="634"/>
                      <a:pt x="972" y="618"/>
                    </a:cubicBezTo>
                    <a:close/>
                    <a:moveTo>
                      <a:pt x="322" y="174"/>
                    </a:moveTo>
                    <a:cubicBezTo>
                      <a:pt x="322" y="169"/>
                      <a:pt x="322" y="169"/>
                      <a:pt x="322" y="169"/>
                    </a:cubicBezTo>
                    <a:cubicBezTo>
                      <a:pt x="322" y="169"/>
                      <a:pt x="319" y="166"/>
                      <a:pt x="319" y="171"/>
                    </a:cubicBezTo>
                    <a:cubicBezTo>
                      <a:pt x="319" y="177"/>
                      <a:pt x="322" y="174"/>
                      <a:pt x="322" y="174"/>
                    </a:cubicBezTo>
                    <a:close/>
                    <a:moveTo>
                      <a:pt x="138" y="234"/>
                    </a:moveTo>
                    <a:cubicBezTo>
                      <a:pt x="135" y="231"/>
                      <a:pt x="130" y="234"/>
                      <a:pt x="135" y="239"/>
                    </a:cubicBezTo>
                    <a:cubicBezTo>
                      <a:pt x="138" y="242"/>
                      <a:pt x="138" y="234"/>
                      <a:pt x="138" y="234"/>
                    </a:cubicBezTo>
                    <a:close/>
                    <a:moveTo>
                      <a:pt x="329" y="86"/>
                    </a:moveTo>
                    <a:cubicBezTo>
                      <a:pt x="329" y="88"/>
                      <a:pt x="324" y="86"/>
                      <a:pt x="329" y="88"/>
                    </a:cubicBezTo>
                    <a:cubicBezTo>
                      <a:pt x="335" y="88"/>
                      <a:pt x="335" y="88"/>
                      <a:pt x="329" y="86"/>
                    </a:cubicBezTo>
                    <a:close/>
                    <a:moveTo>
                      <a:pt x="247" y="218"/>
                    </a:moveTo>
                    <a:cubicBezTo>
                      <a:pt x="252" y="213"/>
                      <a:pt x="228" y="216"/>
                      <a:pt x="239" y="216"/>
                    </a:cubicBezTo>
                    <a:cubicBezTo>
                      <a:pt x="241" y="218"/>
                      <a:pt x="244" y="218"/>
                      <a:pt x="247" y="218"/>
                    </a:cubicBezTo>
                    <a:close/>
                    <a:moveTo>
                      <a:pt x="244" y="148"/>
                    </a:moveTo>
                    <a:cubicBezTo>
                      <a:pt x="247" y="148"/>
                      <a:pt x="247" y="145"/>
                      <a:pt x="244" y="145"/>
                    </a:cubicBezTo>
                    <a:cubicBezTo>
                      <a:pt x="244" y="145"/>
                      <a:pt x="241" y="148"/>
                      <a:pt x="244" y="148"/>
                    </a:cubicBezTo>
                    <a:close/>
                    <a:moveTo>
                      <a:pt x="288" y="78"/>
                    </a:moveTo>
                    <a:cubicBezTo>
                      <a:pt x="288" y="75"/>
                      <a:pt x="283" y="57"/>
                      <a:pt x="285" y="57"/>
                    </a:cubicBezTo>
                    <a:cubicBezTo>
                      <a:pt x="283" y="57"/>
                      <a:pt x="280" y="65"/>
                      <a:pt x="278" y="68"/>
                    </a:cubicBezTo>
                    <a:cubicBezTo>
                      <a:pt x="278" y="68"/>
                      <a:pt x="285" y="83"/>
                      <a:pt x="288" y="78"/>
                    </a:cubicBezTo>
                    <a:close/>
                    <a:moveTo>
                      <a:pt x="288" y="213"/>
                    </a:moveTo>
                    <a:cubicBezTo>
                      <a:pt x="291" y="210"/>
                      <a:pt x="288" y="208"/>
                      <a:pt x="288" y="208"/>
                    </a:cubicBezTo>
                    <a:cubicBezTo>
                      <a:pt x="283" y="208"/>
                      <a:pt x="283" y="213"/>
                      <a:pt x="288" y="213"/>
                    </a:cubicBezTo>
                    <a:close/>
                    <a:moveTo>
                      <a:pt x="280" y="55"/>
                    </a:moveTo>
                    <a:cubicBezTo>
                      <a:pt x="280" y="52"/>
                      <a:pt x="280" y="52"/>
                      <a:pt x="280" y="52"/>
                    </a:cubicBezTo>
                    <a:cubicBezTo>
                      <a:pt x="280" y="49"/>
                      <a:pt x="280" y="49"/>
                      <a:pt x="280" y="49"/>
                    </a:cubicBezTo>
                    <a:cubicBezTo>
                      <a:pt x="280" y="42"/>
                      <a:pt x="280" y="42"/>
                      <a:pt x="280" y="42"/>
                    </a:cubicBezTo>
                    <a:cubicBezTo>
                      <a:pt x="280" y="42"/>
                      <a:pt x="280" y="36"/>
                      <a:pt x="283" y="36"/>
                    </a:cubicBezTo>
                    <a:cubicBezTo>
                      <a:pt x="283" y="31"/>
                      <a:pt x="283" y="31"/>
                      <a:pt x="283" y="31"/>
                    </a:cubicBezTo>
                    <a:cubicBezTo>
                      <a:pt x="285" y="31"/>
                      <a:pt x="285" y="29"/>
                      <a:pt x="285" y="29"/>
                    </a:cubicBezTo>
                    <a:cubicBezTo>
                      <a:pt x="285" y="31"/>
                      <a:pt x="285" y="36"/>
                      <a:pt x="288" y="36"/>
                    </a:cubicBezTo>
                    <a:cubicBezTo>
                      <a:pt x="291" y="36"/>
                      <a:pt x="296" y="36"/>
                      <a:pt x="298" y="31"/>
                    </a:cubicBezTo>
                    <a:cubicBezTo>
                      <a:pt x="298" y="29"/>
                      <a:pt x="293" y="29"/>
                      <a:pt x="291" y="26"/>
                    </a:cubicBezTo>
                    <a:cubicBezTo>
                      <a:pt x="288" y="26"/>
                      <a:pt x="288" y="21"/>
                      <a:pt x="288" y="21"/>
                    </a:cubicBezTo>
                    <a:cubicBezTo>
                      <a:pt x="288" y="16"/>
                      <a:pt x="288" y="16"/>
                      <a:pt x="288" y="16"/>
                    </a:cubicBezTo>
                    <a:cubicBezTo>
                      <a:pt x="288" y="16"/>
                      <a:pt x="288" y="13"/>
                      <a:pt x="291" y="10"/>
                    </a:cubicBezTo>
                    <a:cubicBezTo>
                      <a:pt x="291" y="10"/>
                      <a:pt x="293" y="8"/>
                      <a:pt x="296" y="8"/>
                    </a:cubicBezTo>
                    <a:cubicBezTo>
                      <a:pt x="296" y="5"/>
                      <a:pt x="293" y="3"/>
                      <a:pt x="293" y="3"/>
                    </a:cubicBezTo>
                    <a:cubicBezTo>
                      <a:pt x="298" y="3"/>
                      <a:pt x="298" y="3"/>
                      <a:pt x="298" y="3"/>
                    </a:cubicBezTo>
                    <a:cubicBezTo>
                      <a:pt x="298" y="3"/>
                      <a:pt x="298" y="0"/>
                      <a:pt x="296" y="0"/>
                    </a:cubicBezTo>
                    <a:cubicBezTo>
                      <a:pt x="291" y="0"/>
                      <a:pt x="291" y="3"/>
                      <a:pt x="291" y="3"/>
                    </a:cubicBezTo>
                    <a:cubicBezTo>
                      <a:pt x="288" y="5"/>
                      <a:pt x="285" y="13"/>
                      <a:pt x="283" y="18"/>
                    </a:cubicBezTo>
                    <a:cubicBezTo>
                      <a:pt x="280" y="23"/>
                      <a:pt x="278" y="36"/>
                      <a:pt x="278" y="36"/>
                    </a:cubicBezTo>
                    <a:cubicBezTo>
                      <a:pt x="278" y="44"/>
                      <a:pt x="278" y="44"/>
                      <a:pt x="278" y="44"/>
                    </a:cubicBezTo>
                    <a:cubicBezTo>
                      <a:pt x="278" y="52"/>
                      <a:pt x="278" y="52"/>
                      <a:pt x="278" y="52"/>
                    </a:cubicBezTo>
                    <a:cubicBezTo>
                      <a:pt x="278" y="55"/>
                      <a:pt x="280" y="55"/>
                      <a:pt x="280" y="55"/>
                    </a:cubicBezTo>
                    <a:close/>
                    <a:moveTo>
                      <a:pt x="265" y="229"/>
                    </a:moveTo>
                    <a:cubicBezTo>
                      <a:pt x="267" y="229"/>
                      <a:pt x="275" y="223"/>
                      <a:pt x="267" y="223"/>
                    </a:cubicBezTo>
                    <a:cubicBezTo>
                      <a:pt x="267" y="223"/>
                      <a:pt x="257" y="229"/>
                      <a:pt x="265" y="229"/>
                    </a:cubicBezTo>
                    <a:close/>
                    <a:moveTo>
                      <a:pt x="252" y="223"/>
                    </a:moveTo>
                    <a:cubicBezTo>
                      <a:pt x="254" y="223"/>
                      <a:pt x="254" y="221"/>
                      <a:pt x="252" y="221"/>
                    </a:cubicBezTo>
                    <a:cubicBezTo>
                      <a:pt x="252" y="221"/>
                      <a:pt x="249" y="223"/>
                      <a:pt x="252" y="223"/>
                    </a:cubicBezTo>
                    <a:close/>
                    <a:moveTo>
                      <a:pt x="241" y="143"/>
                    </a:moveTo>
                    <a:cubicBezTo>
                      <a:pt x="239" y="145"/>
                      <a:pt x="239" y="148"/>
                      <a:pt x="241" y="151"/>
                    </a:cubicBezTo>
                    <a:lnTo>
                      <a:pt x="241" y="143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71" name="France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3451225" y="3937000"/>
                <a:ext cx="1335087" cy="1387475"/>
              </a:xfrm>
              <a:custGeom>
                <a:avLst/>
                <a:gdLst/>
                <a:ahLst/>
                <a:cxnLst>
                  <a:cxn ang="0">
                    <a:pos x="540" y="142"/>
                  </a:cxn>
                  <a:cxn ang="0">
                    <a:pos x="511" y="136"/>
                  </a:cxn>
                  <a:cxn ang="0">
                    <a:pos x="481" y="122"/>
                  </a:cxn>
                  <a:cxn ang="0">
                    <a:pos x="450" y="105"/>
                  </a:cxn>
                  <a:cxn ang="0">
                    <a:pos x="432" y="71"/>
                  </a:cxn>
                  <a:cxn ang="0">
                    <a:pos x="405" y="74"/>
                  </a:cxn>
                  <a:cxn ang="0">
                    <a:pos x="378" y="42"/>
                  </a:cxn>
                  <a:cxn ang="0">
                    <a:pos x="355" y="28"/>
                  </a:cxn>
                  <a:cxn ang="0">
                    <a:pos x="345" y="8"/>
                  </a:cxn>
                  <a:cxn ang="0">
                    <a:pos x="295" y="48"/>
                  </a:cxn>
                  <a:cxn ang="0">
                    <a:pos x="236" y="78"/>
                  </a:cxn>
                  <a:cxn ang="0">
                    <a:pos x="211" y="105"/>
                  </a:cxn>
                  <a:cxn ang="0">
                    <a:pos x="167" y="79"/>
                  </a:cxn>
                  <a:cxn ang="0">
                    <a:pos x="144" y="74"/>
                  </a:cxn>
                  <a:cxn ang="0">
                    <a:pos x="149" y="114"/>
                  </a:cxn>
                  <a:cxn ang="0">
                    <a:pos x="130" y="130"/>
                  </a:cxn>
                  <a:cxn ang="0">
                    <a:pos x="112" y="127"/>
                  </a:cxn>
                  <a:cxn ang="0">
                    <a:pos x="50" y="114"/>
                  </a:cxn>
                  <a:cxn ang="0">
                    <a:pos x="4" y="130"/>
                  </a:cxn>
                  <a:cxn ang="0">
                    <a:pos x="8" y="138"/>
                  </a:cxn>
                  <a:cxn ang="0">
                    <a:pos x="1" y="153"/>
                  </a:cxn>
                  <a:cxn ang="0">
                    <a:pos x="35" y="169"/>
                  </a:cxn>
                  <a:cxn ang="0">
                    <a:pos x="66" y="181"/>
                  </a:cxn>
                  <a:cxn ang="0">
                    <a:pos x="73" y="194"/>
                  </a:cxn>
                  <a:cxn ang="0">
                    <a:pos x="97" y="220"/>
                  </a:cxn>
                  <a:cxn ang="0">
                    <a:pos x="97" y="226"/>
                  </a:cxn>
                  <a:cxn ang="0">
                    <a:pos x="109" y="273"/>
                  </a:cxn>
                  <a:cxn ang="0">
                    <a:pos x="138" y="306"/>
                  </a:cxn>
                  <a:cxn ang="0">
                    <a:pos x="151" y="375"/>
                  </a:cxn>
                  <a:cxn ang="0">
                    <a:pos x="129" y="338"/>
                  </a:cxn>
                  <a:cxn ang="0">
                    <a:pos x="113" y="406"/>
                  </a:cxn>
                  <a:cxn ang="0">
                    <a:pos x="83" y="479"/>
                  </a:cxn>
                  <a:cxn ang="0">
                    <a:pos x="94" y="501"/>
                  </a:cxn>
                  <a:cxn ang="0">
                    <a:pos x="125" y="515"/>
                  </a:cxn>
                  <a:cxn ang="0">
                    <a:pos x="167" y="530"/>
                  </a:cxn>
                  <a:cxn ang="0">
                    <a:pos x="207" y="532"/>
                  </a:cxn>
                  <a:cxn ang="0">
                    <a:pos x="237" y="545"/>
                  </a:cxn>
                  <a:cxn ang="0">
                    <a:pos x="254" y="567"/>
                  </a:cxn>
                  <a:cxn ang="0">
                    <a:pos x="309" y="567"/>
                  </a:cxn>
                  <a:cxn ang="0">
                    <a:pos x="307" y="530"/>
                  </a:cxn>
                  <a:cxn ang="0">
                    <a:pos x="332" y="506"/>
                  </a:cxn>
                  <a:cxn ang="0">
                    <a:pos x="355" y="498"/>
                  </a:cxn>
                  <a:cxn ang="0">
                    <a:pos x="406" y="517"/>
                  </a:cxn>
                  <a:cxn ang="0">
                    <a:pos x="448" y="534"/>
                  </a:cxn>
                  <a:cxn ang="0">
                    <a:pos x="469" y="533"/>
                  </a:cxn>
                  <a:cxn ang="0">
                    <a:pos x="497" y="509"/>
                  </a:cxn>
                  <a:cxn ang="0">
                    <a:pos x="528" y="496"/>
                  </a:cxn>
                  <a:cxn ang="0">
                    <a:pos x="502" y="437"/>
                  </a:cxn>
                  <a:cxn ang="0">
                    <a:pos x="494" y="403"/>
                  </a:cxn>
                  <a:cxn ang="0">
                    <a:pos x="499" y="362"/>
                  </a:cxn>
                  <a:cxn ang="0">
                    <a:pos x="502" y="325"/>
                  </a:cxn>
                  <a:cxn ang="0">
                    <a:pos x="464" y="336"/>
                  </a:cxn>
                  <a:cxn ang="0">
                    <a:pos x="488" y="284"/>
                  </a:cxn>
                  <a:cxn ang="0">
                    <a:pos x="536" y="252"/>
                  </a:cxn>
                  <a:cxn ang="0">
                    <a:pos x="557" y="179"/>
                  </a:cxn>
                  <a:cxn ang="0">
                    <a:pos x="619" y="558"/>
                  </a:cxn>
                  <a:cxn ang="0">
                    <a:pos x="583" y="572"/>
                  </a:cxn>
                  <a:cxn ang="0">
                    <a:pos x="573" y="596"/>
                  </a:cxn>
                  <a:cxn ang="0">
                    <a:pos x="577" y="627"/>
                  </a:cxn>
                  <a:cxn ang="0">
                    <a:pos x="597" y="646"/>
                  </a:cxn>
                  <a:cxn ang="0">
                    <a:pos x="621" y="571"/>
                  </a:cxn>
                  <a:cxn ang="0">
                    <a:pos x="126" y="100"/>
                  </a:cxn>
                  <a:cxn ang="0">
                    <a:pos x="113" y="75"/>
                  </a:cxn>
                </a:cxnLst>
                <a:rect l="0" t="0" r="r" b="b"/>
                <a:pathLst>
                  <a:path w="626" h="652">
                    <a:moveTo>
                      <a:pt x="575" y="156"/>
                    </a:moveTo>
                    <a:cubicBezTo>
                      <a:pt x="572" y="155"/>
                      <a:pt x="563" y="148"/>
                      <a:pt x="560" y="151"/>
                    </a:cubicBezTo>
                    <a:cubicBezTo>
                      <a:pt x="559" y="153"/>
                      <a:pt x="549" y="148"/>
                      <a:pt x="547" y="147"/>
                    </a:cubicBezTo>
                    <a:cubicBezTo>
                      <a:pt x="546" y="147"/>
                      <a:pt x="542" y="142"/>
                      <a:pt x="544" y="142"/>
                    </a:cubicBezTo>
                    <a:cubicBezTo>
                      <a:pt x="543" y="142"/>
                      <a:pt x="542" y="141"/>
                      <a:pt x="541" y="141"/>
                    </a:cubicBezTo>
                    <a:cubicBezTo>
                      <a:pt x="538" y="141"/>
                      <a:pt x="540" y="142"/>
                      <a:pt x="540" y="142"/>
                    </a:cubicBezTo>
                    <a:cubicBezTo>
                      <a:pt x="537" y="143"/>
                      <a:pt x="537" y="144"/>
                      <a:pt x="536" y="144"/>
                    </a:cubicBezTo>
                    <a:cubicBezTo>
                      <a:pt x="534" y="144"/>
                      <a:pt x="528" y="141"/>
                      <a:pt x="528" y="141"/>
                    </a:cubicBezTo>
                    <a:cubicBezTo>
                      <a:pt x="526" y="141"/>
                      <a:pt x="525" y="147"/>
                      <a:pt x="524" y="140"/>
                    </a:cubicBezTo>
                    <a:cubicBezTo>
                      <a:pt x="524" y="138"/>
                      <a:pt x="519" y="137"/>
                      <a:pt x="516" y="137"/>
                    </a:cubicBezTo>
                    <a:cubicBezTo>
                      <a:pt x="518" y="140"/>
                      <a:pt x="516" y="140"/>
                      <a:pt x="513" y="140"/>
                    </a:cubicBezTo>
                    <a:cubicBezTo>
                      <a:pt x="510" y="139"/>
                      <a:pt x="512" y="138"/>
                      <a:pt x="511" y="136"/>
                    </a:cubicBezTo>
                    <a:cubicBezTo>
                      <a:pt x="511" y="137"/>
                      <a:pt x="505" y="126"/>
                      <a:pt x="504" y="127"/>
                    </a:cubicBezTo>
                    <a:cubicBezTo>
                      <a:pt x="506" y="126"/>
                      <a:pt x="506" y="123"/>
                      <a:pt x="505" y="122"/>
                    </a:cubicBezTo>
                    <a:cubicBezTo>
                      <a:pt x="503" y="120"/>
                      <a:pt x="500" y="120"/>
                      <a:pt x="498" y="119"/>
                    </a:cubicBezTo>
                    <a:cubicBezTo>
                      <a:pt x="496" y="120"/>
                      <a:pt x="495" y="120"/>
                      <a:pt x="494" y="120"/>
                    </a:cubicBezTo>
                    <a:cubicBezTo>
                      <a:pt x="492" y="120"/>
                      <a:pt x="492" y="118"/>
                      <a:pt x="489" y="118"/>
                    </a:cubicBezTo>
                    <a:cubicBezTo>
                      <a:pt x="486" y="117"/>
                      <a:pt x="488" y="122"/>
                      <a:pt x="481" y="122"/>
                    </a:cubicBezTo>
                    <a:cubicBezTo>
                      <a:pt x="476" y="123"/>
                      <a:pt x="476" y="117"/>
                      <a:pt x="476" y="117"/>
                    </a:cubicBezTo>
                    <a:cubicBezTo>
                      <a:pt x="471" y="115"/>
                      <a:pt x="471" y="115"/>
                      <a:pt x="471" y="115"/>
                    </a:cubicBezTo>
                    <a:cubicBezTo>
                      <a:pt x="472" y="115"/>
                      <a:pt x="472" y="115"/>
                      <a:pt x="472" y="115"/>
                    </a:cubicBezTo>
                    <a:cubicBezTo>
                      <a:pt x="457" y="116"/>
                      <a:pt x="457" y="116"/>
                      <a:pt x="457" y="116"/>
                    </a:cubicBezTo>
                    <a:cubicBezTo>
                      <a:pt x="450" y="107"/>
                      <a:pt x="450" y="107"/>
                      <a:pt x="450" y="107"/>
                    </a:cubicBezTo>
                    <a:cubicBezTo>
                      <a:pt x="450" y="105"/>
                      <a:pt x="450" y="105"/>
                      <a:pt x="450" y="105"/>
                    </a:cubicBezTo>
                    <a:cubicBezTo>
                      <a:pt x="438" y="95"/>
                      <a:pt x="438" y="95"/>
                      <a:pt x="438" y="95"/>
                    </a:cubicBezTo>
                    <a:cubicBezTo>
                      <a:pt x="431" y="95"/>
                      <a:pt x="431" y="95"/>
                      <a:pt x="431" y="95"/>
                    </a:cubicBezTo>
                    <a:cubicBezTo>
                      <a:pt x="429" y="93"/>
                      <a:pt x="429" y="93"/>
                      <a:pt x="429" y="93"/>
                    </a:cubicBezTo>
                    <a:cubicBezTo>
                      <a:pt x="429" y="93"/>
                      <a:pt x="432" y="88"/>
                      <a:pt x="431" y="86"/>
                    </a:cubicBezTo>
                    <a:cubicBezTo>
                      <a:pt x="431" y="83"/>
                      <a:pt x="429" y="83"/>
                      <a:pt x="429" y="83"/>
                    </a:cubicBezTo>
                    <a:cubicBezTo>
                      <a:pt x="429" y="83"/>
                      <a:pt x="436" y="74"/>
                      <a:pt x="432" y="71"/>
                    </a:cubicBezTo>
                    <a:cubicBezTo>
                      <a:pt x="429" y="68"/>
                      <a:pt x="423" y="81"/>
                      <a:pt x="423" y="81"/>
                    </a:cubicBezTo>
                    <a:cubicBezTo>
                      <a:pt x="420" y="83"/>
                      <a:pt x="420" y="83"/>
                      <a:pt x="420" y="83"/>
                    </a:cubicBezTo>
                    <a:cubicBezTo>
                      <a:pt x="416" y="86"/>
                      <a:pt x="416" y="86"/>
                      <a:pt x="416" y="86"/>
                    </a:cubicBezTo>
                    <a:cubicBezTo>
                      <a:pt x="413" y="83"/>
                      <a:pt x="413" y="83"/>
                      <a:pt x="413" y="83"/>
                    </a:cubicBezTo>
                    <a:cubicBezTo>
                      <a:pt x="413" y="83"/>
                      <a:pt x="408" y="85"/>
                      <a:pt x="403" y="83"/>
                    </a:cubicBezTo>
                    <a:cubicBezTo>
                      <a:pt x="396" y="80"/>
                      <a:pt x="405" y="74"/>
                      <a:pt x="405" y="74"/>
                    </a:cubicBezTo>
                    <a:cubicBezTo>
                      <a:pt x="401" y="70"/>
                      <a:pt x="401" y="70"/>
                      <a:pt x="401" y="70"/>
                    </a:cubicBezTo>
                    <a:cubicBezTo>
                      <a:pt x="401" y="70"/>
                      <a:pt x="404" y="67"/>
                      <a:pt x="404" y="61"/>
                    </a:cubicBezTo>
                    <a:cubicBezTo>
                      <a:pt x="404" y="57"/>
                      <a:pt x="396" y="56"/>
                      <a:pt x="392" y="55"/>
                    </a:cubicBezTo>
                    <a:cubicBezTo>
                      <a:pt x="387" y="54"/>
                      <a:pt x="387" y="59"/>
                      <a:pt x="383" y="59"/>
                    </a:cubicBezTo>
                    <a:cubicBezTo>
                      <a:pt x="381" y="60"/>
                      <a:pt x="384" y="47"/>
                      <a:pt x="384" y="47"/>
                    </a:cubicBezTo>
                    <a:cubicBezTo>
                      <a:pt x="378" y="42"/>
                      <a:pt x="378" y="42"/>
                      <a:pt x="378" y="42"/>
                    </a:cubicBezTo>
                    <a:cubicBezTo>
                      <a:pt x="371" y="45"/>
                      <a:pt x="371" y="45"/>
                      <a:pt x="371" y="45"/>
                    </a:cubicBezTo>
                    <a:cubicBezTo>
                      <a:pt x="368" y="42"/>
                      <a:pt x="368" y="42"/>
                      <a:pt x="368" y="42"/>
                    </a:cubicBezTo>
                    <a:cubicBezTo>
                      <a:pt x="368" y="31"/>
                      <a:pt x="368" y="31"/>
                      <a:pt x="368" y="31"/>
                    </a:cubicBezTo>
                    <a:cubicBezTo>
                      <a:pt x="365" y="24"/>
                      <a:pt x="365" y="24"/>
                      <a:pt x="365" y="24"/>
                    </a:cubicBezTo>
                    <a:cubicBezTo>
                      <a:pt x="358" y="24"/>
                      <a:pt x="358" y="24"/>
                      <a:pt x="358" y="24"/>
                    </a:cubicBezTo>
                    <a:cubicBezTo>
                      <a:pt x="356" y="24"/>
                      <a:pt x="355" y="28"/>
                      <a:pt x="355" y="28"/>
                    </a:cubicBezTo>
                    <a:cubicBezTo>
                      <a:pt x="351" y="27"/>
                      <a:pt x="351" y="27"/>
                      <a:pt x="351" y="27"/>
                    </a:cubicBezTo>
                    <a:cubicBezTo>
                      <a:pt x="351" y="27"/>
                      <a:pt x="349" y="21"/>
                      <a:pt x="346" y="20"/>
                    </a:cubicBezTo>
                    <a:cubicBezTo>
                      <a:pt x="344" y="18"/>
                      <a:pt x="343" y="20"/>
                      <a:pt x="343" y="20"/>
                    </a:cubicBezTo>
                    <a:cubicBezTo>
                      <a:pt x="344" y="13"/>
                      <a:pt x="344" y="13"/>
                      <a:pt x="344" y="13"/>
                    </a:cubicBezTo>
                    <a:cubicBezTo>
                      <a:pt x="345" y="12"/>
                      <a:pt x="345" y="12"/>
                      <a:pt x="345" y="12"/>
                    </a:cubicBezTo>
                    <a:cubicBezTo>
                      <a:pt x="345" y="8"/>
                      <a:pt x="345" y="8"/>
                      <a:pt x="345" y="8"/>
                    </a:cubicBezTo>
                    <a:cubicBezTo>
                      <a:pt x="344" y="8"/>
                      <a:pt x="344" y="8"/>
                      <a:pt x="344" y="8"/>
                    </a:cubicBezTo>
                    <a:cubicBezTo>
                      <a:pt x="344" y="1"/>
                      <a:pt x="344" y="1"/>
                      <a:pt x="344" y="1"/>
                    </a:cubicBezTo>
                    <a:cubicBezTo>
                      <a:pt x="334" y="0"/>
                      <a:pt x="334" y="0"/>
                      <a:pt x="334" y="0"/>
                    </a:cubicBezTo>
                    <a:cubicBezTo>
                      <a:pt x="334" y="0"/>
                      <a:pt x="328" y="5"/>
                      <a:pt x="324" y="5"/>
                    </a:cubicBezTo>
                    <a:cubicBezTo>
                      <a:pt x="318" y="5"/>
                      <a:pt x="306" y="0"/>
                      <a:pt x="302" y="12"/>
                    </a:cubicBezTo>
                    <a:cubicBezTo>
                      <a:pt x="298" y="24"/>
                      <a:pt x="295" y="48"/>
                      <a:pt x="295" y="48"/>
                    </a:cubicBezTo>
                    <a:cubicBezTo>
                      <a:pt x="300" y="54"/>
                      <a:pt x="300" y="54"/>
                      <a:pt x="300" y="54"/>
                    </a:cubicBezTo>
                    <a:cubicBezTo>
                      <a:pt x="300" y="56"/>
                      <a:pt x="300" y="56"/>
                      <a:pt x="300" y="56"/>
                    </a:cubicBezTo>
                    <a:cubicBezTo>
                      <a:pt x="294" y="53"/>
                      <a:pt x="294" y="53"/>
                      <a:pt x="294" y="53"/>
                    </a:cubicBezTo>
                    <a:cubicBezTo>
                      <a:pt x="294" y="53"/>
                      <a:pt x="290" y="65"/>
                      <a:pt x="277" y="69"/>
                    </a:cubicBezTo>
                    <a:cubicBezTo>
                      <a:pt x="264" y="72"/>
                      <a:pt x="252" y="70"/>
                      <a:pt x="252" y="70"/>
                    </a:cubicBezTo>
                    <a:cubicBezTo>
                      <a:pt x="252" y="70"/>
                      <a:pt x="238" y="78"/>
                      <a:pt x="236" y="78"/>
                    </a:cubicBezTo>
                    <a:cubicBezTo>
                      <a:pt x="231" y="78"/>
                      <a:pt x="231" y="78"/>
                      <a:pt x="231" y="78"/>
                    </a:cubicBezTo>
                    <a:cubicBezTo>
                      <a:pt x="231" y="78"/>
                      <a:pt x="221" y="87"/>
                      <a:pt x="225" y="91"/>
                    </a:cubicBezTo>
                    <a:cubicBezTo>
                      <a:pt x="229" y="95"/>
                      <a:pt x="237" y="97"/>
                      <a:pt x="237" y="97"/>
                    </a:cubicBezTo>
                    <a:cubicBezTo>
                      <a:pt x="235" y="99"/>
                      <a:pt x="235" y="99"/>
                      <a:pt x="235" y="99"/>
                    </a:cubicBezTo>
                    <a:cubicBezTo>
                      <a:pt x="231" y="97"/>
                      <a:pt x="231" y="97"/>
                      <a:pt x="231" y="97"/>
                    </a:cubicBezTo>
                    <a:cubicBezTo>
                      <a:pt x="211" y="105"/>
                      <a:pt x="211" y="105"/>
                      <a:pt x="211" y="105"/>
                    </a:cubicBezTo>
                    <a:cubicBezTo>
                      <a:pt x="199" y="99"/>
                      <a:pt x="199" y="99"/>
                      <a:pt x="199" y="99"/>
                    </a:cubicBezTo>
                    <a:cubicBezTo>
                      <a:pt x="195" y="100"/>
                      <a:pt x="195" y="100"/>
                      <a:pt x="195" y="100"/>
                    </a:cubicBezTo>
                    <a:cubicBezTo>
                      <a:pt x="195" y="100"/>
                      <a:pt x="185" y="94"/>
                      <a:pt x="180" y="93"/>
                    </a:cubicBezTo>
                    <a:cubicBezTo>
                      <a:pt x="175" y="92"/>
                      <a:pt x="170" y="94"/>
                      <a:pt x="170" y="94"/>
                    </a:cubicBezTo>
                    <a:cubicBezTo>
                      <a:pt x="170" y="94"/>
                      <a:pt x="169" y="92"/>
                      <a:pt x="168" y="88"/>
                    </a:cubicBezTo>
                    <a:cubicBezTo>
                      <a:pt x="166" y="84"/>
                      <a:pt x="163" y="80"/>
                      <a:pt x="167" y="79"/>
                    </a:cubicBezTo>
                    <a:cubicBezTo>
                      <a:pt x="172" y="78"/>
                      <a:pt x="170" y="76"/>
                      <a:pt x="170" y="76"/>
                    </a:cubicBezTo>
                    <a:cubicBezTo>
                      <a:pt x="170" y="76"/>
                      <a:pt x="168" y="67"/>
                      <a:pt x="163" y="69"/>
                    </a:cubicBezTo>
                    <a:cubicBezTo>
                      <a:pt x="156" y="71"/>
                      <a:pt x="153" y="72"/>
                      <a:pt x="149" y="70"/>
                    </a:cubicBezTo>
                    <a:cubicBezTo>
                      <a:pt x="145" y="68"/>
                      <a:pt x="143" y="63"/>
                      <a:pt x="143" y="63"/>
                    </a:cubicBezTo>
                    <a:cubicBezTo>
                      <a:pt x="143" y="63"/>
                      <a:pt x="142" y="65"/>
                      <a:pt x="141" y="67"/>
                    </a:cubicBezTo>
                    <a:cubicBezTo>
                      <a:pt x="139" y="67"/>
                      <a:pt x="145" y="73"/>
                      <a:pt x="144" y="74"/>
                    </a:cubicBezTo>
                    <a:cubicBezTo>
                      <a:pt x="143" y="75"/>
                      <a:pt x="141" y="78"/>
                      <a:pt x="141" y="78"/>
                    </a:cubicBezTo>
                    <a:cubicBezTo>
                      <a:pt x="141" y="78"/>
                      <a:pt x="144" y="88"/>
                      <a:pt x="146" y="90"/>
                    </a:cubicBezTo>
                    <a:cubicBezTo>
                      <a:pt x="148" y="92"/>
                      <a:pt x="148" y="97"/>
                      <a:pt x="148" y="97"/>
                    </a:cubicBezTo>
                    <a:cubicBezTo>
                      <a:pt x="148" y="97"/>
                      <a:pt x="151" y="97"/>
                      <a:pt x="151" y="100"/>
                    </a:cubicBezTo>
                    <a:cubicBezTo>
                      <a:pt x="151" y="102"/>
                      <a:pt x="146" y="106"/>
                      <a:pt x="146" y="106"/>
                    </a:cubicBezTo>
                    <a:cubicBezTo>
                      <a:pt x="146" y="106"/>
                      <a:pt x="149" y="111"/>
                      <a:pt x="149" y="114"/>
                    </a:cubicBezTo>
                    <a:cubicBezTo>
                      <a:pt x="149" y="116"/>
                      <a:pt x="144" y="122"/>
                      <a:pt x="146" y="126"/>
                    </a:cubicBezTo>
                    <a:cubicBezTo>
                      <a:pt x="148" y="131"/>
                      <a:pt x="153" y="136"/>
                      <a:pt x="153" y="136"/>
                    </a:cubicBezTo>
                    <a:cubicBezTo>
                      <a:pt x="153" y="136"/>
                      <a:pt x="151" y="138"/>
                      <a:pt x="150" y="138"/>
                    </a:cubicBezTo>
                    <a:cubicBezTo>
                      <a:pt x="148" y="138"/>
                      <a:pt x="146" y="136"/>
                      <a:pt x="142" y="136"/>
                    </a:cubicBezTo>
                    <a:cubicBezTo>
                      <a:pt x="137" y="137"/>
                      <a:pt x="132" y="139"/>
                      <a:pt x="134" y="135"/>
                    </a:cubicBezTo>
                    <a:cubicBezTo>
                      <a:pt x="135" y="132"/>
                      <a:pt x="134" y="130"/>
                      <a:pt x="130" y="130"/>
                    </a:cubicBezTo>
                    <a:cubicBezTo>
                      <a:pt x="127" y="130"/>
                      <a:pt x="127" y="133"/>
                      <a:pt x="127" y="133"/>
                    </a:cubicBezTo>
                    <a:cubicBezTo>
                      <a:pt x="128" y="139"/>
                      <a:pt x="128" y="139"/>
                      <a:pt x="128" y="139"/>
                    </a:cubicBezTo>
                    <a:cubicBezTo>
                      <a:pt x="126" y="139"/>
                      <a:pt x="126" y="139"/>
                      <a:pt x="126" y="139"/>
                    </a:cubicBezTo>
                    <a:cubicBezTo>
                      <a:pt x="123" y="133"/>
                      <a:pt x="123" y="133"/>
                      <a:pt x="123" y="133"/>
                    </a:cubicBezTo>
                    <a:cubicBezTo>
                      <a:pt x="123" y="133"/>
                      <a:pt x="118" y="138"/>
                      <a:pt x="116" y="135"/>
                    </a:cubicBezTo>
                    <a:cubicBezTo>
                      <a:pt x="115" y="132"/>
                      <a:pt x="115" y="127"/>
                      <a:pt x="112" y="127"/>
                    </a:cubicBezTo>
                    <a:cubicBezTo>
                      <a:pt x="109" y="128"/>
                      <a:pt x="96" y="136"/>
                      <a:pt x="96" y="136"/>
                    </a:cubicBezTo>
                    <a:cubicBezTo>
                      <a:pt x="96" y="136"/>
                      <a:pt x="90" y="122"/>
                      <a:pt x="88" y="120"/>
                    </a:cubicBezTo>
                    <a:cubicBezTo>
                      <a:pt x="86" y="117"/>
                      <a:pt x="81" y="109"/>
                      <a:pt x="81" y="109"/>
                    </a:cubicBezTo>
                    <a:cubicBezTo>
                      <a:pt x="63" y="108"/>
                      <a:pt x="63" y="108"/>
                      <a:pt x="63" y="108"/>
                    </a:cubicBezTo>
                    <a:cubicBezTo>
                      <a:pt x="60" y="117"/>
                      <a:pt x="60" y="117"/>
                      <a:pt x="60" y="117"/>
                    </a:cubicBezTo>
                    <a:cubicBezTo>
                      <a:pt x="50" y="114"/>
                      <a:pt x="50" y="114"/>
                      <a:pt x="50" y="114"/>
                    </a:cubicBezTo>
                    <a:cubicBezTo>
                      <a:pt x="50" y="114"/>
                      <a:pt x="50" y="117"/>
                      <a:pt x="49" y="117"/>
                    </a:cubicBezTo>
                    <a:cubicBezTo>
                      <a:pt x="47" y="117"/>
                      <a:pt x="40" y="116"/>
                      <a:pt x="40" y="116"/>
                    </a:cubicBezTo>
                    <a:cubicBezTo>
                      <a:pt x="40" y="111"/>
                      <a:pt x="40" y="111"/>
                      <a:pt x="40" y="111"/>
                    </a:cubicBezTo>
                    <a:cubicBezTo>
                      <a:pt x="40" y="111"/>
                      <a:pt x="32" y="110"/>
                      <a:pt x="21" y="114"/>
                    </a:cubicBezTo>
                    <a:cubicBezTo>
                      <a:pt x="10" y="116"/>
                      <a:pt x="5" y="120"/>
                      <a:pt x="5" y="120"/>
                    </a:cubicBezTo>
                    <a:cubicBezTo>
                      <a:pt x="5" y="120"/>
                      <a:pt x="3" y="128"/>
                      <a:pt x="4" y="130"/>
                    </a:cubicBezTo>
                    <a:cubicBezTo>
                      <a:pt x="5" y="132"/>
                      <a:pt x="17" y="130"/>
                      <a:pt x="17" y="130"/>
                    </a:cubicBezTo>
                    <a:cubicBezTo>
                      <a:pt x="19" y="134"/>
                      <a:pt x="19" y="134"/>
                      <a:pt x="19" y="134"/>
                    </a:cubicBezTo>
                    <a:cubicBezTo>
                      <a:pt x="27" y="137"/>
                      <a:pt x="27" y="137"/>
                      <a:pt x="27" y="137"/>
                    </a:cubicBezTo>
                    <a:cubicBezTo>
                      <a:pt x="25" y="140"/>
                      <a:pt x="25" y="140"/>
                      <a:pt x="25" y="140"/>
                    </a:cubicBezTo>
                    <a:cubicBezTo>
                      <a:pt x="11" y="135"/>
                      <a:pt x="11" y="135"/>
                      <a:pt x="11" y="135"/>
                    </a:cubicBezTo>
                    <a:cubicBezTo>
                      <a:pt x="8" y="138"/>
                      <a:pt x="8" y="138"/>
                      <a:pt x="8" y="138"/>
                    </a:cubicBezTo>
                    <a:cubicBezTo>
                      <a:pt x="11" y="139"/>
                      <a:pt x="11" y="139"/>
                      <a:pt x="11" y="139"/>
                    </a:cubicBezTo>
                    <a:cubicBezTo>
                      <a:pt x="10" y="142"/>
                      <a:pt x="10" y="142"/>
                      <a:pt x="10" y="142"/>
                    </a:cubicBezTo>
                    <a:cubicBezTo>
                      <a:pt x="10" y="142"/>
                      <a:pt x="16" y="140"/>
                      <a:pt x="19" y="142"/>
                    </a:cubicBezTo>
                    <a:cubicBezTo>
                      <a:pt x="21" y="146"/>
                      <a:pt x="24" y="149"/>
                      <a:pt x="20" y="149"/>
                    </a:cubicBezTo>
                    <a:cubicBezTo>
                      <a:pt x="0" y="149"/>
                      <a:pt x="0" y="149"/>
                      <a:pt x="0" y="149"/>
                    </a:cubicBezTo>
                    <a:cubicBezTo>
                      <a:pt x="1" y="153"/>
                      <a:pt x="1" y="153"/>
                      <a:pt x="1" y="153"/>
                    </a:cubicBezTo>
                    <a:cubicBezTo>
                      <a:pt x="1" y="153"/>
                      <a:pt x="12" y="152"/>
                      <a:pt x="13" y="157"/>
                    </a:cubicBezTo>
                    <a:cubicBezTo>
                      <a:pt x="15" y="164"/>
                      <a:pt x="15" y="168"/>
                      <a:pt x="15" y="168"/>
                    </a:cubicBezTo>
                    <a:cubicBezTo>
                      <a:pt x="20" y="170"/>
                      <a:pt x="20" y="170"/>
                      <a:pt x="20" y="170"/>
                    </a:cubicBezTo>
                    <a:cubicBezTo>
                      <a:pt x="20" y="170"/>
                      <a:pt x="25" y="157"/>
                      <a:pt x="27" y="160"/>
                    </a:cubicBezTo>
                    <a:cubicBezTo>
                      <a:pt x="28" y="165"/>
                      <a:pt x="27" y="167"/>
                      <a:pt x="27" y="167"/>
                    </a:cubicBezTo>
                    <a:cubicBezTo>
                      <a:pt x="35" y="169"/>
                      <a:pt x="35" y="169"/>
                      <a:pt x="35" y="169"/>
                    </a:cubicBezTo>
                    <a:cubicBezTo>
                      <a:pt x="35" y="174"/>
                      <a:pt x="35" y="174"/>
                      <a:pt x="35" y="174"/>
                    </a:cubicBezTo>
                    <a:cubicBezTo>
                      <a:pt x="54" y="184"/>
                      <a:pt x="54" y="184"/>
                      <a:pt x="54" y="184"/>
                    </a:cubicBezTo>
                    <a:cubicBezTo>
                      <a:pt x="60" y="181"/>
                      <a:pt x="60" y="181"/>
                      <a:pt x="60" y="181"/>
                    </a:cubicBezTo>
                    <a:cubicBezTo>
                      <a:pt x="57" y="184"/>
                      <a:pt x="57" y="184"/>
                      <a:pt x="57" y="184"/>
                    </a:cubicBezTo>
                    <a:cubicBezTo>
                      <a:pt x="60" y="187"/>
                      <a:pt x="60" y="187"/>
                      <a:pt x="60" y="187"/>
                    </a:cubicBezTo>
                    <a:cubicBezTo>
                      <a:pt x="60" y="187"/>
                      <a:pt x="66" y="180"/>
                      <a:pt x="66" y="181"/>
                    </a:cubicBezTo>
                    <a:cubicBezTo>
                      <a:pt x="65" y="182"/>
                      <a:pt x="68" y="183"/>
                      <a:pt x="67" y="183"/>
                    </a:cubicBezTo>
                    <a:cubicBezTo>
                      <a:pt x="66" y="184"/>
                      <a:pt x="62" y="188"/>
                      <a:pt x="62" y="188"/>
                    </a:cubicBezTo>
                    <a:cubicBezTo>
                      <a:pt x="62" y="188"/>
                      <a:pt x="62" y="193"/>
                      <a:pt x="64" y="193"/>
                    </a:cubicBezTo>
                    <a:cubicBezTo>
                      <a:pt x="67" y="193"/>
                      <a:pt x="71" y="194"/>
                      <a:pt x="71" y="194"/>
                    </a:cubicBezTo>
                    <a:cubicBezTo>
                      <a:pt x="72" y="189"/>
                      <a:pt x="72" y="189"/>
                      <a:pt x="72" y="189"/>
                    </a:cubicBezTo>
                    <a:cubicBezTo>
                      <a:pt x="73" y="194"/>
                      <a:pt x="73" y="194"/>
                      <a:pt x="73" y="194"/>
                    </a:cubicBezTo>
                    <a:cubicBezTo>
                      <a:pt x="73" y="194"/>
                      <a:pt x="78" y="189"/>
                      <a:pt x="81" y="193"/>
                    </a:cubicBezTo>
                    <a:cubicBezTo>
                      <a:pt x="83" y="195"/>
                      <a:pt x="74" y="197"/>
                      <a:pt x="74" y="197"/>
                    </a:cubicBezTo>
                    <a:cubicBezTo>
                      <a:pt x="74" y="200"/>
                      <a:pt x="74" y="200"/>
                      <a:pt x="74" y="200"/>
                    </a:cubicBezTo>
                    <a:cubicBezTo>
                      <a:pt x="92" y="201"/>
                      <a:pt x="92" y="201"/>
                      <a:pt x="92" y="201"/>
                    </a:cubicBezTo>
                    <a:cubicBezTo>
                      <a:pt x="92" y="201"/>
                      <a:pt x="83" y="213"/>
                      <a:pt x="86" y="216"/>
                    </a:cubicBezTo>
                    <a:cubicBezTo>
                      <a:pt x="88" y="219"/>
                      <a:pt x="97" y="220"/>
                      <a:pt x="97" y="220"/>
                    </a:cubicBezTo>
                    <a:cubicBezTo>
                      <a:pt x="97" y="220"/>
                      <a:pt x="104" y="216"/>
                      <a:pt x="110" y="218"/>
                    </a:cubicBezTo>
                    <a:cubicBezTo>
                      <a:pt x="114" y="219"/>
                      <a:pt x="118" y="225"/>
                      <a:pt x="118" y="225"/>
                    </a:cubicBezTo>
                    <a:cubicBezTo>
                      <a:pt x="118" y="225"/>
                      <a:pt x="111" y="220"/>
                      <a:pt x="106" y="220"/>
                    </a:cubicBezTo>
                    <a:cubicBezTo>
                      <a:pt x="103" y="221"/>
                      <a:pt x="100" y="222"/>
                      <a:pt x="100" y="222"/>
                    </a:cubicBezTo>
                    <a:cubicBezTo>
                      <a:pt x="102" y="225"/>
                      <a:pt x="102" y="225"/>
                      <a:pt x="102" y="225"/>
                    </a:cubicBezTo>
                    <a:cubicBezTo>
                      <a:pt x="97" y="226"/>
                      <a:pt x="97" y="226"/>
                      <a:pt x="97" y="226"/>
                    </a:cubicBezTo>
                    <a:cubicBezTo>
                      <a:pt x="98" y="230"/>
                      <a:pt x="98" y="230"/>
                      <a:pt x="98" y="230"/>
                    </a:cubicBezTo>
                    <a:cubicBezTo>
                      <a:pt x="98" y="230"/>
                      <a:pt x="110" y="234"/>
                      <a:pt x="106" y="237"/>
                    </a:cubicBezTo>
                    <a:cubicBezTo>
                      <a:pt x="102" y="241"/>
                      <a:pt x="97" y="246"/>
                      <a:pt x="97" y="246"/>
                    </a:cubicBezTo>
                    <a:cubicBezTo>
                      <a:pt x="97" y="251"/>
                      <a:pt x="97" y="251"/>
                      <a:pt x="97" y="251"/>
                    </a:cubicBezTo>
                    <a:cubicBezTo>
                      <a:pt x="97" y="251"/>
                      <a:pt x="108" y="261"/>
                      <a:pt x="108" y="266"/>
                    </a:cubicBezTo>
                    <a:cubicBezTo>
                      <a:pt x="109" y="270"/>
                      <a:pt x="109" y="273"/>
                      <a:pt x="109" y="273"/>
                    </a:cubicBezTo>
                    <a:cubicBezTo>
                      <a:pt x="122" y="284"/>
                      <a:pt x="122" y="284"/>
                      <a:pt x="122" y="284"/>
                    </a:cubicBezTo>
                    <a:cubicBezTo>
                      <a:pt x="134" y="291"/>
                      <a:pt x="134" y="291"/>
                      <a:pt x="134" y="291"/>
                    </a:cubicBezTo>
                    <a:cubicBezTo>
                      <a:pt x="138" y="288"/>
                      <a:pt x="138" y="288"/>
                      <a:pt x="138" y="288"/>
                    </a:cubicBezTo>
                    <a:cubicBezTo>
                      <a:pt x="138" y="288"/>
                      <a:pt x="142" y="290"/>
                      <a:pt x="141" y="290"/>
                    </a:cubicBezTo>
                    <a:cubicBezTo>
                      <a:pt x="139" y="290"/>
                      <a:pt x="135" y="292"/>
                      <a:pt x="134" y="295"/>
                    </a:cubicBezTo>
                    <a:cubicBezTo>
                      <a:pt x="133" y="297"/>
                      <a:pt x="138" y="306"/>
                      <a:pt x="138" y="306"/>
                    </a:cubicBezTo>
                    <a:cubicBezTo>
                      <a:pt x="138" y="306"/>
                      <a:pt x="141" y="314"/>
                      <a:pt x="135" y="317"/>
                    </a:cubicBezTo>
                    <a:cubicBezTo>
                      <a:pt x="131" y="320"/>
                      <a:pt x="126" y="323"/>
                      <a:pt x="126" y="323"/>
                    </a:cubicBezTo>
                    <a:cubicBezTo>
                      <a:pt x="126" y="328"/>
                      <a:pt x="126" y="328"/>
                      <a:pt x="126" y="328"/>
                    </a:cubicBezTo>
                    <a:cubicBezTo>
                      <a:pt x="126" y="328"/>
                      <a:pt x="135" y="331"/>
                      <a:pt x="139" y="339"/>
                    </a:cubicBezTo>
                    <a:cubicBezTo>
                      <a:pt x="144" y="346"/>
                      <a:pt x="148" y="356"/>
                      <a:pt x="148" y="356"/>
                    </a:cubicBezTo>
                    <a:cubicBezTo>
                      <a:pt x="151" y="375"/>
                      <a:pt x="151" y="375"/>
                      <a:pt x="151" y="375"/>
                    </a:cubicBezTo>
                    <a:cubicBezTo>
                      <a:pt x="150" y="376"/>
                      <a:pt x="150" y="376"/>
                      <a:pt x="150" y="376"/>
                    </a:cubicBezTo>
                    <a:cubicBezTo>
                      <a:pt x="147" y="372"/>
                      <a:pt x="147" y="372"/>
                      <a:pt x="147" y="372"/>
                    </a:cubicBezTo>
                    <a:cubicBezTo>
                      <a:pt x="145" y="357"/>
                      <a:pt x="145" y="357"/>
                      <a:pt x="145" y="357"/>
                    </a:cubicBezTo>
                    <a:cubicBezTo>
                      <a:pt x="135" y="344"/>
                      <a:pt x="135" y="344"/>
                      <a:pt x="135" y="344"/>
                    </a:cubicBezTo>
                    <a:cubicBezTo>
                      <a:pt x="134" y="338"/>
                      <a:pt x="134" y="338"/>
                      <a:pt x="134" y="338"/>
                    </a:cubicBezTo>
                    <a:cubicBezTo>
                      <a:pt x="129" y="338"/>
                      <a:pt x="129" y="338"/>
                      <a:pt x="129" y="338"/>
                    </a:cubicBezTo>
                    <a:cubicBezTo>
                      <a:pt x="129" y="338"/>
                      <a:pt x="127" y="349"/>
                      <a:pt x="127" y="352"/>
                    </a:cubicBezTo>
                    <a:cubicBezTo>
                      <a:pt x="127" y="354"/>
                      <a:pt x="116" y="395"/>
                      <a:pt x="116" y="395"/>
                    </a:cubicBezTo>
                    <a:cubicBezTo>
                      <a:pt x="116" y="395"/>
                      <a:pt x="121" y="387"/>
                      <a:pt x="123" y="388"/>
                    </a:cubicBezTo>
                    <a:cubicBezTo>
                      <a:pt x="126" y="389"/>
                      <a:pt x="128" y="394"/>
                      <a:pt x="128" y="394"/>
                    </a:cubicBezTo>
                    <a:cubicBezTo>
                      <a:pt x="122" y="394"/>
                      <a:pt x="122" y="394"/>
                      <a:pt x="122" y="394"/>
                    </a:cubicBezTo>
                    <a:cubicBezTo>
                      <a:pt x="122" y="394"/>
                      <a:pt x="115" y="400"/>
                      <a:pt x="113" y="406"/>
                    </a:cubicBezTo>
                    <a:cubicBezTo>
                      <a:pt x="112" y="411"/>
                      <a:pt x="105" y="437"/>
                      <a:pt x="103" y="438"/>
                    </a:cubicBezTo>
                    <a:cubicBezTo>
                      <a:pt x="102" y="439"/>
                      <a:pt x="96" y="461"/>
                      <a:pt x="96" y="461"/>
                    </a:cubicBezTo>
                    <a:cubicBezTo>
                      <a:pt x="85" y="472"/>
                      <a:pt x="85" y="472"/>
                      <a:pt x="85" y="472"/>
                    </a:cubicBezTo>
                    <a:cubicBezTo>
                      <a:pt x="85" y="472"/>
                      <a:pt x="78" y="473"/>
                      <a:pt x="77" y="474"/>
                    </a:cubicBezTo>
                    <a:cubicBezTo>
                      <a:pt x="76" y="474"/>
                      <a:pt x="79" y="479"/>
                      <a:pt x="79" y="479"/>
                    </a:cubicBezTo>
                    <a:cubicBezTo>
                      <a:pt x="83" y="479"/>
                      <a:pt x="83" y="479"/>
                      <a:pt x="83" y="479"/>
                    </a:cubicBezTo>
                    <a:cubicBezTo>
                      <a:pt x="83" y="479"/>
                      <a:pt x="82" y="482"/>
                      <a:pt x="84" y="483"/>
                    </a:cubicBezTo>
                    <a:cubicBezTo>
                      <a:pt x="86" y="484"/>
                      <a:pt x="89" y="482"/>
                      <a:pt x="89" y="482"/>
                    </a:cubicBezTo>
                    <a:cubicBezTo>
                      <a:pt x="95" y="484"/>
                      <a:pt x="95" y="484"/>
                      <a:pt x="95" y="484"/>
                    </a:cubicBezTo>
                    <a:cubicBezTo>
                      <a:pt x="95" y="484"/>
                      <a:pt x="96" y="493"/>
                      <a:pt x="93" y="493"/>
                    </a:cubicBezTo>
                    <a:cubicBezTo>
                      <a:pt x="89" y="494"/>
                      <a:pt x="86" y="495"/>
                      <a:pt x="88" y="497"/>
                    </a:cubicBezTo>
                    <a:cubicBezTo>
                      <a:pt x="90" y="500"/>
                      <a:pt x="94" y="501"/>
                      <a:pt x="94" y="501"/>
                    </a:cubicBezTo>
                    <a:cubicBezTo>
                      <a:pt x="99" y="495"/>
                      <a:pt x="99" y="495"/>
                      <a:pt x="99" y="495"/>
                    </a:cubicBezTo>
                    <a:cubicBezTo>
                      <a:pt x="99" y="499"/>
                      <a:pt x="99" y="499"/>
                      <a:pt x="99" y="499"/>
                    </a:cubicBezTo>
                    <a:cubicBezTo>
                      <a:pt x="116" y="510"/>
                      <a:pt x="116" y="510"/>
                      <a:pt x="116" y="510"/>
                    </a:cubicBezTo>
                    <a:cubicBezTo>
                      <a:pt x="125" y="508"/>
                      <a:pt x="125" y="508"/>
                      <a:pt x="125" y="508"/>
                    </a:cubicBezTo>
                    <a:cubicBezTo>
                      <a:pt x="127" y="509"/>
                      <a:pt x="127" y="509"/>
                      <a:pt x="127" y="509"/>
                    </a:cubicBezTo>
                    <a:cubicBezTo>
                      <a:pt x="125" y="515"/>
                      <a:pt x="125" y="515"/>
                      <a:pt x="125" y="515"/>
                    </a:cubicBezTo>
                    <a:cubicBezTo>
                      <a:pt x="131" y="524"/>
                      <a:pt x="131" y="524"/>
                      <a:pt x="131" y="524"/>
                    </a:cubicBezTo>
                    <a:cubicBezTo>
                      <a:pt x="135" y="520"/>
                      <a:pt x="135" y="520"/>
                      <a:pt x="135" y="520"/>
                    </a:cubicBezTo>
                    <a:cubicBezTo>
                      <a:pt x="136" y="521"/>
                      <a:pt x="136" y="521"/>
                      <a:pt x="136" y="521"/>
                    </a:cubicBezTo>
                    <a:cubicBezTo>
                      <a:pt x="144" y="520"/>
                      <a:pt x="144" y="520"/>
                      <a:pt x="144" y="520"/>
                    </a:cubicBezTo>
                    <a:cubicBezTo>
                      <a:pt x="154" y="532"/>
                      <a:pt x="154" y="532"/>
                      <a:pt x="154" y="532"/>
                    </a:cubicBezTo>
                    <a:cubicBezTo>
                      <a:pt x="154" y="532"/>
                      <a:pt x="165" y="528"/>
                      <a:pt x="167" y="530"/>
                    </a:cubicBezTo>
                    <a:cubicBezTo>
                      <a:pt x="170" y="532"/>
                      <a:pt x="170" y="535"/>
                      <a:pt x="171" y="535"/>
                    </a:cubicBezTo>
                    <a:cubicBezTo>
                      <a:pt x="174" y="535"/>
                      <a:pt x="175" y="531"/>
                      <a:pt x="175" y="531"/>
                    </a:cubicBezTo>
                    <a:cubicBezTo>
                      <a:pt x="175" y="531"/>
                      <a:pt x="181" y="540"/>
                      <a:pt x="186" y="536"/>
                    </a:cubicBezTo>
                    <a:cubicBezTo>
                      <a:pt x="191" y="534"/>
                      <a:pt x="185" y="527"/>
                      <a:pt x="191" y="527"/>
                    </a:cubicBezTo>
                    <a:cubicBezTo>
                      <a:pt x="196" y="527"/>
                      <a:pt x="200" y="531"/>
                      <a:pt x="200" y="531"/>
                    </a:cubicBezTo>
                    <a:cubicBezTo>
                      <a:pt x="200" y="531"/>
                      <a:pt x="205" y="530"/>
                      <a:pt x="207" y="532"/>
                    </a:cubicBezTo>
                    <a:cubicBezTo>
                      <a:pt x="208" y="533"/>
                      <a:pt x="213" y="540"/>
                      <a:pt x="213" y="540"/>
                    </a:cubicBezTo>
                    <a:cubicBezTo>
                      <a:pt x="213" y="540"/>
                      <a:pt x="220" y="537"/>
                      <a:pt x="223" y="538"/>
                    </a:cubicBezTo>
                    <a:cubicBezTo>
                      <a:pt x="226" y="541"/>
                      <a:pt x="227" y="545"/>
                      <a:pt x="227" y="545"/>
                    </a:cubicBezTo>
                    <a:cubicBezTo>
                      <a:pt x="231" y="543"/>
                      <a:pt x="231" y="543"/>
                      <a:pt x="231" y="543"/>
                    </a:cubicBezTo>
                    <a:cubicBezTo>
                      <a:pt x="235" y="546"/>
                      <a:pt x="235" y="546"/>
                      <a:pt x="235" y="546"/>
                    </a:cubicBezTo>
                    <a:cubicBezTo>
                      <a:pt x="237" y="545"/>
                      <a:pt x="237" y="545"/>
                      <a:pt x="237" y="545"/>
                    </a:cubicBezTo>
                    <a:cubicBezTo>
                      <a:pt x="242" y="548"/>
                      <a:pt x="242" y="548"/>
                      <a:pt x="242" y="548"/>
                    </a:cubicBezTo>
                    <a:cubicBezTo>
                      <a:pt x="238" y="554"/>
                      <a:pt x="238" y="554"/>
                      <a:pt x="238" y="554"/>
                    </a:cubicBezTo>
                    <a:cubicBezTo>
                      <a:pt x="245" y="559"/>
                      <a:pt x="245" y="559"/>
                      <a:pt x="245" y="559"/>
                    </a:cubicBezTo>
                    <a:cubicBezTo>
                      <a:pt x="245" y="559"/>
                      <a:pt x="251" y="554"/>
                      <a:pt x="251" y="556"/>
                    </a:cubicBezTo>
                    <a:cubicBezTo>
                      <a:pt x="251" y="557"/>
                      <a:pt x="249" y="563"/>
                      <a:pt x="249" y="563"/>
                    </a:cubicBezTo>
                    <a:cubicBezTo>
                      <a:pt x="249" y="563"/>
                      <a:pt x="250" y="567"/>
                      <a:pt x="254" y="567"/>
                    </a:cubicBezTo>
                    <a:cubicBezTo>
                      <a:pt x="259" y="567"/>
                      <a:pt x="266" y="560"/>
                      <a:pt x="270" y="564"/>
                    </a:cubicBezTo>
                    <a:cubicBezTo>
                      <a:pt x="274" y="568"/>
                      <a:pt x="277" y="571"/>
                      <a:pt x="277" y="571"/>
                    </a:cubicBezTo>
                    <a:cubicBezTo>
                      <a:pt x="282" y="571"/>
                      <a:pt x="282" y="571"/>
                      <a:pt x="282" y="571"/>
                    </a:cubicBezTo>
                    <a:cubicBezTo>
                      <a:pt x="284" y="571"/>
                      <a:pt x="287" y="561"/>
                      <a:pt x="295" y="562"/>
                    </a:cubicBezTo>
                    <a:cubicBezTo>
                      <a:pt x="301" y="564"/>
                      <a:pt x="302" y="567"/>
                      <a:pt x="302" y="567"/>
                    </a:cubicBezTo>
                    <a:cubicBezTo>
                      <a:pt x="309" y="567"/>
                      <a:pt x="309" y="567"/>
                      <a:pt x="309" y="567"/>
                    </a:cubicBezTo>
                    <a:cubicBezTo>
                      <a:pt x="309" y="567"/>
                      <a:pt x="308" y="562"/>
                      <a:pt x="307" y="561"/>
                    </a:cubicBezTo>
                    <a:cubicBezTo>
                      <a:pt x="305" y="560"/>
                      <a:pt x="305" y="552"/>
                      <a:pt x="306" y="549"/>
                    </a:cubicBezTo>
                    <a:cubicBezTo>
                      <a:pt x="307" y="546"/>
                      <a:pt x="306" y="541"/>
                      <a:pt x="306" y="541"/>
                    </a:cubicBezTo>
                    <a:cubicBezTo>
                      <a:pt x="301" y="542"/>
                      <a:pt x="301" y="542"/>
                      <a:pt x="301" y="542"/>
                    </a:cubicBezTo>
                    <a:cubicBezTo>
                      <a:pt x="301" y="542"/>
                      <a:pt x="301" y="537"/>
                      <a:pt x="303" y="536"/>
                    </a:cubicBezTo>
                    <a:cubicBezTo>
                      <a:pt x="306" y="536"/>
                      <a:pt x="307" y="531"/>
                      <a:pt x="307" y="530"/>
                    </a:cubicBezTo>
                    <a:cubicBezTo>
                      <a:pt x="307" y="529"/>
                      <a:pt x="301" y="526"/>
                      <a:pt x="303" y="525"/>
                    </a:cubicBezTo>
                    <a:cubicBezTo>
                      <a:pt x="306" y="522"/>
                      <a:pt x="307" y="525"/>
                      <a:pt x="307" y="525"/>
                    </a:cubicBezTo>
                    <a:cubicBezTo>
                      <a:pt x="311" y="525"/>
                      <a:pt x="311" y="525"/>
                      <a:pt x="311" y="525"/>
                    </a:cubicBezTo>
                    <a:cubicBezTo>
                      <a:pt x="311" y="525"/>
                      <a:pt x="312" y="518"/>
                      <a:pt x="318" y="515"/>
                    </a:cubicBezTo>
                    <a:cubicBezTo>
                      <a:pt x="325" y="512"/>
                      <a:pt x="326" y="516"/>
                      <a:pt x="330" y="514"/>
                    </a:cubicBezTo>
                    <a:cubicBezTo>
                      <a:pt x="334" y="512"/>
                      <a:pt x="332" y="506"/>
                      <a:pt x="332" y="506"/>
                    </a:cubicBezTo>
                    <a:cubicBezTo>
                      <a:pt x="332" y="506"/>
                      <a:pt x="339" y="499"/>
                      <a:pt x="339" y="502"/>
                    </a:cubicBezTo>
                    <a:cubicBezTo>
                      <a:pt x="340" y="504"/>
                      <a:pt x="335" y="508"/>
                      <a:pt x="335" y="508"/>
                    </a:cubicBezTo>
                    <a:cubicBezTo>
                      <a:pt x="340" y="509"/>
                      <a:pt x="340" y="509"/>
                      <a:pt x="340" y="509"/>
                    </a:cubicBezTo>
                    <a:cubicBezTo>
                      <a:pt x="343" y="505"/>
                      <a:pt x="343" y="505"/>
                      <a:pt x="343" y="505"/>
                    </a:cubicBezTo>
                    <a:cubicBezTo>
                      <a:pt x="343" y="502"/>
                      <a:pt x="343" y="502"/>
                      <a:pt x="343" y="502"/>
                    </a:cubicBezTo>
                    <a:cubicBezTo>
                      <a:pt x="343" y="502"/>
                      <a:pt x="349" y="498"/>
                      <a:pt x="355" y="498"/>
                    </a:cubicBezTo>
                    <a:cubicBezTo>
                      <a:pt x="360" y="498"/>
                      <a:pt x="363" y="503"/>
                      <a:pt x="363" y="503"/>
                    </a:cubicBezTo>
                    <a:cubicBezTo>
                      <a:pt x="363" y="503"/>
                      <a:pt x="382" y="508"/>
                      <a:pt x="382" y="509"/>
                    </a:cubicBezTo>
                    <a:cubicBezTo>
                      <a:pt x="382" y="510"/>
                      <a:pt x="383" y="515"/>
                      <a:pt x="383" y="515"/>
                    </a:cubicBezTo>
                    <a:cubicBezTo>
                      <a:pt x="396" y="516"/>
                      <a:pt x="396" y="516"/>
                      <a:pt x="396" y="516"/>
                    </a:cubicBezTo>
                    <a:cubicBezTo>
                      <a:pt x="396" y="516"/>
                      <a:pt x="396" y="506"/>
                      <a:pt x="397" y="508"/>
                    </a:cubicBezTo>
                    <a:cubicBezTo>
                      <a:pt x="398" y="509"/>
                      <a:pt x="406" y="517"/>
                      <a:pt x="406" y="517"/>
                    </a:cubicBezTo>
                    <a:cubicBezTo>
                      <a:pt x="418" y="516"/>
                      <a:pt x="418" y="516"/>
                      <a:pt x="418" y="516"/>
                    </a:cubicBezTo>
                    <a:cubicBezTo>
                      <a:pt x="418" y="516"/>
                      <a:pt x="422" y="518"/>
                      <a:pt x="422" y="519"/>
                    </a:cubicBezTo>
                    <a:cubicBezTo>
                      <a:pt x="422" y="520"/>
                      <a:pt x="418" y="526"/>
                      <a:pt x="421" y="527"/>
                    </a:cubicBezTo>
                    <a:cubicBezTo>
                      <a:pt x="423" y="528"/>
                      <a:pt x="430" y="528"/>
                      <a:pt x="432" y="529"/>
                    </a:cubicBezTo>
                    <a:cubicBezTo>
                      <a:pt x="433" y="530"/>
                      <a:pt x="438" y="538"/>
                      <a:pt x="441" y="538"/>
                    </a:cubicBezTo>
                    <a:cubicBezTo>
                      <a:pt x="445" y="537"/>
                      <a:pt x="448" y="534"/>
                      <a:pt x="448" y="534"/>
                    </a:cubicBezTo>
                    <a:cubicBezTo>
                      <a:pt x="454" y="536"/>
                      <a:pt x="454" y="536"/>
                      <a:pt x="454" y="536"/>
                    </a:cubicBezTo>
                    <a:cubicBezTo>
                      <a:pt x="456" y="542"/>
                      <a:pt x="456" y="542"/>
                      <a:pt x="456" y="542"/>
                    </a:cubicBezTo>
                    <a:cubicBezTo>
                      <a:pt x="459" y="540"/>
                      <a:pt x="459" y="540"/>
                      <a:pt x="459" y="540"/>
                    </a:cubicBezTo>
                    <a:cubicBezTo>
                      <a:pt x="461" y="534"/>
                      <a:pt x="461" y="534"/>
                      <a:pt x="461" y="534"/>
                    </a:cubicBezTo>
                    <a:cubicBezTo>
                      <a:pt x="467" y="536"/>
                      <a:pt x="467" y="536"/>
                      <a:pt x="467" y="536"/>
                    </a:cubicBezTo>
                    <a:cubicBezTo>
                      <a:pt x="469" y="533"/>
                      <a:pt x="469" y="533"/>
                      <a:pt x="469" y="533"/>
                    </a:cubicBezTo>
                    <a:cubicBezTo>
                      <a:pt x="477" y="532"/>
                      <a:pt x="477" y="532"/>
                      <a:pt x="477" y="532"/>
                    </a:cubicBezTo>
                    <a:cubicBezTo>
                      <a:pt x="482" y="533"/>
                      <a:pt x="482" y="533"/>
                      <a:pt x="482" y="533"/>
                    </a:cubicBezTo>
                    <a:cubicBezTo>
                      <a:pt x="482" y="529"/>
                      <a:pt x="482" y="529"/>
                      <a:pt x="482" y="529"/>
                    </a:cubicBezTo>
                    <a:cubicBezTo>
                      <a:pt x="482" y="529"/>
                      <a:pt x="479" y="520"/>
                      <a:pt x="483" y="519"/>
                    </a:cubicBezTo>
                    <a:cubicBezTo>
                      <a:pt x="488" y="517"/>
                      <a:pt x="491" y="519"/>
                      <a:pt x="493" y="518"/>
                    </a:cubicBezTo>
                    <a:cubicBezTo>
                      <a:pt x="495" y="517"/>
                      <a:pt x="493" y="508"/>
                      <a:pt x="497" y="509"/>
                    </a:cubicBezTo>
                    <a:cubicBezTo>
                      <a:pt x="500" y="509"/>
                      <a:pt x="505" y="513"/>
                      <a:pt x="507" y="509"/>
                    </a:cubicBezTo>
                    <a:cubicBezTo>
                      <a:pt x="509" y="504"/>
                      <a:pt x="503" y="501"/>
                      <a:pt x="512" y="501"/>
                    </a:cubicBezTo>
                    <a:cubicBezTo>
                      <a:pt x="521" y="501"/>
                      <a:pt x="520" y="499"/>
                      <a:pt x="520" y="499"/>
                    </a:cubicBezTo>
                    <a:cubicBezTo>
                      <a:pt x="520" y="499"/>
                      <a:pt x="516" y="495"/>
                      <a:pt x="520" y="495"/>
                    </a:cubicBezTo>
                    <a:cubicBezTo>
                      <a:pt x="522" y="494"/>
                      <a:pt x="525" y="497"/>
                      <a:pt x="525" y="497"/>
                    </a:cubicBezTo>
                    <a:cubicBezTo>
                      <a:pt x="528" y="496"/>
                      <a:pt x="528" y="496"/>
                      <a:pt x="528" y="496"/>
                    </a:cubicBezTo>
                    <a:cubicBezTo>
                      <a:pt x="524" y="487"/>
                      <a:pt x="524" y="487"/>
                      <a:pt x="524" y="487"/>
                    </a:cubicBezTo>
                    <a:cubicBezTo>
                      <a:pt x="524" y="487"/>
                      <a:pt x="531" y="486"/>
                      <a:pt x="535" y="478"/>
                    </a:cubicBezTo>
                    <a:cubicBezTo>
                      <a:pt x="537" y="470"/>
                      <a:pt x="535" y="468"/>
                      <a:pt x="534" y="468"/>
                    </a:cubicBezTo>
                    <a:cubicBezTo>
                      <a:pt x="531" y="468"/>
                      <a:pt x="523" y="472"/>
                      <a:pt x="518" y="470"/>
                    </a:cubicBezTo>
                    <a:cubicBezTo>
                      <a:pt x="511" y="468"/>
                      <a:pt x="506" y="465"/>
                      <a:pt x="502" y="456"/>
                    </a:cubicBezTo>
                    <a:cubicBezTo>
                      <a:pt x="496" y="448"/>
                      <a:pt x="499" y="439"/>
                      <a:pt x="502" y="437"/>
                    </a:cubicBezTo>
                    <a:cubicBezTo>
                      <a:pt x="505" y="436"/>
                      <a:pt x="506" y="433"/>
                      <a:pt x="506" y="433"/>
                    </a:cubicBezTo>
                    <a:cubicBezTo>
                      <a:pt x="505" y="421"/>
                      <a:pt x="505" y="421"/>
                      <a:pt x="505" y="421"/>
                    </a:cubicBezTo>
                    <a:cubicBezTo>
                      <a:pt x="505" y="421"/>
                      <a:pt x="498" y="425"/>
                      <a:pt x="496" y="419"/>
                    </a:cubicBezTo>
                    <a:cubicBezTo>
                      <a:pt x="493" y="411"/>
                      <a:pt x="493" y="410"/>
                      <a:pt x="493" y="410"/>
                    </a:cubicBezTo>
                    <a:cubicBezTo>
                      <a:pt x="493" y="410"/>
                      <a:pt x="488" y="416"/>
                      <a:pt x="489" y="409"/>
                    </a:cubicBezTo>
                    <a:cubicBezTo>
                      <a:pt x="489" y="404"/>
                      <a:pt x="494" y="403"/>
                      <a:pt x="494" y="403"/>
                    </a:cubicBezTo>
                    <a:cubicBezTo>
                      <a:pt x="498" y="404"/>
                      <a:pt x="498" y="404"/>
                      <a:pt x="498" y="404"/>
                    </a:cubicBezTo>
                    <a:cubicBezTo>
                      <a:pt x="498" y="404"/>
                      <a:pt x="511" y="401"/>
                      <a:pt x="512" y="394"/>
                    </a:cubicBezTo>
                    <a:cubicBezTo>
                      <a:pt x="514" y="387"/>
                      <a:pt x="514" y="386"/>
                      <a:pt x="512" y="384"/>
                    </a:cubicBezTo>
                    <a:cubicBezTo>
                      <a:pt x="509" y="382"/>
                      <a:pt x="507" y="384"/>
                      <a:pt x="507" y="382"/>
                    </a:cubicBezTo>
                    <a:cubicBezTo>
                      <a:pt x="507" y="370"/>
                      <a:pt x="507" y="370"/>
                      <a:pt x="507" y="370"/>
                    </a:cubicBezTo>
                    <a:cubicBezTo>
                      <a:pt x="507" y="370"/>
                      <a:pt x="496" y="369"/>
                      <a:pt x="499" y="362"/>
                    </a:cubicBezTo>
                    <a:cubicBezTo>
                      <a:pt x="503" y="356"/>
                      <a:pt x="511" y="359"/>
                      <a:pt x="511" y="353"/>
                    </a:cubicBezTo>
                    <a:cubicBezTo>
                      <a:pt x="511" y="345"/>
                      <a:pt x="505" y="343"/>
                      <a:pt x="505" y="343"/>
                    </a:cubicBezTo>
                    <a:cubicBezTo>
                      <a:pt x="504" y="340"/>
                      <a:pt x="504" y="340"/>
                      <a:pt x="504" y="340"/>
                    </a:cubicBezTo>
                    <a:cubicBezTo>
                      <a:pt x="500" y="340"/>
                      <a:pt x="500" y="340"/>
                      <a:pt x="500" y="340"/>
                    </a:cubicBezTo>
                    <a:cubicBezTo>
                      <a:pt x="500" y="340"/>
                      <a:pt x="503" y="336"/>
                      <a:pt x="504" y="331"/>
                    </a:cubicBezTo>
                    <a:cubicBezTo>
                      <a:pt x="505" y="327"/>
                      <a:pt x="502" y="325"/>
                      <a:pt x="502" y="325"/>
                    </a:cubicBezTo>
                    <a:cubicBezTo>
                      <a:pt x="503" y="320"/>
                      <a:pt x="503" y="320"/>
                      <a:pt x="503" y="320"/>
                    </a:cubicBezTo>
                    <a:cubicBezTo>
                      <a:pt x="503" y="320"/>
                      <a:pt x="497" y="315"/>
                      <a:pt x="489" y="316"/>
                    </a:cubicBezTo>
                    <a:cubicBezTo>
                      <a:pt x="480" y="317"/>
                      <a:pt x="475" y="323"/>
                      <a:pt x="475" y="326"/>
                    </a:cubicBezTo>
                    <a:cubicBezTo>
                      <a:pt x="475" y="328"/>
                      <a:pt x="477" y="329"/>
                      <a:pt x="477" y="329"/>
                    </a:cubicBezTo>
                    <a:cubicBezTo>
                      <a:pt x="471" y="336"/>
                      <a:pt x="471" y="336"/>
                      <a:pt x="471" y="336"/>
                    </a:cubicBezTo>
                    <a:cubicBezTo>
                      <a:pt x="464" y="336"/>
                      <a:pt x="464" y="336"/>
                      <a:pt x="464" y="336"/>
                    </a:cubicBezTo>
                    <a:cubicBezTo>
                      <a:pt x="463" y="330"/>
                      <a:pt x="463" y="330"/>
                      <a:pt x="463" y="330"/>
                    </a:cubicBezTo>
                    <a:cubicBezTo>
                      <a:pt x="467" y="330"/>
                      <a:pt x="467" y="330"/>
                      <a:pt x="467" y="330"/>
                    </a:cubicBezTo>
                    <a:cubicBezTo>
                      <a:pt x="472" y="323"/>
                      <a:pt x="472" y="323"/>
                      <a:pt x="472" y="323"/>
                    </a:cubicBezTo>
                    <a:cubicBezTo>
                      <a:pt x="472" y="323"/>
                      <a:pt x="465" y="320"/>
                      <a:pt x="470" y="312"/>
                    </a:cubicBezTo>
                    <a:cubicBezTo>
                      <a:pt x="474" y="306"/>
                      <a:pt x="485" y="303"/>
                      <a:pt x="487" y="297"/>
                    </a:cubicBezTo>
                    <a:cubicBezTo>
                      <a:pt x="489" y="291"/>
                      <a:pt x="486" y="285"/>
                      <a:pt x="488" y="284"/>
                    </a:cubicBezTo>
                    <a:cubicBezTo>
                      <a:pt x="491" y="282"/>
                      <a:pt x="495" y="283"/>
                      <a:pt x="498" y="280"/>
                    </a:cubicBezTo>
                    <a:cubicBezTo>
                      <a:pt x="502" y="277"/>
                      <a:pt x="514" y="261"/>
                      <a:pt x="514" y="261"/>
                    </a:cubicBezTo>
                    <a:cubicBezTo>
                      <a:pt x="509" y="260"/>
                      <a:pt x="509" y="260"/>
                      <a:pt x="509" y="260"/>
                    </a:cubicBezTo>
                    <a:cubicBezTo>
                      <a:pt x="509" y="260"/>
                      <a:pt x="511" y="248"/>
                      <a:pt x="515" y="249"/>
                    </a:cubicBezTo>
                    <a:cubicBezTo>
                      <a:pt x="521" y="249"/>
                      <a:pt x="520" y="256"/>
                      <a:pt x="524" y="257"/>
                    </a:cubicBezTo>
                    <a:cubicBezTo>
                      <a:pt x="528" y="257"/>
                      <a:pt x="536" y="252"/>
                      <a:pt x="536" y="252"/>
                    </a:cubicBezTo>
                    <a:cubicBezTo>
                      <a:pt x="536" y="249"/>
                      <a:pt x="536" y="249"/>
                      <a:pt x="536" y="249"/>
                    </a:cubicBezTo>
                    <a:cubicBezTo>
                      <a:pt x="543" y="244"/>
                      <a:pt x="543" y="244"/>
                      <a:pt x="543" y="244"/>
                    </a:cubicBezTo>
                    <a:cubicBezTo>
                      <a:pt x="540" y="237"/>
                      <a:pt x="542" y="228"/>
                      <a:pt x="545" y="221"/>
                    </a:cubicBezTo>
                    <a:cubicBezTo>
                      <a:pt x="546" y="219"/>
                      <a:pt x="546" y="207"/>
                      <a:pt x="548" y="204"/>
                    </a:cubicBezTo>
                    <a:cubicBezTo>
                      <a:pt x="551" y="201"/>
                      <a:pt x="553" y="197"/>
                      <a:pt x="552" y="194"/>
                    </a:cubicBezTo>
                    <a:cubicBezTo>
                      <a:pt x="557" y="179"/>
                      <a:pt x="557" y="179"/>
                      <a:pt x="557" y="179"/>
                    </a:cubicBezTo>
                    <a:cubicBezTo>
                      <a:pt x="562" y="172"/>
                      <a:pt x="562" y="172"/>
                      <a:pt x="562" y="172"/>
                    </a:cubicBezTo>
                    <a:cubicBezTo>
                      <a:pt x="563" y="168"/>
                      <a:pt x="568" y="169"/>
                      <a:pt x="570" y="167"/>
                    </a:cubicBezTo>
                    <a:cubicBezTo>
                      <a:pt x="572" y="164"/>
                      <a:pt x="571" y="158"/>
                      <a:pt x="575" y="156"/>
                    </a:cubicBezTo>
                    <a:close/>
                    <a:moveTo>
                      <a:pt x="621" y="571"/>
                    </a:moveTo>
                    <a:cubicBezTo>
                      <a:pt x="617" y="569"/>
                      <a:pt x="617" y="569"/>
                      <a:pt x="617" y="569"/>
                    </a:cubicBezTo>
                    <a:cubicBezTo>
                      <a:pt x="617" y="569"/>
                      <a:pt x="618" y="561"/>
                      <a:pt x="619" y="558"/>
                    </a:cubicBezTo>
                    <a:cubicBezTo>
                      <a:pt x="620" y="553"/>
                      <a:pt x="618" y="545"/>
                      <a:pt x="618" y="545"/>
                    </a:cubicBezTo>
                    <a:cubicBezTo>
                      <a:pt x="612" y="544"/>
                      <a:pt x="612" y="544"/>
                      <a:pt x="612" y="544"/>
                    </a:cubicBezTo>
                    <a:cubicBezTo>
                      <a:pt x="612" y="544"/>
                      <a:pt x="614" y="565"/>
                      <a:pt x="610" y="565"/>
                    </a:cubicBezTo>
                    <a:cubicBezTo>
                      <a:pt x="606" y="566"/>
                      <a:pt x="606" y="563"/>
                      <a:pt x="601" y="563"/>
                    </a:cubicBezTo>
                    <a:cubicBezTo>
                      <a:pt x="595" y="563"/>
                      <a:pt x="596" y="568"/>
                      <a:pt x="596" y="568"/>
                    </a:cubicBezTo>
                    <a:cubicBezTo>
                      <a:pt x="596" y="568"/>
                      <a:pt x="588" y="569"/>
                      <a:pt x="583" y="572"/>
                    </a:cubicBezTo>
                    <a:cubicBezTo>
                      <a:pt x="577" y="575"/>
                      <a:pt x="578" y="579"/>
                      <a:pt x="578" y="579"/>
                    </a:cubicBezTo>
                    <a:cubicBezTo>
                      <a:pt x="577" y="583"/>
                      <a:pt x="577" y="583"/>
                      <a:pt x="577" y="583"/>
                    </a:cubicBezTo>
                    <a:cubicBezTo>
                      <a:pt x="573" y="585"/>
                      <a:pt x="573" y="585"/>
                      <a:pt x="573" y="585"/>
                    </a:cubicBezTo>
                    <a:cubicBezTo>
                      <a:pt x="573" y="590"/>
                      <a:pt x="573" y="590"/>
                      <a:pt x="573" y="590"/>
                    </a:cubicBezTo>
                    <a:cubicBezTo>
                      <a:pt x="577" y="592"/>
                      <a:pt x="577" y="592"/>
                      <a:pt x="577" y="592"/>
                    </a:cubicBezTo>
                    <a:cubicBezTo>
                      <a:pt x="573" y="596"/>
                      <a:pt x="573" y="596"/>
                      <a:pt x="573" y="596"/>
                    </a:cubicBezTo>
                    <a:cubicBezTo>
                      <a:pt x="574" y="601"/>
                      <a:pt x="574" y="601"/>
                      <a:pt x="574" y="601"/>
                    </a:cubicBezTo>
                    <a:cubicBezTo>
                      <a:pt x="574" y="601"/>
                      <a:pt x="576" y="604"/>
                      <a:pt x="578" y="604"/>
                    </a:cubicBezTo>
                    <a:cubicBezTo>
                      <a:pt x="581" y="605"/>
                      <a:pt x="578" y="609"/>
                      <a:pt x="578" y="609"/>
                    </a:cubicBezTo>
                    <a:cubicBezTo>
                      <a:pt x="574" y="616"/>
                      <a:pt x="574" y="616"/>
                      <a:pt x="574" y="616"/>
                    </a:cubicBezTo>
                    <a:cubicBezTo>
                      <a:pt x="574" y="616"/>
                      <a:pt x="584" y="615"/>
                      <a:pt x="584" y="619"/>
                    </a:cubicBezTo>
                    <a:cubicBezTo>
                      <a:pt x="585" y="622"/>
                      <a:pt x="577" y="627"/>
                      <a:pt x="577" y="627"/>
                    </a:cubicBezTo>
                    <a:cubicBezTo>
                      <a:pt x="577" y="629"/>
                      <a:pt x="577" y="629"/>
                      <a:pt x="577" y="629"/>
                    </a:cubicBezTo>
                    <a:cubicBezTo>
                      <a:pt x="577" y="629"/>
                      <a:pt x="584" y="627"/>
                      <a:pt x="586" y="628"/>
                    </a:cubicBezTo>
                    <a:cubicBezTo>
                      <a:pt x="588" y="630"/>
                      <a:pt x="590" y="632"/>
                      <a:pt x="590" y="632"/>
                    </a:cubicBezTo>
                    <a:cubicBezTo>
                      <a:pt x="583" y="636"/>
                      <a:pt x="583" y="636"/>
                      <a:pt x="583" y="636"/>
                    </a:cubicBezTo>
                    <a:cubicBezTo>
                      <a:pt x="585" y="643"/>
                      <a:pt x="585" y="643"/>
                      <a:pt x="585" y="643"/>
                    </a:cubicBezTo>
                    <a:cubicBezTo>
                      <a:pt x="585" y="643"/>
                      <a:pt x="594" y="646"/>
                      <a:pt x="597" y="646"/>
                    </a:cubicBezTo>
                    <a:cubicBezTo>
                      <a:pt x="601" y="647"/>
                      <a:pt x="598" y="652"/>
                      <a:pt x="598" y="652"/>
                    </a:cubicBezTo>
                    <a:cubicBezTo>
                      <a:pt x="603" y="651"/>
                      <a:pt x="603" y="651"/>
                      <a:pt x="603" y="651"/>
                    </a:cubicBezTo>
                    <a:cubicBezTo>
                      <a:pt x="603" y="651"/>
                      <a:pt x="609" y="636"/>
                      <a:pt x="611" y="631"/>
                    </a:cubicBezTo>
                    <a:cubicBezTo>
                      <a:pt x="612" y="626"/>
                      <a:pt x="614" y="615"/>
                      <a:pt x="614" y="614"/>
                    </a:cubicBezTo>
                    <a:cubicBezTo>
                      <a:pt x="614" y="612"/>
                      <a:pt x="622" y="607"/>
                      <a:pt x="624" y="600"/>
                    </a:cubicBezTo>
                    <a:cubicBezTo>
                      <a:pt x="626" y="595"/>
                      <a:pt x="621" y="571"/>
                      <a:pt x="621" y="571"/>
                    </a:cubicBezTo>
                    <a:close/>
                    <a:moveTo>
                      <a:pt x="56" y="207"/>
                    </a:moveTo>
                    <a:cubicBezTo>
                      <a:pt x="56" y="212"/>
                      <a:pt x="56" y="212"/>
                      <a:pt x="56" y="212"/>
                    </a:cubicBezTo>
                    <a:cubicBezTo>
                      <a:pt x="61" y="215"/>
                      <a:pt x="64" y="213"/>
                      <a:pt x="64" y="213"/>
                    </a:cubicBezTo>
                    <a:cubicBezTo>
                      <a:pt x="57" y="204"/>
                      <a:pt x="57" y="204"/>
                      <a:pt x="57" y="204"/>
                    </a:cubicBezTo>
                    <a:lnTo>
                      <a:pt x="56" y="207"/>
                    </a:lnTo>
                    <a:close/>
                    <a:moveTo>
                      <a:pt x="126" y="100"/>
                    </a:moveTo>
                    <a:cubicBezTo>
                      <a:pt x="130" y="103"/>
                      <a:pt x="135" y="100"/>
                      <a:pt x="129" y="94"/>
                    </a:cubicBezTo>
                    <a:cubicBezTo>
                      <a:pt x="122" y="90"/>
                      <a:pt x="120" y="93"/>
                      <a:pt x="120" y="93"/>
                    </a:cubicBezTo>
                    <a:cubicBezTo>
                      <a:pt x="121" y="99"/>
                      <a:pt x="121" y="99"/>
                      <a:pt x="121" y="99"/>
                    </a:cubicBezTo>
                    <a:lnTo>
                      <a:pt x="126" y="100"/>
                    </a:lnTo>
                    <a:close/>
                    <a:moveTo>
                      <a:pt x="112" y="79"/>
                    </a:moveTo>
                    <a:cubicBezTo>
                      <a:pt x="116" y="79"/>
                      <a:pt x="121" y="74"/>
                      <a:pt x="113" y="75"/>
                    </a:cubicBezTo>
                    <a:cubicBezTo>
                      <a:pt x="104" y="76"/>
                      <a:pt x="112" y="79"/>
                      <a:pt x="112" y="79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72" name="Finland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5473700" y="1279525"/>
                <a:ext cx="814387" cy="1435100"/>
              </a:xfrm>
              <a:custGeom>
                <a:avLst/>
                <a:gdLst/>
                <a:ahLst/>
                <a:cxnLst>
                  <a:cxn ang="0">
                    <a:pos x="318" y="380"/>
                  </a:cxn>
                  <a:cxn ang="0">
                    <a:pos x="302" y="312"/>
                  </a:cxn>
                  <a:cxn ang="0">
                    <a:pos x="283" y="281"/>
                  </a:cxn>
                  <a:cxn ang="0">
                    <a:pos x="264" y="225"/>
                  </a:cxn>
                  <a:cxn ang="0">
                    <a:pos x="205" y="113"/>
                  </a:cxn>
                  <a:cxn ang="0">
                    <a:pos x="202" y="27"/>
                  </a:cxn>
                  <a:cxn ang="0">
                    <a:pos x="124" y="29"/>
                  </a:cxn>
                  <a:cxn ang="0">
                    <a:pos x="105" y="103"/>
                  </a:cxn>
                  <a:cxn ang="0">
                    <a:pos x="51" y="107"/>
                  </a:cxn>
                  <a:cxn ang="0">
                    <a:pos x="2" y="90"/>
                  </a:cxn>
                  <a:cxn ang="0">
                    <a:pos x="23" y="108"/>
                  </a:cxn>
                  <a:cxn ang="0">
                    <a:pos x="63" y="131"/>
                  </a:cxn>
                  <a:cxn ang="0">
                    <a:pos x="86" y="186"/>
                  </a:cxn>
                  <a:cxn ang="0">
                    <a:pos x="106" y="229"/>
                  </a:cxn>
                  <a:cxn ang="0">
                    <a:pos x="116" y="275"/>
                  </a:cxn>
                  <a:cxn ang="0">
                    <a:pos x="147" y="294"/>
                  </a:cxn>
                  <a:cxn ang="0">
                    <a:pos x="163" y="331"/>
                  </a:cxn>
                  <a:cxn ang="0">
                    <a:pos x="147" y="355"/>
                  </a:cxn>
                  <a:cxn ang="0">
                    <a:pos x="131" y="401"/>
                  </a:cxn>
                  <a:cxn ang="0">
                    <a:pos x="108" y="414"/>
                  </a:cxn>
                  <a:cxn ang="0">
                    <a:pos x="111" y="430"/>
                  </a:cxn>
                  <a:cxn ang="0">
                    <a:pos x="96" y="438"/>
                  </a:cxn>
                  <a:cxn ang="0">
                    <a:pos x="80" y="462"/>
                  </a:cxn>
                  <a:cxn ang="0">
                    <a:pos x="77" y="486"/>
                  </a:cxn>
                  <a:cxn ang="0">
                    <a:pos x="80" y="523"/>
                  </a:cxn>
                  <a:cxn ang="0">
                    <a:pos x="91" y="559"/>
                  </a:cxn>
                  <a:cxn ang="0">
                    <a:pos x="93" y="572"/>
                  </a:cxn>
                  <a:cxn ang="0">
                    <a:pos x="95" y="598"/>
                  </a:cxn>
                  <a:cxn ang="0">
                    <a:pos x="95" y="613"/>
                  </a:cxn>
                  <a:cxn ang="0">
                    <a:pos x="104" y="635"/>
                  </a:cxn>
                  <a:cxn ang="0">
                    <a:pos x="118" y="635"/>
                  </a:cxn>
                  <a:cxn ang="0">
                    <a:pos x="144" y="645"/>
                  </a:cxn>
                  <a:cxn ang="0">
                    <a:pos x="157" y="656"/>
                  </a:cxn>
                  <a:cxn ang="0">
                    <a:pos x="161" y="666"/>
                  </a:cxn>
                  <a:cxn ang="0">
                    <a:pos x="189" y="654"/>
                  </a:cxn>
                  <a:cxn ang="0">
                    <a:pos x="206" y="645"/>
                  </a:cxn>
                  <a:cxn ang="0">
                    <a:pos x="248" y="626"/>
                  </a:cxn>
                  <a:cxn ang="0">
                    <a:pos x="260" y="617"/>
                  </a:cxn>
                  <a:cxn ang="0">
                    <a:pos x="293" y="603"/>
                  </a:cxn>
                  <a:cxn ang="0">
                    <a:pos x="328" y="554"/>
                  </a:cxn>
                  <a:cxn ang="0">
                    <a:pos x="382" y="418"/>
                  </a:cxn>
                  <a:cxn ang="0">
                    <a:pos x="60" y="653"/>
                  </a:cxn>
                  <a:cxn ang="0">
                    <a:pos x="45" y="651"/>
                  </a:cxn>
                  <a:cxn ang="0">
                    <a:pos x="50" y="670"/>
                  </a:cxn>
                  <a:cxn ang="0">
                    <a:pos x="39" y="658"/>
                  </a:cxn>
                  <a:cxn ang="0">
                    <a:pos x="55" y="670"/>
                  </a:cxn>
                  <a:cxn ang="0">
                    <a:pos x="107" y="657"/>
                  </a:cxn>
                  <a:cxn ang="0">
                    <a:pos x="113" y="654"/>
                  </a:cxn>
                  <a:cxn ang="0">
                    <a:pos x="148" y="643"/>
                  </a:cxn>
                  <a:cxn ang="0">
                    <a:pos x="136" y="655"/>
                  </a:cxn>
                  <a:cxn ang="0">
                    <a:pos x="147" y="649"/>
                  </a:cxn>
                  <a:cxn ang="0">
                    <a:pos x="112" y="643"/>
                  </a:cxn>
                  <a:cxn ang="0">
                    <a:pos x="99" y="634"/>
                  </a:cxn>
                  <a:cxn ang="0">
                    <a:pos x="94" y="628"/>
                  </a:cxn>
                  <a:cxn ang="0">
                    <a:pos x="175" y="667"/>
                  </a:cxn>
                  <a:cxn ang="0">
                    <a:pos x="62" y="461"/>
                  </a:cxn>
                  <a:cxn ang="0">
                    <a:pos x="72" y="456"/>
                  </a:cxn>
                  <a:cxn ang="0">
                    <a:pos x="157" y="329"/>
                  </a:cxn>
                  <a:cxn ang="0">
                    <a:pos x="153" y="336"/>
                  </a:cxn>
                  <a:cxn ang="0">
                    <a:pos x="243" y="631"/>
                  </a:cxn>
                  <a:cxn ang="0">
                    <a:pos x="265" y="614"/>
                  </a:cxn>
                </a:cxnLst>
                <a:rect l="0" t="0" r="r" b="b"/>
                <a:pathLst>
                  <a:path w="382" h="674">
                    <a:moveTo>
                      <a:pt x="382" y="418"/>
                    </a:moveTo>
                    <a:cubicBezTo>
                      <a:pt x="381" y="412"/>
                      <a:pt x="369" y="412"/>
                      <a:pt x="369" y="412"/>
                    </a:cubicBezTo>
                    <a:cubicBezTo>
                      <a:pt x="366" y="404"/>
                      <a:pt x="366" y="404"/>
                      <a:pt x="366" y="404"/>
                    </a:cubicBezTo>
                    <a:cubicBezTo>
                      <a:pt x="350" y="396"/>
                      <a:pt x="350" y="396"/>
                      <a:pt x="350" y="396"/>
                    </a:cubicBezTo>
                    <a:cubicBezTo>
                      <a:pt x="339" y="394"/>
                      <a:pt x="339" y="394"/>
                      <a:pt x="339" y="394"/>
                    </a:cubicBezTo>
                    <a:cubicBezTo>
                      <a:pt x="318" y="380"/>
                      <a:pt x="318" y="380"/>
                      <a:pt x="318" y="380"/>
                    </a:cubicBezTo>
                    <a:cubicBezTo>
                      <a:pt x="327" y="374"/>
                      <a:pt x="327" y="374"/>
                      <a:pt x="327" y="374"/>
                    </a:cubicBezTo>
                    <a:cubicBezTo>
                      <a:pt x="326" y="370"/>
                      <a:pt x="326" y="370"/>
                      <a:pt x="326" y="370"/>
                    </a:cubicBezTo>
                    <a:cubicBezTo>
                      <a:pt x="326" y="370"/>
                      <a:pt x="331" y="355"/>
                      <a:pt x="327" y="346"/>
                    </a:cubicBezTo>
                    <a:cubicBezTo>
                      <a:pt x="323" y="338"/>
                      <a:pt x="313" y="344"/>
                      <a:pt x="308" y="335"/>
                    </a:cubicBezTo>
                    <a:cubicBezTo>
                      <a:pt x="301" y="326"/>
                      <a:pt x="307" y="320"/>
                      <a:pt x="307" y="320"/>
                    </a:cubicBezTo>
                    <a:cubicBezTo>
                      <a:pt x="302" y="312"/>
                      <a:pt x="302" y="312"/>
                      <a:pt x="302" y="312"/>
                    </a:cubicBezTo>
                    <a:cubicBezTo>
                      <a:pt x="292" y="317"/>
                      <a:pt x="292" y="317"/>
                      <a:pt x="292" y="317"/>
                    </a:cubicBezTo>
                    <a:cubicBezTo>
                      <a:pt x="285" y="301"/>
                      <a:pt x="285" y="301"/>
                      <a:pt x="285" y="301"/>
                    </a:cubicBezTo>
                    <a:cubicBezTo>
                      <a:pt x="292" y="296"/>
                      <a:pt x="292" y="296"/>
                      <a:pt x="292" y="296"/>
                    </a:cubicBezTo>
                    <a:cubicBezTo>
                      <a:pt x="291" y="291"/>
                      <a:pt x="291" y="291"/>
                      <a:pt x="291" y="291"/>
                    </a:cubicBezTo>
                    <a:cubicBezTo>
                      <a:pt x="280" y="293"/>
                      <a:pt x="280" y="293"/>
                      <a:pt x="280" y="293"/>
                    </a:cubicBezTo>
                    <a:cubicBezTo>
                      <a:pt x="283" y="281"/>
                      <a:pt x="283" y="281"/>
                      <a:pt x="283" y="281"/>
                    </a:cubicBezTo>
                    <a:cubicBezTo>
                      <a:pt x="280" y="272"/>
                      <a:pt x="280" y="272"/>
                      <a:pt x="280" y="272"/>
                    </a:cubicBezTo>
                    <a:cubicBezTo>
                      <a:pt x="284" y="267"/>
                      <a:pt x="284" y="267"/>
                      <a:pt x="284" y="267"/>
                    </a:cubicBezTo>
                    <a:cubicBezTo>
                      <a:pt x="277" y="265"/>
                      <a:pt x="277" y="265"/>
                      <a:pt x="277" y="265"/>
                    </a:cubicBezTo>
                    <a:cubicBezTo>
                      <a:pt x="288" y="259"/>
                      <a:pt x="288" y="259"/>
                      <a:pt x="288" y="259"/>
                    </a:cubicBezTo>
                    <a:cubicBezTo>
                      <a:pt x="288" y="259"/>
                      <a:pt x="286" y="249"/>
                      <a:pt x="281" y="240"/>
                    </a:cubicBezTo>
                    <a:cubicBezTo>
                      <a:pt x="277" y="232"/>
                      <a:pt x="264" y="225"/>
                      <a:pt x="264" y="225"/>
                    </a:cubicBezTo>
                    <a:cubicBezTo>
                      <a:pt x="261" y="223"/>
                      <a:pt x="262" y="214"/>
                      <a:pt x="254" y="208"/>
                    </a:cubicBezTo>
                    <a:cubicBezTo>
                      <a:pt x="248" y="204"/>
                      <a:pt x="237" y="187"/>
                      <a:pt x="237" y="187"/>
                    </a:cubicBezTo>
                    <a:cubicBezTo>
                      <a:pt x="237" y="187"/>
                      <a:pt x="252" y="152"/>
                      <a:pt x="251" y="142"/>
                    </a:cubicBezTo>
                    <a:cubicBezTo>
                      <a:pt x="250" y="133"/>
                      <a:pt x="238" y="133"/>
                      <a:pt x="238" y="133"/>
                    </a:cubicBezTo>
                    <a:cubicBezTo>
                      <a:pt x="226" y="117"/>
                      <a:pt x="226" y="117"/>
                      <a:pt x="226" y="117"/>
                    </a:cubicBezTo>
                    <a:cubicBezTo>
                      <a:pt x="205" y="113"/>
                      <a:pt x="205" y="113"/>
                      <a:pt x="205" y="113"/>
                    </a:cubicBezTo>
                    <a:cubicBezTo>
                      <a:pt x="196" y="90"/>
                      <a:pt x="196" y="90"/>
                      <a:pt x="196" y="90"/>
                    </a:cubicBezTo>
                    <a:cubicBezTo>
                      <a:pt x="199" y="70"/>
                      <a:pt x="199" y="70"/>
                      <a:pt x="199" y="70"/>
                    </a:cubicBezTo>
                    <a:cubicBezTo>
                      <a:pt x="188" y="68"/>
                      <a:pt x="188" y="68"/>
                      <a:pt x="188" y="68"/>
                    </a:cubicBezTo>
                    <a:cubicBezTo>
                      <a:pt x="197" y="57"/>
                      <a:pt x="197" y="57"/>
                      <a:pt x="197" y="57"/>
                    </a:cubicBezTo>
                    <a:cubicBezTo>
                      <a:pt x="197" y="57"/>
                      <a:pt x="194" y="52"/>
                      <a:pt x="194" y="46"/>
                    </a:cubicBezTo>
                    <a:cubicBezTo>
                      <a:pt x="194" y="41"/>
                      <a:pt x="202" y="27"/>
                      <a:pt x="202" y="27"/>
                    </a:cubicBezTo>
                    <a:cubicBezTo>
                      <a:pt x="195" y="16"/>
                      <a:pt x="195" y="16"/>
                      <a:pt x="195" y="16"/>
                    </a:cubicBezTo>
                    <a:cubicBezTo>
                      <a:pt x="172" y="13"/>
                      <a:pt x="172" y="13"/>
                      <a:pt x="172" y="13"/>
                    </a:cubicBezTo>
                    <a:cubicBezTo>
                      <a:pt x="172" y="13"/>
                      <a:pt x="163" y="0"/>
                      <a:pt x="157" y="1"/>
                    </a:cubicBezTo>
                    <a:cubicBezTo>
                      <a:pt x="151" y="2"/>
                      <a:pt x="142" y="14"/>
                      <a:pt x="142" y="14"/>
                    </a:cubicBezTo>
                    <a:cubicBezTo>
                      <a:pt x="142" y="14"/>
                      <a:pt x="135" y="12"/>
                      <a:pt x="129" y="15"/>
                    </a:cubicBezTo>
                    <a:cubicBezTo>
                      <a:pt x="123" y="17"/>
                      <a:pt x="124" y="29"/>
                      <a:pt x="124" y="29"/>
                    </a:cubicBezTo>
                    <a:cubicBezTo>
                      <a:pt x="121" y="33"/>
                      <a:pt x="121" y="33"/>
                      <a:pt x="121" y="33"/>
                    </a:cubicBezTo>
                    <a:cubicBezTo>
                      <a:pt x="119" y="66"/>
                      <a:pt x="119" y="66"/>
                      <a:pt x="119" y="66"/>
                    </a:cubicBezTo>
                    <a:cubicBezTo>
                      <a:pt x="119" y="66"/>
                      <a:pt x="121" y="75"/>
                      <a:pt x="122" y="80"/>
                    </a:cubicBezTo>
                    <a:cubicBezTo>
                      <a:pt x="122" y="86"/>
                      <a:pt x="119" y="90"/>
                      <a:pt x="117" y="93"/>
                    </a:cubicBezTo>
                    <a:cubicBezTo>
                      <a:pt x="114" y="97"/>
                      <a:pt x="112" y="110"/>
                      <a:pt x="112" y="110"/>
                    </a:cubicBezTo>
                    <a:cubicBezTo>
                      <a:pt x="105" y="103"/>
                      <a:pt x="105" y="103"/>
                      <a:pt x="105" y="103"/>
                    </a:cubicBezTo>
                    <a:cubicBezTo>
                      <a:pt x="93" y="102"/>
                      <a:pt x="93" y="102"/>
                      <a:pt x="93" y="102"/>
                    </a:cubicBezTo>
                    <a:cubicBezTo>
                      <a:pt x="93" y="102"/>
                      <a:pt x="91" y="97"/>
                      <a:pt x="86" y="97"/>
                    </a:cubicBezTo>
                    <a:cubicBezTo>
                      <a:pt x="80" y="97"/>
                      <a:pt x="78" y="105"/>
                      <a:pt x="78" y="105"/>
                    </a:cubicBezTo>
                    <a:cubicBezTo>
                      <a:pt x="69" y="111"/>
                      <a:pt x="69" y="111"/>
                      <a:pt x="69" y="111"/>
                    </a:cubicBezTo>
                    <a:cubicBezTo>
                      <a:pt x="62" y="107"/>
                      <a:pt x="62" y="107"/>
                      <a:pt x="62" y="107"/>
                    </a:cubicBezTo>
                    <a:cubicBezTo>
                      <a:pt x="51" y="107"/>
                      <a:pt x="51" y="107"/>
                      <a:pt x="51" y="107"/>
                    </a:cubicBezTo>
                    <a:cubicBezTo>
                      <a:pt x="46" y="108"/>
                      <a:pt x="46" y="108"/>
                      <a:pt x="46" y="108"/>
                    </a:cubicBezTo>
                    <a:cubicBezTo>
                      <a:pt x="46" y="108"/>
                      <a:pt x="44" y="99"/>
                      <a:pt x="37" y="93"/>
                    </a:cubicBezTo>
                    <a:cubicBezTo>
                      <a:pt x="32" y="88"/>
                      <a:pt x="25" y="78"/>
                      <a:pt x="25" y="78"/>
                    </a:cubicBezTo>
                    <a:cubicBezTo>
                      <a:pt x="25" y="78"/>
                      <a:pt x="16" y="75"/>
                      <a:pt x="12" y="80"/>
                    </a:cubicBezTo>
                    <a:cubicBezTo>
                      <a:pt x="6" y="84"/>
                      <a:pt x="14" y="91"/>
                      <a:pt x="13" y="93"/>
                    </a:cubicBezTo>
                    <a:cubicBezTo>
                      <a:pt x="11" y="95"/>
                      <a:pt x="2" y="90"/>
                      <a:pt x="2" y="90"/>
                    </a:cubicBezTo>
                    <a:cubicBezTo>
                      <a:pt x="0" y="95"/>
                      <a:pt x="0" y="95"/>
                      <a:pt x="0" y="95"/>
                    </a:cubicBezTo>
                    <a:cubicBezTo>
                      <a:pt x="5" y="95"/>
                      <a:pt x="5" y="95"/>
                      <a:pt x="5" y="95"/>
                    </a:cubicBezTo>
                    <a:cubicBezTo>
                      <a:pt x="8" y="98"/>
                      <a:pt x="8" y="98"/>
                      <a:pt x="8" y="98"/>
                    </a:cubicBezTo>
                    <a:cubicBezTo>
                      <a:pt x="9" y="104"/>
                      <a:pt x="9" y="104"/>
                      <a:pt x="9" y="104"/>
                    </a:cubicBezTo>
                    <a:cubicBezTo>
                      <a:pt x="19" y="108"/>
                      <a:pt x="19" y="108"/>
                      <a:pt x="19" y="108"/>
                    </a:cubicBezTo>
                    <a:cubicBezTo>
                      <a:pt x="23" y="108"/>
                      <a:pt x="23" y="108"/>
                      <a:pt x="23" y="108"/>
                    </a:cubicBezTo>
                    <a:cubicBezTo>
                      <a:pt x="25" y="115"/>
                      <a:pt x="25" y="115"/>
                      <a:pt x="25" y="115"/>
                    </a:cubicBezTo>
                    <a:cubicBezTo>
                      <a:pt x="30" y="117"/>
                      <a:pt x="30" y="117"/>
                      <a:pt x="30" y="117"/>
                    </a:cubicBezTo>
                    <a:cubicBezTo>
                      <a:pt x="32" y="120"/>
                      <a:pt x="32" y="120"/>
                      <a:pt x="32" y="120"/>
                    </a:cubicBezTo>
                    <a:cubicBezTo>
                      <a:pt x="36" y="120"/>
                      <a:pt x="36" y="120"/>
                      <a:pt x="36" y="120"/>
                    </a:cubicBezTo>
                    <a:cubicBezTo>
                      <a:pt x="40" y="124"/>
                      <a:pt x="40" y="124"/>
                      <a:pt x="40" y="124"/>
                    </a:cubicBezTo>
                    <a:cubicBezTo>
                      <a:pt x="40" y="124"/>
                      <a:pt x="53" y="126"/>
                      <a:pt x="63" y="131"/>
                    </a:cubicBezTo>
                    <a:cubicBezTo>
                      <a:pt x="72" y="136"/>
                      <a:pt x="73" y="146"/>
                      <a:pt x="73" y="146"/>
                    </a:cubicBezTo>
                    <a:cubicBezTo>
                      <a:pt x="77" y="143"/>
                      <a:pt x="77" y="143"/>
                      <a:pt x="77" y="143"/>
                    </a:cubicBezTo>
                    <a:cubicBezTo>
                      <a:pt x="77" y="143"/>
                      <a:pt x="86" y="152"/>
                      <a:pt x="88" y="155"/>
                    </a:cubicBezTo>
                    <a:cubicBezTo>
                      <a:pt x="90" y="158"/>
                      <a:pt x="85" y="158"/>
                      <a:pt x="84" y="162"/>
                    </a:cubicBezTo>
                    <a:cubicBezTo>
                      <a:pt x="83" y="167"/>
                      <a:pt x="85" y="170"/>
                      <a:pt x="86" y="174"/>
                    </a:cubicBezTo>
                    <a:cubicBezTo>
                      <a:pt x="88" y="180"/>
                      <a:pt x="86" y="186"/>
                      <a:pt x="86" y="186"/>
                    </a:cubicBezTo>
                    <a:cubicBezTo>
                      <a:pt x="97" y="188"/>
                      <a:pt x="97" y="188"/>
                      <a:pt x="97" y="188"/>
                    </a:cubicBezTo>
                    <a:cubicBezTo>
                      <a:pt x="98" y="194"/>
                      <a:pt x="98" y="194"/>
                      <a:pt x="98" y="194"/>
                    </a:cubicBezTo>
                    <a:cubicBezTo>
                      <a:pt x="95" y="197"/>
                      <a:pt x="95" y="197"/>
                      <a:pt x="95" y="197"/>
                    </a:cubicBezTo>
                    <a:cubicBezTo>
                      <a:pt x="95" y="197"/>
                      <a:pt x="94" y="199"/>
                      <a:pt x="94" y="204"/>
                    </a:cubicBezTo>
                    <a:cubicBezTo>
                      <a:pt x="94" y="210"/>
                      <a:pt x="103" y="215"/>
                      <a:pt x="105" y="218"/>
                    </a:cubicBezTo>
                    <a:cubicBezTo>
                      <a:pt x="107" y="222"/>
                      <a:pt x="106" y="229"/>
                      <a:pt x="106" y="229"/>
                    </a:cubicBezTo>
                    <a:cubicBezTo>
                      <a:pt x="106" y="229"/>
                      <a:pt x="108" y="233"/>
                      <a:pt x="110" y="237"/>
                    </a:cubicBezTo>
                    <a:cubicBezTo>
                      <a:pt x="111" y="240"/>
                      <a:pt x="106" y="243"/>
                      <a:pt x="103" y="248"/>
                    </a:cubicBezTo>
                    <a:cubicBezTo>
                      <a:pt x="101" y="252"/>
                      <a:pt x="106" y="253"/>
                      <a:pt x="106" y="253"/>
                    </a:cubicBezTo>
                    <a:cubicBezTo>
                      <a:pt x="106" y="253"/>
                      <a:pt x="106" y="254"/>
                      <a:pt x="105" y="260"/>
                    </a:cubicBezTo>
                    <a:cubicBezTo>
                      <a:pt x="105" y="264"/>
                      <a:pt x="112" y="265"/>
                      <a:pt x="114" y="266"/>
                    </a:cubicBezTo>
                    <a:cubicBezTo>
                      <a:pt x="116" y="268"/>
                      <a:pt x="115" y="271"/>
                      <a:pt x="116" y="275"/>
                    </a:cubicBezTo>
                    <a:cubicBezTo>
                      <a:pt x="117" y="279"/>
                      <a:pt x="122" y="281"/>
                      <a:pt x="122" y="281"/>
                    </a:cubicBezTo>
                    <a:cubicBezTo>
                      <a:pt x="123" y="288"/>
                      <a:pt x="123" y="288"/>
                      <a:pt x="123" y="288"/>
                    </a:cubicBezTo>
                    <a:cubicBezTo>
                      <a:pt x="128" y="286"/>
                      <a:pt x="128" y="286"/>
                      <a:pt x="128" y="286"/>
                    </a:cubicBezTo>
                    <a:cubicBezTo>
                      <a:pt x="139" y="293"/>
                      <a:pt x="139" y="293"/>
                      <a:pt x="139" y="293"/>
                    </a:cubicBezTo>
                    <a:cubicBezTo>
                      <a:pt x="139" y="295"/>
                      <a:pt x="139" y="295"/>
                      <a:pt x="139" y="295"/>
                    </a:cubicBezTo>
                    <a:cubicBezTo>
                      <a:pt x="147" y="294"/>
                      <a:pt x="147" y="294"/>
                      <a:pt x="147" y="294"/>
                    </a:cubicBezTo>
                    <a:cubicBezTo>
                      <a:pt x="154" y="297"/>
                      <a:pt x="154" y="297"/>
                      <a:pt x="154" y="297"/>
                    </a:cubicBezTo>
                    <a:cubicBezTo>
                      <a:pt x="154" y="297"/>
                      <a:pt x="159" y="301"/>
                      <a:pt x="162" y="308"/>
                    </a:cubicBezTo>
                    <a:cubicBezTo>
                      <a:pt x="166" y="314"/>
                      <a:pt x="162" y="324"/>
                      <a:pt x="162" y="324"/>
                    </a:cubicBezTo>
                    <a:cubicBezTo>
                      <a:pt x="166" y="325"/>
                      <a:pt x="166" y="325"/>
                      <a:pt x="166" y="325"/>
                    </a:cubicBezTo>
                    <a:cubicBezTo>
                      <a:pt x="169" y="334"/>
                      <a:pt x="169" y="334"/>
                      <a:pt x="169" y="334"/>
                    </a:cubicBezTo>
                    <a:cubicBezTo>
                      <a:pt x="163" y="331"/>
                      <a:pt x="163" y="331"/>
                      <a:pt x="163" y="331"/>
                    </a:cubicBezTo>
                    <a:cubicBezTo>
                      <a:pt x="162" y="334"/>
                      <a:pt x="162" y="334"/>
                      <a:pt x="162" y="334"/>
                    </a:cubicBezTo>
                    <a:cubicBezTo>
                      <a:pt x="170" y="339"/>
                      <a:pt x="170" y="339"/>
                      <a:pt x="170" y="339"/>
                    </a:cubicBezTo>
                    <a:cubicBezTo>
                      <a:pt x="167" y="342"/>
                      <a:pt x="167" y="342"/>
                      <a:pt x="167" y="342"/>
                    </a:cubicBezTo>
                    <a:cubicBezTo>
                      <a:pt x="167" y="342"/>
                      <a:pt x="160" y="340"/>
                      <a:pt x="154" y="341"/>
                    </a:cubicBezTo>
                    <a:cubicBezTo>
                      <a:pt x="150" y="342"/>
                      <a:pt x="147" y="346"/>
                      <a:pt x="147" y="346"/>
                    </a:cubicBezTo>
                    <a:cubicBezTo>
                      <a:pt x="147" y="355"/>
                      <a:pt x="147" y="355"/>
                      <a:pt x="147" y="355"/>
                    </a:cubicBezTo>
                    <a:cubicBezTo>
                      <a:pt x="145" y="357"/>
                      <a:pt x="145" y="357"/>
                      <a:pt x="145" y="357"/>
                    </a:cubicBezTo>
                    <a:cubicBezTo>
                      <a:pt x="145" y="366"/>
                      <a:pt x="145" y="366"/>
                      <a:pt x="145" y="366"/>
                    </a:cubicBezTo>
                    <a:cubicBezTo>
                      <a:pt x="142" y="367"/>
                      <a:pt x="142" y="367"/>
                      <a:pt x="142" y="367"/>
                    </a:cubicBezTo>
                    <a:cubicBezTo>
                      <a:pt x="137" y="376"/>
                      <a:pt x="137" y="376"/>
                      <a:pt x="137" y="376"/>
                    </a:cubicBezTo>
                    <a:cubicBezTo>
                      <a:pt x="129" y="395"/>
                      <a:pt x="129" y="395"/>
                      <a:pt x="129" y="395"/>
                    </a:cubicBezTo>
                    <a:cubicBezTo>
                      <a:pt x="131" y="401"/>
                      <a:pt x="131" y="401"/>
                      <a:pt x="131" y="401"/>
                    </a:cubicBezTo>
                    <a:cubicBezTo>
                      <a:pt x="123" y="399"/>
                      <a:pt x="123" y="399"/>
                      <a:pt x="123" y="399"/>
                    </a:cubicBezTo>
                    <a:cubicBezTo>
                      <a:pt x="124" y="409"/>
                      <a:pt x="124" y="409"/>
                      <a:pt x="124" y="409"/>
                    </a:cubicBezTo>
                    <a:cubicBezTo>
                      <a:pt x="117" y="413"/>
                      <a:pt x="117" y="413"/>
                      <a:pt x="117" y="413"/>
                    </a:cubicBezTo>
                    <a:cubicBezTo>
                      <a:pt x="114" y="418"/>
                      <a:pt x="114" y="418"/>
                      <a:pt x="114" y="418"/>
                    </a:cubicBezTo>
                    <a:cubicBezTo>
                      <a:pt x="112" y="413"/>
                      <a:pt x="112" y="413"/>
                      <a:pt x="112" y="413"/>
                    </a:cubicBezTo>
                    <a:cubicBezTo>
                      <a:pt x="108" y="414"/>
                      <a:pt x="108" y="414"/>
                      <a:pt x="108" y="414"/>
                    </a:cubicBezTo>
                    <a:cubicBezTo>
                      <a:pt x="108" y="417"/>
                      <a:pt x="108" y="417"/>
                      <a:pt x="108" y="417"/>
                    </a:cubicBezTo>
                    <a:cubicBezTo>
                      <a:pt x="106" y="418"/>
                      <a:pt x="106" y="418"/>
                      <a:pt x="106" y="418"/>
                    </a:cubicBezTo>
                    <a:cubicBezTo>
                      <a:pt x="105" y="421"/>
                      <a:pt x="105" y="421"/>
                      <a:pt x="105" y="421"/>
                    </a:cubicBezTo>
                    <a:cubicBezTo>
                      <a:pt x="111" y="421"/>
                      <a:pt x="111" y="421"/>
                      <a:pt x="111" y="421"/>
                    </a:cubicBezTo>
                    <a:cubicBezTo>
                      <a:pt x="113" y="422"/>
                      <a:pt x="113" y="422"/>
                      <a:pt x="113" y="422"/>
                    </a:cubicBezTo>
                    <a:cubicBezTo>
                      <a:pt x="111" y="430"/>
                      <a:pt x="111" y="430"/>
                      <a:pt x="111" y="430"/>
                    </a:cubicBezTo>
                    <a:cubicBezTo>
                      <a:pt x="111" y="430"/>
                      <a:pt x="107" y="426"/>
                      <a:pt x="104" y="428"/>
                    </a:cubicBezTo>
                    <a:cubicBezTo>
                      <a:pt x="100" y="430"/>
                      <a:pt x="102" y="436"/>
                      <a:pt x="102" y="436"/>
                    </a:cubicBezTo>
                    <a:cubicBezTo>
                      <a:pt x="102" y="439"/>
                      <a:pt x="102" y="439"/>
                      <a:pt x="102" y="439"/>
                    </a:cubicBezTo>
                    <a:cubicBezTo>
                      <a:pt x="101" y="441"/>
                      <a:pt x="100" y="442"/>
                      <a:pt x="100" y="442"/>
                    </a:cubicBezTo>
                    <a:cubicBezTo>
                      <a:pt x="97" y="437"/>
                      <a:pt x="97" y="437"/>
                      <a:pt x="97" y="437"/>
                    </a:cubicBezTo>
                    <a:cubicBezTo>
                      <a:pt x="96" y="438"/>
                      <a:pt x="96" y="438"/>
                      <a:pt x="96" y="438"/>
                    </a:cubicBezTo>
                    <a:cubicBezTo>
                      <a:pt x="98" y="444"/>
                      <a:pt x="98" y="444"/>
                      <a:pt x="98" y="444"/>
                    </a:cubicBezTo>
                    <a:cubicBezTo>
                      <a:pt x="95" y="444"/>
                      <a:pt x="95" y="444"/>
                      <a:pt x="95" y="444"/>
                    </a:cubicBezTo>
                    <a:cubicBezTo>
                      <a:pt x="95" y="444"/>
                      <a:pt x="99" y="455"/>
                      <a:pt x="98" y="457"/>
                    </a:cubicBezTo>
                    <a:cubicBezTo>
                      <a:pt x="97" y="460"/>
                      <a:pt x="91" y="458"/>
                      <a:pt x="89" y="458"/>
                    </a:cubicBezTo>
                    <a:cubicBezTo>
                      <a:pt x="82" y="458"/>
                      <a:pt x="82" y="458"/>
                      <a:pt x="82" y="458"/>
                    </a:cubicBezTo>
                    <a:cubicBezTo>
                      <a:pt x="82" y="458"/>
                      <a:pt x="82" y="462"/>
                      <a:pt x="80" y="462"/>
                    </a:cubicBezTo>
                    <a:cubicBezTo>
                      <a:pt x="79" y="462"/>
                      <a:pt x="77" y="459"/>
                      <a:pt x="77" y="459"/>
                    </a:cubicBezTo>
                    <a:cubicBezTo>
                      <a:pt x="75" y="467"/>
                      <a:pt x="75" y="467"/>
                      <a:pt x="75" y="467"/>
                    </a:cubicBezTo>
                    <a:cubicBezTo>
                      <a:pt x="83" y="475"/>
                      <a:pt x="83" y="475"/>
                      <a:pt x="83" y="475"/>
                    </a:cubicBezTo>
                    <a:cubicBezTo>
                      <a:pt x="77" y="474"/>
                      <a:pt x="77" y="474"/>
                      <a:pt x="77" y="474"/>
                    </a:cubicBezTo>
                    <a:cubicBezTo>
                      <a:pt x="75" y="482"/>
                      <a:pt x="75" y="482"/>
                      <a:pt x="75" y="482"/>
                    </a:cubicBezTo>
                    <a:cubicBezTo>
                      <a:pt x="75" y="482"/>
                      <a:pt x="77" y="484"/>
                      <a:pt x="77" y="486"/>
                    </a:cubicBezTo>
                    <a:cubicBezTo>
                      <a:pt x="77" y="487"/>
                      <a:pt x="72" y="487"/>
                      <a:pt x="72" y="487"/>
                    </a:cubicBezTo>
                    <a:cubicBezTo>
                      <a:pt x="69" y="492"/>
                      <a:pt x="69" y="492"/>
                      <a:pt x="69" y="492"/>
                    </a:cubicBezTo>
                    <a:cubicBezTo>
                      <a:pt x="68" y="504"/>
                      <a:pt x="68" y="504"/>
                      <a:pt x="68" y="504"/>
                    </a:cubicBezTo>
                    <a:cubicBezTo>
                      <a:pt x="72" y="504"/>
                      <a:pt x="72" y="504"/>
                      <a:pt x="72" y="504"/>
                    </a:cubicBezTo>
                    <a:cubicBezTo>
                      <a:pt x="72" y="504"/>
                      <a:pt x="69" y="508"/>
                      <a:pt x="70" y="513"/>
                    </a:cubicBezTo>
                    <a:cubicBezTo>
                      <a:pt x="70" y="517"/>
                      <a:pt x="78" y="519"/>
                      <a:pt x="80" y="523"/>
                    </a:cubicBezTo>
                    <a:cubicBezTo>
                      <a:pt x="83" y="528"/>
                      <a:pt x="80" y="534"/>
                      <a:pt x="80" y="534"/>
                    </a:cubicBezTo>
                    <a:cubicBezTo>
                      <a:pt x="80" y="543"/>
                      <a:pt x="80" y="543"/>
                      <a:pt x="80" y="543"/>
                    </a:cubicBezTo>
                    <a:cubicBezTo>
                      <a:pt x="83" y="546"/>
                      <a:pt x="83" y="546"/>
                      <a:pt x="83" y="546"/>
                    </a:cubicBezTo>
                    <a:cubicBezTo>
                      <a:pt x="86" y="544"/>
                      <a:pt x="86" y="544"/>
                      <a:pt x="86" y="544"/>
                    </a:cubicBezTo>
                    <a:cubicBezTo>
                      <a:pt x="86" y="544"/>
                      <a:pt x="86" y="550"/>
                      <a:pt x="87" y="552"/>
                    </a:cubicBezTo>
                    <a:cubicBezTo>
                      <a:pt x="88" y="555"/>
                      <a:pt x="91" y="559"/>
                      <a:pt x="91" y="559"/>
                    </a:cubicBezTo>
                    <a:cubicBezTo>
                      <a:pt x="90" y="561"/>
                      <a:pt x="90" y="561"/>
                      <a:pt x="90" y="561"/>
                    </a:cubicBezTo>
                    <a:cubicBezTo>
                      <a:pt x="94" y="562"/>
                      <a:pt x="94" y="562"/>
                      <a:pt x="94" y="562"/>
                    </a:cubicBezTo>
                    <a:cubicBezTo>
                      <a:pt x="95" y="567"/>
                      <a:pt x="95" y="567"/>
                      <a:pt x="95" y="567"/>
                    </a:cubicBezTo>
                    <a:cubicBezTo>
                      <a:pt x="90" y="566"/>
                      <a:pt x="90" y="566"/>
                      <a:pt x="90" y="566"/>
                    </a:cubicBezTo>
                    <a:cubicBezTo>
                      <a:pt x="90" y="569"/>
                      <a:pt x="90" y="569"/>
                      <a:pt x="90" y="569"/>
                    </a:cubicBezTo>
                    <a:cubicBezTo>
                      <a:pt x="93" y="572"/>
                      <a:pt x="93" y="572"/>
                      <a:pt x="93" y="572"/>
                    </a:cubicBezTo>
                    <a:cubicBezTo>
                      <a:pt x="89" y="572"/>
                      <a:pt x="89" y="572"/>
                      <a:pt x="89" y="572"/>
                    </a:cubicBezTo>
                    <a:cubicBezTo>
                      <a:pt x="93" y="577"/>
                      <a:pt x="93" y="577"/>
                      <a:pt x="93" y="577"/>
                    </a:cubicBezTo>
                    <a:cubicBezTo>
                      <a:pt x="90" y="578"/>
                      <a:pt x="90" y="578"/>
                      <a:pt x="90" y="578"/>
                    </a:cubicBezTo>
                    <a:cubicBezTo>
                      <a:pt x="95" y="584"/>
                      <a:pt x="95" y="584"/>
                      <a:pt x="95" y="584"/>
                    </a:cubicBezTo>
                    <a:cubicBezTo>
                      <a:pt x="95" y="584"/>
                      <a:pt x="96" y="588"/>
                      <a:pt x="94" y="591"/>
                    </a:cubicBezTo>
                    <a:cubicBezTo>
                      <a:pt x="91" y="593"/>
                      <a:pt x="95" y="598"/>
                      <a:pt x="95" y="598"/>
                    </a:cubicBezTo>
                    <a:cubicBezTo>
                      <a:pt x="95" y="598"/>
                      <a:pt x="90" y="599"/>
                      <a:pt x="90" y="603"/>
                    </a:cubicBezTo>
                    <a:cubicBezTo>
                      <a:pt x="91" y="607"/>
                      <a:pt x="94" y="610"/>
                      <a:pt x="94" y="610"/>
                    </a:cubicBezTo>
                    <a:cubicBezTo>
                      <a:pt x="91" y="610"/>
                      <a:pt x="91" y="610"/>
                      <a:pt x="91" y="610"/>
                    </a:cubicBezTo>
                    <a:cubicBezTo>
                      <a:pt x="88" y="607"/>
                      <a:pt x="88" y="607"/>
                      <a:pt x="88" y="607"/>
                    </a:cubicBezTo>
                    <a:cubicBezTo>
                      <a:pt x="87" y="613"/>
                      <a:pt x="87" y="613"/>
                      <a:pt x="87" y="613"/>
                    </a:cubicBezTo>
                    <a:cubicBezTo>
                      <a:pt x="95" y="613"/>
                      <a:pt x="95" y="613"/>
                      <a:pt x="95" y="613"/>
                    </a:cubicBezTo>
                    <a:cubicBezTo>
                      <a:pt x="93" y="614"/>
                      <a:pt x="93" y="614"/>
                      <a:pt x="93" y="614"/>
                    </a:cubicBezTo>
                    <a:cubicBezTo>
                      <a:pt x="94" y="619"/>
                      <a:pt x="94" y="619"/>
                      <a:pt x="94" y="619"/>
                    </a:cubicBezTo>
                    <a:cubicBezTo>
                      <a:pt x="97" y="622"/>
                      <a:pt x="97" y="622"/>
                      <a:pt x="97" y="622"/>
                    </a:cubicBezTo>
                    <a:cubicBezTo>
                      <a:pt x="97" y="622"/>
                      <a:pt x="95" y="624"/>
                      <a:pt x="97" y="628"/>
                    </a:cubicBezTo>
                    <a:cubicBezTo>
                      <a:pt x="99" y="632"/>
                      <a:pt x="101" y="632"/>
                      <a:pt x="101" y="632"/>
                    </a:cubicBezTo>
                    <a:cubicBezTo>
                      <a:pt x="104" y="635"/>
                      <a:pt x="104" y="635"/>
                      <a:pt x="104" y="635"/>
                    </a:cubicBezTo>
                    <a:cubicBezTo>
                      <a:pt x="104" y="630"/>
                      <a:pt x="104" y="630"/>
                      <a:pt x="104" y="630"/>
                    </a:cubicBezTo>
                    <a:cubicBezTo>
                      <a:pt x="110" y="626"/>
                      <a:pt x="110" y="626"/>
                      <a:pt x="110" y="626"/>
                    </a:cubicBezTo>
                    <a:cubicBezTo>
                      <a:pt x="110" y="635"/>
                      <a:pt x="110" y="635"/>
                      <a:pt x="110" y="635"/>
                    </a:cubicBezTo>
                    <a:cubicBezTo>
                      <a:pt x="112" y="635"/>
                      <a:pt x="112" y="635"/>
                      <a:pt x="112" y="635"/>
                    </a:cubicBezTo>
                    <a:cubicBezTo>
                      <a:pt x="113" y="631"/>
                      <a:pt x="113" y="631"/>
                      <a:pt x="113" y="631"/>
                    </a:cubicBezTo>
                    <a:cubicBezTo>
                      <a:pt x="118" y="635"/>
                      <a:pt x="118" y="635"/>
                      <a:pt x="118" y="635"/>
                    </a:cubicBezTo>
                    <a:cubicBezTo>
                      <a:pt x="124" y="635"/>
                      <a:pt x="124" y="635"/>
                      <a:pt x="124" y="635"/>
                    </a:cubicBezTo>
                    <a:cubicBezTo>
                      <a:pt x="131" y="638"/>
                      <a:pt x="131" y="638"/>
                      <a:pt x="131" y="638"/>
                    </a:cubicBezTo>
                    <a:cubicBezTo>
                      <a:pt x="137" y="638"/>
                      <a:pt x="137" y="638"/>
                      <a:pt x="137" y="638"/>
                    </a:cubicBezTo>
                    <a:cubicBezTo>
                      <a:pt x="135" y="646"/>
                      <a:pt x="135" y="646"/>
                      <a:pt x="135" y="646"/>
                    </a:cubicBezTo>
                    <a:cubicBezTo>
                      <a:pt x="137" y="648"/>
                      <a:pt x="137" y="648"/>
                      <a:pt x="137" y="648"/>
                    </a:cubicBezTo>
                    <a:cubicBezTo>
                      <a:pt x="144" y="645"/>
                      <a:pt x="144" y="645"/>
                      <a:pt x="144" y="645"/>
                    </a:cubicBezTo>
                    <a:cubicBezTo>
                      <a:pt x="151" y="639"/>
                      <a:pt x="151" y="639"/>
                      <a:pt x="151" y="639"/>
                    </a:cubicBezTo>
                    <a:cubicBezTo>
                      <a:pt x="152" y="640"/>
                      <a:pt x="152" y="640"/>
                      <a:pt x="152" y="640"/>
                    </a:cubicBezTo>
                    <a:cubicBezTo>
                      <a:pt x="149" y="649"/>
                      <a:pt x="149" y="649"/>
                      <a:pt x="149" y="649"/>
                    </a:cubicBezTo>
                    <a:cubicBezTo>
                      <a:pt x="154" y="653"/>
                      <a:pt x="154" y="653"/>
                      <a:pt x="154" y="653"/>
                    </a:cubicBezTo>
                    <a:cubicBezTo>
                      <a:pt x="153" y="657"/>
                      <a:pt x="153" y="657"/>
                      <a:pt x="153" y="657"/>
                    </a:cubicBezTo>
                    <a:cubicBezTo>
                      <a:pt x="157" y="656"/>
                      <a:pt x="157" y="656"/>
                      <a:pt x="157" y="656"/>
                    </a:cubicBezTo>
                    <a:cubicBezTo>
                      <a:pt x="157" y="658"/>
                      <a:pt x="157" y="658"/>
                      <a:pt x="157" y="658"/>
                    </a:cubicBezTo>
                    <a:cubicBezTo>
                      <a:pt x="150" y="664"/>
                      <a:pt x="150" y="664"/>
                      <a:pt x="150" y="664"/>
                    </a:cubicBezTo>
                    <a:cubicBezTo>
                      <a:pt x="151" y="666"/>
                      <a:pt x="151" y="666"/>
                      <a:pt x="151" y="666"/>
                    </a:cubicBezTo>
                    <a:cubicBezTo>
                      <a:pt x="156" y="666"/>
                      <a:pt x="156" y="666"/>
                      <a:pt x="156" y="666"/>
                    </a:cubicBezTo>
                    <a:cubicBezTo>
                      <a:pt x="159" y="662"/>
                      <a:pt x="159" y="662"/>
                      <a:pt x="159" y="662"/>
                    </a:cubicBezTo>
                    <a:cubicBezTo>
                      <a:pt x="159" y="662"/>
                      <a:pt x="161" y="664"/>
                      <a:pt x="161" y="666"/>
                    </a:cubicBezTo>
                    <a:cubicBezTo>
                      <a:pt x="162" y="669"/>
                      <a:pt x="152" y="674"/>
                      <a:pt x="152" y="674"/>
                    </a:cubicBezTo>
                    <a:cubicBezTo>
                      <a:pt x="163" y="671"/>
                      <a:pt x="163" y="671"/>
                      <a:pt x="163" y="671"/>
                    </a:cubicBezTo>
                    <a:cubicBezTo>
                      <a:pt x="171" y="655"/>
                      <a:pt x="171" y="655"/>
                      <a:pt x="171" y="655"/>
                    </a:cubicBezTo>
                    <a:cubicBezTo>
                      <a:pt x="169" y="663"/>
                      <a:pt x="169" y="663"/>
                      <a:pt x="169" y="663"/>
                    </a:cubicBezTo>
                    <a:cubicBezTo>
                      <a:pt x="181" y="660"/>
                      <a:pt x="181" y="660"/>
                      <a:pt x="181" y="660"/>
                    </a:cubicBezTo>
                    <a:cubicBezTo>
                      <a:pt x="189" y="654"/>
                      <a:pt x="189" y="654"/>
                      <a:pt x="189" y="654"/>
                    </a:cubicBezTo>
                    <a:cubicBezTo>
                      <a:pt x="192" y="654"/>
                      <a:pt x="192" y="654"/>
                      <a:pt x="192" y="654"/>
                    </a:cubicBezTo>
                    <a:cubicBezTo>
                      <a:pt x="198" y="649"/>
                      <a:pt x="198" y="649"/>
                      <a:pt x="198" y="649"/>
                    </a:cubicBezTo>
                    <a:cubicBezTo>
                      <a:pt x="201" y="650"/>
                      <a:pt x="201" y="650"/>
                      <a:pt x="201" y="650"/>
                    </a:cubicBezTo>
                    <a:cubicBezTo>
                      <a:pt x="203" y="655"/>
                      <a:pt x="203" y="655"/>
                      <a:pt x="203" y="655"/>
                    </a:cubicBezTo>
                    <a:cubicBezTo>
                      <a:pt x="206" y="653"/>
                      <a:pt x="206" y="653"/>
                      <a:pt x="206" y="653"/>
                    </a:cubicBezTo>
                    <a:cubicBezTo>
                      <a:pt x="206" y="645"/>
                      <a:pt x="206" y="645"/>
                      <a:pt x="206" y="645"/>
                    </a:cubicBezTo>
                    <a:cubicBezTo>
                      <a:pt x="221" y="638"/>
                      <a:pt x="221" y="638"/>
                      <a:pt x="221" y="638"/>
                    </a:cubicBezTo>
                    <a:cubicBezTo>
                      <a:pt x="222" y="635"/>
                      <a:pt x="222" y="635"/>
                      <a:pt x="222" y="635"/>
                    </a:cubicBezTo>
                    <a:cubicBezTo>
                      <a:pt x="235" y="629"/>
                      <a:pt x="235" y="629"/>
                      <a:pt x="235" y="629"/>
                    </a:cubicBezTo>
                    <a:cubicBezTo>
                      <a:pt x="235" y="622"/>
                      <a:pt x="235" y="622"/>
                      <a:pt x="235" y="622"/>
                    </a:cubicBezTo>
                    <a:cubicBezTo>
                      <a:pt x="235" y="622"/>
                      <a:pt x="237" y="628"/>
                      <a:pt x="241" y="628"/>
                    </a:cubicBezTo>
                    <a:cubicBezTo>
                      <a:pt x="244" y="628"/>
                      <a:pt x="248" y="626"/>
                      <a:pt x="248" y="626"/>
                    </a:cubicBezTo>
                    <a:cubicBezTo>
                      <a:pt x="245" y="624"/>
                      <a:pt x="245" y="624"/>
                      <a:pt x="245" y="624"/>
                    </a:cubicBezTo>
                    <a:cubicBezTo>
                      <a:pt x="246" y="620"/>
                      <a:pt x="246" y="620"/>
                      <a:pt x="246" y="620"/>
                    </a:cubicBezTo>
                    <a:cubicBezTo>
                      <a:pt x="251" y="624"/>
                      <a:pt x="251" y="624"/>
                      <a:pt x="251" y="624"/>
                    </a:cubicBezTo>
                    <a:cubicBezTo>
                      <a:pt x="251" y="622"/>
                      <a:pt x="251" y="622"/>
                      <a:pt x="251" y="622"/>
                    </a:cubicBezTo>
                    <a:cubicBezTo>
                      <a:pt x="245" y="613"/>
                      <a:pt x="245" y="613"/>
                      <a:pt x="245" y="613"/>
                    </a:cubicBezTo>
                    <a:cubicBezTo>
                      <a:pt x="245" y="613"/>
                      <a:pt x="254" y="619"/>
                      <a:pt x="260" y="617"/>
                    </a:cubicBezTo>
                    <a:cubicBezTo>
                      <a:pt x="264" y="614"/>
                      <a:pt x="262" y="611"/>
                      <a:pt x="262" y="611"/>
                    </a:cubicBezTo>
                    <a:cubicBezTo>
                      <a:pt x="268" y="610"/>
                      <a:pt x="268" y="610"/>
                      <a:pt x="268" y="610"/>
                    </a:cubicBezTo>
                    <a:cubicBezTo>
                      <a:pt x="273" y="608"/>
                      <a:pt x="273" y="608"/>
                      <a:pt x="273" y="608"/>
                    </a:cubicBezTo>
                    <a:cubicBezTo>
                      <a:pt x="279" y="608"/>
                      <a:pt x="279" y="608"/>
                      <a:pt x="279" y="608"/>
                    </a:cubicBezTo>
                    <a:cubicBezTo>
                      <a:pt x="283" y="602"/>
                      <a:pt x="283" y="602"/>
                      <a:pt x="283" y="602"/>
                    </a:cubicBezTo>
                    <a:cubicBezTo>
                      <a:pt x="293" y="603"/>
                      <a:pt x="293" y="603"/>
                      <a:pt x="293" y="603"/>
                    </a:cubicBezTo>
                    <a:cubicBezTo>
                      <a:pt x="304" y="598"/>
                      <a:pt x="304" y="598"/>
                      <a:pt x="304" y="598"/>
                    </a:cubicBezTo>
                    <a:cubicBezTo>
                      <a:pt x="304" y="597"/>
                      <a:pt x="304" y="597"/>
                      <a:pt x="304" y="597"/>
                    </a:cubicBezTo>
                    <a:cubicBezTo>
                      <a:pt x="312" y="581"/>
                      <a:pt x="312" y="581"/>
                      <a:pt x="312" y="581"/>
                    </a:cubicBezTo>
                    <a:cubicBezTo>
                      <a:pt x="323" y="566"/>
                      <a:pt x="323" y="566"/>
                      <a:pt x="323" y="566"/>
                    </a:cubicBezTo>
                    <a:cubicBezTo>
                      <a:pt x="327" y="563"/>
                      <a:pt x="327" y="563"/>
                      <a:pt x="327" y="563"/>
                    </a:cubicBezTo>
                    <a:cubicBezTo>
                      <a:pt x="328" y="554"/>
                      <a:pt x="328" y="554"/>
                      <a:pt x="328" y="554"/>
                    </a:cubicBezTo>
                    <a:cubicBezTo>
                      <a:pt x="341" y="540"/>
                      <a:pt x="341" y="540"/>
                      <a:pt x="341" y="540"/>
                    </a:cubicBezTo>
                    <a:cubicBezTo>
                      <a:pt x="341" y="540"/>
                      <a:pt x="346" y="527"/>
                      <a:pt x="349" y="521"/>
                    </a:cubicBezTo>
                    <a:cubicBezTo>
                      <a:pt x="352" y="516"/>
                      <a:pt x="360" y="496"/>
                      <a:pt x="363" y="485"/>
                    </a:cubicBezTo>
                    <a:cubicBezTo>
                      <a:pt x="366" y="473"/>
                      <a:pt x="375" y="460"/>
                      <a:pt x="375" y="460"/>
                    </a:cubicBezTo>
                    <a:cubicBezTo>
                      <a:pt x="375" y="460"/>
                      <a:pt x="377" y="456"/>
                      <a:pt x="378" y="452"/>
                    </a:cubicBezTo>
                    <a:cubicBezTo>
                      <a:pt x="380" y="448"/>
                      <a:pt x="382" y="424"/>
                      <a:pt x="382" y="418"/>
                    </a:cubicBezTo>
                    <a:close/>
                    <a:moveTo>
                      <a:pt x="52" y="662"/>
                    </a:moveTo>
                    <a:cubicBezTo>
                      <a:pt x="52" y="658"/>
                      <a:pt x="52" y="658"/>
                      <a:pt x="52" y="658"/>
                    </a:cubicBezTo>
                    <a:cubicBezTo>
                      <a:pt x="54" y="657"/>
                      <a:pt x="54" y="657"/>
                      <a:pt x="54" y="657"/>
                    </a:cubicBezTo>
                    <a:cubicBezTo>
                      <a:pt x="54" y="657"/>
                      <a:pt x="54" y="659"/>
                      <a:pt x="55" y="661"/>
                    </a:cubicBezTo>
                    <a:cubicBezTo>
                      <a:pt x="56" y="662"/>
                      <a:pt x="61" y="660"/>
                      <a:pt x="61" y="660"/>
                    </a:cubicBezTo>
                    <a:cubicBezTo>
                      <a:pt x="60" y="653"/>
                      <a:pt x="60" y="653"/>
                      <a:pt x="60" y="653"/>
                    </a:cubicBezTo>
                    <a:cubicBezTo>
                      <a:pt x="55" y="653"/>
                      <a:pt x="55" y="653"/>
                      <a:pt x="55" y="653"/>
                    </a:cubicBezTo>
                    <a:cubicBezTo>
                      <a:pt x="55" y="650"/>
                      <a:pt x="55" y="650"/>
                      <a:pt x="55" y="650"/>
                    </a:cubicBezTo>
                    <a:cubicBezTo>
                      <a:pt x="51" y="651"/>
                      <a:pt x="51" y="651"/>
                      <a:pt x="51" y="651"/>
                    </a:cubicBezTo>
                    <a:cubicBezTo>
                      <a:pt x="51" y="651"/>
                      <a:pt x="50" y="649"/>
                      <a:pt x="50" y="647"/>
                    </a:cubicBezTo>
                    <a:cubicBezTo>
                      <a:pt x="50" y="646"/>
                      <a:pt x="47" y="644"/>
                      <a:pt x="45" y="648"/>
                    </a:cubicBezTo>
                    <a:cubicBezTo>
                      <a:pt x="45" y="651"/>
                      <a:pt x="45" y="651"/>
                      <a:pt x="45" y="651"/>
                    </a:cubicBezTo>
                    <a:cubicBezTo>
                      <a:pt x="48" y="657"/>
                      <a:pt x="48" y="657"/>
                      <a:pt x="48" y="657"/>
                    </a:cubicBezTo>
                    <a:cubicBezTo>
                      <a:pt x="45" y="659"/>
                      <a:pt x="45" y="659"/>
                      <a:pt x="45" y="659"/>
                    </a:cubicBezTo>
                    <a:cubicBezTo>
                      <a:pt x="44" y="655"/>
                      <a:pt x="44" y="655"/>
                      <a:pt x="44" y="655"/>
                    </a:cubicBezTo>
                    <a:cubicBezTo>
                      <a:pt x="41" y="658"/>
                      <a:pt x="41" y="658"/>
                      <a:pt x="41" y="658"/>
                    </a:cubicBezTo>
                    <a:cubicBezTo>
                      <a:pt x="46" y="669"/>
                      <a:pt x="46" y="669"/>
                      <a:pt x="46" y="669"/>
                    </a:cubicBezTo>
                    <a:cubicBezTo>
                      <a:pt x="50" y="670"/>
                      <a:pt x="50" y="670"/>
                      <a:pt x="50" y="670"/>
                    </a:cubicBezTo>
                    <a:cubicBezTo>
                      <a:pt x="54" y="666"/>
                      <a:pt x="54" y="666"/>
                      <a:pt x="54" y="666"/>
                    </a:cubicBezTo>
                    <a:cubicBezTo>
                      <a:pt x="54" y="662"/>
                      <a:pt x="54" y="662"/>
                      <a:pt x="54" y="662"/>
                    </a:cubicBezTo>
                    <a:lnTo>
                      <a:pt x="52" y="662"/>
                    </a:lnTo>
                    <a:close/>
                    <a:moveTo>
                      <a:pt x="37" y="666"/>
                    </a:moveTo>
                    <a:cubicBezTo>
                      <a:pt x="41" y="664"/>
                      <a:pt x="41" y="664"/>
                      <a:pt x="41" y="664"/>
                    </a:cubicBezTo>
                    <a:cubicBezTo>
                      <a:pt x="39" y="658"/>
                      <a:pt x="39" y="658"/>
                      <a:pt x="39" y="658"/>
                    </a:cubicBezTo>
                    <a:lnTo>
                      <a:pt x="37" y="666"/>
                    </a:lnTo>
                    <a:close/>
                    <a:moveTo>
                      <a:pt x="55" y="670"/>
                    </a:moveTo>
                    <a:cubicBezTo>
                      <a:pt x="61" y="674"/>
                      <a:pt x="61" y="674"/>
                      <a:pt x="61" y="674"/>
                    </a:cubicBezTo>
                    <a:cubicBezTo>
                      <a:pt x="63" y="671"/>
                      <a:pt x="63" y="671"/>
                      <a:pt x="63" y="671"/>
                    </a:cubicBezTo>
                    <a:cubicBezTo>
                      <a:pt x="56" y="667"/>
                      <a:pt x="56" y="667"/>
                      <a:pt x="56" y="667"/>
                    </a:cubicBezTo>
                    <a:lnTo>
                      <a:pt x="55" y="670"/>
                    </a:lnTo>
                    <a:close/>
                    <a:moveTo>
                      <a:pt x="63" y="663"/>
                    </a:moveTo>
                    <a:cubicBezTo>
                      <a:pt x="61" y="664"/>
                      <a:pt x="61" y="667"/>
                      <a:pt x="64" y="667"/>
                    </a:cubicBezTo>
                    <a:cubicBezTo>
                      <a:pt x="66" y="666"/>
                      <a:pt x="66" y="662"/>
                      <a:pt x="63" y="663"/>
                    </a:cubicBezTo>
                    <a:close/>
                    <a:moveTo>
                      <a:pt x="107" y="657"/>
                    </a:moveTo>
                    <a:cubicBezTo>
                      <a:pt x="104" y="657"/>
                      <a:pt x="100" y="662"/>
                      <a:pt x="106" y="661"/>
                    </a:cubicBezTo>
                    <a:cubicBezTo>
                      <a:pt x="106" y="661"/>
                      <a:pt x="111" y="657"/>
                      <a:pt x="107" y="657"/>
                    </a:cubicBezTo>
                    <a:close/>
                    <a:moveTo>
                      <a:pt x="113" y="654"/>
                    </a:moveTo>
                    <a:cubicBezTo>
                      <a:pt x="111" y="655"/>
                      <a:pt x="112" y="657"/>
                      <a:pt x="112" y="657"/>
                    </a:cubicBezTo>
                    <a:cubicBezTo>
                      <a:pt x="110" y="659"/>
                      <a:pt x="110" y="659"/>
                      <a:pt x="110" y="659"/>
                    </a:cubicBezTo>
                    <a:cubicBezTo>
                      <a:pt x="111" y="660"/>
                      <a:pt x="111" y="660"/>
                      <a:pt x="111" y="660"/>
                    </a:cubicBezTo>
                    <a:cubicBezTo>
                      <a:pt x="117" y="655"/>
                      <a:pt x="117" y="655"/>
                      <a:pt x="117" y="655"/>
                    </a:cubicBezTo>
                    <a:cubicBezTo>
                      <a:pt x="117" y="655"/>
                      <a:pt x="115" y="653"/>
                      <a:pt x="113" y="654"/>
                    </a:cubicBezTo>
                    <a:close/>
                    <a:moveTo>
                      <a:pt x="119" y="654"/>
                    </a:moveTo>
                    <a:cubicBezTo>
                      <a:pt x="120" y="657"/>
                      <a:pt x="120" y="657"/>
                      <a:pt x="120" y="657"/>
                    </a:cubicBezTo>
                    <a:cubicBezTo>
                      <a:pt x="122" y="656"/>
                      <a:pt x="122" y="656"/>
                      <a:pt x="122" y="656"/>
                    </a:cubicBezTo>
                    <a:cubicBezTo>
                      <a:pt x="122" y="654"/>
                      <a:pt x="122" y="654"/>
                      <a:pt x="122" y="654"/>
                    </a:cubicBezTo>
                    <a:lnTo>
                      <a:pt x="119" y="654"/>
                    </a:lnTo>
                    <a:close/>
                    <a:moveTo>
                      <a:pt x="148" y="643"/>
                    </a:moveTo>
                    <a:cubicBezTo>
                      <a:pt x="146" y="647"/>
                      <a:pt x="146" y="647"/>
                      <a:pt x="146" y="647"/>
                    </a:cubicBezTo>
                    <a:cubicBezTo>
                      <a:pt x="142" y="648"/>
                      <a:pt x="142" y="648"/>
                      <a:pt x="142" y="648"/>
                    </a:cubicBezTo>
                    <a:cubicBezTo>
                      <a:pt x="139" y="650"/>
                      <a:pt x="139" y="650"/>
                      <a:pt x="139" y="650"/>
                    </a:cubicBezTo>
                    <a:cubicBezTo>
                      <a:pt x="134" y="651"/>
                      <a:pt x="134" y="651"/>
                      <a:pt x="134" y="651"/>
                    </a:cubicBezTo>
                    <a:cubicBezTo>
                      <a:pt x="133" y="655"/>
                      <a:pt x="133" y="655"/>
                      <a:pt x="133" y="655"/>
                    </a:cubicBezTo>
                    <a:cubicBezTo>
                      <a:pt x="136" y="655"/>
                      <a:pt x="136" y="655"/>
                      <a:pt x="136" y="655"/>
                    </a:cubicBezTo>
                    <a:cubicBezTo>
                      <a:pt x="133" y="659"/>
                      <a:pt x="133" y="659"/>
                      <a:pt x="133" y="659"/>
                    </a:cubicBezTo>
                    <a:cubicBezTo>
                      <a:pt x="133" y="664"/>
                      <a:pt x="133" y="664"/>
                      <a:pt x="133" y="664"/>
                    </a:cubicBezTo>
                    <a:cubicBezTo>
                      <a:pt x="139" y="661"/>
                      <a:pt x="139" y="661"/>
                      <a:pt x="139" y="661"/>
                    </a:cubicBezTo>
                    <a:cubicBezTo>
                      <a:pt x="145" y="661"/>
                      <a:pt x="145" y="661"/>
                      <a:pt x="145" y="661"/>
                    </a:cubicBezTo>
                    <a:cubicBezTo>
                      <a:pt x="149" y="654"/>
                      <a:pt x="149" y="654"/>
                      <a:pt x="149" y="654"/>
                    </a:cubicBezTo>
                    <a:cubicBezTo>
                      <a:pt x="147" y="649"/>
                      <a:pt x="147" y="649"/>
                      <a:pt x="147" y="649"/>
                    </a:cubicBezTo>
                    <a:cubicBezTo>
                      <a:pt x="149" y="644"/>
                      <a:pt x="149" y="644"/>
                      <a:pt x="149" y="644"/>
                    </a:cubicBezTo>
                    <a:lnTo>
                      <a:pt x="148" y="643"/>
                    </a:lnTo>
                    <a:close/>
                    <a:moveTo>
                      <a:pt x="111" y="639"/>
                    </a:moveTo>
                    <a:cubicBezTo>
                      <a:pt x="112" y="640"/>
                      <a:pt x="112" y="640"/>
                      <a:pt x="112" y="640"/>
                    </a:cubicBezTo>
                    <a:cubicBezTo>
                      <a:pt x="110" y="643"/>
                      <a:pt x="110" y="643"/>
                      <a:pt x="110" y="643"/>
                    </a:cubicBezTo>
                    <a:cubicBezTo>
                      <a:pt x="112" y="643"/>
                      <a:pt x="112" y="643"/>
                      <a:pt x="112" y="643"/>
                    </a:cubicBezTo>
                    <a:cubicBezTo>
                      <a:pt x="114" y="642"/>
                      <a:pt x="114" y="642"/>
                      <a:pt x="114" y="642"/>
                    </a:cubicBezTo>
                    <a:cubicBezTo>
                      <a:pt x="117" y="644"/>
                      <a:pt x="117" y="644"/>
                      <a:pt x="117" y="644"/>
                    </a:cubicBezTo>
                    <a:cubicBezTo>
                      <a:pt x="118" y="641"/>
                      <a:pt x="118" y="641"/>
                      <a:pt x="118" y="641"/>
                    </a:cubicBezTo>
                    <a:cubicBezTo>
                      <a:pt x="113" y="638"/>
                      <a:pt x="113" y="638"/>
                      <a:pt x="113" y="638"/>
                    </a:cubicBezTo>
                    <a:lnTo>
                      <a:pt x="111" y="639"/>
                    </a:lnTo>
                    <a:close/>
                    <a:moveTo>
                      <a:pt x="99" y="634"/>
                    </a:moveTo>
                    <a:cubicBezTo>
                      <a:pt x="95" y="631"/>
                      <a:pt x="94" y="630"/>
                      <a:pt x="95" y="632"/>
                    </a:cubicBezTo>
                    <a:cubicBezTo>
                      <a:pt x="97" y="637"/>
                      <a:pt x="97" y="637"/>
                      <a:pt x="97" y="637"/>
                    </a:cubicBezTo>
                    <a:cubicBezTo>
                      <a:pt x="102" y="637"/>
                      <a:pt x="102" y="637"/>
                      <a:pt x="99" y="634"/>
                    </a:cubicBezTo>
                    <a:close/>
                    <a:moveTo>
                      <a:pt x="90" y="628"/>
                    </a:moveTo>
                    <a:cubicBezTo>
                      <a:pt x="93" y="631"/>
                      <a:pt x="93" y="631"/>
                      <a:pt x="93" y="631"/>
                    </a:cubicBezTo>
                    <a:cubicBezTo>
                      <a:pt x="94" y="628"/>
                      <a:pt x="94" y="628"/>
                      <a:pt x="94" y="628"/>
                    </a:cubicBezTo>
                    <a:cubicBezTo>
                      <a:pt x="91" y="627"/>
                      <a:pt x="91" y="627"/>
                      <a:pt x="91" y="627"/>
                    </a:cubicBezTo>
                    <a:lnTo>
                      <a:pt x="90" y="628"/>
                    </a:lnTo>
                    <a:close/>
                    <a:moveTo>
                      <a:pt x="175" y="667"/>
                    </a:moveTo>
                    <a:cubicBezTo>
                      <a:pt x="175" y="664"/>
                      <a:pt x="175" y="664"/>
                      <a:pt x="175" y="664"/>
                    </a:cubicBezTo>
                    <a:cubicBezTo>
                      <a:pt x="170" y="666"/>
                      <a:pt x="170" y="666"/>
                      <a:pt x="170" y="666"/>
                    </a:cubicBezTo>
                    <a:lnTo>
                      <a:pt x="175" y="667"/>
                    </a:lnTo>
                    <a:close/>
                    <a:moveTo>
                      <a:pt x="74" y="466"/>
                    </a:moveTo>
                    <a:cubicBezTo>
                      <a:pt x="72" y="462"/>
                      <a:pt x="72" y="462"/>
                      <a:pt x="72" y="462"/>
                    </a:cubicBezTo>
                    <a:cubicBezTo>
                      <a:pt x="72" y="462"/>
                      <a:pt x="69" y="464"/>
                      <a:pt x="68" y="464"/>
                    </a:cubicBezTo>
                    <a:cubicBezTo>
                      <a:pt x="66" y="464"/>
                      <a:pt x="67" y="461"/>
                      <a:pt x="67" y="461"/>
                    </a:cubicBezTo>
                    <a:cubicBezTo>
                      <a:pt x="66" y="459"/>
                      <a:pt x="66" y="459"/>
                      <a:pt x="66" y="459"/>
                    </a:cubicBezTo>
                    <a:cubicBezTo>
                      <a:pt x="62" y="461"/>
                      <a:pt x="62" y="461"/>
                      <a:pt x="62" y="461"/>
                    </a:cubicBezTo>
                    <a:cubicBezTo>
                      <a:pt x="66" y="468"/>
                      <a:pt x="66" y="468"/>
                      <a:pt x="66" y="468"/>
                    </a:cubicBezTo>
                    <a:cubicBezTo>
                      <a:pt x="71" y="469"/>
                      <a:pt x="74" y="466"/>
                      <a:pt x="74" y="466"/>
                    </a:cubicBezTo>
                    <a:close/>
                    <a:moveTo>
                      <a:pt x="72" y="456"/>
                    </a:moveTo>
                    <a:cubicBezTo>
                      <a:pt x="67" y="457"/>
                      <a:pt x="67" y="457"/>
                      <a:pt x="67" y="457"/>
                    </a:cubicBezTo>
                    <a:cubicBezTo>
                      <a:pt x="70" y="460"/>
                      <a:pt x="70" y="460"/>
                      <a:pt x="70" y="460"/>
                    </a:cubicBezTo>
                    <a:lnTo>
                      <a:pt x="72" y="456"/>
                    </a:lnTo>
                    <a:close/>
                    <a:moveTo>
                      <a:pt x="93" y="452"/>
                    </a:moveTo>
                    <a:cubicBezTo>
                      <a:pt x="90" y="456"/>
                      <a:pt x="90" y="456"/>
                      <a:pt x="90" y="456"/>
                    </a:cubicBezTo>
                    <a:cubicBezTo>
                      <a:pt x="94" y="456"/>
                      <a:pt x="94" y="456"/>
                      <a:pt x="94" y="456"/>
                    </a:cubicBezTo>
                    <a:cubicBezTo>
                      <a:pt x="97" y="454"/>
                      <a:pt x="97" y="454"/>
                      <a:pt x="97" y="454"/>
                    </a:cubicBezTo>
                    <a:lnTo>
                      <a:pt x="93" y="452"/>
                    </a:lnTo>
                    <a:close/>
                    <a:moveTo>
                      <a:pt x="157" y="329"/>
                    </a:moveTo>
                    <a:cubicBezTo>
                      <a:pt x="153" y="331"/>
                      <a:pt x="153" y="331"/>
                      <a:pt x="153" y="331"/>
                    </a:cubicBezTo>
                    <a:cubicBezTo>
                      <a:pt x="152" y="328"/>
                      <a:pt x="152" y="328"/>
                      <a:pt x="152" y="328"/>
                    </a:cubicBezTo>
                    <a:cubicBezTo>
                      <a:pt x="145" y="331"/>
                      <a:pt x="145" y="331"/>
                      <a:pt x="145" y="331"/>
                    </a:cubicBezTo>
                    <a:cubicBezTo>
                      <a:pt x="145" y="335"/>
                      <a:pt x="145" y="335"/>
                      <a:pt x="145" y="335"/>
                    </a:cubicBezTo>
                    <a:cubicBezTo>
                      <a:pt x="145" y="336"/>
                      <a:pt x="147" y="338"/>
                      <a:pt x="147" y="338"/>
                    </a:cubicBezTo>
                    <a:cubicBezTo>
                      <a:pt x="153" y="336"/>
                      <a:pt x="153" y="336"/>
                      <a:pt x="153" y="336"/>
                    </a:cubicBezTo>
                    <a:cubicBezTo>
                      <a:pt x="152" y="332"/>
                      <a:pt x="152" y="332"/>
                      <a:pt x="152" y="332"/>
                    </a:cubicBezTo>
                    <a:cubicBezTo>
                      <a:pt x="157" y="331"/>
                      <a:pt x="157" y="331"/>
                      <a:pt x="157" y="331"/>
                    </a:cubicBezTo>
                    <a:lnTo>
                      <a:pt x="157" y="329"/>
                    </a:lnTo>
                    <a:close/>
                    <a:moveTo>
                      <a:pt x="244" y="634"/>
                    </a:moveTo>
                    <a:cubicBezTo>
                      <a:pt x="247" y="630"/>
                      <a:pt x="247" y="630"/>
                      <a:pt x="247" y="630"/>
                    </a:cubicBezTo>
                    <a:cubicBezTo>
                      <a:pt x="243" y="631"/>
                      <a:pt x="243" y="631"/>
                      <a:pt x="243" y="631"/>
                    </a:cubicBezTo>
                    <a:lnTo>
                      <a:pt x="244" y="634"/>
                    </a:lnTo>
                    <a:close/>
                    <a:moveTo>
                      <a:pt x="260" y="618"/>
                    </a:moveTo>
                    <a:cubicBezTo>
                      <a:pt x="265" y="619"/>
                      <a:pt x="265" y="619"/>
                      <a:pt x="265" y="619"/>
                    </a:cubicBezTo>
                    <a:cubicBezTo>
                      <a:pt x="263" y="616"/>
                      <a:pt x="263" y="616"/>
                      <a:pt x="263" y="616"/>
                    </a:cubicBezTo>
                    <a:lnTo>
                      <a:pt x="260" y="618"/>
                    </a:lnTo>
                    <a:close/>
                    <a:moveTo>
                      <a:pt x="265" y="614"/>
                    </a:moveTo>
                    <a:cubicBezTo>
                      <a:pt x="267" y="617"/>
                      <a:pt x="267" y="617"/>
                      <a:pt x="267" y="617"/>
                    </a:cubicBezTo>
                    <a:cubicBezTo>
                      <a:pt x="271" y="615"/>
                      <a:pt x="271" y="615"/>
                      <a:pt x="271" y="615"/>
                    </a:cubicBezTo>
                    <a:cubicBezTo>
                      <a:pt x="270" y="613"/>
                      <a:pt x="270" y="613"/>
                      <a:pt x="270" y="613"/>
                    </a:cubicBezTo>
                    <a:lnTo>
                      <a:pt x="265" y="614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73" name="Faroe Islands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3732213" y="2273300"/>
                <a:ext cx="109537" cy="131762"/>
              </a:xfrm>
              <a:custGeom>
                <a:avLst/>
                <a:gdLst/>
                <a:ahLst/>
                <a:cxnLst>
                  <a:cxn ang="0">
                    <a:pos x="7" y="13"/>
                  </a:cxn>
                  <a:cxn ang="0">
                    <a:pos x="0" y="11"/>
                  </a:cxn>
                  <a:cxn ang="0">
                    <a:pos x="32" y="30"/>
                  </a:cxn>
                  <a:cxn ang="0">
                    <a:pos x="29" y="30"/>
                  </a:cxn>
                  <a:cxn ang="0">
                    <a:pos x="21" y="22"/>
                  </a:cxn>
                  <a:cxn ang="0">
                    <a:pos x="21" y="26"/>
                  </a:cxn>
                  <a:cxn ang="0">
                    <a:pos x="19" y="40"/>
                  </a:cxn>
                  <a:cxn ang="0">
                    <a:pos x="21" y="37"/>
                  </a:cxn>
                  <a:cxn ang="0">
                    <a:pos x="20" y="30"/>
                  </a:cxn>
                  <a:cxn ang="0">
                    <a:pos x="23" y="34"/>
                  </a:cxn>
                  <a:cxn ang="0">
                    <a:pos x="28" y="36"/>
                  </a:cxn>
                  <a:cxn ang="0">
                    <a:pos x="20" y="30"/>
                  </a:cxn>
                  <a:cxn ang="0">
                    <a:pos x="19" y="16"/>
                  </a:cxn>
                  <a:cxn ang="0">
                    <a:pos x="14" y="13"/>
                  </a:cxn>
                  <a:cxn ang="0">
                    <a:pos x="10" y="11"/>
                  </a:cxn>
                  <a:cxn ang="0">
                    <a:pos x="11" y="17"/>
                  </a:cxn>
                  <a:cxn ang="0">
                    <a:pos x="27" y="21"/>
                  </a:cxn>
                  <a:cxn ang="0">
                    <a:pos x="23" y="11"/>
                  </a:cxn>
                  <a:cxn ang="0">
                    <a:pos x="19" y="6"/>
                  </a:cxn>
                  <a:cxn ang="0">
                    <a:pos x="22" y="16"/>
                  </a:cxn>
                  <a:cxn ang="0">
                    <a:pos x="27" y="30"/>
                  </a:cxn>
                  <a:cxn ang="0">
                    <a:pos x="27" y="21"/>
                  </a:cxn>
                  <a:cxn ang="0">
                    <a:pos x="28" y="15"/>
                  </a:cxn>
                  <a:cxn ang="0">
                    <a:pos x="30" y="16"/>
                  </a:cxn>
                  <a:cxn ang="0">
                    <a:pos x="34" y="14"/>
                  </a:cxn>
                  <a:cxn ang="0">
                    <a:pos x="32" y="9"/>
                  </a:cxn>
                  <a:cxn ang="0">
                    <a:pos x="28" y="6"/>
                  </a:cxn>
                  <a:cxn ang="0">
                    <a:pos x="29" y="2"/>
                  </a:cxn>
                  <a:cxn ang="0">
                    <a:pos x="24" y="10"/>
                  </a:cxn>
                  <a:cxn ang="0">
                    <a:pos x="31" y="14"/>
                  </a:cxn>
                  <a:cxn ang="0">
                    <a:pos x="30" y="20"/>
                  </a:cxn>
                  <a:cxn ang="0">
                    <a:pos x="35" y="18"/>
                  </a:cxn>
                  <a:cxn ang="0">
                    <a:pos x="31" y="14"/>
                  </a:cxn>
                  <a:cxn ang="0">
                    <a:pos x="38" y="10"/>
                  </a:cxn>
                  <a:cxn ang="0">
                    <a:pos x="37" y="14"/>
                  </a:cxn>
                  <a:cxn ang="0">
                    <a:pos x="42" y="13"/>
                  </a:cxn>
                  <a:cxn ang="0">
                    <a:pos x="38" y="5"/>
                  </a:cxn>
                  <a:cxn ang="0">
                    <a:pos x="44" y="9"/>
                  </a:cxn>
                  <a:cxn ang="0">
                    <a:pos x="42" y="1"/>
                  </a:cxn>
                  <a:cxn ang="0">
                    <a:pos x="38" y="1"/>
                  </a:cxn>
                  <a:cxn ang="0">
                    <a:pos x="36" y="8"/>
                  </a:cxn>
                  <a:cxn ang="0">
                    <a:pos x="38" y="1"/>
                  </a:cxn>
                  <a:cxn ang="0">
                    <a:pos x="32" y="2"/>
                  </a:cxn>
                  <a:cxn ang="0">
                    <a:pos x="34" y="2"/>
                  </a:cxn>
                  <a:cxn ang="0">
                    <a:pos x="45" y="14"/>
                  </a:cxn>
                  <a:cxn ang="0">
                    <a:pos x="47" y="11"/>
                  </a:cxn>
                  <a:cxn ang="0">
                    <a:pos x="48" y="9"/>
                  </a:cxn>
                  <a:cxn ang="0">
                    <a:pos x="48" y="5"/>
                  </a:cxn>
                  <a:cxn ang="0">
                    <a:pos x="48" y="5"/>
                  </a:cxn>
                  <a:cxn ang="0">
                    <a:pos x="16" y="49"/>
                  </a:cxn>
                  <a:cxn ang="0">
                    <a:pos x="14" y="45"/>
                  </a:cxn>
                  <a:cxn ang="0">
                    <a:pos x="13" y="55"/>
                  </a:cxn>
                  <a:cxn ang="0">
                    <a:pos x="18" y="62"/>
                  </a:cxn>
                  <a:cxn ang="0">
                    <a:pos x="17" y="57"/>
                  </a:cxn>
                  <a:cxn ang="0">
                    <a:pos x="19" y="53"/>
                  </a:cxn>
                </a:cxnLst>
                <a:rect l="0" t="0" r="r" b="b"/>
                <a:pathLst>
                  <a:path w="51" h="62">
                    <a:moveTo>
                      <a:pt x="0" y="11"/>
                    </a:moveTo>
                    <a:cubicBezTo>
                      <a:pt x="7" y="13"/>
                      <a:pt x="7" y="13"/>
                      <a:pt x="7" y="13"/>
                    </a:cubicBezTo>
                    <a:cubicBezTo>
                      <a:pt x="6" y="10"/>
                      <a:pt x="6" y="10"/>
                      <a:pt x="6" y="10"/>
                    </a:cubicBezTo>
                    <a:lnTo>
                      <a:pt x="0" y="11"/>
                    </a:lnTo>
                    <a:close/>
                    <a:moveTo>
                      <a:pt x="29" y="30"/>
                    </a:moveTo>
                    <a:cubicBezTo>
                      <a:pt x="32" y="30"/>
                      <a:pt x="32" y="30"/>
                      <a:pt x="32" y="30"/>
                    </a:cubicBezTo>
                    <a:cubicBezTo>
                      <a:pt x="30" y="24"/>
                      <a:pt x="30" y="24"/>
                      <a:pt x="30" y="24"/>
                    </a:cubicBezTo>
                    <a:lnTo>
                      <a:pt x="29" y="30"/>
                    </a:lnTo>
                    <a:close/>
                    <a:moveTo>
                      <a:pt x="22" y="27"/>
                    </a:moveTo>
                    <a:cubicBezTo>
                      <a:pt x="21" y="22"/>
                      <a:pt x="21" y="22"/>
                      <a:pt x="21" y="22"/>
                    </a:cubicBezTo>
                    <a:cubicBezTo>
                      <a:pt x="19" y="23"/>
                      <a:pt x="19" y="23"/>
                      <a:pt x="19" y="23"/>
                    </a:cubicBezTo>
                    <a:cubicBezTo>
                      <a:pt x="21" y="26"/>
                      <a:pt x="21" y="26"/>
                      <a:pt x="21" y="26"/>
                    </a:cubicBezTo>
                    <a:lnTo>
                      <a:pt x="22" y="27"/>
                    </a:lnTo>
                    <a:close/>
                    <a:moveTo>
                      <a:pt x="19" y="40"/>
                    </a:moveTo>
                    <a:cubicBezTo>
                      <a:pt x="21" y="39"/>
                      <a:pt x="21" y="39"/>
                      <a:pt x="21" y="39"/>
                    </a:cubicBezTo>
                    <a:cubicBezTo>
                      <a:pt x="21" y="37"/>
                      <a:pt x="21" y="37"/>
                      <a:pt x="21" y="37"/>
                    </a:cubicBezTo>
                    <a:lnTo>
                      <a:pt x="19" y="40"/>
                    </a:lnTo>
                    <a:close/>
                    <a:moveTo>
                      <a:pt x="20" y="30"/>
                    </a:moveTo>
                    <a:cubicBezTo>
                      <a:pt x="20" y="34"/>
                      <a:pt x="20" y="34"/>
                      <a:pt x="20" y="34"/>
                    </a:cubicBezTo>
                    <a:cubicBezTo>
                      <a:pt x="23" y="34"/>
                      <a:pt x="23" y="34"/>
                      <a:pt x="23" y="34"/>
                    </a:cubicBezTo>
                    <a:cubicBezTo>
                      <a:pt x="24" y="40"/>
                      <a:pt x="24" y="40"/>
                      <a:pt x="24" y="40"/>
                    </a:cubicBezTo>
                    <a:cubicBezTo>
                      <a:pt x="28" y="36"/>
                      <a:pt x="28" y="36"/>
                      <a:pt x="28" y="36"/>
                    </a:cubicBezTo>
                    <a:cubicBezTo>
                      <a:pt x="28" y="36"/>
                      <a:pt x="27" y="34"/>
                      <a:pt x="24" y="32"/>
                    </a:cubicBezTo>
                    <a:cubicBezTo>
                      <a:pt x="23" y="31"/>
                      <a:pt x="20" y="30"/>
                      <a:pt x="20" y="30"/>
                    </a:cubicBezTo>
                    <a:close/>
                    <a:moveTo>
                      <a:pt x="15" y="20"/>
                    </a:moveTo>
                    <a:cubicBezTo>
                      <a:pt x="18" y="19"/>
                      <a:pt x="19" y="16"/>
                      <a:pt x="19" y="16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4" y="13"/>
                      <a:pt x="14" y="13"/>
                      <a:pt x="14" y="13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10" y="11"/>
                      <a:pt x="10" y="11"/>
                      <a:pt x="10" y="11"/>
                    </a:cubicBezTo>
                    <a:cubicBezTo>
                      <a:pt x="10" y="11"/>
                      <a:pt x="12" y="13"/>
                      <a:pt x="11" y="14"/>
                    </a:cubicBezTo>
                    <a:cubicBezTo>
                      <a:pt x="11" y="17"/>
                      <a:pt x="11" y="17"/>
                      <a:pt x="11" y="17"/>
                    </a:cubicBezTo>
                    <a:cubicBezTo>
                      <a:pt x="11" y="17"/>
                      <a:pt x="12" y="20"/>
                      <a:pt x="15" y="20"/>
                    </a:cubicBezTo>
                    <a:close/>
                    <a:moveTo>
                      <a:pt x="27" y="21"/>
                    </a:moveTo>
                    <a:cubicBezTo>
                      <a:pt x="27" y="21"/>
                      <a:pt x="28" y="19"/>
                      <a:pt x="27" y="18"/>
                    </a:cubicBezTo>
                    <a:cubicBezTo>
                      <a:pt x="26" y="17"/>
                      <a:pt x="23" y="11"/>
                      <a:pt x="23" y="11"/>
                    </a:cubicBezTo>
                    <a:cubicBezTo>
                      <a:pt x="23" y="11"/>
                      <a:pt x="23" y="3"/>
                      <a:pt x="21" y="3"/>
                    </a:cubicBezTo>
                    <a:cubicBezTo>
                      <a:pt x="20" y="3"/>
                      <a:pt x="19" y="6"/>
                      <a:pt x="19" y="6"/>
                    </a:cubicBezTo>
                    <a:cubicBezTo>
                      <a:pt x="18" y="10"/>
                      <a:pt x="18" y="10"/>
                      <a:pt x="18" y="10"/>
                    </a:cubicBezTo>
                    <a:cubicBezTo>
                      <a:pt x="19" y="14"/>
                      <a:pt x="22" y="13"/>
                      <a:pt x="22" y="16"/>
                    </a:cubicBezTo>
                    <a:cubicBezTo>
                      <a:pt x="22" y="19"/>
                      <a:pt x="23" y="25"/>
                      <a:pt x="24" y="26"/>
                    </a:cubicBezTo>
                    <a:cubicBezTo>
                      <a:pt x="26" y="26"/>
                      <a:pt x="27" y="30"/>
                      <a:pt x="27" y="30"/>
                    </a:cubicBezTo>
                    <a:cubicBezTo>
                      <a:pt x="27" y="30"/>
                      <a:pt x="29" y="26"/>
                      <a:pt x="29" y="24"/>
                    </a:cubicBezTo>
                    <a:cubicBezTo>
                      <a:pt x="28" y="22"/>
                      <a:pt x="27" y="21"/>
                      <a:pt x="27" y="21"/>
                    </a:cubicBezTo>
                    <a:close/>
                    <a:moveTo>
                      <a:pt x="28" y="13"/>
                    </a:moveTo>
                    <a:cubicBezTo>
                      <a:pt x="28" y="15"/>
                      <a:pt x="28" y="15"/>
                      <a:pt x="28" y="15"/>
                    </a:cubicBezTo>
                    <a:cubicBezTo>
                      <a:pt x="30" y="18"/>
                      <a:pt x="30" y="18"/>
                      <a:pt x="30" y="18"/>
                    </a:cubicBezTo>
                    <a:cubicBezTo>
                      <a:pt x="30" y="16"/>
                      <a:pt x="30" y="16"/>
                      <a:pt x="30" y="16"/>
                    </a:cubicBezTo>
                    <a:cubicBezTo>
                      <a:pt x="30" y="14"/>
                      <a:pt x="30" y="14"/>
                      <a:pt x="30" y="14"/>
                    </a:cubicBezTo>
                    <a:cubicBezTo>
                      <a:pt x="34" y="14"/>
                      <a:pt x="34" y="14"/>
                      <a:pt x="34" y="14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32" y="9"/>
                      <a:pt x="32" y="9"/>
                      <a:pt x="32" y="9"/>
                    </a:cubicBezTo>
                    <a:cubicBezTo>
                      <a:pt x="30" y="6"/>
                      <a:pt x="30" y="6"/>
                      <a:pt x="30" y="6"/>
                    </a:cubicBezTo>
                    <a:cubicBezTo>
                      <a:pt x="28" y="6"/>
                      <a:pt x="28" y="6"/>
                      <a:pt x="28" y="6"/>
                    </a:cubicBezTo>
                    <a:cubicBezTo>
                      <a:pt x="29" y="4"/>
                      <a:pt x="29" y="4"/>
                      <a:pt x="29" y="4"/>
                    </a:cubicBezTo>
                    <a:cubicBezTo>
                      <a:pt x="29" y="2"/>
                      <a:pt x="29" y="2"/>
                      <a:pt x="29" y="2"/>
                    </a:cubicBezTo>
                    <a:cubicBezTo>
                      <a:pt x="24" y="2"/>
                      <a:pt x="24" y="2"/>
                      <a:pt x="24" y="2"/>
                    </a:cubicBezTo>
                    <a:cubicBezTo>
                      <a:pt x="24" y="10"/>
                      <a:pt x="24" y="10"/>
                      <a:pt x="24" y="10"/>
                    </a:cubicBezTo>
                    <a:lnTo>
                      <a:pt x="28" y="13"/>
                    </a:lnTo>
                    <a:close/>
                    <a:moveTo>
                      <a:pt x="31" y="14"/>
                    </a:moveTo>
                    <a:cubicBezTo>
                      <a:pt x="32" y="17"/>
                      <a:pt x="32" y="17"/>
                      <a:pt x="32" y="17"/>
                    </a:cubicBezTo>
                    <a:cubicBezTo>
                      <a:pt x="30" y="20"/>
                      <a:pt x="30" y="20"/>
                      <a:pt x="30" y="20"/>
                    </a:cubicBezTo>
                    <a:cubicBezTo>
                      <a:pt x="32" y="21"/>
                      <a:pt x="32" y="21"/>
                      <a:pt x="32" y="21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3" y="15"/>
                      <a:pt x="33" y="15"/>
                      <a:pt x="33" y="15"/>
                    </a:cubicBezTo>
                    <a:lnTo>
                      <a:pt x="31" y="14"/>
                    </a:lnTo>
                    <a:close/>
                    <a:moveTo>
                      <a:pt x="38" y="5"/>
                    </a:moveTo>
                    <a:cubicBezTo>
                      <a:pt x="38" y="10"/>
                      <a:pt x="38" y="10"/>
                      <a:pt x="38" y="10"/>
                    </a:cubicBezTo>
                    <a:cubicBezTo>
                      <a:pt x="37" y="11"/>
                      <a:pt x="37" y="11"/>
                      <a:pt x="37" y="11"/>
                    </a:cubicBezTo>
                    <a:cubicBezTo>
                      <a:pt x="37" y="14"/>
                      <a:pt x="37" y="14"/>
                      <a:pt x="37" y="14"/>
                    </a:cubicBezTo>
                    <a:cubicBezTo>
                      <a:pt x="40" y="16"/>
                      <a:pt x="40" y="16"/>
                      <a:pt x="40" y="16"/>
                    </a:cubicBezTo>
                    <a:cubicBezTo>
                      <a:pt x="42" y="13"/>
                      <a:pt x="42" y="13"/>
                      <a:pt x="42" y="13"/>
                    </a:cubicBezTo>
                    <a:cubicBezTo>
                      <a:pt x="39" y="5"/>
                      <a:pt x="39" y="5"/>
                      <a:pt x="39" y="5"/>
                    </a:cubicBezTo>
                    <a:lnTo>
                      <a:pt x="38" y="5"/>
                    </a:lnTo>
                    <a:close/>
                    <a:moveTo>
                      <a:pt x="43" y="8"/>
                    </a:moveTo>
                    <a:cubicBezTo>
                      <a:pt x="44" y="9"/>
                      <a:pt x="44" y="9"/>
                      <a:pt x="44" y="9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42" y="1"/>
                      <a:pt x="42" y="1"/>
                      <a:pt x="42" y="1"/>
                    </a:cubicBezTo>
                    <a:lnTo>
                      <a:pt x="43" y="8"/>
                    </a:lnTo>
                    <a:close/>
                    <a:moveTo>
                      <a:pt x="38" y="1"/>
                    </a:moveTo>
                    <a:cubicBezTo>
                      <a:pt x="36" y="2"/>
                      <a:pt x="36" y="2"/>
                      <a:pt x="36" y="2"/>
                    </a:cubicBezTo>
                    <a:cubicBezTo>
                      <a:pt x="36" y="8"/>
                      <a:pt x="36" y="8"/>
                      <a:pt x="36" y="8"/>
                    </a:cubicBezTo>
                    <a:cubicBezTo>
                      <a:pt x="37" y="8"/>
                      <a:pt x="37" y="8"/>
                      <a:pt x="37" y="8"/>
                    </a:cubicBezTo>
                    <a:lnTo>
                      <a:pt x="38" y="1"/>
                    </a:lnTo>
                    <a:close/>
                    <a:moveTo>
                      <a:pt x="34" y="2"/>
                    </a:moveTo>
                    <a:cubicBezTo>
                      <a:pt x="32" y="2"/>
                      <a:pt x="32" y="2"/>
                      <a:pt x="32" y="2"/>
                    </a:cubicBezTo>
                    <a:cubicBezTo>
                      <a:pt x="34" y="9"/>
                      <a:pt x="34" y="9"/>
                      <a:pt x="34" y="9"/>
                    </a:cubicBezTo>
                    <a:lnTo>
                      <a:pt x="34" y="2"/>
                    </a:lnTo>
                    <a:close/>
                    <a:moveTo>
                      <a:pt x="45" y="11"/>
                    </a:moveTo>
                    <a:cubicBezTo>
                      <a:pt x="45" y="14"/>
                      <a:pt x="45" y="14"/>
                      <a:pt x="45" y="14"/>
                    </a:cubicBezTo>
                    <a:cubicBezTo>
                      <a:pt x="47" y="15"/>
                      <a:pt x="47" y="15"/>
                      <a:pt x="47" y="15"/>
                    </a:cubicBezTo>
                    <a:cubicBezTo>
                      <a:pt x="47" y="11"/>
                      <a:pt x="47" y="11"/>
                      <a:pt x="47" y="11"/>
                    </a:cubicBezTo>
                    <a:cubicBezTo>
                      <a:pt x="49" y="10"/>
                      <a:pt x="49" y="10"/>
                      <a:pt x="49" y="10"/>
                    </a:cubicBezTo>
                    <a:cubicBezTo>
                      <a:pt x="48" y="9"/>
                      <a:pt x="48" y="9"/>
                      <a:pt x="48" y="9"/>
                    </a:cubicBezTo>
                    <a:lnTo>
                      <a:pt x="45" y="11"/>
                    </a:lnTo>
                    <a:close/>
                    <a:moveTo>
                      <a:pt x="48" y="5"/>
                    </a:moveTo>
                    <a:cubicBezTo>
                      <a:pt x="45" y="6"/>
                      <a:pt x="48" y="7"/>
                      <a:pt x="48" y="7"/>
                    </a:cubicBezTo>
                    <a:cubicBezTo>
                      <a:pt x="50" y="7"/>
                      <a:pt x="51" y="4"/>
                      <a:pt x="48" y="5"/>
                    </a:cubicBezTo>
                    <a:close/>
                    <a:moveTo>
                      <a:pt x="20" y="51"/>
                    </a:moveTo>
                    <a:cubicBezTo>
                      <a:pt x="18" y="50"/>
                      <a:pt x="16" y="50"/>
                      <a:pt x="16" y="49"/>
                    </a:cubicBezTo>
                    <a:cubicBezTo>
                      <a:pt x="16" y="48"/>
                      <a:pt x="17" y="47"/>
                      <a:pt x="17" y="46"/>
                    </a:cubicBezTo>
                    <a:cubicBezTo>
                      <a:pt x="17" y="45"/>
                      <a:pt x="15" y="42"/>
                      <a:pt x="14" y="45"/>
                    </a:cubicBezTo>
                    <a:cubicBezTo>
                      <a:pt x="13" y="47"/>
                      <a:pt x="14" y="53"/>
                      <a:pt x="14" y="53"/>
                    </a:cubicBezTo>
                    <a:cubicBezTo>
                      <a:pt x="13" y="55"/>
                      <a:pt x="13" y="55"/>
                      <a:pt x="13" y="55"/>
                    </a:cubicBezTo>
                    <a:cubicBezTo>
                      <a:pt x="17" y="62"/>
                      <a:pt x="17" y="62"/>
                      <a:pt x="17" y="62"/>
                    </a:cubicBezTo>
                    <a:cubicBezTo>
                      <a:pt x="18" y="62"/>
                      <a:pt x="18" y="62"/>
                      <a:pt x="18" y="62"/>
                    </a:cubicBezTo>
                    <a:cubicBezTo>
                      <a:pt x="19" y="58"/>
                      <a:pt x="19" y="58"/>
                      <a:pt x="19" y="58"/>
                    </a:cubicBezTo>
                    <a:cubicBezTo>
                      <a:pt x="17" y="57"/>
                      <a:pt x="17" y="57"/>
                      <a:pt x="17" y="57"/>
                    </a:cubicBezTo>
                    <a:cubicBezTo>
                      <a:pt x="19" y="57"/>
                      <a:pt x="19" y="57"/>
                      <a:pt x="19" y="57"/>
                    </a:cubicBezTo>
                    <a:cubicBezTo>
                      <a:pt x="19" y="53"/>
                      <a:pt x="19" y="53"/>
                      <a:pt x="19" y="53"/>
                    </a:cubicBezTo>
                    <a:cubicBezTo>
                      <a:pt x="19" y="53"/>
                      <a:pt x="21" y="53"/>
                      <a:pt x="20" y="51"/>
                    </a:cubicBez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74" name="Estonia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5753100" y="2689225"/>
                <a:ext cx="458787" cy="290512"/>
              </a:xfrm>
              <a:custGeom>
                <a:avLst/>
                <a:gdLst/>
                <a:ahLst/>
                <a:cxnLst>
                  <a:cxn ang="0">
                    <a:pos x="199" y="82"/>
                  </a:cxn>
                  <a:cxn ang="0">
                    <a:pos x="192" y="42"/>
                  </a:cxn>
                  <a:cxn ang="0">
                    <a:pos x="198" y="11"/>
                  </a:cxn>
                  <a:cxn ang="0">
                    <a:pos x="194" y="5"/>
                  </a:cxn>
                  <a:cxn ang="0">
                    <a:pos x="150" y="5"/>
                  </a:cxn>
                  <a:cxn ang="0">
                    <a:pos x="133" y="7"/>
                  </a:cxn>
                  <a:cxn ang="0">
                    <a:pos x="129" y="8"/>
                  </a:cxn>
                  <a:cxn ang="0">
                    <a:pos x="124" y="7"/>
                  </a:cxn>
                  <a:cxn ang="0">
                    <a:pos x="118" y="3"/>
                  </a:cxn>
                  <a:cxn ang="0">
                    <a:pos x="114" y="8"/>
                  </a:cxn>
                  <a:cxn ang="0">
                    <a:pos x="103" y="17"/>
                  </a:cxn>
                  <a:cxn ang="0">
                    <a:pos x="91" y="24"/>
                  </a:cxn>
                  <a:cxn ang="0">
                    <a:pos x="75" y="30"/>
                  </a:cxn>
                  <a:cxn ang="0">
                    <a:pos x="66" y="31"/>
                  </a:cxn>
                  <a:cxn ang="0">
                    <a:pos x="67" y="39"/>
                  </a:cxn>
                  <a:cxn ang="0">
                    <a:pos x="56" y="44"/>
                  </a:cxn>
                  <a:cxn ang="0">
                    <a:pos x="51" y="45"/>
                  </a:cxn>
                  <a:cxn ang="0">
                    <a:pos x="52" y="50"/>
                  </a:cxn>
                  <a:cxn ang="0">
                    <a:pos x="52" y="61"/>
                  </a:cxn>
                  <a:cxn ang="0">
                    <a:pos x="51" y="65"/>
                  </a:cxn>
                  <a:cxn ang="0">
                    <a:pos x="58" y="72"/>
                  </a:cxn>
                  <a:cxn ang="0">
                    <a:pos x="56" y="77"/>
                  </a:cxn>
                  <a:cxn ang="0">
                    <a:pos x="57" y="88"/>
                  </a:cxn>
                  <a:cxn ang="0">
                    <a:pos x="69" y="101"/>
                  </a:cxn>
                  <a:cxn ang="0">
                    <a:pos x="78" y="99"/>
                  </a:cxn>
                  <a:cxn ang="0">
                    <a:pos x="87" y="94"/>
                  </a:cxn>
                  <a:cxn ang="0">
                    <a:pos x="97" y="112"/>
                  </a:cxn>
                  <a:cxn ang="0">
                    <a:pos x="98" y="126"/>
                  </a:cxn>
                  <a:cxn ang="0">
                    <a:pos x="105" y="122"/>
                  </a:cxn>
                  <a:cxn ang="0">
                    <a:pos x="119" y="108"/>
                  </a:cxn>
                  <a:cxn ang="0">
                    <a:pos x="127" y="108"/>
                  </a:cxn>
                  <a:cxn ang="0">
                    <a:pos x="140" y="117"/>
                  </a:cxn>
                  <a:cxn ang="0">
                    <a:pos x="154" y="117"/>
                  </a:cxn>
                  <a:cxn ang="0">
                    <a:pos x="164" y="131"/>
                  </a:cxn>
                  <a:cxn ang="0">
                    <a:pos x="188" y="126"/>
                  </a:cxn>
                  <a:cxn ang="0">
                    <a:pos x="202" y="123"/>
                  </a:cxn>
                  <a:cxn ang="0">
                    <a:pos x="205" y="108"/>
                  </a:cxn>
                  <a:cxn ang="0">
                    <a:pos x="28" y="91"/>
                  </a:cxn>
                  <a:cxn ang="0">
                    <a:pos x="15" y="93"/>
                  </a:cxn>
                  <a:cxn ang="0">
                    <a:pos x="11" y="104"/>
                  </a:cxn>
                  <a:cxn ang="0">
                    <a:pos x="0" y="99"/>
                  </a:cxn>
                  <a:cxn ang="0">
                    <a:pos x="6" y="108"/>
                  </a:cxn>
                  <a:cxn ang="0">
                    <a:pos x="16" y="119"/>
                  </a:cxn>
                  <a:cxn ang="0">
                    <a:pos x="13" y="125"/>
                  </a:cxn>
                  <a:cxn ang="0">
                    <a:pos x="13" y="137"/>
                  </a:cxn>
                  <a:cxn ang="0">
                    <a:pos x="24" y="114"/>
                  </a:cxn>
                  <a:cxn ang="0">
                    <a:pos x="44" y="99"/>
                  </a:cxn>
                  <a:cxn ang="0">
                    <a:pos x="28" y="91"/>
                  </a:cxn>
                  <a:cxn ang="0">
                    <a:pos x="18" y="77"/>
                  </a:cxn>
                  <a:cxn ang="0">
                    <a:pos x="26" y="80"/>
                  </a:cxn>
                  <a:cxn ang="0">
                    <a:pos x="32" y="76"/>
                  </a:cxn>
                  <a:cxn ang="0">
                    <a:pos x="32" y="65"/>
                  </a:cxn>
                  <a:cxn ang="0">
                    <a:pos x="19" y="57"/>
                  </a:cxn>
                  <a:cxn ang="0">
                    <a:pos x="8" y="71"/>
                  </a:cxn>
                  <a:cxn ang="0">
                    <a:pos x="9" y="75"/>
                  </a:cxn>
                  <a:cxn ang="0">
                    <a:pos x="45" y="83"/>
                  </a:cxn>
                  <a:cxn ang="0">
                    <a:pos x="45" y="88"/>
                  </a:cxn>
                  <a:cxn ang="0">
                    <a:pos x="51" y="83"/>
                  </a:cxn>
                  <a:cxn ang="0">
                    <a:pos x="45" y="58"/>
                  </a:cxn>
                </a:cxnLst>
                <a:rect l="0" t="0" r="r" b="b"/>
                <a:pathLst>
                  <a:path w="215" h="137">
                    <a:moveTo>
                      <a:pt x="205" y="96"/>
                    </a:moveTo>
                    <a:cubicBezTo>
                      <a:pt x="205" y="96"/>
                      <a:pt x="205" y="93"/>
                      <a:pt x="204" y="89"/>
                    </a:cubicBezTo>
                    <a:cubicBezTo>
                      <a:pt x="204" y="86"/>
                      <a:pt x="199" y="82"/>
                      <a:pt x="199" y="82"/>
                    </a:cubicBezTo>
                    <a:cubicBezTo>
                      <a:pt x="199" y="82"/>
                      <a:pt x="198" y="72"/>
                      <a:pt x="195" y="65"/>
                    </a:cubicBezTo>
                    <a:cubicBezTo>
                      <a:pt x="192" y="59"/>
                      <a:pt x="186" y="47"/>
                      <a:pt x="186" y="47"/>
                    </a:cubicBezTo>
                    <a:cubicBezTo>
                      <a:pt x="186" y="47"/>
                      <a:pt x="189" y="44"/>
                      <a:pt x="192" y="42"/>
                    </a:cubicBezTo>
                    <a:cubicBezTo>
                      <a:pt x="193" y="40"/>
                      <a:pt x="197" y="30"/>
                      <a:pt x="197" y="30"/>
                    </a:cubicBezTo>
                    <a:cubicBezTo>
                      <a:pt x="200" y="14"/>
                      <a:pt x="200" y="14"/>
                      <a:pt x="200" y="14"/>
                    </a:cubicBezTo>
                    <a:cubicBezTo>
                      <a:pt x="200" y="14"/>
                      <a:pt x="198" y="12"/>
                      <a:pt x="198" y="11"/>
                    </a:cubicBezTo>
                    <a:cubicBezTo>
                      <a:pt x="198" y="9"/>
                      <a:pt x="204" y="5"/>
                      <a:pt x="204" y="5"/>
                    </a:cubicBez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0"/>
                      <a:pt x="197" y="4"/>
                      <a:pt x="194" y="5"/>
                    </a:cubicBezTo>
                    <a:cubicBezTo>
                      <a:pt x="191" y="8"/>
                      <a:pt x="184" y="4"/>
                      <a:pt x="178" y="5"/>
                    </a:cubicBezTo>
                    <a:cubicBezTo>
                      <a:pt x="171" y="7"/>
                      <a:pt x="175" y="10"/>
                      <a:pt x="167" y="10"/>
                    </a:cubicBezTo>
                    <a:cubicBezTo>
                      <a:pt x="159" y="10"/>
                      <a:pt x="150" y="5"/>
                      <a:pt x="150" y="5"/>
                    </a:cubicBezTo>
                    <a:cubicBezTo>
                      <a:pt x="147" y="8"/>
                      <a:pt x="147" y="8"/>
                      <a:pt x="147" y="8"/>
                    </a:cubicBezTo>
                    <a:cubicBezTo>
                      <a:pt x="139" y="5"/>
                      <a:pt x="139" y="5"/>
                      <a:pt x="139" y="5"/>
                    </a:cubicBezTo>
                    <a:cubicBezTo>
                      <a:pt x="133" y="7"/>
                      <a:pt x="133" y="7"/>
                      <a:pt x="133" y="7"/>
                    </a:cubicBezTo>
                    <a:cubicBezTo>
                      <a:pt x="131" y="3"/>
                      <a:pt x="131" y="3"/>
                      <a:pt x="131" y="3"/>
                    </a:cubicBezTo>
                    <a:cubicBezTo>
                      <a:pt x="128" y="4"/>
                      <a:pt x="128" y="4"/>
                      <a:pt x="128" y="4"/>
                    </a:cubicBezTo>
                    <a:cubicBezTo>
                      <a:pt x="129" y="8"/>
                      <a:pt x="129" y="8"/>
                      <a:pt x="129" y="8"/>
                    </a:cubicBezTo>
                    <a:cubicBezTo>
                      <a:pt x="126" y="8"/>
                      <a:pt x="126" y="8"/>
                      <a:pt x="126" y="8"/>
                    </a:cubicBezTo>
                    <a:cubicBezTo>
                      <a:pt x="126" y="7"/>
                      <a:pt x="126" y="7"/>
                      <a:pt x="126" y="7"/>
                    </a:cubicBezTo>
                    <a:cubicBezTo>
                      <a:pt x="124" y="7"/>
                      <a:pt x="124" y="7"/>
                      <a:pt x="124" y="7"/>
                    </a:cubicBezTo>
                    <a:cubicBezTo>
                      <a:pt x="124" y="10"/>
                      <a:pt x="124" y="10"/>
                      <a:pt x="124" y="10"/>
                    </a:cubicBezTo>
                    <a:cubicBezTo>
                      <a:pt x="122" y="10"/>
                      <a:pt x="122" y="10"/>
                      <a:pt x="122" y="10"/>
                    </a:cubicBezTo>
                    <a:cubicBezTo>
                      <a:pt x="118" y="3"/>
                      <a:pt x="118" y="3"/>
                      <a:pt x="118" y="3"/>
                    </a:cubicBezTo>
                    <a:cubicBezTo>
                      <a:pt x="117" y="4"/>
                      <a:pt x="117" y="4"/>
                      <a:pt x="117" y="4"/>
                    </a:cubicBezTo>
                    <a:cubicBezTo>
                      <a:pt x="117" y="4"/>
                      <a:pt x="119" y="10"/>
                      <a:pt x="118" y="11"/>
                    </a:cubicBezTo>
                    <a:cubicBezTo>
                      <a:pt x="117" y="11"/>
                      <a:pt x="114" y="8"/>
                      <a:pt x="114" y="8"/>
                    </a:cubicBezTo>
                    <a:cubicBezTo>
                      <a:pt x="114" y="14"/>
                      <a:pt x="114" y="14"/>
                      <a:pt x="114" y="14"/>
                    </a:cubicBezTo>
                    <a:cubicBezTo>
                      <a:pt x="114" y="14"/>
                      <a:pt x="114" y="15"/>
                      <a:pt x="112" y="16"/>
                    </a:cubicBezTo>
                    <a:cubicBezTo>
                      <a:pt x="110" y="17"/>
                      <a:pt x="103" y="17"/>
                      <a:pt x="103" y="17"/>
                    </a:cubicBezTo>
                    <a:cubicBezTo>
                      <a:pt x="103" y="17"/>
                      <a:pt x="98" y="20"/>
                      <a:pt x="97" y="20"/>
                    </a:cubicBezTo>
                    <a:cubicBezTo>
                      <a:pt x="96" y="20"/>
                      <a:pt x="90" y="15"/>
                      <a:pt x="89" y="16"/>
                    </a:cubicBezTo>
                    <a:cubicBezTo>
                      <a:pt x="88" y="17"/>
                      <a:pt x="91" y="24"/>
                      <a:pt x="91" y="24"/>
                    </a:cubicBezTo>
                    <a:cubicBezTo>
                      <a:pt x="87" y="26"/>
                      <a:pt x="87" y="26"/>
                      <a:pt x="87" y="26"/>
                    </a:cubicBezTo>
                    <a:cubicBezTo>
                      <a:pt x="87" y="26"/>
                      <a:pt x="80" y="24"/>
                      <a:pt x="78" y="25"/>
                    </a:cubicBezTo>
                    <a:cubicBezTo>
                      <a:pt x="75" y="26"/>
                      <a:pt x="75" y="30"/>
                      <a:pt x="75" y="30"/>
                    </a:cubicBezTo>
                    <a:cubicBezTo>
                      <a:pt x="72" y="30"/>
                      <a:pt x="72" y="30"/>
                      <a:pt x="72" y="30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66" y="31"/>
                      <a:pt x="66" y="31"/>
                      <a:pt x="66" y="31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6" y="33"/>
                      <a:pt x="70" y="39"/>
                      <a:pt x="69" y="40"/>
                    </a:cubicBezTo>
                    <a:cubicBezTo>
                      <a:pt x="68" y="41"/>
                      <a:pt x="67" y="39"/>
                      <a:pt x="67" y="39"/>
                    </a:cubicBezTo>
                    <a:cubicBezTo>
                      <a:pt x="60" y="40"/>
                      <a:pt x="60" y="40"/>
                      <a:pt x="60" y="40"/>
                    </a:cubicBezTo>
                    <a:cubicBezTo>
                      <a:pt x="57" y="41"/>
                      <a:pt x="57" y="41"/>
                      <a:pt x="57" y="41"/>
                    </a:cubicBezTo>
                    <a:cubicBezTo>
                      <a:pt x="56" y="44"/>
                      <a:pt x="56" y="44"/>
                      <a:pt x="56" y="44"/>
                    </a:cubicBezTo>
                    <a:cubicBezTo>
                      <a:pt x="55" y="44"/>
                      <a:pt x="55" y="44"/>
                      <a:pt x="55" y="44"/>
                    </a:cubicBezTo>
                    <a:cubicBezTo>
                      <a:pt x="51" y="46"/>
                      <a:pt x="51" y="46"/>
                      <a:pt x="51" y="46"/>
                    </a:cubicBezTo>
                    <a:cubicBezTo>
                      <a:pt x="51" y="45"/>
                      <a:pt x="51" y="45"/>
                      <a:pt x="51" y="45"/>
                    </a:cubicBezTo>
                    <a:cubicBezTo>
                      <a:pt x="50" y="45"/>
                      <a:pt x="50" y="45"/>
                      <a:pt x="50" y="45"/>
                    </a:cubicBezTo>
                    <a:cubicBezTo>
                      <a:pt x="50" y="48"/>
                      <a:pt x="50" y="48"/>
                      <a:pt x="50" y="48"/>
                    </a:cubicBezTo>
                    <a:cubicBezTo>
                      <a:pt x="52" y="50"/>
                      <a:pt x="52" y="50"/>
                      <a:pt x="52" y="50"/>
                    </a:cubicBezTo>
                    <a:cubicBezTo>
                      <a:pt x="51" y="55"/>
                      <a:pt x="51" y="55"/>
                      <a:pt x="51" y="55"/>
                    </a:cubicBezTo>
                    <a:cubicBezTo>
                      <a:pt x="51" y="55"/>
                      <a:pt x="49" y="55"/>
                      <a:pt x="49" y="57"/>
                    </a:cubicBezTo>
                    <a:cubicBezTo>
                      <a:pt x="49" y="59"/>
                      <a:pt x="51" y="61"/>
                      <a:pt x="52" y="61"/>
                    </a:cubicBezTo>
                    <a:cubicBezTo>
                      <a:pt x="54" y="61"/>
                      <a:pt x="55" y="59"/>
                      <a:pt x="55" y="59"/>
                    </a:cubicBezTo>
                    <a:cubicBezTo>
                      <a:pt x="56" y="60"/>
                      <a:pt x="56" y="60"/>
                      <a:pt x="56" y="60"/>
                    </a:cubicBezTo>
                    <a:cubicBezTo>
                      <a:pt x="56" y="60"/>
                      <a:pt x="51" y="63"/>
                      <a:pt x="51" y="65"/>
                    </a:cubicBezTo>
                    <a:cubicBezTo>
                      <a:pt x="50" y="67"/>
                      <a:pt x="54" y="71"/>
                      <a:pt x="54" y="71"/>
                    </a:cubicBezTo>
                    <a:cubicBezTo>
                      <a:pt x="53" y="75"/>
                      <a:pt x="53" y="75"/>
                      <a:pt x="53" y="75"/>
                    </a:cubicBezTo>
                    <a:cubicBezTo>
                      <a:pt x="58" y="72"/>
                      <a:pt x="58" y="72"/>
                      <a:pt x="58" y="72"/>
                    </a:cubicBezTo>
                    <a:cubicBezTo>
                      <a:pt x="64" y="73"/>
                      <a:pt x="64" y="73"/>
                      <a:pt x="64" y="73"/>
                    </a:cubicBezTo>
                    <a:cubicBezTo>
                      <a:pt x="63" y="76"/>
                      <a:pt x="63" y="76"/>
                      <a:pt x="63" y="76"/>
                    </a:cubicBezTo>
                    <a:cubicBezTo>
                      <a:pt x="56" y="77"/>
                      <a:pt x="56" y="77"/>
                      <a:pt x="56" y="77"/>
                    </a:cubicBezTo>
                    <a:cubicBezTo>
                      <a:pt x="57" y="78"/>
                      <a:pt x="57" y="78"/>
                      <a:pt x="57" y="78"/>
                    </a:cubicBezTo>
                    <a:cubicBezTo>
                      <a:pt x="55" y="79"/>
                      <a:pt x="55" y="79"/>
                      <a:pt x="55" y="79"/>
                    </a:cubicBezTo>
                    <a:cubicBezTo>
                      <a:pt x="57" y="88"/>
                      <a:pt x="57" y="88"/>
                      <a:pt x="57" y="88"/>
                    </a:cubicBezTo>
                    <a:cubicBezTo>
                      <a:pt x="57" y="88"/>
                      <a:pt x="61" y="87"/>
                      <a:pt x="63" y="89"/>
                    </a:cubicBezTo>
                    <a:cubicBezTo>
                      <a:pt x="65" y="91"/>
                      <a:pt x="66" y="94"/>
                      <a:pt x="67" y="96"/>
                    </a:cubicBezTo>
                    <a:cubicBezTo>
                      <a:pt x="68" y="98"/>
                      <a:pt x="69" y="101"/>
                      <a:pt x="69" y="101"/>
                    </a:cubicBezTo>
                    <a:cubicBezTo>
                      <a:pt x="71" y="99"/>
                      <a:pt x="71" y="99"/>
                      <a:pt x="71" y="99"/>
                    </a:cubicBezTo>
                    <a:cubicBezTo>
                      <a:pt x="73" y="102"/>
                      <a:pt x="73" y="102"/>
                      <a:pt x="73" y="102"/>
                    </a:cubicBezTo>
                    <a:cubicBezTo>
                      <a:pt x="78" y="99"/>
                      <a:pt x="78" y="99"/>
                      <a:pt x="78" y="99"/>
                    </a:cubicBezTo>
                    <a:cubicBezTo>
                      <a:pt x="83" y="104"/>
                      <a:pt x="83" y="104"/>
                      <a:pt x="83" y="104"/>
                    </a:cubicBezTo>
                    <a:cubicBezTo>
                      <a:pt x="86" y="101"/>
                      <a:pt x="86" y="101"/>
                      <a:pt x="86" y="101"/>
                    </a:cubicBezTo>
                    <a:cubicBezTo>
                      <a:pt x="86" y="101"/>
                      <a:pt x="86" y="95"/>
                      <a:pt x="87" y="94"/>
                    </a:cubicBezTo>
                    <a:cubicBezTo>
                      <a:pt x="89" y="93"/>
                      <a:pt x="95" y="94"/>
                      <a:pt x="96" y="96"/>
                    </a:cubicBezTo>
                    <a:cubicBezTo>
                      <a:pt x="98" y="97"/>
                      <a:pt x="94" y="103"/>
                      <a:pt x="94" y="103"/>
                    </a:cubicBezTo>
                    <a:cubicBezTo>
                      <a:pt x="97" y="112"/>
                      <a:pt x="97" y="112"/>
                      <a:pt x="97" y="112"/>
                    </a:cubicBezTo>
                    <a:cubicBezTo>
                      <a:pt x="95" y="120"/>
                      <a:pt x="95" y="120"/>
                      <a:pt x="95" y="120"/>
                    </a:cubicBezTo>
                    <a:cubicBezTo>
                      <a:pt x="96" y="126"/>
                      <a:pt x="96" y="126"/>
                      <a:pt x="96" y="126"/>
                    </a:cubicBezTo>
                    <a:cubicBezTo>
                      <a:pt x="98" y="126"/>
                      <a:pt x="98" y="126"/>
                      <a:pt x="98" y="126"/>
                    </a:cubicBezTo>
                    <a:cubicBezTo>
                      <a:pt x="99" y="122"/>
                      <a:pt x="99" y="122"/>
                      <a:pt x="99" y="122"/>
                    </a:cubicBezTo>
                    <a:cubicBezTo>
                      <a:pt x="102" y="119"/>
                      <a:pt x="102" y="119"/>
                      <a:pt x="102" y="119"/>
                    </a:cubicBezTo>
                    <a:cubicBezTo>
                      <a:pt x="105" y="122"/>
                      <a:pt x="105" y="122"/>
                      <a:pt x="105" y="122"/>
                    </a:cubicBezTo>
                    <a:cubicBezTo>
                      <a:pt x="108" y="115"/>
                      <a:pt x="108" y="115"/>
                      <a:pt x="108" y="115"/>
                    </a:cubicBezTo>
                    <a:cubicBezTo>
                      <a:pt x="114" y="117"/>
                      <a:pt x="114" y="117"/>
                      <a:pt x="114" y="117"/>
                    </a:cubicBezTo>
                    <a:cubicBezTo>
                      <a:pt x="119" y="108"/>
                      <a:pt x="119" y="108"/>
                      <a:pt x="119" y="108"/>
                    </a:cubicBezTo>
                    <a:cubicBezTo>
                      <a:pt x="122" y="108"/>
                      <a:pt x="122" y="108"/>
                      <a:pt x="122" y="108"/>
                    </a:cubicBezTo>
                    <a:cubicBezTo>
                      <a:pt x="126" y="113"/>
                      <a:pt x="126" y="113"/>
                      <a:pt x="126" y="113"/>
                    </a:cubicBezTo>
                    <a:cubicBezTo>
                      <a:pt x="127" y="108"/>
                      <a:pt x="127" y="108"/>
                      <a:pt x="127" y="108"/>
                    </a:cubicBezTo>
                    <a:cubicBezTo>
                      <a:pt x="133" y="112"/>
                      <a:pt x="133" y="112"/>
                      <a:pt x="133" y="112"/>
                    </a:cubicBezTo>
                    <a:cubicBezTo>
                      <a:pt x="137" y="112"/>
                      <a:pt x="137" y="112"/>
                      <a:pt x="137" y="112"/>
                    </a:cubicBezTo>
                    <a:cubicBezTo>
                      <a:pt x="140" y="117"/>
                      <a:pt x="140" y="117"/>
                      <a:pt x="140" y="117"/>
                    </a:cubicBezTo>
                    <a:cubicBezTo>
                      <a:pt x="144" y="114"/>
                      <a:pt x="144" y="114"/>
                      <a:pt x="144" y="114"/>
                    </a:cubicBezTo>
                    <a:cubicBezTo>
                      <a:pt x="144" y="114"/>
                      <a:pt x="146" y="119"/>
                      <a:pt x="148" y="119"/>
                    </a:cubicBezTo>
                    <a:cubicBezTo>
                      <a:pt x="150" y="119"/>
                      <a:pt x="154" y="117"/>
                      <a:pt x="154" y="117"/>
                    </a:cubicBezTo>
                    <a:cubicBezTo>
                      <a:pt x="154" y="121"/>
                      <a:pt x="154" y="121"/>
                      <a:pt x="154" y="121"/>
                    </a:cubicBezTo>
                    <a:cubicBezTo>
                      <a:pt x="154" y="121"/>
                      <a:pt x="159" y="123"/>
                      <a:pt x="161" y="124"/>
                    </a:cubicBezTo>
                    <a:cubicBezTo>
                      <a:pt x="163" y="126"/>
                      <a:pt x="162" y="131"/>
                      <a:pt x="164" y="131"/>
                    </a:cubicBezTo>
                    <a:cubicBezTo>
                      <a:pt x="173" y="131"/>
                      <a:pt x="173" y="131"/>
                      <a:pt x="173" y="131"/>
                    </a:cubicBezTo>
                    <a:cubicBezTo>
                      <a:pt x="177" y="134"/>
                      <a:pt x="177" y="134"/>
                      <a:pt x="177" y="134"/>
                    </a:cubicBezTo>
                    <a:cubicBezTo>
                      <a:pt x="188" y="126"/>
                      <a:pt x="188" y="126"/>
                      <a:pt x="188" y="126"/>
                    </a:cubicBezTo>
                    <a:cubicBezTo>
                      <a:pt x="188" y="126"/>
                      <a:pt x="196" y="129"/>
                      <a:pt x="199" y="128"/>
                    </a:cubicBezTo>
                    <a:cubicBezTo>
                      <a:pt x="200" y="128"/>
                      <a:pt x="202" y="128"/>
                      <a:pt x="203" y="127"/>
                    </a:cubicBezTo>
                    <a:cubicBezTo>
                      <a:pt x="202" y="123"/>
                      <a:pt x="202" y="123"/>
                      <a:pt x="202" y="123"/>
                    </a:cubicBezTo>
                    <a:cubicBezTo>
                      <a:pt x="203" y="117"/>
                      <a:pt x="203" y="117"/>
                      <a:pt x="203" y="117"/>
                    </a:cubicBezTo>
                    <a:cubicBezTo>
                      <a:pt x="203" y="117"/>
                      <a:pt x="206" y="117"/>
                      <a:pt x="208" y="114"/>
                    </a:cubicBezTo>
                    <a:cubicBezTo>
                      <a:pt x="208" y="112"/>
                      <a:pt x="205" y="108"/>
                      <a:pt x="205" y="108"/>
                    </a:cubicBezTo>
                    <a:cubicBezTo>
                      <a:pt x="205" y="108"/>
                      <a:pt x="214" y="106"/>
                      <a:pt x="215" y="104"/>
                    </a:cubicBezTo>
                    <a:cubicBezTo>
                      <a:pt x="215" y="102"/>
                      <a:pt x="205" y="96"/>
                      <a:pt x="205" y="96"/>
                    </a:cubicBezTo>
                    <a:close/>
                    <a:moveTo>
                      <a:pt x="28" y="91"/>
                    </a:moveTo>
                    <a:cubicBezTo>
                      <a:pt x="24" y="88"/>
                      <a:pt x="24" y="88"/>
                      <a:pt x="24" y="88"/>
                    </a:cubicBezTo>
                    <a:cubicBezTo>
                      <a:pt x="24" y="88"/>
                      <a:pt x="22" y="90"/>
                      <a:pt x="21" y="91"/>
                    </a:cubicBezTo>
                    <a:cubicBezTo>
                      <a:pt x="20" y="92"/>
                      <a:pt x="15" y="93"/>
                      <a:pt x="15" y="93"/>
                    </a:cubicBezTo>
                    <a:cubicBezTo>
                      <a:pt x="15" y="93"/>
                      <a:pt x="18" y="98"/>
                      <a:pt x="16" y="99"/>
                    </a:cubicBezTo>
                    <a:cubicBezTo>
                      <a:pt x="14" y="99"/>
                      <a:pt x="12" y="94"/>
                      <a:pt x="12" y="94"/>
                    </a:cubicBezTo>
                    <a:cubicBezTo>
                      <a:pt x="11" y="104"/>
                      <a:pt x="11" y="104"/>
                      <a:pt x="11" y="104"/>
                    </a:cubicBezTo>
                    <a:cubicBezTo>
                      <a:pt x="6" y="102"/>
                      <a:pt x="6" y="102"/>
                      <a:pt x="6" y="102"/>
                    </a:cubicBezTo>
                    <a:cubicBezTo>
                      <a:pt x="6" y="99"/>
                      <a:pt x="6" y="99"/>
                      <a:pt x="6" y="99"/>
                    </a:cubicBezTo>
                    <a:cubicBezTo>
                      <a:pt x="0" y="99"/>
                      <a:pt x="0" y="99"/>
                      <a:pt x="0" y="99"/>
                    </a:cubicBezTo>
                    <a:cubicBezTo>
                      <a:pt x="0" y="102"/>
                      <a:pt x="0" y="102"/>
                      <a:pt x="0" y="102"/>
                    </a:cubicBezTo>
                    <a:cubicBezTo>
                      <a:pt x="4" y="105"/>
                      <a:pt x="4" y="105"/>
                      <a:pt x="4" y="105"/>
                    </a:cubicBezTo>
                    <a:cubicBezTo>
                      <a:pt x="6" y="108"/>
                      <a:pt x="6" y="108"/>
                      <a:pt x="6" y="108"/>
                    </a:cubicBezTo>
                    <a:cubicBezTo>
                      <a:pt x="2" y="114"/>
                      <a:pt x="2" y="114"/>
                      <a:pt x="2" y="114"/>
                    </a:cubicBezTo>
                    <a:cubicBezTo>
                      <a:pt x="2" y="114"/>
                      <a:pt x="7" y="117"/>
                      <a:pt x="9" y="118"/>
                    </a:cubicBezTo>
                    <a:cubicBezTo>
                      <a:pt x="12" y="120"/>
                      <a:pt x="16" y="119"/>
                      <a:pt x="16" y="119"/>
                    </a:cubicBezTo>
                    <a:cubicBezTo>
                      <a:pt x="16" y="119"/>
                      <a:pt x="17" y="120"/>
                      <a:pt x="17" y="123"/>
                    </a:cubicBezTo>
                    <a:cubicBezTo>
                      <a:pt x="17" y="125"/>
                      <a:pt x="16" y="126"/>
                      <a:pt x="16" y="126"/>
                    </a:cubicBezTo>
                    <a:cubicBezTo>
                      <a:pt x="13" y="125"/>
                      <a:pt x="13" y="125"/>
                      <a:pt x="13" y="125"/>
                    </a:cubicBezTo>
                    <a:cubicBezTo>
                      <a:pt x="13" y="129"/>
                      <a:pt x="13" y="129"/>
                      <a:pt x="13" y="129"/>
                    </a:cubicBezTo>
                    <a:cubicBezTo>
                      <a:pt x="13" y="131"/>
                      <a:pt x="9" y="134"/>
                      <a:pt x="9" y="134"/>
                    </a:cubicBezTo>
                    <a:cubicBezTo>
                      <a:pt x="13" y="137"/>
                      <a:pt x="13" y="137"/>
                      <a:pt x="13" y="137"/>
                    </a:cubicBezTo>
                    <a:cubicBezTo>
                      <a:pt x="13" y="137"/>
                      <a:pt x="16" y="134"/>
                      <a:pt x="18" y="130"/>
                    </a:cubicBezTo>
                    <a:cubicBezTo>
                      <a:pt x="20" y="126"/>
                      <a:pt x="20" y="118"/>
                      <a:pt x="20" y="118"/>
                    </a:cubicBezTo>
                    <a:cubicBezTo>
                      <a:pt x="20" y="118"/>
                      <a:pt x="23" y="115"/>
                      <a:pt x="24" y="114"/>
                    </a:cubicBezTo>
                    <a:cubicBezTo>
                      <a:pt x="25" y="114"/>
                      <a:pt x="32" y="112"/>
                      <a:pt x="32" y="112"/>
                    </a:cubicBezTo>
                    <a:cubicBezTo>
                      <a:pt x="41" y="103"/>
                      <a:pt x="41" y="103"/>
                      <a:pt x="41" y="103"/>
                    </a:cubicBezTo>
                    <a:cubicBezTo>
                      <a:pt x="44" y="99"/>
                      <a:pt x="44" y="99"/>
                      <a:pt x="44" y="99"/>
                    </a:cubicBezTo>
                    <a:cubicBezTo>
                      <a:pt x="48" y="93"/>
                      <a:pt x="48" y="93"/>
                      <a:pt x="48" y="93"/>
                    </a:cubicBezTo>
                    <a:cubicBezTo>
                      <a:pt x="48" y="93"/>
                      <a:pt x="39" y="87"/>
                      <a:pt x="34" y="87"/>
                    </a:cubicBezTo>
                    <a:cubicBezTo>
                      <a:pt x="30" y="87"/>
                      <a:pt x="28" y="91"/>
                      <a:pt x="28" y="91"/>
                    </a:cubicBezTo>
                    <a:close/>
                    <a:moveTo>
                      <a:pt x="14" y="72"/>
                    </a:moveTo>
                    <a:cubicBezTo>
                      <a:pt x="19" y="75"/>
                      <a:pt x="19" y="75"/>
                      <a:pt x="19" y="75"/>
                    </a:cubicBezTo>
                    <a:cubicBezTo>
                      <a:pt x="18" y="77"/>
                      <a:pt x="18" y="77"/>
                      <a:pt x="18" y="77"/>
                    </a:cubicBezTo>
                    <a:cubicBezTo>
                      <a:pt x="21" y="83"/>
                      <a:pt x="21" y="83"/>
                      <a:pt x="21" y="83"/>
                    </a:cubicBezTo>
                    <a:cubicBezTo>
                      <a:pt x="24" y="83"/>
                      <a:pt x="24" y="83"/>
                      <a:pt x="24" y="83"/>
                    </a:cubicBezTo>
                    <a:cubicBezTo>
                      <a:pt x="26" y="80"/>
                      <a:pt x="26" y="80"/>
                      <a:pt x="26" y="80"/>
                    </a:cubicBezTo>
                    <a:cubicBezTo>
                      <a:pt x="28" y="78"/>
                      <a:pt x="28" y="78"/>
                      <a:pt x="28" y="78"/>
                    </a:cubicBezTo>
                    <a:cubicBezTo>
                      <a:pt x="30" y="78"/>
                      <a:pt x="30" y="78"/>
                      <a:pt x="30" y="78"/>
                    </a:cubicBezTo>
                    <a:cubicBezTo>
                      <a:pt x="32" y="76"/>
                      <a:pt x="32" y="76"/>
                      <a:pt x="32" y="76"/>
                    </a:cubicBezTo>
                    <a:cubicBezTo>
                      <a:pt x="31" y="73"/>
                      <a:pt x="31" y="73"/>
                      <a:pt x="31" y="73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38" y="72"/>
                      <a:pt x="34" y="67"/>
                      <a:pt x="32" y="65"/>
                    </a:cubicBezTo>
                    <a:cubicBezTo>
                      <a:pt x="29" y="63"/>
                      <a:pt x="26" y="63"/>
                      <a:pt x="26" y="63"/>
                    </a:cubicBezTo>
                    <a:cubicBezTo>
                      <a:pt x="22" y="59"/>
                      <a:pt x="22" y="59"/>
                      <a:pt x="22" y="59"/>
                    </a:cubicBezTo>
                    <a:cubicBezTo>
                      <a:pt x="19" y="57"/>
                      <a:pt x="19" y="57"/>
                      <a:pt x="19" y="57"/>
                    </a:cubicBezTo>
                    <a:cubicBezTo>
                      <a:pt x="20" y="62"/>
                      <a:pt x="20" y="62"/>
                      <a:pt x="20" y="62"/>
                    </a:cubicBezTo>
                    <a:cubicBezTo>
                      <a:pt x="16" y="68"/>
                      <a:pt x="16" y="68"/>
                      <a:pt x="16" y="68"/>
                    </a:cubicBezTo>
                    <a:cubicBezTo>
                      <a:pt x="8" y="71"/>
                      <a:pt x="8" y="71"/>
                      <a:pt x="8" y="71"/>
                    </a:cubicBezTo>
                    <a:cubicBezTo>
                      <a:pt x="6" y="70"/>
                      <a:pt x="6" y="70"/>
                      <a:pt x="6" y="70"/>
                    </a:cubicBezTo>
                    <a:cubicBezTo>
                      <a:pt x="2" y="72"/>
                      <a:pt x="2" y="72"/>
                      <a:pt x="2" y="72"/>
                    </a:cubicBezTo>
                    <a:cubicBezTo>
                      <a:pt x="9" y="75"/>
                      <a:pt x="9" y="75"/>
                      <a:pt x="9" y="75"/>
                    </a:cubicBezTo>
                    <a:lnTo>
                      <a:pt x="14" y="72"/>
                    </a:lnTo>
                    <a:close/>
                    <a:moveTo>
                      <a:pt x="45" y="80"/>
                    </a:moveTo>
                    <a:cubicBezTo>
                      <a:pt x="45" y="83"/>
                      <a:pt x="45" y="83"/>
                      <a:pt x="45" y="83"/>
                    </a:cubicBezTo>
                    <a:cubicBezTo>
                      <a:pt x="41" y="86"/>
                      <a:pt x="41" y="86"/>
                      <a:pt x="41" y="86"/>
                    </a:cubicBezTo>
                    <a:cubicBezTo>
                      <a:pt x="44" y="88"/>
                      <a:pt x="44" y="88"/>
                      <a:pt x="44" y="88"/>
                    </a:cubicBezTo>
                    <a:cubicBezTo>
                      <a:pt x="45" y="88"/>
                      <a:pt x="45" y="88"/>
                      <a:pt x="45" y="88"/>
                    </a:cubicBezTo>
                    <a:cubicBezTo>
                      <a:pt x="48" y="91"/>
                      <a:pt x="48" y="91"/>
                      <a:pt x="48" y="91"/>
                    </a:cubicBezTo>
                    <a:cubicBezTo>
                      <a:pt x="53" y="89"/>
                      <a:pt x="53" y="89"/>
                      <a:pt x="53" y="89"/>
                    </a:cubicBezTo>
                    <a:cubicBezTo>
                      <a:pt x="51" y="83"/>
                      <a:pt x="51" y="83"/>
                      <a:pt x="51" y="83"/>
                    </a:cubicBezTo>
                    <a:lnTo>
                      <a:pt x="45" y="80"/>
                    </a:lnTo>
                    <a:close/>
                    <a:moveTo>
                      <a:pt x="42" y="62"/>
                    </a:moveTo>
                    <a:cubicBezTo>
                      <a:pt x="53" y="65"/>
                      <a:pt x="48" y="58"/>
                      <a:pt x="45" y="58"/>
                    </a:cubicBezTo>
                    <a:cubicBezTo>
                      <a:pt x="41" y="58"/>
                      <a:pt x="35" y="60"/>
                      <a:pt x="42" y="6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75" name="Denmark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4700588" y="3048000"/>
                <a:ext cx="571500" cy="436562"/>
              </a:xfrm>
              <a:custGeom>
                <a:avLst/>
                <a:gdLst/>
                <a:ahLst/>
                <a:cxnLst>
                  <a:cxn ang="0">
                    <a:pos x="148" y="197"/>
                  </a:cxn>
                  <a:cxn ang="0">
                    <a:pos x="162" y="174"/>
                  </a:cxn>
                  <a:cxn ang="0">
                    <a:pos x="155" y="185"/>
                  </a:cxn>
                  <a:cxn ang="0">
                    <a:pos x="81" y="186"/>
                  </a:cxn>
                  <a:cxn ang="0">
                    <a:pos x="98" y="185"/>
                  </a:cxn>
                  <a:cxn ang="0">
                    <a:pos x="97" y="176"/>
                  </a:cxn>
                  <a:cxn ang="0">
                    <a:pos x="84" y="179"/>
                  </a:cxn>
                  <a:cxn ang="0">
                    <a:pos x="65" y="179"/>
                  </a:cxn>
                  <a:cxn ang="0">
                    <a:pos x="68" y="176"/>
                  </a:cxn>
                  <a:cxn ang="0">
                    <a:pos x="99" y="173"/>
                  </a:cxn>
                  <a:cxn ang="0">
                    <a:pos x="94" y="137"/>
                  </a:cxn>
                  <a:cxn ang="0">
                    <a:pos x="84" y="138"/>
                  </a:cxn>
                  <a:cxn ang="0">
                    <a:pos x="63" y="150"/>
                  </a:cxn>
                  <a:cxn ang="0">
                    <a:pos x="75" y="165"/>
                  </a:cxn>
                  <a:cxn ang="0">
                    <a:pos x="93" y="113"/>
                  </a:cxn>
                  <a:cxn ang="0">
                    <a:pos x="127" y="188"/>
                  </a:cxn>
                  <a:cxn ang="0">
                    <a:pos x="108" y="187"/>
                  </a:cxn>
                  <a:cxn ang="0">
                    <a:pos x="132" y="200"/>
                  </a:cxn>
                  <a:cxn ang="0">
                    <a:pos x="17" y="66"/>
                  </a:cxn>
                  <a:cxn ang="0">
                    <a:pos x="35" y="48"/>
                  </a:cxn>
                  <a:cxn ang="0">
                    <a:pos x="66" y="43"/>
                  </a:cxn>
                  <a:cxn ang="0">
                    <a:pos x="89" y="13"/>
                  </a:cxn>
                  <a:cxn ang="0">
                    <a:pos x="63" y="28"/>
                  </a:cxn>
                  <a:cxn ang="0">
                    <a:pos x="10" y="63"/>
                  </a:cxn>
                  <a:cxn ang="0">
                    <a:pos x="20" y="67"/>
                  </a:cxn>
                  <a:cxn ang="0">
                    <a:pos x="20" y="64"/>
                  </a:cxn>
                  <a:cxn ang="0">
                    <a:pos x="120" y="123"/>
                  </a:cxn>
                  <a:cxn ang="0">
                    <a:pos x="107" y="29"/>
                  </a:cxn>
                  <a:cxn ang="0">
                    <a:pos x="15" y="163"/>
                  </a:cxn>
                  <a:cxn ang="0">
                    <a:pos x="50" y="175"/>
                  </a:cxn>
                  <a:cxn ang="0">
                    <a:pos x="59" y="159"/>
                  </a:cxn>
                  <a:cxn ang="0">
                    <a:pos x="59" y="133"/>
                  </a:cxn>
                  <a:cxn ang="0">
                    <a:pos x="73" y="120"/>
                  </a:cxn>
                  <a:cxn ang="0">
                    <a:pos x="89" y="95"/>
                  </a:cxn>
                  <a:cxn ang="0">
                    <a:pos x="96" y="99"/>
                  </a:cxn>
                  <a:cxn ang="0">
                    <a:pos x="106" y="86"/>
                  </a:cxn>
                  <a:cxn ang="0">
                    <a:pos x="82" y="78"/>
                  </a:cxn>
                  <a:cxn ang="0">
                    <a:pos x="84" y="54"/>
                  </a:cxn>
                  <a:cxn ang="0">
                    <a:pos x="57" y="48"/>
                  </a:cxn>
                  <a:cxn ang="0">
                    <a:pos x="48" y="76"/>
                  </a:cxn>
                  <a:cxn ang="0">
                    <a:pos x="39" y="76"/>
                  </a:cxn>
                  <a:cxn ang="0">
                    <a:pos x="24" y="75"/>
                  </a:cxn>
                  <a:cxn ang="0">
                    <a:pos x="5" y="70"/>
                  </a:cxn>
                  <a:cxn ang="0">
                    <a:pos x="5" y="95"/>
                  </a:cxn>
                  <a:cxn ang="0">
                    <a:pos x="8" y="107"/>
                  </a:cxn>
                  <a:cxn ang="0">
                    <a:pos x="2" y="132"/>
                  </a:cxn>
                  <a:cxn ang="0">
                    <a:pos x="17" y="147"/>
                  </a:cxn>
                  <a:cxn ang="0">
                    <a:pos x="39" y="185"/>
                  </a:cxn>
                  <a:cxn ang="0">
                    <a:pos x="61" y="188"/>
                  </a:cxn>
                  <a:cxn ang="0">
                    <a:pos x="157" y="104"/>
                  </a:cxn>
                  <a:cxn ang="0">
                    <a:pos x="151" y="133"/>
                  </a:cxn>
                  <a:cxn ang="0">
                    <a:pos x="145" y="122"/>
                  </a:cxn>
                  <a:cxn ang="0">
                    <a:pos x="133" y="125"/>
                  </a:cxn>
                  <a:cxn ang="0">
                    <a:pos x="130" y="117"/>
                  </a:cxn>
                  <a:cxn ang="0">
                    <a:pos x="108" y="131"/>
                  </a:cxn>
                  <a:cxn ang="0">
                    <a:pos x="114" y="144"/>
                  </a:cxn>
                  <a:cxn ang="0">
                    <a:pos x="137" y="166"/>
                  </a:cxn>
                  <a:cxn ang="0">
                    <a:pos x="142" y="177"/>
                  </a:cxn>
                  <a:cxn ang="0">
                    <a:pos x="165" y="158"/>
                  </a:cxn>
                  <a:cxn ang="0">
                    <a:pos x="169" y="142"/>
                  </a:cxn>
                  <a:cxn ang="0">
                    <a:pos x="12" y="151"/>
                  </a:cxn>
                  <a:cxn ang="0">
                    <a:pos x="249" y="169"/>
                  </a:cxn>
                  <a:cxn ang="0">
                    <a:pos x="174" y="134"/>
                  </a:cxn>
                </a:cxnLst>
                <a:rect l="0" t="0" r="r" b="b"/>
                <a:pathLst>
                  <a:path w="268" h="205">
                    <a:moveTo>
                      <a:pt x="143" y="181"/>
                    </a:moveTo>
                    <a:cubicBezTo>
                      <a:pt x="142" y="179"/>
                      <a:pt x="142" y="179"/>
                      <a:pt x="142" y="179"/>
                    </a:cubicBezTo>
                    <a:cubicBezTo>
                      <a:pt x="142" y="179"/>
                      <a:pt x="138" y="178"/>
                      <a:pt x="137" y="179"/>
                    </a:cubicBezTo>
                    <a:cubicBezTo>
                      <a:pt x="137" y="179"/>
                      <a:pt x="138" y="185"/>
                      <a:pt x="140" y="187"/>
                    </a:cubicBezTo>
                    <a:cubicBezTo>
                      <a:pt x="142" y="190"/>
                      <a:pt x="143" y="192"/>
                      <a:pt x="143" y="192"/>
                    </a:cubicBezTo>
                    <a:cubicBezTo>
                      <a:pt x="143" y="205"/>
                      <a:pt x="143" y="205"/>
                      <a:pt x="143" y="205"/>
                    </a:cubicBezTo>
                    <a:cubicBezTo>
                      <a:pt x="147" y="205"/>
                      <a:pt x="147" y="205"/>
                      <a:pt x="147" y="205"/>
                    </a:cubicBezTo>
                    <a:cubicBezTo>
                      <a:pt x="148" y="197"/>
                      <a:pt x="148" y="197"/>
                      <a:pt x="148" y="197"/>
                    </a:cubicBezTo>
                    <a:cubicBezTo>
                      <a:pt x="154" y="186"/>
                      <a:pt x="154" y="186"/>
                      <a:pt x="154" y="186"/>
                    </a:cubicBezTo>
                    <a:cubicBezTo>
                      <a:pt x="147" y="180"/>
                      <a:pt x="147" y="180"/>
                      <a:pt x="147" y="180"/>
                    </a:cubicBezTo>
                    <a:lnTo>
                      <a:pt x="143" y="181"/>
                    </a:lnTo>
                    <a:close/>
                    <a:moveTo>
                      <a:pt x="131" y="178"/>
                    </a:moveTo>
                    <a:cubicBezTo>
                      <a:pt x="131" y="176"/>
                      <a:pt x="129" y="177"/>
                      <a:pt x="129" y="178"/>
                    </a:cubicBezTo>
                    <a:cubicBezTo>
                      <a:pt x="130" y="180"/>
                      <a:pt x="131" y="178"/>
                      <a:pt x="131" y="178"/>
                    </a:cubicBezTo>
                    <a:close/>
                    <a:moveTo>
                      <a:pt x="166" y="175"/>
                    </a:moveTo>
                    <a:cubicBezTo>
                      <a:pt x="165" y="175"/>
                      <a:pt x="162" y="175"/>
                      <a:pt x="162" y="174"/>
                    </a:cubicBezTo>
                    <a:cubicBezTo>
                      <a:pt x="161" y="174"/>
                      <a:pt x="157" y="173"/>
                      <a:pt x="157" y="173"/>
                    </a:cubicBezTo>
                    <a:cubicBezTo>
                      <a:pt x="156" y="173"/>
                      <a:pt x="156" y="173"/>
                      <a:pt x="156" y="173"/>
                    </a:cubicBezTo>
                    <a:cubicBezTo>
                      <a:pt x="158" y="175"/>
                      <a:pt x="158" y="175"/>
                      <a:pt x="158" y="175"/>
                    </a:cubicBezTo>
                    <a:cubicBezTo>
                      <a:pt x="158" y="175"/>
                      <a:pt x="161" y="177"/>
                      <a:pt x="158" y="177"/>
                    </a:cubicBezTo>
                    <a:cubicBezTo>
                      <a:pt x="157" y="178"/>
                      <a:pt x="154" y="178"/>
                      <a:pt x="154" y="178"/>
                    </a:cubicBezTo>
                    <a:cubicBezTo>
                      <a:pt x="152" y="179"/>
                      <a:pt x="152" y="179"/>
                      <a:pt x="152" y="179"/>
                    </a:cubicBezTo>
                    <a:cubicBezTo>
                      <a:pt x="153" y="182"/>
                      <a:pt x="153" y="182"/>
                      <a:pt x="153" y="182"/>
                    </a:cubicBezTo>
                    <a:cubicBezTo>
                      <a:pt x="154" y="185"/>
                      <a:pt x="155" y="185"/>
                      <a:pt x="155" y="185"/>
                    </a:cubicBezTo>
                    <a:cubicBezTo>
                      <a:pt x="157" y="181"/>
                      <a:pt x="157" y="181"/>
                      <a:pt x="157" y="181"/>
                    </a:cubicBezTo>
                    <a:cubicBezTo>
                      <a:pt x="157" y="181"/>
                      <a:pt x="161" y="179"/>
                      <a:pt x="162" y="179"/>
                    </a:cubicBezTo>
                    <a:cubicBezTo>
                      <a:pt x="163" y="179"/>
                      <a:pt x="165" y="181"/>
                      <a:pt x="168" y="180"/>
                    </a:cubicBezTo>
                    <a:cubicBezTo>
                      <a:pt x="170" y="179"/>
                      <a:pt x="168" y="175"/>
                      <a:pt x="166" y="175"/>
                    </a:cubicBezTo>
                    <a:close/>
                    <a:moveTo>
                      <a:pt x="84" y="185"/>
                    </a:moveTo>
                    <a:cubicBezTo>
                      <a:pt x="84" y="185"/>
                      <a:pt x="84" y="183"/>
                      <a:pt x="82" y="181"/>
                    </a:cubicBezTo>
                    <a:cubicBezTo>
                      <a:pt x="81" y="180"/>
                      <a:pt x="79" y="179"/>
                      <a:pt x="79" y="179"/>
                    </a:cubicBezTo>
                    <a:cubicBezTo>
                      <a:pt x="79" y="179"/>
                      <a:pt x="80" y="185"/>
                      <a:pt x="81" y="186"/>
                    </a:cubicBezTo>
                    <a:cubicBezTo>
                      <a:pt x="83" y="187"/>
                      <a:pt x="84" y="189"/>
                      <a:pt x="84" y="189"/>
                    </a:cubicBezTo>
                    <a:cubicBezTo>
                      <a:pt x="90" y="188"/>
                      <a:pt x="90" y="188"/>
                      <a:pt x="90" y="188"/>
                    </a:cubicBezTo>
                    <a:cubicBezTo>
                      <a:pt x="86" y="185"/>
                      <a:pt x="86" y="185"/>
                      <a:pt x="86" y="185"/>
                    </a:cubicBezTo>
                    <a:lnTo>
                      <a:pt x="84" y="185"/>
                    </a:lnTo>
                    <a:close/>
                    <a:moveTo>
                      <a:pt x="106" y="167"/>
                    </a:moveTo>
                    <a:cubicBezTo>
                      <a:pt x="103" y="175"/>
                      <a:pt x="103" y="175"/>
                      <a:pt x="103" y="175"/>
                    </a:cubicBezTo>
                    <a:cubicBezTo>
                      <a:pt x="96" y="183"/>
                      <a:pt x="96" y="183"/>
                      <a:pt x="96" y="183"/>
                    </a:cubicBezTo>
                    <a:cubicBezTo>
                      <a:pt x="98" y="185"/>
                      <a:pt x="98" y="185"/>
                      <a:pt x="98" y="185"/>
                    </a:cubicBezTo>
                    <a:cubicBezTo>
                      <a:pt x="93" y="188"/>
                      <a:pt x="93" y="188"/>
                      <a:pt x="93" y="188"/>
                    </a:cubicBezTo>
                    <a:cubicBezTo>
                      <a:pt x="98" y="196"/>
                      <a:pt x="98" y="196"/>
                      <a:pt x="98" y="196"/>
                    </a:cubicBezTo>
                    <a:cubicBezTo>
                      <a:pt x="106" y="175"/>
                      <a:pt x="106" y="175"/>
                      <a:pt x="106" y="175"/>
                    </a:cubicBezTo>
                    <a:cubicBezTo>
                      <a:pt x="107" y="174"/>
                      <a:pt x="107" y="167"/>
                      <a:pt x="107" y="167"/>
                    </a:cubicBezTo>
                    <a:lnTo>
                      <a:pt x="106" y="167"/>
                    </a:lnTo>
                    <a:close/>
                    <a:moveTo>
                      <a:pt x="97" y="177"/>
                    </a:moveTo>
                    <a:cubicBezTo>
                      <a:pt x="94" y="177"/>
                      <a:pt x="94" y="177"/>
                      <a:pt x="94" y="177"/>
                    </a:cubicBezTo>
                    <a:cubicBezTo>
                      <a:pt x="97" y="176"/>
                      <a:pt x="97" y="176"/>
                      <a:pt x="97" y="176"/>
                    </a:cubicBezTo>
                    <a:cubicBezTo>
                      <a:pt x="97" y="176"/>
                      <a:pt x="96" y="175"/>
                      <a:pt x="94" y="175"/>
                    </a:cubicBezTo>
                    <a:cubicBezTo>
                      <a:pt x="90" y="177"/>
                      <a:pt x="90" y="177"/>
                      <a:pt x="90" y="177"/>
                    </a:cubicBezTo>
                    <a:cubicBezTo>
                      <a:pt x="91" y="181"/>
                      <a:pt x="91" y="181"/>
                      <a:pt x="91" y="181"/>
                    </a:cubicBezTo>
                    <a:cubicBezTo>
                      <a:pt x="91" y="181"/>
                      <a:pt x="96" y="180"/>
                      <a:pt x="97" y="180"/>
                    </a:cubicBezTo>
                    <a:cubicBezTo>
                      <a:pt x="98" y="179"/>
                      <a:pt x="97" y="177"/>
                      <a:pt x="97" y="177"/>
                    </a:cubicBezTo>
                    <a:close/>
                    <a:moveTo>
                      <a:pt x="87" y="180"/>
                    </a:moveTo>
                    <a:cubicBezTo>
                      <a:pt x="88" y="180"/>
                      <a:pt x="88" y="179"/>
                      <a:pt x="88" y="179"/>
                    </a:cubicBezTo>
                    <a:cubicBezTo>
                      <a:pt x="84" y="179"/>
                      <a:pt x="84" y="179"/>
                      <a:pt x="84" y="179"/>
                    </a:cubicBezTo>
                    <a:lnTo>
                      <a:pt x="87" y="180"/>
                    </a:lnTo>
                    <a:close/>
                    <a:moveTo>
                      <a:pt x="126" y="181"/>
                    </a:moveTo>
                    <a:cubicBezTo>
                      <a:pt x="129" y="180"/>
                      <a:pt x="129" y="179"/>
                      <a:pt x="125" y="179"/>
                    </a:cubicBezTo>
                    <a:cubicBezTo>
                      <a:pt x="125" y="179"/>
                      <a:pt x="123" y="179"/>
                      <a:pt x="123" y="180"/>
                    </a:cubicBezTo>
                    <a:cubicBezTo>
                      <a:pt x="123" y="181"/>
                      <a:pt x="124" y="182"/>
                      <a:pt x="126" y="181"/>
                    </a:cubicBezTo>
                    <a:close/>
                    <a:moveTo>
                      <a:pt x="61" y="172"/>
                    </a:moveTo>
                    <a:cubicBezTo>
                      <a:pt x="60" y="172"/>
                      <a:pt x="58" y="173"/>
                      <a:pt x="58" y="175"/>
                    </a:cubicBezTo>
                    <a:cubicBezTo>
                      <a:pt x="58" y="176"/>
                      <a:pt x="64" y="178"/>
                      <a:pt x="65" y="179"/>
                    </a:cubicBezTo>
                    <a:cubicBezTo>
                      <a:pt x="67" y="180"/>
                      <a:pt x="65" y="181"/>
                      <a:pt x="65" y="181"/>
                    </a:cubicBezTo>
                    <a:cubicBezTo>
                      <a:pt x="64" y="180"/>
                      <a:pt x="64" y="180"/>
                      <a:pt x="64" y="180"/>
                    </a:cubicBezTo>
                    <a:cubicBezTo>
                      <a:pt x="63" y="180"/>
                      <a:pt x="63" y="180"/>
                      <a:pt x="63" y="180"/>
                    </a:cubicBezTo>
                    <a:cubicBezTo>
                      <a:pt x="64" y="183"/>
                      <a:pt x="64" y="183"/>
                      <a:pt x="64" y="183"/>
                    </a:cubicBezTo>
                    <a:cubicBezTo>
                      <a:pt x="66" y="183"/>
                      <a:pt x="66" y="183"/>
                      <a:pt x="66" y="183"/>
                    </a:cubicBezTo>
                    <a:cubicBezTo>
                      <a:pt x="69" y="187"/>
                      <a:pt x="69" y="187"/>
                      <a:pt x="69" y="187"/>
                    </a:cubicBezTo>
                    <a:cubicBezTo>
                      <a:pt x="73" y="186"/>
                      <a:pt x="73" y="186"/>
                      <a:pt x="73" y="186"/>
                    </a:cubicBezTo>
                    <a:cubicBezTo>
                      <a:pt x="73" y="186"/>
                      <a:pt x="71" y="180"/>
                      <a:pt x="68" y="176"/>
                    </a:cubicBezTo>
                    <a:cubicBezTo>
                      <a:pt x="68" y="176"/>
                      <a:pt x="64" y="172"/>
                      <a:pt x="61" y="172"/>
                    </a:cubicBezTo>
                    <a:close/>
                    <a:moveTo>
                      <a:pt x="77" y="169"/>
                    </a:moveTo>
                    <a:cubicBezTo>
                      <a:pt x="74" y="171"/>
                      <a:pt x="74" y="171"/>
                      <a:pt x="74" y="171"/>
                    </a:cubicBezTo>
                    <a:cubicBezTo>
                      <a:pt x="79" y="173"/>
                      <a:pt x="79" y="173"/>
                      <a:pt x="79" y="173"/>
                    </a:cubicBezTo>
                    <a:cubicBezTo>
                      <a:pt x="80" y="172"/>
                      <a:pt x="80" y="172"/>
                      <a:pt x="80" y="172"/>
                    </a:cubicBezTo>
                    <a:cubicBezTo>
                      <a:pt x="80" y="172"/>
                      <a:pt x="81" y="174"/>
                      <a:pt x="86" y="175"/>
                    </a:cubicBezTo>
                    <a:cubicBezTo>
                      <a:pt x="91" y="176"/>
                      <a:pt x="92" y="172"/>
                      <a:pt x="92" y="172"/>
                    </a:cubicBezTo>
                    <a:cubicBezTo>
                      <a:pt x="92" y="172"/>
                      <a:pt x="98" y="175"/>
                      <a:pt x="99" y="173"/>
                    </a:cubicBezTo>
                    <a:cubicBezTo>
                      <a:pt x="101" y="170"/>
                      <a:pt x="103" y="163"/>
                      <a:pt x="103" y="163"/>
                    </a:cubicBezTo>
                    <a:cubicBezTo>
                      <a:pt x="103" y="163"/>
                      <a:pt x="100" y="161"/>
                      <a:pt x="101" y="159"/>
                    </a:cubicBezTo>
                    <a:cubicBezTo>
                      <a:pt x="101" y="158"/>
                      <a:pt x="102" y="158"/>
                      <a:pt x="102" y="158"/>
                    </a:cubicBezTo>
                    <a:cubicBezTo>
                      <a:pt x="99" y="149"/>
                      <a:pt x="99" y="149"/>
                      <a:pt x="99" y="149"/>
                    </a:cubicBezTo>
                    <a:cubicBezTo>
                      <a:pt x="92" y="149"/>
                      <a:pt x="92" y="149"/>
                      <a:pt x="92" y="149"/>
                    </a:cubicBezTo>
                    <a:cubicBezTo>
                      <a:pt x="94" y="148"/>
                      <a:pt x="97" y="148"/>
                      <a:pt x="98" y="147"/>
                    </a:cubicBezTo>
                    <a:cubicBezTo>
                      <a:pt x="99" y="145"/>
                      <a:pt x="100" y="145"/>
                      <a:pt x="99" y="143"/>
                    </a:cubicBezTo>
                    <a:cubicBezTo>
                      <a:pt x="97" y="141"/>
                      <a:pt x="94" y="137"/>
                      <a:pt x="94" y="137"/>
                    </a:cubicBezTo>
                    <a:cubicBezTo>
                      <a:pt x="93" y="138"/>
                      <a:pt x="93" y="138"/>
                      <a:pt x="93" y="138"/>
                    </a:cubicBezTo>
                    <a:cubicBezTo>
                      <a:pt x="94" y="142"/>
                      <a:pt x="94" y="142"/>
                      <a:pt x="94" y="142"/>
                    </a:cubicBezTo>
                    <a:cubicBezTo>
                      <a:pt x="93" y="143"/>
                      <a:pt x="93" y="143"/>
                      <a:pt x="93" y="143"/>
                    </a:cubicBezTo>
                    <a:cubicBezTo>
                      <a:pt x="94" y="145"/>
                      <a:pt x="94" y="145"/>
                      <a:pt x="94" y="145"/>
                    </a:cubicBezTo>
                    <a:cubicBezTo>
                      <a:pt x="89" y="149"/>
                      <a:pt x="89" y="149"/>
                      <a:pt x="89" y="149"/>
                    </a:cubicBezTo>
                    <a:cubicBezTo>
                      <a:pt x="88" y="147"/>
                      <a:pt x="88" y="147"/>
                      <a:pt x="88" y="147"/>
                    </a:cubicBezTo>
                    <a:cubicBezTo>
                      <a:pt x="91" y="144"/>
                      <a:pt x="91" y="144"/>
                      <a:pt x="91" y="144"/>
                    </a:cubicBezTo>
                    <a:cubicBezTo>
                      <a:pt x="84" y="138"/>
                      <a:pt x="84" y="138"/>
                      <a:pt x="84" y="138"/>
                    </a:cubicBezTo>
                    <a:cubicBezTo>
                      <a:pt x="83" y="140"/>
                      <a:pt x="83" y="140"/>
                      <a:pt x="83" y="140"/>
                    </a:cubicBezTo>
                    <a:cubicBezTo>
                      <a:pt x="81" y="138"/>
                      <a:pt x="81" y="138"/>
                      <a:pt x="81" y="138"/>
                    </a:cubicBezTo>
                    <a:cubicBezTo>
                      <a:pt x="67" y="144"/>
                      <a:pt x="67" y="144"/>
                      <a:pt x="67" y="144"/>
                    </a:cubicBezTo>
                    <a:cubicBezTo>
                      <a:pt x="65" y="142"/>
                      <a:pt x="65" y="142"/>
                      <a:pt x="65" y="142"/>
                    </a:cubicBezTo>
                    <a:cubicBezTo>
                      <a:pt x="61" y="145"/>
                      <a:pt x="61" y="145"/>
                      <a:pt x="61" y="145"/>
                    </a:cubicBezTo>
                    <a:cubicBezTo>
                      <a:pt x="64" y="147"/>
                      <a:pt x="64" y="147"/>
                      <a:pt x="64" y="147"/>
                    </a:cubicBezTo>
                    <a:cubicBezTo>
                      <a:pt x="61" y="147"/>
                      <a:pt x="61" y="147"/>
                      <a:pt x="61" y="147"/>
                    </a:cubicBezTo>
                    <a:cubicBezTo>
                      <a:pt x="63" y="150"/>
                      <a:pt x="63" y="150"/>
                      <a:pt x="63" y="150"/>
                    </a:cubicBezTo>
                    <a:cubicBezTo>
                      <a:pt x="65" y="150"/>
                      <a:pt x="65" y="150"/>
                      <a:pt x="65" y="150"/>
                    </a:cubicBezTo>
                    <a:cubicBezTo>
                      <a:pt x="64" y="154"/>
                      <a:pt x="64" y="154"/>
                      <a:pt x="64" y="154"/>
                    </a:cubicBezTo>
                    <a:cubicBezTo>
                      <a:pt x="67" y="155"/>
                      <a:pt x="67" y="155"/>
                      <a:pt x="67" y="155"/>
                    </a:cubicBezTo>
                    <a:cubicBezTo>
                      <a:pt x="67" y="155"/>
                      <a:pt x="66" y="161"/>
                      <a:pt x="68" y="162"/>
                    </a:cubicBezTo>
                    <a:cubicBezTo>
                      <a:pt x="70" y="163"/>
                      <a:pt x="71" y="170"/>
                      <a:pt x="71" y="170"/>
                    </a:cubicBezTo>
                    <a:cubicBezTo>
                      <a:pt x="72" y="170"/>
                      <a:pt x="72" y="170"/>
                      <a:pt x="72" y="170"/>
                    </a:cubicBezTo>
                    <a:cubicBezTo>
                      <a:pt x="72" y="165"/>
                      <a:pt x="72" y="165"/>
                      <a:pt x="72" y="165"/>
                    </a:cubicBezTo>
                    <a:cubicBezTo>
                      <a:pt x="75" y="165"/>
                      <a:pt x="75" y="165"/>
                      <a:pt x="75" y="165"/>
                    </a:cubicBezTo>
                    <a:lnTo>
                      <a:pt x="77" y="169"/>
                    </a:lnTo>
                    <a:close/>
                    <a:moveTo>
                      <a:pt x="91" y="123"/>
                    </a:moveTo>
                    <a:cubicBezTo>
                      <a:pt x="91" y="125"/>
                      <a:pt x="92" y="127"/>
                      <a:pt x="92" y="127"/>
                    </a:cubicBezTo>
                    <a:cubicBezTo>
                      <a:pt x="96" y="129"/>
                      <a:pt x="96" y="129"/>
                      <a:pt x="96" y="129"/>
                    </a:cubicBezTo>
                    <a:cubicBezTo>
                      <a:pt x="98" y="127"/>
                      <a:pt x="99" y="126"/>
                      <a:pt x="99" y="124"/>
                    </a:cubicBezTo>
                    <a:cubicBezTo>
                      <a:pt x="99" y="123"/>
                      <a:pt x="97" y="118"/>
                      <a:pt x="97" y="118"/>
                    </a:cubicBezTo>
                    <a:cubicBezTo>
                      <a:pt x="97" y="118"/>
                      <a:pt x="96" y="119"/>
                      <a:pt x="94" y="117"/>
                    </a:cubicBezTo>
                    <a:cubicBezTo>
                      <a:pt x="94" y="115"/>
                      <a:pt x="93" y="113"/>
                      <a:pt x="93" y="113"/>
                    </a:cubicBezTo>
                    <a:cubicBezTo>
                      <a:pt x="91" y="113"/>
                      <a:pt x="91" y="113"/>
                      <a:pt x="91" y="113"/>
                    </a:cubicBezTo>
                    <a:cubicBezTo>
                      <a:pt x="93" y="119"/>
                      <a:pt x="93" y="119"/>
                      <a:pt x="93" y="119"/>
                    </a:cubicBezTo>
                    <a:cubicBezTo>
                      <a:pt x="93" y="119"/>
                      <a:pt x="91" y="120"/>
                      <a:pt x="91" y="123"/>
                    </a:cubicBezTo>
                    <a:close/>
                    <a:moveTo>
                      <a:pt x="140" y="190"/>
                    </a:moveTo>
                    <a:cubicBezTo>
                      <a:pt x="139" y="188"/>
                      <a:pt x="135" y="182"/>
                      <a:pt x="135" y="182"/>
                    </a:cubicBezTo>
                    <a:cubicBezTo>
                      <a:pt x="133" y="182"/>
                      <a:pt x="133" y="182"/>
                      <a:pt x="133" y="182"/>
                    </a:cubicBezTo>
                    <a:cubicBezTo>
                      <a:pt x="133" y="186"/>
                      <a:pt x="133" y="186"/>
                      <a:pt x="133" y="186"/>
                    </a:cubicBezTo>
                    <a:cubicBezTo>
                      <a:pt x="127" y="188"/>
                      <a:pt x="127" y="188"/>
                      <a:pt x="127" y="188"/>
                    </a:cubicBezTo>
                    <a:cubicBezTo>
                      <a:pt x="127" y="186"/>
                      <a:pt x="127" y="186"/>
                      <a:pt x="127" y="186"/>
                    </a:cubicBezTo>
                    <a:cubicBezTo>
                      <a:pt x="125" y="185"/>
                      <a:pt x="125" y="185"/>
                      <a:pt x="125" y="185"/>
                    </a:cubicBezTo>
                    <a:cubicBezTo>
                      <a:pt x="125" y="185"/>
                      <a:pt x="124" y="180"/>
                      <a:pt x="118" y="180"/>
                    </a:cubicBezTo>
                    <a:cubicBezTo>
                      <a:pt x="112" y="179"/>
                      <a:pt x="109" y="183"/>
                      <a:pt x="109" y="183"/>
                    </a:cubicBezTo>
                    <a:cubicBezTo>
                      <a:pt x="114" y="188"/>
                      <a:pt x="114" y="188"/>
                      <a:pt x="114" y="188"/>
                    </a:cubicBezTo>
                    <a:cubicBezTo>
                      <a:pt x="110" y="190"/>
                      <a:pt x="110" y="190"/>
                      <a:pt x="110" y="190"/>
                    </a:cubicBezTo>
                    <a:cubicBezTo>
                      <a:pt x="108" y="189"/>
                      <a:pt x="108" y="189"/>
                      <a:pt x="108" y="189"/>
                    </a:cubicBezTo>
                    <a:cubicBezTo>
                      <a:pt x="108" y="187"/>
                      <a:pt x="108" y="187"/>
                      <a:pt x="108" y="187"/>
                    </a:cubicBezTo>
                    <a:cubicBezTo>
                      <a:pt x="107" y="188"/>
                      <a:pt x="107" y="188"/>
                      <a:pt x="107" y="188"/>
                    </a:cubicBezTo>
                    <a:cubicBezTo>
                      <a:pt x="107" y="192"/>
                      <a:pt x="107" y="192"/>
                      <a:pt x="107" y="192"/>
                    </a:cubicBezTo>
                    <a:cubicBezTo>
                      <a:pt x="121" y="196"/>
                      <a:pt x="121" y="196"/>
                      <a:pt x="121" y="196"/>
                    </a:cubicBezTo>
                    <a:cubicBezTo>
                      <a:pt x="121" y="196"/>
                      <a:pt x="122" y="198"/>
                      <a:pt x="123" y="200"/>
                    </a:cubicBezTo>
                    <a:cubicBezTo>
                      <a:pt x="123" y="202"/>
                      <a:pt x="126" y="204"/>
                      <a:pt x="126" y="204"/>
                    </a:cubicBezTo>
                    <a:cubicBezTo>
                      <a:pt x="129" y="203"/>
                      <a:pt x="129" y="203"/>
                      <a:pt x="129" y="203"/>
                    </a:cubicBezTo>
                    <a:cubicBezTo>
                      <a:pt x="129" y="201"/>
                      <a:pt x="129" y="201"/>
                      <a:pt x="129" y="201"/>
                    </a:cubicBezTo>
                    <a:cubicBezTo>
                      <a:pt x="129" y="201"/>
                      <a:pt x="130" y="200"/>
                      <a:pt x="132" y="200"/>
                    </a:cubicBezTo>
                    <a:cubicBezTo>
                      <a:pt x="134" y="200"/>
                      <a:pt x="140" y="198"/>
                      <a:pt x="140" y="198"/>
                    </a:cubicBezTo>
                    <a:cubicBezTo>
                      <a:pt x="141" y="196"/>
                      <a:pt x="141" y="196"/>
                      <a:pt x="141" y="196"/>
                    </a:cubicBezTo>
                    <a:cubicBezTo>
                      <a:pt x="140" y="194"/>
                      <a:pt x="140" y="194"/>
                      <a:pt x="140" y="194"/>
                    </a:cubicBezTo>
                    <a:cubicBezTo>
                      <a:pt x="140" y="194"/>
                      <a:pt x="141" y="192"/>
                      <a:pt x="140" y="190"/>
                    </a:cubicBezTo>
                    <a:close/>
                    <a:moveTo>
                      <a:pt x="10" y="63"/>
                    </a:moveTo>
                    <a:cubicBezTo>
                      <a:pt x="11" y="67"/>
                      <a:pt x="11" y="67"/>
                      <a:pt x="11" y="67"/>
                    </a:cubicBezTo>
                    <a:cubicBezTo>
                      <a:pt x="11" y="67"/>
                      <a:pt x="14" y="68"/>
                      <a:pt x="15" y="68"/>
                    </a:cubicBezTo>
                    <a:cubicBezTo>
                      <a:pt x="16" y="68"/>
                      <a:pt x="17" y="66"/>
                      <a:pt x="17" y="66"/>
                    </a:cubicBezTo>
                    <a:cubicBezTo>
                      <a:pt x="19" y="65"/>
                      <a:pt x="19" y="65"/>
                      <a:pt x="19" y="65"/>
                    </a:cubicBezTo>
                    <a:cubicBezTo>
                      <a:pt x="19" y="65"/>
                      <a:pt x="18" y="63"/>
                      <a:pt x="17" y="62"/>
                    </a:cubicBezTo>
                    <a:cubicBezTo>
                      <a:pt x="17" y="60"/>
                      <a:pt x="21" y="58"/>
                      <a:pt x="22" y="56"/>
                    </a:cubicBezTo>
                    <a:cubicBezTo>
                      <a:pt x="23" y="55"/>
                      <a:pt x="25" y="51"/>
                      <a:pt x="25" y="51"/>
                    </a:cubicBezTo>
                    <a:cubicBezTo>
                      <a:pt x="32" y="49"/>
                      <a:pt x="32" y="49"/>
                      <a:pt x="32" y="49"/>
                    </a:cubicBezTo>
                    <a:cubicBezTo>
                      <a:pt x="32" y="47"/>
                      <a:pt x="32" y="47"/>
                      <a:pt x="32" y="47"/>
                    </a:cubicBezTo>
                    <a:cubicBezTo>
                      <a:pt x="33" y="48"/>
                      <a:pt x="33" y="48"/>
                      <a:pt x="33" y="48"/>
                    </a:cubicBezTo>
                    <a:cubicBezTo>
                      <a:pt x="35" y="48"/>
                      <a:pt x="35" y="48"/>
                      <a:pt x="35" y="48"/>
                    </a:cubicBezTo>
                    <a:cubicBezTo>
                      <a:pt x="35" y="47"/>
                      <a:pt x="35" y="47"/>
                      <a:pt x="35" y="47"/>
                    </a:cubicBezTo>
                    <a:cubicBezTo>
                      <a:pt x="42" y="46"/>
                      <a:pt x="42" y="46"/>
                      <a:pt x="42" y="46"/>
                    </a:cubicBezTo>
                    <a:cubicBezTo>
                      <a:pt x="42" y="46"/>
                      <a:pt x="44" y="47"/>
                      <a:pt x="47" y="48"/>
                    </a:cubicBezTo>
                    <a:cubicBezTo>
                      <a:pt x="48" y="48"/>
                      <a:pt x="53" y="45"/>
                      <a:pt x="53" y="45"/>
                    </a:cubicBezTo>
                    <a:cubicBezTo>
                      <a:pt x="60" y="45"/>
                      <a:pt x="60" y="45"/>
                      <a:pt x="60" y="45"/>
                    </a:cubicBezTo>
                    <a:cubicBezTo>
                      <a:pt x="60" y="45"/>
                      <a:pt x="60" y="41"/>
                      <a:pt x="61" y="41"/>
                    </a:cubicBezTo>
                    <a:cubicBezTo>
                      <a:pt x="64" y="41"/>
                      <a:pt x="63" y="44"/>
                      <a:pt x="63" y="44"/>
                    </a:cubicBezTo>
                    <a:cubicBezTo>
                      <a:pt x="63" y="44"/>
                      <a:pt x="64" y="44"/>
                      <a:pt x="66" y="43"/>
                    </a:cubicBezTo>
                    <a:cubicBezTo>
                      <a:pt x="72" y="43"/>
                      <a:pt x="72" y="43"/>
                      <a:pt x="72" y="43"/>
                    </a:cubicBezTo>
                    <a:cubicBezTo>
                      <a:pt x="74" y="43"/>
                      <a:pt x="79" y="46"/>
                      <a:pt x="80" y="47"/>
                    </a:cubicBezTo>
                    <a:cubicBezTo>
                      <a:pt x="82" y="48"/>
                      <a:pt x="83" y="49"/>
                      <a:pt x="85" y="48"/>
                    </a:cubicBezTo>
                    <a:cubicBezTo>
                      <a:pt x="87" y="48"/>
                      <a:pt x="89" y="39"/>
                      <a:pt x="89" y="39"/>
                    </a:cubicBezTo>
                    <a:cubicBezTo>
                      <a:pt x="94" y="32"/>
                      <a:pt x="94" y="32"/>
                      <a:pt x="94" y="32"/>
                    </a:cubicBezTo>
                    <a:cubicBezTo>
                      <a:pt x="94" y="32"/>
                      <a:pt x="93" y="30"/>
                      <a:pt x="93" y="29"/>
                    </a:cubicBezTo>
                    <a:cubicBezTo>
                      <a:pt x="92" y="28"/>
                      <a:pt x="94" y="23"/>
                      <a:pt x="93" y="19"/>
                    </a:cubicBezTo>
                    <a:cubicBezTo>
                      <a:pt x="93" y="14"/>
                      <a:pt x="90" y="15"/>
                      <a:pt x="89" y="13"/>
                    </a:cubicBezTo>
                    <a:cubicBezTo>
                      <a:pt x="89" y="12"/>
                      <a:pt x="93" y="4"/>
                      <a:pt x="94" y="3"/>
                    </a:cubicBezTo>
                    <a:cubicBezTo>
                      <a:pt x="96" y="2"/>
                      <a:pt x="99" y="1"/>
                      <a:pt x="99" y="1"/>
                    </a:cubicBezTo>
                    <a:cubicBezTo>
                      <a:pt x="98" y="0"/>
                      <a:pt x="98" y="0"/>
                      <a:pt x="98" y="0"/>
                    </a:cubicBezTo>
                    <a:cubicBezTo>
                      <a:pt x="93" y="1"/>
                      <a:pt x="93" y="1"/>
                      <a:pt x="93" y="1"/>
                    </a:cubicBezTo>
                    <a:cubicBezTo>
                      <a:pt x="93" y="1"/>
                      <a:pt x="91" y="3"/>
                      <a:pt x="90" y="4"/>
                    </a:cubicBezTo>
                    <a:cubicBezTo>
                      <a:pt x="88" y="6"/>
                      <a:pt x="83" y="11"/>
                      <a:pt x="83" y="11"/>
                    </a:cubicBezTo>
                    <a:cubicBezTo>
                      <a:pt x="83" y="11"/>
                      <a:pt x="73" y="11"/>
                      <a:pt x="72" y="12"/>
                    </a:cubicBezTo>
                    <a:cubicBezTo>
                      <a:pt x="70" y="12"/>
                      <a:pt x="64" y="24"/>
                      <a:pt x="63" y="28"/>
                    </a:cubicBezTo>
                    <a:cubicBezTo>
                      <a:pt x="61" y="30"/>
                      <a:pt x="55" y="37"/>
                      <a:pt x="50" y="38"/>
                    </a:cubicBezTo>
                    <a:cubicBezTo>
                      <a:pt x="43" y="39"/>
                      <a:pt x="40" y="37"/>
                      <a:pt x="38" y="37"/>
                    </a:cubicBezTo>
                    <a:cubicBezTo>
                      <a:pt x="35" y="37"/>
                      <a:pt x="34" y="39"/>
                      <a:pt x="34" y="39"/>
                    </a:cubicBezTo>
                    <a:cubicBezTo>
                      <a:pt x="34" y="39"/>
                      <a:pt x="28" y="40"/>
                      <a:pt x="27" y="40"/>
                    </a:cubicBezTo>
                    <a:cubicBezTo>
                      <a:pt x="27" y="40"/>
                      <a:pt x="26" y="38"/>
                      <a:pt x="23" y="38"/>
                    </a:cubicBezTo>
                    <a:cubicBezTo>
                      <a:pt x="21" y="39"/>
                      <a:pt x="16" y="48"/>
                      <a:pt x="12" y="52"/>
                    </a:cubicBezTo>
                    <a:cubicBezTo>
                      <a:pt x="9" y="56"/>
                      <a:pt x="8" y="63"/>
                      <a:pt x="8" y="63"/>
                    </a:cubicBezTo>
                    <a:lnTo>
                      <a:pt x="10" y="63"/>
                    </a:lnTo>
                    <a:close/>
                    <a:moveTo>
                      <a:pt x="20" y="67"/>
                    </a:moveTo>
                    <a:cubicBezTo>
                      <a:pt x="18" y="67"/>
                      <a:pt x="18" y="67"/>
                      <a:pt x="18" y="67"/>
                    </a:cubicBezTo>
                    <a:cubicBezTo>
                      <a:pt x="18" y="68"/>
                      <a:pt x="18" y="68"/>
                      <a:pt x="18" y="68"/>
                    </a:cubicBezTo>
                    <a:cubicBezTo>
                      <a:pt x="16" y="69"/>
                      <a:pt x="16" y="69"/>
                      <a:pt x="16" y="69"/>
                    </a:cubicBezTo>
                    <a:cubicBezTo>
                      <a:pt x="16" y="69"/>
                      <a:pt x="17" y="70"/>
                      <a:pt x="18" y="71"/>
                    </a:cubicBezTo>
                    <a:cubicBezTo>
                      <a:pt x="19" y="71"/>
                      <a:pt x="22" y="71"/>
                      <a:pt x="23" y="70"/>
                    </a:cubicBezTo>
                    <a:cubicBezTo>
                      <a:pt x="24" y="69"/>
                      <a:pt x="21" y="69"/>
                      <a:pt x="21" y="69"/>
                    </a:cubicBezTo>
                    <a:lnTo>
                      <a:pt x="20" y="67"/>
                    </a:lnTo>
                    <a:close/>
                    <a:moveTo>
                      <a:pt x="34" y="55"/>
                    </a:moveTo>
                    <a:cubicBezTo>
                      <a:pt x="36" y="55"/>
                      <a:pt x="35" y="51"/>
                      <a:pt x="35" y="51"/>
                    </a:cubicBezTo>
                    <a:cubicBezTo>
                      <a:pt x="33" y="51"/>
                      <a:pt x="33" y="51"/>
                      <a:pt x="33" y="51"/>
                    </a:cubicBezTo>
                    <a:cubicBezTo>
                      <a:pt x="31" y="53"/>
                      <a:pt x="31" y="53"/>
                      <a:pt x="31" y="53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4" y="60"/>
                      <a:pt x="24" y="60"/>
                      <a:pt x="24" y="60"/>
                    </a:cubicBezTo>
                    <a:cubicBezTo>
                      <a:pt x="22" y="61"/>
                      <a:pt x="22" y="61"/>
                      <a:pt x="22" y="61"/>
                    </a:cubicBezTo>
                    <a:cubicBezTo>
                      <a:pt x="20" y="64"/>
                      <a:pt x="20" y="64"/>
                      <a:pt x="20" y="64"/>
                    </a:cubicBezTo>
                    <a:cubicBezTo>
                      <a:pt x="20" y="64"/>
                      <a:pt x="22" y="65"/>
                      <a:pt x="22" y="66"/>
                    </a:cubicBezTo>
                    <a:cubicBezTo>
                      <a:pt x="23" y="66"/>
                      <a:pt x="24" y="67"/>
                      <a:pt x="24" y="67"/>
                    </a:cubicBezTo>
                    <a:cubicBezTo>
                      <a:pt x="28" y="65"/>
                      <a:pt x="28" y="65"/>
                      <a:pt x="28" y="65"/>
                    </a:cubicBezTo>
                    <a:cubicBezTo>
                      <a:pt x="28" y="65"/>
                      <a:pt x="33" y="61"/>
                      <a:pt x="33" y="60"/>
                    </a:cubicBezTo>
                    <a:cubicBezTo>
                      <a:pt x="33" y="60"/>
                      <a:pt x="31" y="56"/>
                      <a:pt x="32" y="55"/>
                    </a:cubicBezTo>
                    <a:cubicBezTo>
                      <a:pt x="33" y="54"/>
                      <a:pt x="33" y="56"/>
                      <a:pt x="34" y="55"/>
                    </a:cubicBezTo>
                    <a:close/>
                    <a:moveTo>
                      <a:pt x="116" y="120"/>
                    </a:moveTo>
                    <a:cubicBezTo>
                      <a:pt x="117" y="122"/>
                      <a:pt x="120" y="123"/>
                      <a:pt x="120" y="123"/>
                    </a:cubicBezTo>
                    <a:cubicBezTo>
                      <a:pt x="120" y="123"/>
                      <a:pt x="118" y="120"/>
                      <a:pt x="117" y="119"/>
                    </a:cubicBezTo>
                    <a:cubicBezTo>
                      <a:pt x="116" y="118"/>
                      <a:pt x="113" y="117"/>
                      <a:pt x="113" y="117"/>
                    </a:cubicBezTo>
                    <a:cubicBezTo>
                      <a:pt x="113" y="117"/>
                      <a:pt x="114" y="120"/>
                      <a:pt x="116" y="120"/>
                    </a:cubicBezTo>
                    <a:close/>
                    <a:moveTo>
                      <a:pt x="112" y="34"/>
                    </a:moveTo>
                    <a:cubicBezTo>
                      <a:pt x="113" y="34"/>
                      <a:pt x="112" y="33"/>
                      <a:pt x="113" y="31"/>
                    </a:cubicBezTo>
                    <a:cubicBezTo>
                      <a:pt x="115" y="30"/>
                      <a:pt x="117" y="30"/>
                      <a:pt x="117" y="30"/>
                    </a:cubicBezTo>
                    <a:cubicBezTo>
                      <a:pt x="116" y="25"/>
                      <a:pt x="116" y="25"/>
                      <a:pt x="116" y="25"/>
                    </a:cubicBezTo>
                    <a:cubicBezTo>
                      <a:pt x="116" y="25"/>
                      <a:pt x="109" y="27"/>
                      <a:pt x="107" y="29"/>
                    </a:cubicBezTo>
                    <a:cubicBezTo>
                      <a:pt x="106" y="30"/>
                      <a:pt x="105" y="32"/>
                      <a:pt x="105" y="32"/>
                    </a:cubicBezTo>
                    <a:cubicBezTo>
                      <a:pt x="108" y="33"/>
                      <a:pt x="108" y="33"/>
                      <a:pt x="108" y="33"/>
                    </a:cubicBezTo>
                    <a:cubicBezTo>
                      <a:pt x="108" y="33"/>
                      <a:pt x="109" y="35"/>
                      <a:pt x="112" y="34"/>
                    </a:cubicBezTo>
                    <a:close/>
                    <a:moveTo>
                      <a:pt x="41" y="58"/>
                    </a:moveTo>
                    <a:cubicBezTo>
                      <a:pt x="35" y="59"/>
                      <a:pt x="35" y="59"/>
                      <a:pt x="35" y="59"/>
                    </a:cubicBezTo>
                    <a:cubicBezTo>
                      <a:pt x="37" y="60"/>
                      <a:pt x="37" y="60"/>
                      <a:pt x="37" y="60"/>
                    </a:cubicBezTo>
                    <a:lnTo>
                      <a:pt x="41" y="58"/>
                    </a:lnTo>
                    <a:close/>
                    <a:moveTo>
                      <a:pt x="15" y="163"/>
                    </a:moveTo>
                    <a:cubicBezTo>
                      <a:pt x="15" y="163"/>
                      <a:pt x="12" y="164"/>
                      <a:pt x="12" y="167"/>
                    </a:cubicBezTo>
                    <a:cubicBezTo>
                      <a:pt x="12" y="170"/>
                      <a:pt x="15" y="172"/>
                      <a:pt x="16" y="172"/>
                    </a:cubicBezTo>
                    <a:cubicBezTo>
                      <a:pt x="17" y="172"/>
                      <a:pt x="16" y="167"/>
                      <a:pt x="16" y="167"/>
                    </a:cubicBezTo>
                    <a:cubicBezTo>
                      <a:pt x="16" y="167"/>
                      <a:pt x="18" y="163"/>
                      <a:pt x="15" y="163"/>
                    </a:cubicBezTo>
                    <a:close/>
                    <a:moveTo>
                      <a:pt x="61" y="183"/>
                    </a:moveTo>
                    <a:cubicBezTo>
                      <a:pt x="59" y="178"/>
                      <a:pt x="59" y="178"/>
                      <a:pt x="59" y="178"/>
                    </a:cubicBezTo>
                    <a:cubicBezTo>
                      <a:pt x="53" y="174"/>
                      <a:pt x="53" y="174"/>
                      <a:pt x="53" y="174"/>
                    </a:cubicBezTo>
                    <a:cubicBezTo>
                      <a:pt x="50" y="175"/>
                      <a:pt x="50" y="175"/>
                      <a:pt x="50" y="175"/>
                    </a:cubicBezTo>
                    <a:cubicBezTo>
                      <a:pt x="50" y="175"/>
                      <a:pt x="52" y="173"/>
                      <a:pt x="53" y="173"/>
                    </a:cubicBezTo>
                    <a:cubicBezTo>
                      <a:pt x="54" y="172"/>
                      <a:pt x="53" y="170"/>
                      <a:pt x="53" y="170"/>
                    </a:cubicBezTo>
                    <a:cubicBezTo>
                      <a:pt x="52" y="170"/>
                      <a:pt x="52" y="170"/>
                      <a:pt x="52" y="170"/>
                    </a:cubicBezTo>
                    <a:cubicBezTo>
                      <a:pt x="56" y="165"/>
                      <a:pt x="56" y="165"/>
                      <a:pt x="56" y="165"/>
                    </a:cubicBezTo>
                    <a:cubicBezTo>
                      <a:pt x="56" y="165"/>
                      <a:pt x="58" y="165"/>
                      <a:pt x="59" y="164"/>
                    </a:cubicBezTo>
                    <a:cubicBezTo>
                      <a:pt x="60" y="163"/>
                      <a:pt x="59" y="159"/>
                      <a:pt x="59" y="159"/>
                    </a:cubicBezTo>
                    <a:cubicBezTo>
                      <a:pt x="57" y="160"/>
                      <a:pt x="57" y="160"/>
                      <a:pt x="57" y="160"/>
                    </a:cubicBezTo>
                    <a:cubicBezTo>
                      <a:pt x="59" y="159"/>
                      <a:pt x="59" y="159"/>
                      <a:pt x="59" y="159"/>
                    </a:cubicBezTo>
                    <a:cubicBezTo>
                      <a:pt x="59" y="159"/>
                      <a:pt x="57" y="155"/>
                      <a:pt x="57" y="154"/>
                    </a:cubicBezTo>
                    <a:cubicBezTo>
                      <a:pt x="57" y="151"/>
                      <a:pt x="59" y="148"/>
                      <a:pt x="59" y="148"/>
                    </a:cubicBezTo>
                    <a:cubicBezTo>
                      <a:pt x="58" y="145"/>
                      <a:pt x="58" y="145"/>
                      <a:pt x="58" y="145"/>
                    </a:cubicBezTo>
                    <a:cubicBezTo>
                      <a:pt x="58" y="145"/>
                      <a:pt x="53" y="146"/>
                      <a:pt x="53" y="145"/>
                    </a:cubicBezTo>
                    <a:cubicBezTo>
                      <a:pt x="54" y="144"/>
                      <a:pt x="59" y="143"/>
                      <a:pt x="59" y="143"/>
                    </a:cubicBezTo>
                    <a:cubicBezTo>
                      <a:pt x="67" y="137"/>
                      <a:pt x="67" y="137"/>
                      <a:pt x="67" y="137"/>
                    </a:cubicBezTo>
                    <a:cubicBezTo>
                      <a:pt x="63" y="137"/>
                      <a:pt x="63" y="137"/>
                      <a:pt x="63" y="137"/>
                    </a:cubicBezTo>
                    <a:cubicBezTo>
                      <a:pt x="63" y="137"/>
                      <a:pt x="60" y="133"/>
                      <a:pt x="59" y="133"/>
                    </a:cubicBezTo>
                    <a:cubicBezTo>
                      <a:pt x="56" y="132"/>
                      <a:pt x="56" y="132"/>
                      <a:pt x="56" y="132"/>
                    </a:cubicBezTo>
                    <a:cubicBezTo>
                      <a:pt x="56" y="132"/>
                      <a:pt x="57" y="131"/>
                      <a:pt x="59" y="131"/>
                    </a:cubicBezTo>
                    <a:cubicBezTo>
                      <a:pt x="60" y="131"/>
                      <a:pt x="65" y="134"/>
                      <a:pt x="68" y="133"/>
                    </a:cubicBezTo>
                    <a:cubicBezTo>
                      <a:pt x="71" y="132"/>
                      <a:pt x="73" y="128"/>
                      <a:pt x="73" y="128"/>
                    </a:cubicBezTo>
                    <a:cubicBezTo>
                      <a:pt x="73" y="125"/>
                      <a:pt x="73" y="125"/>
                      <a:pt x="73" y="125"/>
                    </a:cubicBezTo>
                    <a:cubicBezTo>
                      <a:pt x="73" y="124"/>
                      <a:pt x="67" y="122"/>
                      <a:pt x="67" y="122"/>
                    </a:cubicBezTo>
                    <a:cubicBezTo>
                      <a:pt x="67" y="120"/>
                      <a:pt x="70" y="122"/>
                      <a:pt x="70" y="122"/>
                    </a:cubicBezTo>
                    <a:cubicBezTo>
                      <a:pt x="73" y="120"/>
                      <a:pt x="73" y="120"/>
                      <a:pt x="73" y="120"/>
                    </a:cubicBezTo>
                    <a:cubicBezTo>
                      <a:pt x="77" y="120"/>
                      <a:pt x="77" y="120"/>
                      <a:pt x="77" y="120"/>
                    </a:cubicBezTo>
                    <a:cubicBezTo>
                      <a:pt x="79" y="123"/>
                      <a:pt x="79" y="123"/>
                      <a:pt x="79" y="123"/>
                    </a:cubicBezTo>
                    <a:cubicBezTo>
                      <a:pt x="80" y="123"/>
                      <a:pt x="80" y="123"/>
                      <a:pt x="80" y="123"/>
                    </a:cubicBezTo>
                    <a:cubicBezTo>
                      <a:pt x="80" y="123"/>
                      <a:pt x="81" y="119"/>
                      <a:pt x="81" y="118"/>
                    </a:cubicBezTo>
                    <a:cubicBezTo>
                      <a:pt x="82" y="117"/>
                      <a:pt x="83" y="116"/>
                      <a:pt x="83" y="116"/>
                    </a:cubicBezTo>
                    <a:cubicBezTo>
                      <a:pt x="83" y="110"/>
                      <a:pt x="83" y="110"/>
                      <a:pt x="83" y="110"/>
                    </a:cubicBezTo>
                    <a:cubicBezTo>
                      <a:pt x="83" y="109"/>
                      <a:pt x="81" y="104"/>
                      <a:pt x="81" y="103"/>
                    </a:cubicBezTo>
                    <a:cubicBezTo>
                      <a:pt x="81" y="102"/>
                      <a:pt x="87" y="95"/>
                      <a:pt x="89" y="95"/>
                    </a:cubicBezTo>
                    <a:cubicBezTo>
                      <a:pt x="90" y="95"/>
                      <a:pt x="90" y="97"/>
                      <a:pt x="90" y="97"/>
                    </a:cubicBezTo>
                    <a:cubicBezTo>
                      <a:pt x="87" y="101"/>
                      <a:pt x="87" y="101"/>
                      <a:pt x="87" y="101"/>
                    </a:cubicBezTo>
                    <a:cubicBezTo>
                      <a:pt x="87" y="103"/>
                      <a:pt x="87" y="103"/>
                      <a:pt x="87" y="103"/>
                    </a:cubicBezTo>
                    <a:cubicBezTo>
                      <a:pt x="87" y="103"/>
                      <a:pt x="90" y="102"/>
                      <a:pt x="91" y="102"/>
                    </a:cubicBezTo>
                    <a:cubicBezTo>
                      <a:pt x="92" y="103"/>
                      <a:pt x="91" y="104"/>
                      <a:pt x="90" y="106"/>
                    </a:cubicBezTo>
                    <a:cubicBezTo>
                      <a:pt x="89" y="106"/>
                      <a:pt x="92" y="107"/>
                      <a:pt x="93" y="107"/>
                    </a:cubicBezTo>
                    <a:cubicBezTo>
                      <a:pt x="94" y="106"/>
                      <a:pt x="93" y="102"/>
                      <a:pt x="93" y="102"/>
                    </a:cubicBezTo>
                    <a:cubicBezTo>
                      <a:pt x="93" y="102"/>
                      <a:pt x="94" y="99"/>
                      <a:pt x="96" y="99"/>
                    </a:cubicBezTo>
                    <a:cubicBezTo>
                      <a:pt x="97" y="99"/>
                      <a:pt x="98" y="101"/>
                      <a:pt x="97" y="101"/>
                    </a:cubicBezTo>
                    <a:cubicBezTo>
                      <a:pt x="96" y="102"/>
                      <a:pt x="96" y="103"/>
                      <a:pt x="97" y="104"/>
                    </a:cubicBezTo>
                    <a:cubicBezTo>
                      <a:pt x="98" y="104"/>
                      <a:pt x="100" y="103"/>
                      <a:pt x="100" y="103"/>
                    </a:cubicBezTo>
                    <a:cubicBezTo>
                      <a:pt x="100" y="100"/>
                      <a:pt x="100" y="100"/>
                      <a:pt x="100" y="100"/>
                    </a:cubicBezTo>
                    <a:cubicBezTo>
                      <a:pt x="103" y="97"/>
                      <a:pt x="103" y="97"/>
                      <a:pt x="103" y="97"/>
                    </a:cubicBezTo>
                    <a:cubicBezTo>
                      <a:pt x="103" y="96"/>
                      <a:pt x="103" y="96"/>
                      <a:pt x="103" y="96"/>
                    </a:cubicBezTo>
                    <a:cubicBezTo>
                      <a:pt x="107" y="92"/>
                      <a:pt x="107" y="92"/>
                      <a:pt x="107" y="92"/>
                    </a:cubicBezTo>
                    <a:cubicBezTo>
                      <a:pt x="106" y="86"/>
                      <a:pt x="106" y="86"/>
                      <a:pt x="106" y="86"/>
                    </a:cubicBezTo>
                    <a:cubicBezTo>
                      <a:pt x="107" y="85"/>
                      <a:pt x="107" y="85"/>
                      <a:pt x="107" y="85"/>
                    </a:cubicBezTo>
                    <a:cubicBezTo>
                      <a:pt x="107" y="82"/>
                      <a:pt x="107" y="82"/>
                      <a:pt x="107" y="82"/>
                    </a:cubicBezTo>
                    <a:cubicBezTo>
                      <a:pt x="107" y="80"/>
                      <a:pt x="103" y="78"/>
                      <a:pt x="103" y="78"/>
                    </a:cubicBezTo>
                    <a:cubicBezTo>
                      <a:pt x="91" y="80"/>
                      <a:pt x="91" y="80"/>
                      <a:pt x="91" y="80"/>
                    </a:cubicBezTo>
                    <a:cubicBezTo>
                      <a:pt x="87" y="78"/>
                      <a:pt x="87" y="78"/>
                      <a:pt x="87" y="78"/>
                    </a:cubicBezTo>
                    <a:cubicBezTo>
                      <a:pt x="87" y="78"/>
                      <a:pt x="86" y="75"/>
                      <a:pt x="85" y="75"/>
                    </a:cubicBezTo>
                    <a:cubicBezTo>
                      <a:pt x="84" y="74"/>
                      <a:pt x="82" y="76"/>
                      <a:pt x="82" y="76"/>
                    </a:cubicBezTo>
                    <a:cubicBezTo>
                      <a:pt x="82" y="78"/>
                      <a:pt x="82" y="78"/>
                      <a:pt x="82" y="78"/>
                    </a:cubicBezTo>
                    <a:cubicBezTo>
                      <a:pt x="81" y="76"/>
                      <a:pt x="81" y="76"/>
                      <a:pt x="81" y="76"/>
                    </a:cubicBezTo>
                    <a:cubicBezTo>
                      <a:pt x="84" y="72"/>
                      <a:pt x="84" y="72"/>
                      <a:pt x="84" y="72"/>
                    </a:cubicBezTo>
                    <a:cubicBezTo>
                      <a:pt x="85" y="72"/>
                      <a:pt x="85" y="72"/>
                      <a:pt x="85" y="72"/>
                    </a:cubicBezTo>
                    <a:cubicBezTo>
                      <a:pt x="87" y="69"/>
                      <a:pt x="87" y="69"/>
                      <a:pt x="87" y="69"/>
                    </a:cubicBezTo>
                    <a:cubicBezTo>
                      <a:pt x="85" y="68"/>
                      <a:pt x="85" y="68"/>
                      <a:pt x="85" y="68"/>
                    </a:cubicBezTo>
                    <a:cubicBezTo>
                      <a:pt x="86" y="65"/>
                      <a:pt x="86" y="65"/>
                      <a:pt x="86" y="65"/>
                    </a:cubicBezTo>
                    <a:cubicBezTo>
                      <a:pt x="85" y="63"/>
                      <a:pt x="85" y="63"/>
                      <a:pt x="85" y="63"/>
                    </a:cubicBezTo>
                    <a:cubicBezTo>
                      <a:pt x="84" y="54"/>
                      <a:pt x="84" y="54"/>
                      <a:pt x="84" y="54"/>
                    </a:cubicBezTo>
                    <a:cubicBezTo>
                      <a:pt x="85" y="51"/>
                      <a:pt x="85" y="51"/>
                      <a:pt x="85" y="51"/>
                    </a:cubicBezTo>
                    <a:cubicBezTo>
                      <a:pt x="85" y="50"/>
                      <a:pt x="81" y="50"/>
                      <a:pt x="81" y="50"/>
                    </a:cubicBezTo>
                    <a:cubicBezTo>
                      <a:pt x="74" y="45"/>
                      <a:pt x="74" y="45"/>
                      <a:pt x="74" y="45"/>
                    </a:cubicBezTo>
                    <a:cubicBezTo>
                      <a:pt x="72" y="45"/>
                      <a:pt x="72" y="45"/>
                      <a:pt x="72" y="45"/>
                    </a:cubicBezTo>
                    <a:cubicBezTo>
                      <a:pt x="64" y="46"/>
                      <a:pt x="64" y="46"/>
                      <a:pt x="64" y="46"/>
                    </a:cubicBezTo>
                    <a:cubicBezTo>
                      <a:pt x="64" y="46"/>
                      <a:pt x="60" y="48"/>
                      <a:pt x="60" y="49"/>
                    </a:cubicBezTo>
                    <a:cubicBezTo>
                      <a:pt x="59" y="50"/>
                      <a:pt x="57" y="52"/>
                      <a:pt x="56" y="51"/>
                    </a:cubicBezTo>
                    <a:cubicBezTo>
                      <a:pt x="56" y="50"/>
                      <a:pt x="58" y="49"/>
                      <a:pt x="57" y="48"/>
                    </a:cubicBezTo>
                    <a:cubicBezTo>
                      <a:pt x="57" y="46"/>
                      <a:pt x="49" y="48"/>
                      <a:pt x="49" y="48"/>
                    </a:cubicBezTo>
                    <a:cubicBezTo>
                      <a:pt x="43" y="54"/>
                      <a:pt x="43" y="54"/>
                      <a:pt x="43" y="54"/>
                    </a:cubicBezTo>
                    <a:cubicBezTo>
                      <a:pt x="43" y="54"/>
                      <a:pt x="44" y="62"/>
                      <a:pt x="44" y="63"/>
                    </a:cubicBezTo>
                    <a:cubicBezTo>
                      <a:pt x="43" y="63"/>
                      <a:pt x="45" y="64"/>
                      <a:pt x="45" y="64"/>
                    </a:cubicBezTo>
                    <a:cubicBezTo>
                      <a:pt x="45" y="64"/>
                      <a:pt x="45" y="65"/>
                      <a:pt x="44" y="65"/>
                    </a:cubicBezTo>
                    <a:cubicBezTo>
                      <a:pt x="43" y="66"/>
                      <a:pt x="44" y="68"/>
                      <a:pt x="44" y="68"/>
                    </a:cubicBezTo>
                    <a:cubicBezTo>
                      <a:pt x="45" y="68"/>
                      <a:pt x="48" y="69"/>
                      <a:pt x="48" y="69"/>
                    </a:cubicBezTo>
                    <a:cubicBezTo>
                      <a:pt x="48" y="76"/>
                      <a:pt x="48" y="76"/>
                      <a:pt x="48" y="76"/>
                    </a:cubicBezTo>
                    <a:cubicBezTo>
                      <a:pt x="51" y="76"/>
                      <a:pt x="51" y="76"/>
                      <a:pt x="51" y="76"/>
                    </a:cubicBezTo>
                    <a:cubicBezTo>
                      <a:pt x="51" y="76"/>
                      <a:pt x="50" y="78"/>
                      <a:pt x="48" y="78"/>
                    </a:cubicBezTo>
                    <a:cubicBezTo>
                      <a:pt x="45" y="79"/>
                      <a:pt x="45" y="76"/>
                      <a:pt x="45" y="76"/>
                    </a:cubicBezTo>
                    <a:cubicBezTo>
                      <a:pt x="47" y="72"/>
                      <a:pt x="47" y="72"/>
                      <a:pt x="47" y="72"/>
                    </a:cubicBezTo>
                    <a:cubicBezTo>
                      <a:pt x="43" y="70"/>
                      <a:pt x="43" y="70"/>
                      <a:pt x="43" y="70"/>
                    </a:cubicBezTo>
                    <a:cubicBezTo>
                      <a:pt x="43" y="70"/>
                      <a:pt x="41" y="72"/>
                      <a:pt x="40" y="72"/>
                    </a:cubicBezTo>
                    <a:cubicBezTo>
                      <a:pt x="40" y="76"/>
                      <a:pt x="40" y="76"/>
                      <a:pt x="40" y="76"/>
                    </a:cubicBezTo>
                    <a:cubicBezTo>
                      <a:pt x="39" y="76"/>
                      <a:pt x="39" y="76"/>
                      <a:pt x="39" y="76"/>
                    </a:cubicBezTo>
                    <a:cubicBezTo>
                      <a:pt x="38" y="74"/>
                      <a:pt x="38" y="74"/>
                      <a:pt x="38" y="74"/>
                    </a:cubicBezTo>
                    <a:cubicBezTo>
                      <a:pt x="42" y="67"/>
                      <a:pt x="42" y="67"/>
                      <a:pt x="42" y="67"/>
                    </a:cubicBezTo>
                    <a:cubicBezTo>
                      <a:pt x="40" y="62"/>
                      <a:pt x="40" y="62"/>
                      <a:pt x="40" y="62"/>
                    </a:cubicBezTo>
                    <a:cubicBezTo>
                      <a:pt x="35" y="62"/>
                      <a:pt x="35" y="62"/>
                      <a:pt x="35" y="62"/>
                    </a:cubicBezTo>
                    <a:cubicBezTo>
                      <a:pt x="33" y="62"/>
                      <a:pt x="32" y="64"/>
                      <a:pt x="32" y="66"/>
                    </a:cubicBezTo>
                    <a:cubicBezTo>
                      <a:pt x="31" y="67"/>
                      <a:pt x="33" y="67"/>
                      <a:pt x="33" y="67"/>
                    </a:cubicBezTo>
                    <a:cubicBezTo>
                      <a:pt x="30" y="68"/>
                      <a:pt x="30" y="68"/>
                      <a:pt x="30" y="68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27" y="77"/>
                      <a:pt x="27" y="79"/>
                    </a:cubicBezTo>
                    <a:cubicBezTo>
                      <a:pt x="27" y="82"/>
                      <a:pt x="22" y="81"/>
                      <a:pt x="22" y="81"/>
                    </a:cubicBezTo>
                    <a:cubicBezTo>
                      <a:pt x="20" y="76"/>
                      <a:pt x="20" y="76"/>
                      <a:pt x="20" y="76"/>
                    </a:cubicBezTo>
                    <a:cubicBezTo>
                      <a:pt x="20" y="76"/>
                      <a:pt x="12" y="75"/>
                      <a:pt x="9" y="74"/>
                    </a:cubicBezTo>
                    <a:cubicBezTo>
                      <a:pt x="6" y="72"/>
                      <a:pt x="7" y="70"/>
                      <a:pt x="7" y="68"/>
                    </a:cubicBezTo>
                    <a:cubicBezTo>
                      <a:pt x="7" y="67"/>
                      <a:pt x="8" y="66"/>
                      <a:pt x="8" y="66"/>
                    </a:cubicBezTo>
                    <a:cubicBezTo>
                      <a:pt x="7" y="64"/>
                      <a:pt x="7" y="64"/>
                      <a:pt x="7" y="64"/>
                    </a:cubicBezTo>
                    <a:cubicBezTo>
                      <a:pt x="5" y="70"/>
                      <a:pt x="5" y="70"/>
                      <a:pt x="5" y="70"/>
                    </a:cubicBezTo>
                    <a:cubicBezTo>
                      <a:pt x="4" y="74"/>
                      <a:pt x="3" y="85"/>
                      <a:pt x="3" y="85"/>
                    </a:cubicBezTo>
                    <a:cubicBezTo>
                      <a:pt x="4" y="84"/>
                      <a:pt x="4" y="84"/>
                      <a:pt x="4" y="84"/>
                    </a:cubicBezTo>
                    <a:cubicBezTo>
                      <a:pt x="9" y="92"/>
                      <a:pt x="9" y="92"/>
                      <a:pt x="9" y="92"/>
                    </a:cubicBezTo>
                    <a:cubicBezTo>
                      <a:pt x="7" y="92"/>
                      <a:pt x="7" y="92"/>
                      <a:pt x="7" y="92"/>
                    </a:cubicBezTo>
                    <a:cubicBezTo>
                      <a:pt x="6" y="90"/>
                      <a:pt x="6" y="90"/>
                      <a:pt x="6" y="90"/>
                    </a:cubicBezTo>
                    <a:cubicBezTo>
                      <a:pt x="4" y="88"/>
                      <a:pt x="4" y="88"/>
                      <a:pt x="4" y="88"/>
                    </a:cubicBezTo>
                    <a:cubicBezTo>
                      <a:pt x="3" y="96"/>
                      <a:pt x="3" y="96"/>
                      <a:pt x="3" y="96"/>
                    </a:cubicBezTo>
                    <a:cubicBezTo>
                      <a:pt x="5" y="95"/>
                      <a:pt x="5" y="95"/>
                      <a:pt x="5" y="95"/>
                    </a:cubicBezTo>
                    <a:cubicBezTo>
                      <a:pt x="7" y="99"/>
                      <a:pt x="7" y="99"/>
                      <a:pt x="7" y="99"/>
                    </a:cubicBezTo>
                    <a:cubicBezTo>
                      <a:pt x="5" y="100"/>
                      <a:pt x="5" y="100"/>
                      <a:pt x="5" y="100"/>
                    </a:cubicBezTo>
                    <a:cubicBezTo>
                      <a:pt x="4" y="98"/>
                      <a:pt x="4" y="98"/>
                      <a:pt x="4" y="98"/>
                    </a:cubicBezTo>
                    <a:cubicBezTo>
                      <a:pt x="2" y="99"/>
                      <a:pt x="2" y="99"/>
                      <a:pt x="2" y="99"/>
                    </a:cubicBezTo>
                    <a:cubicBezTo>
                      <a:pt x="1" y="110"/>
                      <a:pt x="1" y="110"/>
                      <a:pt x="1" y="110"/>
                    </a:cubicBezTo>
                    <a:cubicBezTo>
                      <a:pt x="2" y="109"/>
                      <a:pt x="2" y="109"/>
                      <a:pt x="2" y="109"/>
                    </a:cubicBezTo>
                    <a:cubicBezTo>
                      <a:pt x="4" y="104"/>
                      <a:pt x="4" y="104"/>
                      <a:pt x="4" y="104"/>
                    </a:cubicBezTo>
                    <a:cubicBezTo>
                      <a:pt x="8" y="107"/>
                      <a:pt x="8" y="107"/>
                      <a:pt x="8" y="107"/>
                    </a:cubicBezTo>
                    <a:cubicBezTo>
                      <a:pt x="8" y="113"/>
                      <a:pt x="8" y="113"/>
                      <a:pt x="8" y="113"/>
                    </a:cubicBezTo>
                    <a:cubicBezTo>
                      <a:pt x="8" y="113"/>
                      <a:pt x="12" y="115"/>
                      <a:pt x="11" y="117"/>
                    </a:cubicBezTo>
                    <a:cubicBezTo>
                      <a:pt x="10" y="119"/>
                      <a:pt x="8" y="122"/>
                      <a:pt x="6" y="120"/>
                    </a:cubicBezTo>
                    <a:cubicBezTo>
                      <a:pt x="3" y="119"/>
                      <a:pt x="4" y="112"/>
                      <a:pt x="4" y="112"/>
                    </a:cubicBezTo>
                    <a:cubicBezTo>
                      <a:pt x="3" y="112"/>
                      <a:pt x="3" y="112"/>
                      <a:pt x="3" y="112"/>
                    </a:cubicBezTo>
                    <a:cubicBezTo>
                      <a:pt x="3" y="112"/>
                      <a:pt x="4" y="122"/>
                      <a:pt x="4" y="124"/>
                    </a:cubicBezTo>
                    <a:cubicBezTo>
                      <a:pt x="4" y="127"/>
                      <a:pt x="1" y="131"/>
                      <a:pt x="1" y="131"/>
                    </a:cubicBezTo>
                    <a:cubicBezTo>
                      <a:pt x="2" y="132"/>
                      <a:pt x="2" y="132"/>
                      <a:pt x="2" y="132"/>
                    </a:cubicBezTo>
                    <a:cubicBezTo>
                      <a:pt x="0" y="140"/>
                      <a:pt x="0" y="140"/>
                      <a:pt x="0" y="140"/>
                    </a:cubicBezTo>
                    <a:cubicBezTo>
                      <a:pt x="2" y="141"/>
                      <a:pt x="2" y="141"/>
                      <a:pt x="2" y="141"/>
                    </a:cubicBezTo>
                    <a:cubicBezTo>
                      <a:pt x="7" y="145"/>
                      <a:pt x="7" y="145"/>
                      <a:pt x="7" y="145"/>
                    </a:cubicBezTo>
                    <a:cubicBezTo>
                      <a:pt x="5" y="138"/>
                      <a:pt x="5" y="138"/>
                      <a:pt x="5" y="138"/>
                    </a:cubicBezTo>
                    <a:cubicBezTo>
                      <a:pt x="7" y="138"/>
                      <a:pt x="7" y="138"/>
                      <a:pt x="7" y="138"/>
                    </a:cubicBezTo>
                    <a:cubicBezTo>
                      <a:pt x="9" y="145"/>
                      <a:pt x="9" y="145"/>
                      <a:pt x="9" y="145"/>
                    </a:cubicBezTo>
                    <a:cubicBezTo>
                      <a:pt x="15" y="147"/>
                      <a:pt x="15" y="147"/>
                      <a:pt x="15" y="147"/>
                    </a:cubicBezTo>
                    <a:cubicBezTo>
                      <a:pt x="17" y="147"/>
                      <a:pt x="17" y="147"/>
                      <a:pt x="17" y="147"/>
                    </a:cubicBezTo>
                    <a:cubicBezTo>
                      <a:pt x="21" y="156"/>
                      <a:pt x="21" y="156"/>
                      <a:pt x="21" y="156"/>
                    </a:cubicBezTo>
                    <a:cubicBezTo>
                      <a:pt x="20" y="159"/>
                      <a:pt x="20" y="159"/>
                      <a:pt x="20" y="159"/>
                    </a:cubicBezTo>
                    <a:cubicBezTo>
                      <a:pt x="20" y="159"/>
                      <a:pt x="21" y="163"/>
                      <a:pt x="21" y="166"/>
                    </a:cubicBezTo>
                    <a:cubicBezTo>
                      <a:pt x="21" y="169"/>
                      <a:pt x="18" y="173"/>
                      <a:pt x="18" y="175"/>
                    </a:cubicBezTo>
                    <a:cubicBezTo>
                      <a:pt x="18" y="177"/>
                      <a:pt x="20" y="178"/>
                      <a:pt x="20" y="179"/>
                    </a:cubicBezTo>
                    <a:cubicBezTo>
                      <a:pt x="19" y="179"/>
                      <a:pt x="19" y="180"/>
                      <a:pt x="19" y="181"/>
                    </a:cubicBezTo>
                    <a:cubicBezTo>
                      <a:pt x="20" y="181"/>
                      <a:pt x="21" y="182"/>
                      <a:pt x="22" y="182"/>
                    </a:cubicBezTo>
                    <a:cubicBezTo>
                      <a:pt x="28" y="181"/>
                      <a:pt x="33" y="183"/>
                      <a:pt x="39" y="185"/>
                    </a:cubicBezTo>
                    <a:cubicBezTo>
                      <a:pt x="41" y="185"/>
                      <a:pt x="40" y="190"/>
                      <a:pt x="44" y="189"/>
                    </a:cubicBezTo>
                    <a:cubicBezTo>
                      <a:pt x="47" y="187"/>
                      <a:pt x="48" y="183"/>
                      <a:pt x="49" y="189"/>
                    </a:cubicBezTo>
                    <a:cubicBezTo>
                      <a:pt x="49" y="189"/>
                      <a:pt x="49" y="188"/>
                      <a:pt x="50" y="188"/>
                    </a:cubicBezTo>
                    <a:cubicBezTo>
                      <a:pt x="50" y="186"/>
                      <a:pt x="50" y="186"/>
                      <a:pt x="50" y="186"/>
                    </a:cubicBezTo>
                    <a:cubicBezTo>
                      <a:pt x="54" y="183"/>
                      <a:pt x="54" y="183"/>
                      <a:pt x="54" y="183"/>
                    </a:cubicBezTo>
                    <a:cubicBezTo>
                      <a:pt x="54" y="183"/>
                      <a:pt x="56" y="181"/>
                      <a:pt x="57" y="181"/>
                    </a:cubicBezTo>
                    <a:cubicBezTo>
                      <a:pt x="58" y="181"/>
                      <a:pt x="57" y="185"/>
                      <a:pt x="57" y="186"/>
                    </a:cubicBezTo>
                    <a:cubicBezTo>
                      <a:pt x="57" y="187"/>
                      <a:pt x="59" y="188"/>
                      <a:pt x="61" y="188"/>
                    </a:cubicBezTo>
                    <a:cubicBezTo>
                      <a:pt x="63" y="187"/>
                      <a:pt x="60" y="186"/>
                      <a:pt x="59" y="185"/>
                    </a:cubicBezTo>
                    <a:cubicBezTo>
                      <a:pt x="59" y="183"/>
                      <a:pt x="61" y="183"/>
                      <a:pt x="61" y="183"/>
                    </a:cubicBezTo>
                    <a:close/>
                    <a:moveTo>
                      <a:pt x="170" y="130"/>
                    </a:moveTo>
                    <a:cubicBezTo>
                      <a:pt x="170" y="129"/>
                      <a:pt x="169" y="126"/>
                      <a:pt x="169" y="125"/>
                    </a:cubicBezTo>
                    <a:cubicBezTo>
                      <a:pt x="167" y="116"/>
                      <a:pt x="167" y="116"/>
                      <a:pt x="167" y="116"/>
                    </a:cubicBezTo>
                    <a:cubicBezTo>
                      <a:pt x="167" y="116"/>
                      <a:pt x="167" y="112"/>
                      <a:pt x="168" y="111"/>
                    </a:cubicBezTo>
                    <a:cubicBezTo>
                      <a:pt x="170" y="111"/>
                      <a:pt x="171" y="109"/>
                      <a:pt x="169" y="108"/>
                    </a:cubicBezTo>
                    <a:cubicBezTo>
                      <a:pt x="167" y="107"/>
                      <a:pt x="157" y="104"/>
                      <a:pt x="157" y="104"/>
                    </a:cubicBezTo>
                    <a:cubicBezTo>
                      <a:pt x="157" y="104"/>
                      <a:pt x="152" y="108"/>
                      <a:pt x="149" y="110"/>
                    </a:cubicBezTo>
                    <a:cubicBezTo>
                      <a:pt x="146" y="111"/>
                      <a:pt x="142" y="112"/>
                      <a:pt x="142" y="112"/>
                    </a:cubicBezTo>
                    <a:cubicBezTo>
                      <a:pt x="142" y="114"/>
                      <a:pt x="142" y="114"/>
                      <a:pt x="142" y="114"/>
                    </a:cubicBezTo>
                    <a:cubicBezTo>
                      <a:pt x="142" y="114"/>
                      <a:pt x="147" y="113"/>
                      <a:pt x="148" y="114"/>
                    </a:cubicBezTo>
                    <a:cubicBezTo>
                      <a:pt x="149" y="116"/>
                      <a:pt x="149" y="120"/>
                      <a:pt x="149" y="120"/>
                    </a:cubicBezTo>
                    <a:cubicBezTo>
                      <a:pt x="151" y="126"/>
                      <a:pt x="151" y="126"/>
                      <a:pt x="151" y="126"/>
                    </a:cubicBezTo>
                    <a:cubicBezTo>
                      <a:pt x="150" y="131"/>
                      <a:pt x="150" y="131"/>
                      <a:pt x="150" y="131"/>
                    </a:cubicBezTo>
                    <a:cubicBezTo>
                      <a:pt x="151" y="133"/>
                      <a:pt x="151" y="133"/>
                      <a:pt x="151" y="133"/>
                    </a:cubicBezTo>
                    <a:cubicBezTo>
                      <a:pt x="148" y="132"/>
                      <a:pt x="148" y="132"/>
                      <a:pt x="148" y="132"/>
                    </a:cubicBezTo>
                    <a:cubicBezTo>
                      <a:pt x="143" y="133"/>
                      <a:pt x="143" y="133"/>
                      <a:pt x="143" y="133"/>
                    </a:cubicBezTo>
                    <a:cubicBezTo>
                      <a:pt x="146" y="129"/>
                      <a:pt x="146" y="129"/>
                      <a:pt x="146" y="129"/>
                    </a:cubicBezTo>
                    <a:cubicBezTo>
                      <a:pt x="149" y="129"/>
                      <a:pt x="149" y="129"/>
                      <a:pt x="149" y="129"/>
                    </a:cubicBezTo>
                    <a:cubicBezTo>
                      <a:pt x="149" y="128"/>
                      <a:pt x="149" y="125"/>
                      <a:pt x="148" y="124"/>
                    </a:cubicBezTo>
                    <a:cubicBezTo>
                      <a:pt x="148" y="117"/>
                      <a:pt x="148" y="117"/>
                      <a:pt x="148" y="117"/>
                    </a:cubicBezTo>
                    <a:cubicBezTo>
                      <a:pt x="148" y="117"/>
                      <a:pt x="146" y="115"/>
                      <a:pt x="145" y="116"/>
                    </a:cubicBezTo>
                    <a:cubicBezTo>
                      <a:pt x="142" y="117"/>
                      <a:pt x="145" y="122"/>
                      <a:pt x="145" y="122"/>
                    </a:cubicBezTo>
                    <a:cubicBezTo>
                      <a:pt x="145" y="122"/>
                      <a:pt x="142" y="123"/>
                      <a:pt x="142" y="125"/>
                    </a:cubicBezTo>
                    <a:cubicBezTo>
                      <a:pt x="142" y="130"/>
                      <a:pt x="142" y="130"/>
                      <a:pt x="142" y="130"/>
                    </a:cubicBezTo>
                    <a:cubicBezTo>
                      <a:pt x="139" y="134"/>
                      <a:pt x="139" y="134"/>
                      <a:pt x="139" y="134"/>
                    </a:cubicBezTo>
                    <a:cubicBezTo>
                      <a:pt x="140" y="130"/>
                      <a:pt x="140" y="130"/>
                      <a:pt x="140" y="130"/>
                    </a:cubicBezTo>
                    <a:cubicBezTo>
                      <a:pt x="135" y="130"/>
                      <a:pt x="135" y="130"/>
                      <a:pt x="135" y="130"/>
                    </a:cubicBezTo>
                    <a:cubicBezTo>
                      <a:pt x="138" y="128"/>
                      <a:pt x="138" y="128"/>
                      <a:pt x="138" y="128"/>
                    </a:cubicBezTo>
                    <a:cubicBezTo>
                      <a:pt x="136" y="125"/>
                      <a:pt x="136" y="125"/>
                      <a:pt x="136" y="125"/>
                    </a:cubicBezTo>
                    <a:cubicBezTo>
                      <a:pt x="133" y="125"/>
                      <a:pt x="133" y="125"/>
                      <a:pt x="133" y="125"/>
                    </a:cubicBezTo>
                    <a:cubicBezTo>
                      <a:pt x="133" y="125"/>
                      <a:pt x="137" y="122"/>
                      <a:pt x="137" y="120"/>
                    </a:cubicBezTo>
                    <a:cubicBezTo>
                      <a:pt x="137" y="118"/>
                      <a:pt x="137" y="117"/>
                      <a:pt x="138" y="116"/>
                    </a:cubicBezTo>
                    <a:cubicBezTo>
                      <a:pt x="139" y="116"/>
                      <a:pt x="140" y="114"/>
                      <a:pt x="140" y="114"/>
                    </a:cubicBezTo>
                    <a:cubicBezTo>
                      <a:pt x="139" y="113"/>
                      <a:pt x="139" y="113"/>
                      <a:pt x="139" y="113"/>
                    </a:cubicBezTo>
                    <a:cubicBezTo>
                      <a:pt x="139" y="113"/>
                      <a:pt x="131" y="115"/>
                      <a:pt x="129" y="114"/>
                    </a:cubicBezTo>
                    <a:cubicBezTo>
                      <a:pt x="125" y="113"/>
                      <a:pt x="120" y="110"/>
                      <a:pt x="120" y="110"/>
                    </a:cubicBezTo>
                    <a:cubicBezTo>
                      <a:pt x="121" y="113"/>
                      <a:pt x="121" y="113"/>
                      <a:pt x="121" y="113"/>
                    </a:cubicBezTo>
                    <a:cubicBezTo>
                      <a:pt x="121" y="113"/>
                      <a:pt x="127" y="115"/>
                      <a:pt x="130" y="117"/>
                    </a:cubicBezTo>
                    <a:cubicBezTo>
                      <a:pt x="131" y="119"/>
                      <a:pt x="123" y="122"/>
                      <a:pt x="123" y="122"/>
                    </a:cubicBezTo>
                    <a:cubicBezTo>
                      <a:pt x="123" y="122"/>
                      <a:pt x="123" y="127"/>
                      <a:pt x="121" y="128"/>
                    </a:cubicBezTo>
                    <a:cubicBezTo>
                      <a:pt x="119" y="129"/>
                      <a:pt x="115" y="127"/>
                      <a:pt x="115" y="127"/>
                    </a:cubicBezTo>
                    <a:cubicBezTo>
                      <a:pt x="113" y="129"/>
                      <a:pt x="113" y="129"/>
                      <a:pt x="113" y="129"/>
                    </a:cubicBezTo>
                    <a:cubicBezTo>
                      <a:pt x="109" y="128"/>
                      <a:pt x="109" y="128"/>
                      <a:pt x="109" y="128"/>
                    </a:cubicBezTo>
                    <a:cubicBezTo>
                      <a:pt x="105" y="128"/>
                      <a:pt x="105" y="128"/>
                      <a:pt x="105" y="128"/>
                    </a:cubicBezTo>
                    <a:cubicBezTo>
                      <a:pt x="105" y="130"/>
                      <a:pt x="105" y="130"/>
                      <a:pt x="105" y="130"/>
                    </a:cubicBezTo>
                    <a:cubicBezTo>
                      <a:pt x="108" y="131"/>
                      <a:pt x="108" y="131"/>
                      <a:pt x="108" y="131"/>
                    </a:cubicBezTo>
                    <a:cubicBezTo>
                      <a:pt x="110" y="132"/>
                      <a:pt x="110" y="132"/>
                      <a:pt x="110" y="132"/>
                    </a:cubicBezTo>
                    <a:cubicBezTo>
                      <a:pt x="107" y="132"/>
                      <a:pt x="107" y="132"/>
                      <a:pt x="107" y="132"/>
                    </a:cubicBezTo>
                    <a:cubicBezTo>
                      <a:pt x="107" y="134"/>
                      <a:pt x="107" y="134"/>
                      <a:pt x="107" y="134"/>
                    </a:cubicBezTo>
                    <a:cubicBezTo>
                      <a:pt x="109" y="134"/>
                      <a:pt x="109" y="134"/>
                      <a:pt x="109" y="134"/>
                    </a:cubicBezTo>
                    <a:cubicBezTo>
                      <a:pt x="115" y="138"/>
                      <a:pt x="115" y="138"/>
                      <a:pt x="115" y="138"/>
                    </a:cubicBezTo>
                    <a:cubicBezTo>
                      <a:pt x="115" y="141"/>
                      <a:pt x="115" y="141"/>
                      <a:pt x="115" y="141"/>
                    </a:cubicBezTo>
                    <a:cubicBezTo>
                      <a:pt x="113" y="142"/>
                      <a:pt x="113" y="142"/>
                      <a:pt x="113" y="142"/>
                    </a:cubicBezTo>
                    <a:cubicBezTo>
                      <a:pt x="114" y="144"/>
                      <a:pt x="114" y="144"/>
                      <a:pt x="114" y="144"/>
                    </a:cubicBezTo>
                    <a:cubicBezTo>
                      <a:pt x="117" y="145"/>
                      <a:pt x="117" y="145"/>
                      <a:pt x="117" y="145"/>
                    </a:cubicBezTo>
                    <a:cubicBezTo>
                      <a:pt x="117" y="151"/>
                      <a:pt x="117" y="151"/>
                      <a:pt x="117" y="151"/>
                    </a:cubicBezTo>
                    <a:cubicBezTo>
                      <a:pt x="113" y="155"/>
                      <a:pt x="113" y="155"/>
                      <a:pt x="113" y="155"/>
                    </a:cubicBezTo>
                    <a:cubicBezTo>
                      <a:pt x="121" y="163"/>
                      <a:pt x="121" y="163"/>
                      <a:pt x="121" y="163"/>
                    </a:cubicBezTo>
                    <a:cubicBezTo>
                      <a:pt x="121" y="163"/>
                      <a:pt x="125" y="162"/>
                      <a:pt x="127" y="162"/>
                    </a:cubicBezTo>
                    <a:cubicBezTo>
                      <a:pt x="129" y="162"/>
                      <a:pt x="130" y="165"/>
                      <a:pt x="132" y="164"/>
                    </a:cubicBezTo>
                    <a:cubicBezTo>
                      <a:pt x="134" y="164"/>
                      <a:pt x="135" y="161"/>
                      <a:pt x="137" y="162"/>
                    </a:cubicBezTo>
                    <a:cubicBezTo>
                      <a:pt x="138" y="164"/>
                      <a:pt x="137" y="166"/>
                      <a:pt x="137" y="166"/>
                    </a:cubicBezTo>
                    <a:cubicBezTo>
                      <a:pt x="139" y="166"/>
                      <a:pt x="139" y="166"/>
                      <a:pt x="139" y="166"/>
                    </a:cubicBezTo>
                    <a:cubicBezTo>
                      <a:pt x="137" y="169"/>
                      <a:pt x="137" y="169"/>
                      <a:pt x="137" y="169"/>
                    </a:cubicBezTo>
                    <a:cubicBezTo>
                      <a:pt x="138" y="171"/>
                      <a:pt x="138" y="171"/>
                      <a:pt x="138" y="171"/>
                    </a:cubicBezTo>
                    <a:cubicBezTo>
                      <a:pt x="139" y="171"/>
                      <a:pt x="139" y="171"/>
                      <a:pt x="139" y="171"/>
                    </a:cubicBezTo>
                    <a:cubicBezTo>
                      <a:pt x="139" y="173"/>
                      <a:pt x="139" y="173"/>
                      <a:pt x="139" y="173"/>
                    </a:cubicBezTo>
                    <a:cubicBezTo>
                      <a:pt x="134" y="171"/>
                      <a:pt x="134" y="171"/>
                      <a:pt x="134" y="171"/>
                    </a:cubicBezTo>
                    <a:cubicBezTo>
                      <a:pt x="134" y="172"/>
                      <a:pt x="134" y="172"/>
                      <a:pt x="134" y="172"/>
                    </a:cubicBezTo>
                    <a:cubicBezTo>
                      <a:pt x="142" y="177"/>
                      <a:pt x="142" y="177"/>
                      <a:pt x="142" y="177"/>
                    </a:cubicBezTo>
                    <a:cubicBezTo>
                      <a:pt x="147" y="176"/>
                      <a:pt x="147" y="176"/>
                      <a:pt x="147" y="176"/>
                    </a:cubicBezTo>
                    <a:cubicBezTo>
                      <a:pt x="149" y="179"/>
                      <a:pt x="149" y="179"/>
                      <a:pt x="149" y="179"/>
                    </a:cubicBezTo>
                    <a:cubicBezTo>
                      <a:pt x="154" y="177"/>
                      <a:pt x="154" y="177"/>
                      <a:pt x="154" y="177"/>
                    </a:cubicBezTo>
                    <a:cubicBezTo>
                      <a:pt x="154" y="177"/>
                      <a:pt x="151" y="175"/>
                      <a:pt x="153" y="174"/>
                    </a:cubicBezTo>
                    <a:cubicBezTo>
                      <a:pt x="154" y="173"/>
                      <a:pt x="156" y="171"/>
                      <a:pt x="154" y="170"/>
                    </a:cubicBezTo>
                    <a:cubicBezTo>
                      <a:pt x="151" y="170"/>
                      <a:pt x="148" y="170"/>
                      <a:pt x="148" y="167"/>
                    </a:cubicBezTo>
                    <a:cubicBezTo>
                      <a:pt x="149" y="166"/>
                      <a:pt x="155" y="161"/>
                      <a:pt x="158" y="161"/>
                    </a:cubicBezTo>
                    <a:cubicBezTo>
                      <a:pt x="161" y="161"/>
                      <a:pt x="164" y="161"/>
                      <a:pt x="165" y="158"/>
                    </a:cubicBezTo>
                    <a:cubicBezTo>
                      <a:pt x="165" y="155"/>
                      <a:pt x="162" y="150"/>
                      <a:pt x="159" y="150"/>
                    </a:cubicBezTo>
                    <a:cubicBezTo>
                      <a:pt x="157" y="149"/>
                      <a:pt x="153" y="148"/>
                      <a:pt x="154" y="147"/>
                    </a:cubicBezTo>
                    <a:cubicBezTo>
                      <a:pt x="155" y="146"/>
                      <a:pt x="155" y="142"/>
                      <a:pt x="155" y="142"/>
                    </a:cubicBezTo>
                    <a:cubicBezTo>
                      <a:pt x="155" y="142"/>
                      <a:pt x="157" y="138"/>
                      <a:pt x="158" y="138"/>
                    </a:cubicBezTo>
                    <a:cubicBezTo>
                      <a:pt x="159" y="137"/>
                      <a:pt x="164" y="137"/>
                      <a:pt x="164" y="137"/>
                    </a:cubicBezTo>
                    <a:cubicBezTo>
                      <a:pt x="164" y="137"/>
                      <a:pt x="165" y="133"/>
                      <a:pt x="166" y="134"/>
                    </a:cubicBezTo>
                    <a:cubicBezTo>
                      <a:pt x="168" y="134"/>
                      <a:pt x="166" y="134"/>
                      <a:pt x="166" y="137"/>
                    </a:cubicBezTo>
                    <a:cubicBezTo>
                      <a:pt x="166" y="138"/>
                      <a:pt x="167" y="143"/>
                      <a:pt x="169" y="142"/>
                    </a:cubicBezTo>
                    <a:cubicBezTo>
                      <a:pt x="171" y="141"/>
                      <a:pt x="173" y="138"/>
                      <a:pt x="173" y="138"/>
                    </a:cubicBezTo>
                    <a:cubicBezTo>
                      <a:pt x="173" y="138"/>
                      <a:pt x="171" y="130"/>
                      <a:pt x="170" y="130"/>
                    </a:cubicBezTo>
                    <a:close/>
                    <a:moveTo>
                      <a:pt x="11" y="148"/>
                    </a:moveTo>
                    <a:cubicBezTo>
                      <a:pt x="9" y="146"/>
                      <a:pt x="9" y="146"/>
                      <a:pt x="9" y="146"/>
                    </a:cubicBezTo>
                    <a:cubicBezTo>
                      <a:pt x="9" y="149"/>
                      <a:pt x="9" y="149"/>
                      <a:pt x="9" y="149"/>
                    </a:cubicBezTo>
                    <a:cubicBezTo>
                      <a:pt x="10" y="151"/>
                      <a:pt x="10" y="151"/>
                      <a:pt x="10" y="151"/>
                    </a:cubicBezTo>
                    <a:cubicBezTo>
                      <a:pt x="11" y="155"/>
                      <a:pt x="11" y="155"/>
                      <a:pt x="11" y="155"/>
                    </a:cubicBezTo>
                    <a:cubicBezTo>
                      <a:pt x="12" y="151"/>
                      <a:pt x="12" y="151"/>
                      <a:pt x="12" y="151"/>
                    </a:cubicBezTo>
                    <a:cubicBezTo>
                      <a:pt x="12" y="148"/>
                      <a:pt x="11" y="148"/>
                      <a:pt x="11" y="148"/>
                    </a:cubicBezTo>
                    <a:close/>
                    <a:moveTo>
                      <a:pt x="267" y="166"/>
                    </a:moveTo>
                    <a:cubicBezTo>
                      <a:pt x="261" y="162"/>
                      <a:pt x="261" y="162"/>
                      <a:pt x="261" y="162"/>
                    </a:cubicBezTo>
                    <a:cubicBezTo>
                      <a:pt x="256" y="161"/>
                      <a:pt x="256" y="161"/>
                      <a:pt x="256" y="161"/>
                    </a:cubicBezTo>
                    <a:cubicBezTo>
                      <a:pt x="252" y="156"/>
                      <a:pt x="252" y="156"/>
                      <a:pt x="252" y="156"/>
                    </a:cubicBezTo>
                    <a:cubicBezTo>
                      <a:pt x="249" y="161"/>
                      <a:pt x="249" y="161"/>
                      <a:pt x="249" y="161"/>
                    </a:cubicBezTo>
                    <a:cubicBezTo>
                      <a:pt x="249" y="161"/>
                      <a:pt x="251" y="162"/>
                      <a:pt x="250" y="164"/>
                    </a:cubicBezTo>
                    <a:cubicBezTo>
                      <a:pt x="250" y="166"/>
                      <a:pt x="249" y="169"/>
                      <a:pt x="249" y="169"/>
                    </a:cubicBezTo>
                    <a:cubicBezTo>
                      <a:pt x="264" y="175"/>
                      <a:pt x="264" y="175"/>
                      <a:pt x="264" y="175"/>
                    </a:cubicBezTo>
                    <a:cubicBezTo>
                      <a:pt x="265" y="174"/>
                      <a:pt x="265" y="174"/>
                      <a:pt x="265" y="174"/>
                    </a:cubicBezTo>
                    <a:cubicBezTo>
                      <a:pt x="265" y="171"/>
                      <a:pt x="265" y="171"/>
                      <a:pt x="265" y="171"/>
                    </a:cubicBezTo>
                    <a:cubicBezTo>
                      <a:pt x="268" y="170"/>
                      <a:pt x="268" y="170"/>
                      <a:pt x="268" y="170"/>
                    </a:cubicBezTo>
                    <a:lnTo>
                      <a:pt x="267" y="166"/>
                    </a:lnTo>
                    <a:close/>
                    <a:moveTo>
                      <a:pt x="174" y="134"/>
                    </a:moveTo>
                    <a:cubicBezTo>
                      <a:pt x="175" y="138"/>
                      <a:pt x="178" y="138"/>
                      <a:pt x="176" y="134"/>
                    </a:cubicBezTo>
                    <a:cubicBezTo>
                      <a:pt x="176" y="131"/>
                      <a:pt x="174" y="134"/>
                      <a:pt x="174" y="134"/>
                    </a:cubicBezTo>
                    <a:close/>
                    <a:moveTo>
                      <a:pt x="131" y="69"/>
                    </a:moveTo>
                    <a:cubicBezTo>
                      <a:pt x="134" y="68"/>
                      <a:pt x="136" y="65"/>
                      <a:pt x="136" y="65"/>
                    </a:cubicBezTo>
                    <a:cubicBezTo>
                      <a:pt x="129" y="65"/>
                      <a:pt x="129" y="65"/>
                      <a:pt x="129" y="65"/>
                    </a:cubicBezTo>
                    <a:cubicBezTo>
                      <a:pt x="129" y="65"/>
                      <a:pt x="129" y="69"/>
                      <a:pt x="131" y="69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76" name="Cyprus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7440613" y="5705475"/>
                <a:ext cx="239712" cy="227012"/>
              </a:xfrm>
              <a:custGeom>
                <a:avLst/>
                <a:gdLst/>
                <a:ahLst/>
                <a:cxnLst>
                  <a:cxn ang="0">
                    <a:pos x="0" y="75"/>
                  </a:cxn>
                  <a:cxn ang="0">
                    <a:pos x="8" y="81"/>
                  </a:cxn>
                  <a:cxn ang="0">
                    <a:pos x="11" y="67"/>
                  </a:cxn>
                  <a:cxn ang="0">
                    <a:pos x="30" y="65"/>
                  </a:cxn>
                  <a:cxn ang="0">
                    <a:pos x="28" y="47"/>
                  </a:cxn>
                  <a:cxn ang="0">
                    <a:pos x="36" y="48"/>
                  </a:cxn>
                  <a:cxn ang="0">
                    <a:pos x="37" y="46"/>
                  </a:cxn>
                  <a:cxn ang="0">
                    <a:pos x="52" y="46"/>
                  </a:cxn>
                  <a:cxn ang="0">
                    <a:pos x="57" y="44"/>
                  </a:cxn>
                  <a:cxn ang="0">
                    <a:pos x="68" y="40"/>
                  </a:cxn>
                  <a:cxn ang="0">
                    <a:pos x="75" y="29"/>
                  </a:cxn>
                  <a:cxn ang="0">
                    <a:pos x="86" y="22"/>
                  </a:cxn>
                  <a:cxn ang="0">
                    <a:pos x="91" y="14"/>
                  </a:cxn>
                  <a:cxn ang="0">
                    <a:pos x="95" y="13"/>
                  </a:cxn>
                  <a:cxn ang="0">
                    <a:pos x="113" y="0"/>
                  </a:cxn>
                  <a:cxn ang="0">
                    <a:pos x="105" y="9"/>
                  </a:cxn>
                  <a:cxn ang="0">
                    <a:pos x="103" y="16"/>
                  </a:cxn>
                  <a:cxn ang="0">
                    <a:pos x="91" y="28"/>
                  </a:cxn>
                  <a:cxn ang="0">
                    <a:pos x="91" y="33"/>
                  </a:cxn>
                  <a:cxn ang="0">
                    <a:pos x="83" y="41"/>
                  </a:cxn>
                  <a:cxn ang="0">
                    <a:pos x="101" y="53"/>
                  </a:cxn>
                  <a:cxn ang="0">
                    <a:pos x="98" y="57"/>
                  </a:cxn>
                  <a:cxn ang="0">
                    <a:pos x="93" y="56"/>
                  </a:cxn>
                  <a:cxn ang="0">
                    <a:pos x="90" y="60"/>
                  </a:cxn>
                  <a:cxn ang="0">
                    <a:pos x="78" y="62"/>
                  </a:cxn>
                  <a:cxn ang="0">
                    <a:pos x="77" y="74"/>
                  </a:cxn>
                  <a:cxn ang="0">
                    <a:pos x="74" y="74"/>
                  </a:cxn>
                  <a:cxn ang="0">
                    <a:pos x="72" y="77"/>
                  </a:cxn>
                  <a:cxn ang="0">
                    <a:pos x="50" y="92"/>
                  </a:cxn>
                  <a:cxn ang="0">
                    <a:pos x="50" y="101"/>
                  </a:cxn>
                  <a:cxn ang="0">
                    <a:pos x="41" y="95"/>
                  </a:cxn>
                  <a:cxn ang="0">
                    <a:pos x="17" y="101"/>
                  </a:cxn>
                  <a:cxn ang="0">
                    <a:pos x="0" y="75"/>
                  </a:cxn>
                </a:cxnLst>
                <a:rect l="0" t="0" r="r" b="b"/>
                <a:pathLst>
                  <a:path w="113" h="106">
                    <a:moveTo>
                      <a:pt x="0" y="75"/>
                    </a:moveTo>
                    <a:cubicBezTo>
                      <a:pt x="0" y="75"/>
                      <a:pt x="4" y="83"/>
                      <a:pt x="8" y="81"/>
                    </a:cubicBezTo>
                    <a:cubicBezTo>
                      <a:pt x="11" y="79"/>
                      <a:pt x="7" y="72"/>
                      <a:pt x="11" y="67"/>
                    </a:cubicBezTo>
                    <a:cubicBezTo>
                      <a:pt x="16" y="64"/>
                      <a:pt x="26" y="72"/>
                      <a:pt x="30" y="65"/>
                    </a:cubicBezTo>
                    <a:cubicBezTo>
                      <a:pt x="34" y="59"/>
                      <a:pt x="28" y="47"/>
                      <a:pt x="28" y="47"/>
                    </a:cubicBezTo>
                    <a:cubicBezTo>
                      <a:pt x="36" y="48"/>
                      <a:pt x="36" y="48"/>
                      <a:pt x="36" y="48"/>
                    </a:cubicBezTo>
                    <a:cubicBezTo>
                      <a:pt x="37" y="46"/>
                      <a:pt x="37" y="46"/>
                      <a:pt x="37" y="46"/>
                    </a:cubicBezTo>
                    <a:cubicBezTo>
                      <a:pt x="52" y="46"/>
                      <a:pt x="52" y="46"/>
                      <a:pt x="52" y="46"/>
                    </a:cubicBezTo>
                    <a:cubicBezTo>
                      <a:pt x="57" y="44"/>
                      <a:pt x="57" y="44"/>
                      <a:pt x="57" y="44"/>
                    </a:cubicBezTo>
                    <a:cubicBezTo>
                      <a:pt x="57" y="44"/>
                      <a:pt x="64" y="43"/>
                      <a:pt x="68" y="40"/>
                    </a:cubicBezTo>
                    <a:cubicBezTo>
                      <a:pt x="72" y="36"/>
                      <a:pt x="70" y="31"/>
                      <a:pt x="75" y="29"/>
                    </a:cubicBezTo>
                    <a:cubicBezTo>
                      <a:pt x="80" y="28"/>
                      <a:pt x="82" y="25"/>
                      <a:pt x="86" y="22"/>
                    </a:cubicBezTo>
                    <a:cubicBezTo>
                      <a:pt x="90" y="19"/>
                      <a:pt x="91" y="14"/>
                      <a:pt x="91" y="14"/>
                    </a:cubicBezTo>
                    <a:cubicBezTo>
                      <a:pt x="95" y="13"/>
                      <a:pt x="95" y="13"/>
                      <a:pt x="95" y="13"/>
                    </a:cubicBezTo>
                    <a:cubicBezTo>
                      <a:pt x="113" y="0"/>
                      <a:pt x="113" y="0"/>
                      <a:pt x="113" y="0"/>
                    </a:cubicBezTo>
                    <a:cubicBezTo>
                      <a:pt x="105" y="9"/>
                      <a:pt x="105" y="9"/>
                      <a:pt x="105" y="9"/>
                    </a:cubicBezTo>
                    <a:cubicBezTo>
                      <a:pt x="103" y="16"/>
                      <a:pt x="103" y="16"/>
                      <a:pt x="103" y="16"/>
                    </a:cubicBezTo>
                    <a:cubicBezTo>
                      <a:pt x="91" y="28"/>
                      <a:pt x="91" y="28"/>
                      <a:pt x="91" y="28"/>
                    </a:cubicBezTo>
                    <a:cubicBezTo>
                      <a:pt x="91" y="33"/>
                      <a:pt x="91" y="33"/>
                      <a:pt x="91" y="33"/>
                    </a:cubicBezTo>
                    <a:cubicBezTo>
                      <a:pt x="91" y="33"/>
                      <a:pt x="80" y="34"/>
                      <a:pt x="83" y="41"/>
                    </a:cubicBezTo>
                    <a:cubicBezTo>
                      <a:pt x="88" y="48"/>
                      <a:pt x="101" y="53"/>
                      <a:pt x="101" y="53"/>
                    </a:cubicBezTo>
                    <a:cubicBezTo>
                      <a:pt x="98" y="57"/>
                      <a:pt x="98" y="57"/>
                      <a:pt x="98" y="57"/>
                    </a:cubicBezTo>
                    <a:cubicBezTo>
                      <a:pt x="93" y="56"/>
                      <a:pt x="93" y="56"/>
                      <a:pt x="93" y="56"/>
                    </a:cubicBezTo>
                    <a:cubicBezTo>
                      <a:pt x="90" y="60"/>
                      <a:pt x="90" y="60"/>
                      <a:pt x="90" y="60"/>
                    </a:cubicBezTo>
                    <a:cubicBezTo>
                      <a:pt x="90" y="60"/>
                      <a:pt x="81" y="59"/>
                      <a:pt x="78" y="62"/>
                    </a:cubicBezTo>
                    <a:cubicBezTo>
                      <a:pt x="75" y="64"/>
                      <a:pt x="77" y="74"/>
                      <a:pt x="77" y="74"/>
                    </a:cubicBezTo>
                    <a:cubicBezTo>
                      <a:pt x="74" y="74"/>
                      <a:pt x="74" y="74"/>
                      <a:pt x="74" y="74"/>
                    </a:cubicBezTo>
                    <a:cubicBezTo>
                      <a:pt x="72" y="77"/>
                      <a:pt x="72" y="77"/>
                      <a:pt x="72" y="77"/>
                    </a:cubicBezTo>
                    <a:cubicBezTo>
                      <a:pt x="72" y="77"/>
                      <a:pt x="52" y="87"/>
                      <a:pt x="50" y="92"/>
                    </a:cubicBezTo>
                    <a:cubicBezTo>
                      <a:pt x="49" y="96"/>
                      <a:pt x="54" y="101"/>
                      <a:pt x="50" y="101"/>
                    </a:cubicBezTo>
                    <a:cubicBezTo>
                      <a:pt x="45" y="103"/>
                      <a:pt x="41" y="95"/>
                      <a:pt x="41" y="95"/>
                    </a:cubicBezTo>
                    <a:cubicBezTo>
                      <a:pt x="41" y="95"/>
                      <a:pt x="27" y="106"/>
                      <a:pt x="17" y="101"/>
                    </a:cubicBezTo>
                    <a:cubicBezTo>
                      <a:pt x="8" y="96"/>
                      <a:pt x="2" y="92"/>
                      <a:pt x="0" y="75"/>
                    </a:cubicBezTo>
                    <a:close/>
                  </a:path>
                </a:pathLst>
              </a:custGeom>
              <a:solidFill>
                <a:srgbClr val="FDC795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77" name="Czech Republic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030788" y="3970338"/>
                <a:ext cx="628650" cy="355600"/>
              </a:xfrm>
              <a:custGeom>
                <a:avLst/>
                <a:gdLst/>
                <a:ahLst/>
                <a:cxnLst>
                  <a:cxn ang="0">
                    <a:pos x="282" y="79"/>
                  </a:cxn>
                  <a:cxn ang="0">
                    <a:pos x="269" y="64"/>
                  </a:cxn>
                  <a:cxn ang="0">
                    <a:pos x="252" y="63"/>
                  </a:cxn>
                  <a:cxn ang="0">
                    <a:pos x="243" y="58"/>
                  </a:cxn>
                  <a:cxn ang="0">
                    <a:pos x="243" y="48"/>
                  </a:cxn>
                  <a:cxn ang="0">
                    <a:pos x="227" y="48"/>
                  </a:cxn>
                  <a:cxn ang="0">
                    <a:pos x="204" y="37"/>
                  </a:cxn>
                  <a:cxn ang="0">
                    <a:pos x="211" y="46"/>
                  </a:cxn>
                  <a:cxn ang="0">
                    <a:pos x="207" y="51"/>
                  </a:cxn>
                  <a:cxn ang="0">
                    <a:pos x="191" y="58"/>
                  </a:cxn>
                  <a:cxn ang="0">
                    <a:pos x="175" y="41"/>
                  </a:cxn>
                  <a:cxn ang="0">
                    <a:pos x="179" y="25"/>
                  </a:cxn>
                  <a:cxn ang="0">
                    <a:pos x="165" y="25"/>
                  </a:cxn>
                  <a:cxn ang="0">
                    <a:pos x="143" y="22"/>
                  </a:cxn>
                  <a:cxn ang="0">
                    <a:pos x="137" y="7"/>
                  </a:cxn>
                  <a:cxn ang="0">
                    <a:pos x="121" y="8"/>
                  </a:cxn>
                  <a:cxn ang="0">
                    <a:pos x="121" y="13"/>
                  </a:cxn>
                  <a:cxn ang="0">
                    <a:pos x="110" y="14"/>
                  </a:cxn>
                  <a:cxn ang="0">
                    <a:pos x="101" y="9"/>
                  </a:cxn>
                  <a:cxn ang="0">
                    <a:pos x="89" y="5"/>
                  </a:cxn>
                  <a:cxn ang="0">
                    <a:pos x="89" y="12"/>
                  </a:cxn>
                  <a:cxn ang="0">
                    <a:pos x="64" y="23"/>
                  </a:cxn>
                  <a:cxn ang="0">
                    <a:pos x="47" y="37"/>
                  </a:cxn>
                  <a:cxn ang="0">
                    <a:pos x="30" y="44"/>
                  </a:cxn>
                  <a:cxn ang="0">
                    <a:pos x="16" y="49"/>
                  </a:cxn>
                  <a:cxn ang="0">
                    <a:pos x="2" y="52"/>
                  </a:cxn>
                  <a:cxn ang="0">
                    <a:pos x="7" y="67"/>
                  </a:cxn>
                  <a:cxn ang="0">
                    <a:pos x="19" y="77"/>
                  </a:cxn>
                  <a:cxn ang="0">
                    <a:pos x="14" y="88"/>
                  </a:cxn>
                  <a:cxn ang="0">
                    <a:pos x="23" y="103"/>
                  </a:cxn>
                  <a:cxn ang="0">
                    <a:pos x="50" y="130"/>
                  </a:cxn>
                  <a:cxn ang="0">
                    <a:pos x="69" y="141"/>
                  </a:cxn>
                  <a:cxn ang="0">
                    <a:pos x="81" y="153"/>
                  </a:cxn>
                  <a:cxn ang="0">
                    <a:pos x="89" y="161"/>
                  </a:cxn>
                  <a:cxn ang="0">
                    <a:pos x="91" y="165"/>
                  </a:cxn>
                  <a:cxn ang="0">
                    <a:pos x="106" y="161"/>
                  </a:cxn>
                  <a:cxn ang="0">
                    <a:pos x="112" y="162"/>
                  </a:cxn>
                  <a:cxn ang="0">
                    <a:pos x="116" y="156"/>
                  </a:cxn>
                  <a:cxn ang="0">
                    <a:pos x="128" y="153"/>
                  </a:cxn>
                  <a:cxn ang="0">
                    <a:pos x="135" y="136"/>
                  </a:cxn>
                  <a:cxn ang="0">
                    <a:pos x="143" y="136"/>
                  </a:cxn>
                  <a:cxn ang="0">
                    <a:pos x="161" y="143"/>
                  </a:cxn>
                  <a:cxn ang="0">
                    <a:pos x="177" y="150"/>
                  </a:cxn>
                  <a:cxn ang="0">
                    <a:pos x="193" y="144"/>
                  </a:cxn>
                  <a:cxn ang="0">
                    <a:pos x="206" y="150"/>
                  </a:cxn>
                  <a:cxn ang="0">
                    <a:pos x="216" y="152"/>
                  </a:cxn>
                  <a:cxn ang="0">
                    <a:pos x="242" y="141"/>
                  </a:cxn>
                  <a:cxn ang="0">
                    <a:pos x="256" y="126"/>
                  </a:cxn>
                  <a:cxn ang="0">
                    <a:pos x="266" y="107"/>
                  </a:cxn>
                  <a:cxn ang="0">
                    <a:pos x="281" y="92"/>
                  </a:cxn>
                  <a:cxn ang="0">
                    <a:pos x="295" y="90"/>
                  </a:cxn>
                </a:cxnLst>
                <a:rect l="0" t="0" r="r" b="b"/>
                <a:pathLst>
                  <a:path w="295" h="167">
                    <a:moveTo>
                      <a:pt x="291" y="79"/>
                    </a:moveTo>
                    <a:cubicBezTo>
                      <a:pt x="282" y="79"/>
                      <a:pt x="282" y="79"/>
                      <a:pt x="282" y="79"/>
                    </a:cubicBezTo>
                    <a:cubicBezTo>
                      <a:pt x="279" y="67"/>
                      <a:pt x="279" y="67"/>
                      <a:pt x="279" y="67"/>
                    </a:cubicBezTo>
                    <a:cubicBezTo>
                      <a:pt x="269" y="64"/>
                      <a:pt x="269" y="64"/>
                      <a:pt x="269" y="64"/>
                    </a:cubicBezTo>
                    <a:cubicBezTo>
                      <a:pt x="253" y="59"/>
                      <a:pt x="253" y="59"/>
                      <a:pt x="253" y="59"/>
                    </a:cubicBezTo>
                    <a:cubicBezTo>
                      <a:pt x="252" y="63"/>
                      <a:pt x="252" y="63"/>
                      <a:pt x="252" y="63"/>
                    </a:cubicBezTo>
                    <a:cubicBezTo>
                      <a:pt x="247" y="65"/>
                      <a:pt x="247" y="65"/>
                      <a:pt x="247" y="65"/>
                    </a:cubicBezTo>
                    <a:cubicBezTo>
                      <a:pt x="247" y="65"/>
                      <a:pt x="245" y="59"/>
                      <a:pt x="243" y="58"/>
                    </a:cubicBezTo>
                    <a:cubicBezTo>
                      <a:pt x="242" y="57"/>
                      <a:pt x="239" y="53"/>
                      <a:pt x="239" y="53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39" y="43"/>
                      <a:pt x="239" y="43"/>
                      <a:pt x="239" y="43"/>
                    </a:cubicBezTo>
                    <a:cubicBezTo>
                      <a:pt x="227" y="48"/>
                      <a:pt x="227" y="48"/>
                      <a:pt x="227" y="48"/>
                    </a:cubicBezTo>
                    <a:cubicBezTo>
                      <a:pt x="227" y="48"/>
                      <a:pt x="223" y="43"/>
                      <a:pt x="217" y="41"/>
                    </a:cubicBezTo>
                    <a:cubicBezTo>
                      <a:pt x="211" y="39"/>
                      <a:pt x="204" y="37"/>
                      <a:pt x="204" y="37"/>
                    </a:cubicBezTo>
                    <a:cubicBezTo>
                      <a:pt x="205" y="43"/>
                      <a:pt x="205" y="43"/>
                      <a:pt x="205" y="43"/>
                    </a:cubicBezTo>
                    <a:cubicBezTo>
                      <a:pt x="205" y="43"/>
                      <a:pt x="209" y="46"/>
                      <a:pt x="211" y="46"/>
                    </a:cubicBezTo>
                    <a:cubicBezTo>
                      <a:pt x="213" y="46"/>
                      <a:pt x="211" y="52"/>
                      <a:pt x="211" y="52"/>
                    </a:cubicBezTo>
                    <a:cubicBezTo>
                      <a:pt x="207" y="51"/>
                      <a:pt x="207" y="51"/>
                      <a:pt x="207" y="51"/>
                    </a:cubicBezTo>
                    <a:cubicBezTo>
                      <a:pt x="207" y="51"/>
                      <a:pt x="201" y="54"/>
                      <a:pt x="201" y="56"/>
                    </a:cubicBezTo>
                    <a:cubicBezTo>
                      <a:pt x="200" y="58"/>
                      <a:pt x="194" y="60"/>
                      <a:pt x="191" y="58"/>
                    </a:cubicBezTo>
                    <a:cubicBezTo>
                      <a:pt x="188" y="56"/>
                      <a:pt x="189" y="48"/>
                      <a:pt x="187" y="45"/>
                    </a:cubicBezTo>
                    <a:cubicBezTo>
                      <a:pt x="186" y="42"/>
                      <a:pt x="177" y="43"/>
                      <a:pt x="175" y="41"/>
                    </a:cubicBezTo>
                    <a:cubicBezTo>
                      <a:pt x="173" y="38"/>
                      <a:pt x="186" y="30"/>
                      <a:pt x="186" y="30"/>
                    </a:cubicBezTo>
                    <a:cubicBezTo>
                      <a:pt x="179" y="25"/>
                      <a:pt x="179" y="25"/>
                      <a:pt x="179" y="25"/>
                    </a:cubicBezTo>
                    <a:cubicBezTo>
                      <a:pt x="166" y="31"/>
                      <a:pt x="166" y="31"/>
                      <a:pt x="166" y="31"/>
                    </a:cubicBezTo>
                    <a:cubicBezTo>
                      <a:pt x="165" y="25"/>
                      <a:pt x="165" y="25"/>
                      <a:pt x="165" y="25"/>
                    </a:cubicBezTo>
                    <a:cubicBezTo>
                      <a:pt x="143" y="17"/>
                      <a:pt x="143" y="17"/>
                      <a:pt x="143" y="17"/>
                    </a:cubicBezTo>
                    <a:cubicBezTo>
                      <a:pt x="143" y="22"/>
                      <a:pt x="143" y="22"/>
                      <a:pt x="143" y="22"/>
                    </a:cubicBezTo>
                    <a:cubicBezTo>
                      <a:pt x="135" y="14"/>
                      <a:pt x="135" y="14"/>
                      <a:pt x="135" y="14"/>
                    </a:cubicBezTo>
                    <a:cubicBezTo>
                      <a:pt x="137" y="7"/>
                      <a:pt x="137" y="7"/>
                      <a:pt x="137" y="7"/>
                    </a:cubicBezTo>
                    <a:cubicBezTo>
                      <a:pt x="123" y="5"/>
                      <a:pt x="123" y="5"/>
                      <a:pt x="123" y="5"/>
                    </a:cubicBezTo>
                    <a:cubicBezTo>
                      <a:pt x="121" y="8"/>
                      <a:pt x="121" y="8"/>
                      <a:pt x="121" y="8"/>
                    </a:cubicBezTo>
                    <a:cubicBezTo>
                      <a:pt x="123" y="11"/>
                      <a:pt x="123" y="11"/>
                      <a:pt x="123" y="11"/>
                    </a:cubicBezTo>
                    <a:cubicBezTo>
                      <a:pt x="121" y="13"/>
                      <a:pt x="121" y="13"/>
                      <a:pt x="121" y="13"/>
                    </a:cubicBezTo>
                    <a:cubicBezTo>
                      <a:pt x="113" y="11"/>
                      <a:pt x="113" y="11"/>
                      <a:pt x="113" y="11"/>
                    </a:cubicBezTo>
                    <a:cubicBezTo>
                      <a:pt x="113" y="13"/>
                      <a:pt x="112" y="16"/>
                      <a:pt x="110" y="14"/>
                    </a:cubicBezTo>
                    <a:cubicBezTo>
                      <a:pt x="107" y="12"/>
                      <a:pt x="101" y="14"/>
                      <a:pt x="106" y="8"/>
                    </a:cubicBezTo>
                    <a:cubicBezTo>
                      <a:pt x="105" y="9"/>
                      <a:pt x="102" y="9"/>
                      <a:pt x="101" y="9"/>
                    </a:cubicBezTo>
                    <a:cubicBezTo>
                      <a:pt x="107" y="1"/>
                      <a:pt x="94" y="2"/>
                      <a:pt x="91" y="0"/>
                    </a:cubicBezTo>
                    <a:cubicBezTo>
                      <a:pt x="90" y="1"/>
                      <a:pt x="89" y="4"/>
                      <a:pt x="89" y="5"/>
                    </a:cubicBezTo>
                    <a:cubicBezTo>
                      <a:pt x="90" y="5"/>
                      <a:pt x="95" y="7"/>
                      <a:pt x="95" y="8"/>
                    </a:cubicBezTo>
                    <a:cubicBezTo>
                      <a:pt x="95" y="12"/>
                      <a:pt x="92" y="10"/>
                      <a:pt x="89" y="12"/>
                    </a:cubicBezTo>
                    <a:cubicBezTo>
                      <a:pt x="84" y="14"/>
                      <a:pt x="80" y="18"/>
                      <a:pt x="77" y="18"/>
                    </a:cubicBezTo>
                    <a:cubicBezTo>
                      <a:pt x="74" y="18"/>
                      <a:pt x="66" y="22"/>
                      <a:pt x="64" y="23"/>
                    </a:cubicBezTo>
                    <a:cubicBezTo>
                      <a:pt x="60" y="25"/>
                      <a:pt x="58" y="35"/>
                      <a:pt x="53" y="30"/>
                    </a:cubicBezTo>
                    <a:cubicBezTo>
                      <a:pt x="53" y="30"/>
                      <a:pt x="50" y="32"/>
                      <a:pt x="47" y="37"/>
                    </a:cubicBezTo>
                    <a:cubicBezTo>
                      <a:pt x="45" y="39"/>
                      <a:pt x="43" y="40"/>
                      <a:pt x="41" y="39"/>
                    </a:cubicBezTo>
                    <a:cubicBezTo>
                      <a:pt x="40" y="48"/>
                      <a:pt x="33" y="42"/>
                      <a:pt x="30" y="44"/>
                    </a:cubicBezTo>
                    <a:cubicBezTo>
                      <a:pt x="29" y="44"/>
                      <a:pt x="25" y="46"/>
                      <a:pt x="25" y="46"/>
                    </a:cubicBezTo>
                    <a:cubicBezTo>
                      <a:pt x="19" y="43"/>
                      <a:pt x="18" y="48"/>
                      <a:pt x="16" y="49"/>
                    </a:cubicBezTo>
                    <a:cubicBezTo>
                      <a:pt x="14" y="52"/>
                      <a:pt x="11" y="61"/>
                      <a:pt x="10" y="62"/>
                    </a:cubicBezTo>
                    <a:cubicBezTo>
                      <a:pt x="9" y="62"/>
                      <a:pt x="3" y="54"/>
                      <a:pt x="2" y="52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57"/>
                      <a:pt x="4" y="63"/>
                      <a:pt x="7" y="67"/>
                    </a:cubicBezTo>
                    <a:cubicBezTo>
                      <a:pt x="9" y="70"/>
                      <a:pt x="18" y="72"/>
                      <a:pt x="16" y="76"/>
                    </a:cubicBezTo>
                    <a:cubicBezTo>
                      <a:pt x="17" y="76"/>
                      <a:pt x="18" y="77"/>
                      <a:pt x="19" y="77"/>
                    </a:cubicBezTo>
                    <a:cubicBezTo>
                      <a:pt x="19" y="79"/>
                      <a:pt x="18" y="84"/>
                      <a:pt x="17" y="84"/>
                    </a:cubicBezTo>
                    <a:cubicBezTo>
                      <a:pt x="14" y="88"/>
                      <a:pt x="14" y="88"/>
                      <a:pt x="14" y="88"/>
                    </a:cubicBezTo>
                    <a:cubicBezTo>
                      <a:pt x="14" y="92"/>
                      <a:pt x="18" y="92"/>
                      <a:pt x="19" y="93"/>
                    </a:cubicBezTo>
                    <a:cubicBezTo>
                      <a:pt x="21" y="96"/>
                      <a:pt x="21" y="100"/>
                      <a:pt x="23" y="103"/>
                    </a:cubicBezTo>
                    <a:cubicBezTo>
                      <a:pt x="24" y="106"/>
                      <a:pt x="29" y="115"/>
                      <a:pt x="33" y="116"/>
                    </a:cubicBezTo>
                    <a:cubicBezTo>
                      <a:pt x="40" y="117"/>
                      <a:pt x="49" y="130"/>
                      <a:pt x="50" y="130"/>
                    </a:cubicBezTo>
                    <a:cubicBezTo>
                      <a:pt x="53" y="130"/>
                      <a:pt x="59" y="131"/>
                      <a:pt x="59" y="135"/>
                    </a:cubicBezTo>
                    <a:cubicBezTo>
                      <a:pt x="60" y="143"/>
                      <a:pt x="66" y="136"/>
                      <a:pt x="69" y="141"/>
                    </a:cubicBezTo>
                    <a:cubicBezTo>
                      <a:pt x="72" y="146"/>
                      <a:pt x="76" y="149"/>
                      <a:pt x="77" y="154"/>
                    </a:cubicBezTo>
                    <a:cubicBezTo>
                      <a:pt x="81" y="153"/>
                      <a:pt x="81" y="153"/>
                      <a:pt x="81" y="153"/>
                    </a:cubicBezTo>
                    <a:cubicBezTo>
                      <a:pt x="81" y="153"/>
                      <a:pt x="83" y="155"/>
                      <a:pt x="85" y="155"/>
                    </a:cubicBezTo>
                    <a:cubicBezTo>
                      <a:pt x="86" y="156"/>
                      <a:pt x="89" y="161"/>
                      <a:pt x="89" y="161"/>
                    </a:cubicBezTo>
                    <a:cubicBezTo>
                      <a:pt x="88" y="163"/>
                      <a:pt x="88" y="163"/>
                      <a:pt x="88" y="163"/>
                    </a:cubicBezTo>
                    <a:cubicBezTo>
                      <a:pt x="91" y="165"/>
                      <a:pt x="91" y="165"/>
                      <a:pt x="91" y="165"/>
                    </a:cubicBezTo>
                    <a:cubicBezTo>
                      <a:pt x="101" y="167"/>
                      <a:pt x="101" y="167"/>
                      <a:pt x="101" y="167"/>
                    </a:cubicBezTo>
                    <a:cubicBezTo>
                      <a:pt x="106" y="161"/>
                      <a:pt x="106" y="161"/>
                      <a:pt x="106" y="161"/>
                    </a:cubicBezTo>
                    <a:cubicBezTo>
                      <a:pt x="109" y="162"/>
                      <a:pt x="109" y="162"/>
                      <a:pt x="109" y="162"/>
                    </a:cubicBezTo>
                    <a:cubicBezTo>
                      <a:pt x="112" y="162"/>
                      <a:pt x="112" y="162"/>
                      <a:pt x="112" y="162"/>
                    </a:cubicBezTo>
                    <a:cubicBezTo>
                      <a:pt x="112" y="162"/>
                      <a:pt x="116" y="164"/>
                      <a:pt x="118" y="164"/>
                    </a:cubicBezTo>
                    <a:cubicBezTo>
                      <a:pt x="119" y="164"/>
                      <a:pt x="116" y="158"/>
                      <a:pt x="116" y="156"/>
                    </a:cubicBezTo>
                    <a:cubicBezTo>
                      <a:pt x="117" y="154"/>
                      <a:pt x="121" y="150"/>
                      <a:pt x="121" y="150"/>
                    </a:cubicBezTo>
                    <a:cubicBezTo>
                      <a:pt x="128" y="153"/>
                      <a:pt x="128" y="153"/>
                      <a:pt x="128" y="153"/>
                    </a:cubicBezTo>
                    <a:cubicBezTo>
                      <a:pt x="129" y="136"/>
                      <a:pt x="129" y="136"/>
                      <a:pt x="129" y="136"/>
                    </a:cubicBezTo>
                    <a:cubicBezTo>
                      <a:pt x="135" y="136"/>
                      <a:pt x="135" y="136"/>
                      <a:pt x="135" y="136"/>
                    </a:cubicBezTo>
                    <a:cubicBezTo>
                      <a:pt x="135" y="136"/>
                      <a:pt x="137" y="138"/>
                      <a:pt x="140" y="138"/>
                    </a:cubicBezTo>
                    <a:cubicBezTo>
                      <a:pt x="142" y="137"/>
                      <a:pt x="143" y="136"/>
                      <a:pt x="143" y="136"/>
                    </a:cubicBezTo>
                    <a:cubicBezTo>
                      <a:pt x="143" y="136"/>
                      <a:pt x="150" y="138"/>
                      <a:pt x="151" y="138"/>
                    </a:cubicBezTo>
                    <a:cubicBezTo>
                      <a:pt x="152" y="138"/>
                      <a:pt x="161" y="143"/>
                      <a:pt x="161" y="143"/>
                    </a:cubicBezTo>
                    <a:cubicBezTo>
                      <a:pt x="161" y="143"/>
                      <a:pt x="163" y="142"/>
                      <a:pt x="167" y="142"/>
                    </a:cubicBezTo>
                    <a:cubicBezTo>
                      <a:pt x="172" y="142"/>
                      <a:pt x="177" y="150"/>
                      <a:pt x="177" y="150"/>
                    </a:cubicBezTo>
                    <a:cubicBezTo>
                      <a:pt x="191" y="149"/>
                      <a:pt x="191" y="149"/>
                      <a:pt x="191" y="149"/>
                    </a:cubicBezTo>
                    <a:cubicBezTo>
                      <a:pt x="193" y="144"/>
                      <a:pt x="193" y="144"/>
                      <a:pt x="193" y="144"/>
                    </a:cubicBezTo>
                    <a:cubicBezTo>
                      <a:pt x="204" y="147"/>
                      <a:pt x="204" y="147"/>
                      <a:pt x="204" y="147"/>
                    </a:cubicBezTo>
                    <a:cubicBezTo>
                      <a:pt x="206" y="150"/>
                      <a:pt x="206" y="150"/>
                      <a:pt x="206" y="150"/>
                    </a:cubicBezTo>
                    <a:cubicBezTo>
                      <a:pt x="213" y="150"/>
                      <a:pt x="213" y="150"/>
                      <a:pt x="213" y="150"/>
                    </a:cubicBezTo>
                    <a:cubicBezTo>
                      <a:pt x="216" y="152"/>
                      <a:pt x="216" y="152"/>
                      <a:pt x="216" y="152"/>
                    </a:cubicBezTo>
                    <a:cubicBezTo>
                      <a:pt x="217" y="149"/>
                      <a:pt x="222" y="141"/>
                      <a:pt x="226" y="139"/>
                    </a:cubicBezTo>
                    <a:cubicBezTo>
                      <a:pt x="230" y="137"/>
                      <a:pt x="242" y="141"/>
                      <a:pt x="242" y="141"/>
                    </a:cubicBezTo>
                    <a:cubicBezTo>
                      <a:pt x="255" y="133"/>
                      <a:pt x="255" y="133"/>
                      <a:pt x="255" y="133"/>
                    </a:cubicBezTo>
                    <a:cubicBezTo>
                      <a:pt x="255" y="133"/>
                      <a:pt x="253" y="130"/>
                      <a:pt x="256" y="126"/>
                    </a:cubicBezTo>
                    <a:cubicBezTo>
                      <a:pt x="259" y="123"/>
                      <a:pt x="261" y="127"/>
                      <a:pt x="263" y="123"/>
                    </a:cubicBezTo>
                    <a:cubicBezTo>
                      <a:pt x="266" y="119"/>
                      <a:pt x="264" y="111"/>
                      <a:pt x="266" y="107"/>
                    </a:cubicBezTo>
                    <a:cubicBezTo>
                      <a:pt x="270" y="104"/>
                      <a:pt x="272" y="106"/>
                      <a:pt x="276" y="103"/>
                    </a:cubicBezTo>
                    <a:cubicBezTo>
                      <a:pt x="280" y="100"/>
                      <a:pt x="281" y="92"/>
                      <a:pt x="281" y="92"/>
                    </a:cubicBezTo>
                    <a:cubicBezTo>
                      <a:pt x="288" y="93"/>
                      <a:pt x="288" y="93"/>
                      <a:pt x="288" y="93"/>
                    </a:cubicBezTo>
                    <a:cubicBezTo>
                      <a:pt x="295" y="90"/>
                      <a:pt x="295" y="90"/>
                      <a:pt x="295" y="90"/>
                    </a:cubicBezTo>
                    <a:lnTo>
                      <a:pt x="291" y="79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78" name="Croatia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5175250" y="4592638"/>
                <a:ext cx="596900" cy="547687"/>
              </a:xfrm>
              <a:custGeom>
                <a:avLst/>
                <a:gdLst/>
                <a:ahLst/>
                <a:cxnLst>
                  <a:cxn ang="0">
                    <a:pos x="260" y="53"/>
                  </a:cxn>
                  <a:cxn ang="0">
                    <a:pos x="248" y="34"/>
                  </a:cxn>
                  <a:cxn ang="0">
                    <a:pos x="195" y="44"/>
                  </a:cxn>
                  <a:cxn ang="0">
                    <a:pos x="157" y="12"/>
                  </a:cxn>
                  <a:cxn ang="0">
                    <a:pos x="127" y="1"/>
                  </a:cxn>
                  <a:cxn ang="0">
                    <a:pos x="97" y="28"/>
                  </a:cxn>
                  <a:cxn ang="0">
                    <a:pos x="80" y="58"/>
                  </a:cxn>
                  <a:cxn ang="0">
                    <a:pos x="89" y="72"/>
                  </a:cxn>
                  <a:cxn ang="0">
                    <a:pos x="67" y="75"/>
                  </a:cxn>
                  <a:cxn ang="0">
                    <a:pos x="50" y="66"/>
                  </a:cxn>
                  <a:cxn ang="0">
                    <a:pos x="27" y="75"/>
                  </a:cxn>
                  <a:cxn ang="0">
                    <a:pos x="2" y="77"/>
                  </a:cxn>
                  <a:cxn ang="0">
                    <a:pos x="11" y="98"/>
                  </a:cxn>
                  <a:cxn ang="0">
                    <a:pos x="26" y="119"/>
                  </a:cxn>
                  <a:cxn ang="0">
                    <a:pos x="62" y="95"/>
                  </a:cxn>
                  <a:cxn ang="0">
                    <a:pos x="102" y="151"/>
                  </a:cxn>
                  <a:cxn ang="0">
                    <a:pos x="99" y="176"/>
                  </a:cxn>
                  <a:cxn ang="0">
                    <a:pos x="144" y="197"/>
                  </a:cxn>
                  <a:cxn ang="0">
                    <a:pos x="210" y="235"/>
                  </a:cxn>
                  <a:cxn ang="0">
                    <a:pos x="182" y="229"/>
                  </a:cxn>
                  <a:cxn ang="0">
                    <a:pos x="231" y="249"/>
                  </a:cxn>
                  <a:cxn ang="0">
                    <a:pos x="248" y="248"/>
                  </a:cxn>
                  <a:cxn ang="0">
                    <a:pos x="210" y="221"/>
                  </a:cxn>
                  <a:cxn ang="0">
                    <a:pos x="161" y="176"/>
                  </a:cxn>
                  <a:cxn ang="0">
                    <a:pos x="123" y="129"/>
                  </a:cxn>
                  <a:cxn ang="0">
                    <a:pos x="109" y="90"/>
                  </a:cxn>
                  <a:cxn ang="0">
                    <a:pos x="159" y="87"/>
                  </a:cxn>
                  <a:cxn ang="0">
                    <a:pos x="206" y="92"/>
                  </a:cxn>
                  <a:cxn ang="0">
                    <a:pos x="233" y="85"/>
                  </a:cxn>
                  <a:cxn ang="0">
                    <a:pos x="267" y="94"/>
                  </a:cxn>
                  <a:cxn ang="0">
                    <a:pos x="280" y="74"/>
                  </a:cxn>
                  <a:cxn ang="0">
                    <a:pos x="60" y="102"/>
                  </a:cxn>
                  <a:cxn ang="0">
                    <a:pos x="50" y="97"/>
                  </a:cxn>
                  <a:cxn ang="0">
                    <a:pos x="56" y="107"/>
                  </a:cxn>
                  <a:cxn ang="0">
                    <a:pos x="47" y="115"/>
                  </a:cxn>
                  <a:cxn ang="0">
                    <a:pos x="40" y="95"/>
                  </a:cxn>
                  <a:cxn ang="0">
                    <a:pos x="41" y="111"/>
                  </a:cxn>
                  <a:cxn ang="0">
                    <a:pos x="51" y="140"/>
                  </a:cxn>
                  <a:cxn ang="0">
                    <a:pos x="49" y="130"/>
                  </a:cxn>
                  <a:cxn ang="0">
                    <a:pos x="37" y="130"/>
                  </a:cxn>
                  <a:cxn ang="0">
                    <a:pos x="70" y="131"/>
                  </a:cxn>
                  <a:cxn ang="0">
                    <a:pos x="76" y="143"/>
                  </a:cxn>
                  <a:cxn ang="0">
                    <a:pos x="63" y="121"/>
                  </a:cxn>
                  <a:cxn ang="0">
                    <a:pos x="59" y="121"/>
                  </a:cxn>
                  <a:cxn ang="0">
                    <a:pos x="75" y="165"/>
                  </a:cxn>
                  <a:cxn ang="0">
                    <a:pos x="79" y="169"/>
                  </a:cxn>
                  <a:cxn ang="0">
                    <a:pos x="169" y="208"/>
                  </a:cxn>
                  <a:cxn ang="0">
                    <a:pos x="144" y="209"/>
                  </a:cxn>
                  <a:cxn ang="0">
                    <a:pos x="136" y="206"/>
                  </a:cxn>
                  <a:cxn ang="0">
                    <a:pos x="163" y="219"/>
                  </a:cxn>
                  <a:cxn ang="0">
                    <a:pos x="153" y="218"/>
                  </a:cxn>
                  <a:cxn ang="0">
                    <a:pos x="182" y="222"/>
                  </a:cxn>
                  <a:cxn ang="0">
                    <a:pos x="135" y="227"/>
                  </a:cxn>
                  <a:cxn ang="0">
                    <a:pos x="169" y="233"/>
                  </a:cxn>
                  <a:cxn ang="0">
                    <a:pos x="160" y="235"/>
                  </a:cxn>
                  <a:cxn ang="0">
                    <a:pos x="186" y="235"/>
                  </a:cxn>
                  <a:cxn ang="0">
                    <a:pos x="213" y="246"/>
                  </a:cxn>
                  <a:cxn ang="0">
                    <a:pos x="71" y="155"/>
                  </a:cxn>
                  <a:cxn ang="0">
                    <a:pos x="63" y="153"/>
                  </a:cxn>
                  <a:cxn ang="0">
                    <a:pos x="77" y="153"/>
                  </a:cxn>
                  <a:cxn ang="0">
                    <a:pos x="61" y="143"/>
                  </a:cxn>
                  <a:cxn ang="0">
                    <a:pos x="91" y="182"/>
                  </a:cxn>
                  <a:cxn ang="0">
                    <a:pos x="81" y="164"/>
                  </a:cxn>
                </a:cxnLst>
                <a:rect l="0" t="0" r="r" b="b"/>
                <a:pathLst>
                  <a:path w="280" h="257">
                    <a:moveTo>
                      <a:pt x="269" y="74"/>
                    </a:moveTo>
                    <a:cubicBezTo>
                      <a:pt x="258" y="67"/>
                      <a:pt x="258" y="67"/>
                      <a:pt x="258" y="67"/>
                    </a:cubicBezTo>
                    <a:cubicBezTo>
                      <a:pt x="258" y="67"/>
                      <a:pt x="253" y="63"/>
                      <a:pt x="258" y="61"/>
                    </a:cubicBezTo>
                    <a:cubicBezTo>
                      <a:pt x="264" y="59"/>
                      <a:pt x="266" y="53"/>
                      <a:pt x="260" y="53"/>
                    </a:cubicBezTo>
                    <a:cubicBezTo>
                      <a:pt x="256" y="54"/>
                      <a:pt x="256" y="59"/>
                      <a:pt x="253" y="54"/>
                    </a:cubicBezTo>
                    <a:cubicBezTo>
                      <a:pt x="250" y="51"/>
                      <a:pt x="255" y="46"/>
                      <a:pt x="255" y="41"/>
                    </a:cubicBezTo>
                    <a:cubicBezTo>
                      <a:pt x="255" y="40"/>
                      <a:pt x="253" y="37"/>
                      <a:pt x="250" y="34"/>
                    </a:cubicBezTo>
                    <a:cubicBezTo>
                      <a:pt x="248" y="34"/>
                      <a:pt x="248" y="34"/>
                      <a:pt x="248" y="34"/>
                    </a:cubicBezTo>
                    <a:cubicBezTo>
                      <a:pt x="241" y="35"/>
                      <a:pt x="241" y="35"/>
                      <a:pt x="241" y="35"/>
                    </a:cubicBezTo>
                    <a:cubicBezTo>
                      <a:pt x="234" y="45"/>
                      <a:pt x="234" y="45"/>
                      <a:pt x="234" y="45"/>
                    </a:cubicBezTo>
                    <a:cubicBezTo>
                      <a:pt x="234" y="45"/>
                      <a:pt x="223" y="46"/>
                      <a:pt x="218" y="46"/>
                    </a:cubicBezTo>
                    <a:cubicBezTo>
                      <a:pt x="213" y="46"/>
                      <a:pt x="195" y="44"/>
                      <a:pt x="195" y="44"/>
                    </a:cubicBezTo>
                    <a:cubicBezTo>
                      <a:pt x="195" y="44"/>
                      <a:pt x="194" y="38"/>
                      <a:pt x="190" y="36"/>
                    </a:cubicBezTo>
                    <a:cubicBezTo>
                      <a:pt x="186" y="34"/>
                      <a:pt x="179" y="35"/>
                      <a:pt x="179" y="35"/>
                    </a:cubicBezTo>
                    <a:cubicBezTo>
                      <a:pt x="161" y="20"/>
                      <a:pt x="161" y="20"/>
                      <a:pt x="161" y="20"/>
                    </a:cubicBezTo>
                    <a:cubicBezTo>
                      <a:pt x="161" y="20"/>
                      <a:pt x="159" y="15"/>
                      <a:pt x="157" y="12"/>
                    </a:cubicBezTo>
                    <a:cubicBezTo>
                      <a:pt x="155" y="9"/>
                      <a:pt x="148" y="11"/>
                      <a:pt x="148" y="11"/>
                    </a:cubicBezTo>
                    <a:cubicBezTo>
                      <a:pt x="146" y="6"/>
                      <a:pt x="146" y="6"/>
                      <a:pt x="146" y="6"/>
                    </a:cubicBezTo>
                    <a:cubicBezTo>
                      <a:pt x="140" y="3"/>
                      <a:pt x="140" y="3"/>
                      <a:pt x="140" y="3"/>
                    </a:cubicBezTo>
                    <a:cubicBezTo>
                      <a:pt x="140" y="3"/>
                      <a:pt x="131" y="0"/>
                      <a:pt x="127" y="1"/>
                    </a:cubicBezTo>
                    <a:cubicBezTo>
                      <a:pt x="124" y="1"/>
                      <a:pt x="127" y="12"/>
                      <a:pt x="127" y="12"/>
                    </a:cubicBezTo>
                    <a:cubicBezTo>
                      <a:pt x="127" y="12"/>
                      <a:pt x="121" y="9"/>
                      <a:pt x="119" y="9"/>
                    </a:cubicBezTo>
                    <a:cubicBezTo>
                      <a:pt x="116" y="9"/>
                      <a:pt x="119" y="16"/>
                      <a:pt x="119" y="16"/>
                    </a:cubicBezTo>
                    <a:cubicBezTo>
                      <a:pt x="119" y="16"/>
                      <a:pt x="100" y="24"/>
                      <a:pt x="97" y="28"/>
                    </a:cubicBezTo>
                    <a:cubicBezTo>
                      <a:pt x="94" y="32"/>
                      <a:pt x="104" y="36"/>
                      <a:pt x="104" y="36"/>
                    </a:cubicBezTo>
                    <a:cubicBezTo>
                      <a:pt x="102" y="49"/>
                      <a:pt x="102" y="49"/>
                      <a:pt x="102" y="49"/>
                    </a:cubicBezTo>
                    <a:cubicBezTo>
                      <a:pt x="96" y="47"/>
                      <a:pt x="96" y="47"/>
                      <a:pt x="96" y="47"/>
                    </a:cubicBezTo>
                    <a:cubicBezTo>
                      <a:pt x="96" y="47"/>
                      <a:pt x="82" y="54"/>
                      <a:pt x="80" y="58"/>
                    </a:cubicBezTo>
                    <a:cubicBezTo>
                      <a:pt x="78" y="62"/>
                      <a:pt x="88" y="58"/>
                      <a:pt x="88" y="58"/>
                    </a:cubicBezTo>
                    <a:cubicBezTo>
                      <a:pt x="90" y="61"/>
                      <a:pt x="90" y="61"/>
                      <a:pt x="90" y="61"/>
                    </a:cubicBezTo>
                    <a:cubicBezTo>
                      <a:pt x="90" y="61"/>
                      <a:pt x="88" y="64"/>
                      <a:pt x="86" y="66"/>
                    </a:cubicBezTo>
                    <a:cubicBezTo>
                      <a:pt x="83" y="68"/>
                      <a:pt x="89" y="72"/>
                      <a:pt x="89" y="72"/>
                    </a:cubicBezTo>
                    <a:cubicBezTo>
                      <a:pt x="89" y="72"/>
                      <a:pt x="86" y="77"/>
                      <a:pt x="79" y="77"/>
                    </a:cubicBezTo>
                    <a:cubicBezTo>
                      <a:pt x="73" y="77"/>
                      <a:pt x="75" y="74"/>
                      <a:pt x="75" y="74"/>
                    </a:cubicBezTo>
                    <a:cubicBezTo>
                      <a:pt x="75" y="74"/>
                      <a:pt x="70" y="70"/>
                      <a:pt x="67" y="70"/>
                    </a:cubicBezTo>
                    <a:cubicBezTo>
                      <a:pt x="66" y="70"/>
                      <a:pt x="67" y="75"/>
                      <a:pt x="67" y="75"/>
                    </a:cubicBezTo>
                    <a:cubicBezTo>
                      <a:pt x="57" y="71"/>
                      <a:pt x="57" y="71"/>
                      <a:pt x="57" y="71"/>
                    </a:cubicBezTo>
                    <a:cubicBezTo>
                      <a:pt x="53" y="66"/>
                      <a:pt x="53" y="66"/>
                      <a:pt x="53" y="66"/>
                    </a:cubicBezTo>
                    <a:cubicBezTo>
                      <a:pt x="53" y="66"/>
                      <a:pt x="53" y="62"/>
                      <a:pt x="50" y="62"/>
                    </a:cubicBezTo>
                    <a:cubicBezTo>
                      <a:pt x="49" y="63"/>
                      <a:pt x="50" y="66"/>
                      <a:pt x="50" y="66"/>
                    </a:cubicBezTo>
                    <a:cubicBezTo>
                      <a:pt x="48" y="67"/>
                      <a:pt x="48" y="67"/>
                      <a:pt x="48" y="67"/>
                    </a:cubicBezTo>
                    <a:cubicBezTo>
                      <a:pt x="47" y="71"/>
                      <a:pt x="47" y="71"/>
                      <a:pt x="47" y="71"/>
                    </a:cubicBezTo>
                    <a:cubicBezTo>
                      <a:pt x="30" y="77"/>
                      <a:pt x="30" y="77"/>
                      <a:pt x="30" y="77"/>
                    </a:cubicBezTo>
                    <a:cubicBezTo>
                      <a:pt x="27" y="75"/>
                      <a:pt x="27" y="75"/>
                      <a:pt x="27" y="75"/>
                    </a:cubicBezTo>
                    <a:cubicBezTo>
                      <a:pt x="20" y="80"/>
                      <a:pt x="20" y="80"/>
                      <a:pt x="20" y="80"/>
                    </a:cubicBezTo>
                    <a:cubicBezTo>
                      <a:pt x="14" y="76"/>
                      <a:pt x="14" y="76"/>
                      <a:pt x="14" y="76"/>
                    </a:cubicBezTo>
                    <a:cubicBezTo>
                      <a:pt x="14" y="76"/>
                      <a:pt x="10" y="80"/>
                      <a:pt x="9" y="80"/>
                    </a:cubicBezTo>
                    <a:cubicBezTo>
                      <a:pt x="7" y="80"/>
                      <a:pt x="2" y="77"/>
                      <a:pt x="2" y="77"/>
                    </a:cubicBezTo>
                    <a:cubicBezTo>
                      <a:pt x="0" y="80"/>
                      <a:pt x="0" y="80"/>
                      <a:pt x="0" y="80"/>
                    </a:cubicBezTo>
                    <a:cubicBezTo>
                      <a:pt x="4" y="83"/>
                      <a:pt x="4" y="83"/>
                      <a:pt x="4" y="83"/>
                    </a:cubicBezTo>
                    <a:cubicBezTo>
                      <a:pt x="7" y="97"/>
                      <a:pt x="7" y="97"/>
                      <a:pt x="7" y="97"/>
                    </a:cubicBezTo>
                    <a:cubicBezTo>
                      <a:pt x="11" y="98"/>
                      <a:pt x="11" y="98"/>
                      <a:pt x="11" y="98"/>
                    </a:cubicBezTo>
                    <a:cubicBezTo>
                      <a:pt x="7" y="100"/>
                      <a:pt x="7" y="100"/>
                      <a:pt x="7" y="100"/>
                    </a:cubicBezTo>
                    <a:cubicBezTo>
                      <a:pt x="14" y="108"/>
                      <a:pt x="14" y="108"/>
                      <a:pt x="14" y="108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6" y="119"/>
                      <a:pt x="26" y="119"/>
                      <a:pt x="26" y="119"/>
                    </a:cubicBezTo>
                    <a:cubicBezTo>
                      <a:pt x="27" y="107"/>
                      <a:pt x="27" y="107"/>
                      <a:pt x="27" y="107"/>
                    </a:cubicBezTo>
                    <a:cubicBezTo>
                      <a:pt x="27" y="107"/>
                      <a:pt x="30" y="111"/>
                      <a:pt x="33" y="110"/>
                    </a:cubicBezTo>
                    <a:cubicBezTo>
                      <a:pt x="37" y="108"/>
                      <a:pt x="34" y="88"/>
                      <a:pt x="39" y="85"/>
                    </a:cubicBezTo>
                    <a:cubicBezTo>
                      <a:pt x="43" y="82"/>
                      <a:pt x="62" y="95"/>
                      <a:pt x="62" y="95"/>
                    </a:cubicBezTo>
                    <a:cubicBezTo>
                      <a:pt x="70" y="108"/>
                      <a:pt x="70" y="108"/>
                      <a:pt x="70" y="108"/>
                    </a:cubicBezTo>
                    <a:cubicBezTo>
                      <a:pt x="70" y="108"/>
                      <a:pt x="64" y="121"/>
                      <a:pt x="70" y="126"/>
                    </a:cubicBezTo>
                    <a:cubicBezTo>
                      <a:pt x="74" y="131"/>
                      <a:pt x="88" y="146"/>
                      <a:pt x="88" y="146"/>
                    </a:cubicBezTo>
                    <a:cubicBezTo>
                      <a:pt x="88" y="146"/>
                      <a:pt x="98" y="150"/>
                      <a:pt x="102" y="151"/>
                    </a:cubicBezTo>
                    <a:cubicBezTo>
                      <a:pt x="104" y="153"/>
                      <a:pt x="108" y="158"/>
                      <a:pt x="108" y="158"/>
                    </a:cubicBezTo>
                    <a:cubicBezTo>
                      <a:pt x="108" y="158"/>
                      <a:pt x="93" y="153"/>
                      <a:pt x="91" y="151"/>
                    </a:cubicBezTo>
                    <a:cubicBezTo>
                      <a:pt x="89" y="151"/>
                      <a:pt x="82" y="154"/>
                      <a:pt x="82" y="154"/>
                    </a:cubicBezTo>
                    <a:cubicBezTo>
                      <a:pt x="82" y="154"/>
                      <a:pt x="90" y="173"/>
                      <a:pt x="99" y="176"/>
                    </a:cubicBezTo>
                    <a:cubicBezTo>
                      <a:pt x="108" y="179"/>
                      <a:pt x="123" y="190"/>
                      <a:pt x="123" y="190"/>
                    </a:cubicBezTo>
                    <a:cubicBezTo>
                      <a:pt x="123" y="190"/>
                      <a:pt x="120" y="195"/>
                      <a:pt x="123" y="198"/>
                    </a:cubicBezTo>
                    <a:cubicBezTo>
                      <a:pt x="127" y="202"/>
                      <a:pt x="131" y="201"/>
                      <a:pt x="131" y="201"/>
                    </a:cubicBezTo>
                    <a:cubicBezTo>
                      <a:pt x="144" y="197"/>
                      <a:pt x="144" y="197"/>
                      <a:pt x="144" y="197"/>
                    </a:cubicBezTo>
                    <a:cubicBezTo>
                      <a:pt x="169" y="204"/>
                      <a:pt x="169" y="204"/>
                      <a:pt x="169" y="204"/>
                    </a:cubicBezTo>
                    <a:cubicBezTo>
                      <a:pt x="169" y="204"/>
                      <a:pt x="173" y="213"/>
                      <a:pt x="180" y="217"/>
                    </a:cubicBezTo>
                    <a:cubicBezTo>
                      <a:pt x="187" y="219"/>
                      <a:pt x="195" y="225"/>
                      <a:pt x="200" y="228"/>
                    </a:cubicBezTo>
                    <a:cubicBezTo>
                      <a:pt x="203" y="232"/>
                      <a:pt x="210" y="235"/>
                      <a:pt x="210" y="235"/>
                    </a:cubicBezTo>
                    <a:cubicBezTo>
                      <a:pt x="210" y="235"/>
                      <a:pt x="202" y="233"/>
                      <a:pt x="200" y="232"/>
                    </a:cubicBezTo>
                    <a:cubicBezTo>
                      <a:pt x="197" y="230"/>
                      <a:pt x="194" y="228"/>
                      <a:pt x="192" y="228"/>
                    </a:cubicBezTo>
                    <a:cubicBezTo>
                      <a:pt x="189" y="227"/>
                      <a:pt x="176" y="225"/>
                      <a:pt x="176" y="225"/>
                    </a:cubicBezTo>
                    <a:cubicBezTo>
                      <a:pt x="176" y="225"/>
                      <a:pt x="180" y="229"/>
                      <a:pt x="182" y="229"/>
                    </a:cubicBezTo>
                    <a:cubicBezTo>
                      <a:pt x="185" y="230"/>
                      <a:pt x="197" y="235"/>
                      <a:pt x="197" y="235"/>
                    </a:cubicBezTo>
                    <a:cubicBezTo>
                      <a:pt x="212" y="241"/>
                      <a:pt x="212" y="241"/>
                      <a:pt x="212" y="241"/>
                    </a:cubicBezTo>
                    <a:cubicBezTo>
                      <a:pt x="214" y="239"/>
                      <a:pt x="214" y="239"/>
                      <a:pt x="214" y="239"/>
                    </a:cubicBezTo>
                    <a:cubicBezTo>
                      <a:pt x="231" y="249"/>
                      <a:pt x="231" y="249"/>
                      <a:pt x="231" y="249"/>
                    </a:cubicBezTo>
                    <a:cubicBezTo>
                      <a:pt x="236" y="249"/>
                      <a:pt x="236" y="249"/>
                      <a:pt x="236" y="249"/>
                    </a:cubicBezTo>
                    <a:cubicBezTo>
                      <a:pt x="239" y="251"/>
                      <a:pt x="239" y="251"/>
                      <a:pt x="239" y="251"/>
                    </a:cubicBezTo>
                    <a:cubicBezTo>
                      <a:pt x="251" y="257"/>
                      <a:pt x="251" y="257"/>
                      <a:pt x="251" y="257"/>
                    </a:cubicBezTo>
                    <a:cubicBezTo>
                      <a:pt x="251" y="257"/>
                      <a:pt x="253" y="248"/>
                      <a:pt x="248" y="248"/>
                    </a:cubicBezTo>
                    <a:cubicBezTo>
                      <a:pt x="244" y="246"/>
                      <a:pt x="242" y="249"/>
                      <a:pt x="242" y="249"/>
                    </a:cubicBezTo>
                    <a:cubicBezTo>
                      <a:pt x="220" y="230"/>
                      <a:pt x="220" y="230"/>
                      <a:pt x="220" y="230"/>
                    </a:cubicBezTo>
                    <a:cubicBezTo>
                      <a:pt x="212" y="232"/>
                      <a:pt x="212" y="232"/>
                      <a:pt x="212" y="232"/>
                    </a:cubicBezTo>
                    <a:cubicBezTo>
                      <a:pt x="212" y="232"/>
                      <a:pt x="215" y="226"/>
                      <a:pt x="210" y="221"/>
                    </a:cubicBezTo>
                    <a:cubicBezTo>
                      <a:pt x="204" y="216"/>
                      <a:pt x="191" y="210"/>
                      <a:pt x="190" y="206"/>
                    </a:cubicBezTo>
                    <a:cubicBezTo>
                      <a:pt x="189" y="201"/>
                      <a:pt x="190" y="197"/>
                      <a:pt x="190" y="197"/>
                    </a:cubicBezTo>
                    <a:cubicBezTo>
                      <a:pt x="178" y="191"/>
                      <a:pt x="178" y="191"/>
                      <a:pt x="178" y="191"/>
                    </a:cubicBezTo>
                    <a:cubicBezTo>
                      <a:pt x="161" y="176"/>
                      <a:pt x="161" y="176"/>
                      <a:pt x="161" y="176"/>
                    </a:cubicBezTo>
                    <a:cubicBezTo>
                      <a:pt x="159" y="173"/>
                      <a:pt x="159" y="173"/>
                      <a:pt x="159" y="173"/>
                    </a:cubicBezTo>
                    <a:cubicBezTo>
                      <a:pt x="159" y="173"/>
                      <a:pt x="146" y="164"/>
                      <a:pt x="140" y="157"/>
                    </a:cubicBezTo>
                    <a:cubicBezTo>
                      <a:pt x="132" y="149"/>
                      <a:pt x="133" y="144"/>
                      <a:pt x="131" y="139"/>
                    </a:cubicBezTo>
                    <a:cubicBezTo>
                      <a:pt x="128" y="132"/>
                      <a:pt x="123" y="129"/>
                      <a:pt x="123" y="129"/>
                    </a:cubicBezTo>
                    <a:cubicBezTo>
                      <a:pt x="125" y="125"/>
                      <a:pt x="125" y="125"/>
                      <a:pt x="125" y="125"/>
                    </a:cubicBezTo>
                    <a:cubicBezTo>
                      <a:pt x="120" y="118"/>
                      <a:pt x="120" y="118"/>
                      <a:pt x="120" y="118"/>
                    </a:cubicBezTo>
                    <a:cubicBezTo>
                      <a:pt x="110" y="117"/>
                      <a:pt x="110" y="117"/>
                      <a:pt x="110" y="117"/>
                    </a:cubicBezTo>
                    <a:cubicBezTo>
                      <a:pt x="110" y="117"/>
                      <a:pt x="102" y="93"/>
                      <a:pt x="109" y="90"/>
                    </a:cubicBezTo>
                    <a:cubicBezTo>
                      <a:pt x="116" y="85"/>
                      <a:pt x="120" y="90"/>
                      <a:pt x="123" y="93"/>
                    </a:cubicBezTo>
                    <a:cubicBezTo>
                      <a:pt x="126" y="96"/>
                      <a:pt x="132" y="102"/>
                      <a:pt x="136" y="100"/>
                    </a:cubicBezTo>
                    <a:cubicBezTo>
                      <a:pt x="140" y="99"/>
                      <a:pt x="140" y="86"/>
                      <a:pt x="144" y="85"/>
                    </a:cubicBezTo>
                    <a:cubicBezTo>
                      <a:pt x="148" y="85"/>
                      <a:pt x="159" y="87"/>
                      <a:pt x="159" y="87"/>
                    </a:cubicBezTo>
                    <a:cubicBezTo>
                      <a:pt x="164" y="81"/>
                      <a:pt x="164" y="81"/>
                      <a:pt x="164" y="81"/>
                    </a:cubicBezTo>
                    <a:cubicBezTo>
                      <a:pt x="164" y="81"/>
                      <a:pt x="172" y="88"/>
                      <a:pt x="176" y="88"/>
                    </a:cubicBezTo>
                    <a:cubicBezTo>
                      <a:pt x="198" y="88"/>
                      <a:pt x="198" y="88"/>
                      <a:pt x="198" y="88"/>
                    </a:cubicBezTo>
                    <a:cubicBezTo>
                      <a:pt x="198" y="88"/>
                      <a:pt x="203" y="92"/>
                      <a:pt x="206" y="92"/>
                    </a:cubicBezTo>
                    <a:cubicBezTo>
                      <a:pt x="210" y="92"/>
                      <a:pt x="214" y="84"/>
                      <a:pt x="214" y="84"/>
                    </a:cubicBezTo>
                    <a:cubicBezTo>
                      <a:pt x="214" y="84"/>
                      <a:pt x="219" y="90"/>
                      <a:pt x="222" y="90"/>
                    </a:cubicBezTo>
                    <a:cubicBezTo>
                      <a:pt x="225" y="90"/>
                      <a:pt x="225" y="84"/>
                      <a:pt x="225" y="84"/>
                    </a:cubicBezTo>
                    <a:cubicBezTo>
                      <a:pt x="233" y="85"/>
                      <a:pt x="233" y="85"/>
                      <a:pt x="233" y="85"/>
                    </a:cubicBezTo>
                    <a:cubicBezTo>
                      <a:pt x="239" y="90"/>
                      <a:pt x="239" y="90"/>
                      <a:pt x="239" y="90"/>
                    </a:cubicBezTo>
                    <a:cubicBezTo>
                      <a:pt x="239" y="90"/>
                      <a:pt x="241" y="86"/>
                      <a:pt x="247" y="87"/>
                    </a:cubicBezTo>
                    <a:cubicBezTo>
                      <a:pt x="253" y="90"/>
                      <a:pt x="251" y="99"/>
                      <a:pt x="256" y="99"/>
                    </a:cubicBezTo>
                    <a:cubicBezTo>
                      <a:pt x="262" y="99"/>
                      <a:pt x="267" y="94"/>
                      <a:pt x="267" y="94"/>
                    </a:cubicBezTo>
                    <a:cubicBezTo>
                      <a:pt x="264" y="82"/>
                      <a:pt x="264" y="82"/>
                      <a:pt x="264" y="82"/>
                    </a:cubicBezTo>
                    <a:cubicBezTo>
                      <a:pt x="269" y="77"/>
                      <a:pt x="269" y="77"/>
                      <a:pt x="269" y="77"/>
                    </a:cubicBezTo>
                    <a:cubicBezTo>
                      <a:pt x="280" y="77"/>
                      <a:pt x="280" y="77"/>
                      <a:pt x="280" y="77"/>
                    </a:cubicBezTo>
                    <a:cubicBezTo>
                      <a:pt x="280" y="74"/>
                      <a:pt x="280" y="74"/>
                      <a:pt x="280" y="74"/>
                    </a:cubicBezTo>
                    <a:lnTo>
                      <a:pt x="269" y="74"/>
                    </a:lnTo>
                    <a:close/>
                    <a:moveTo>
                      <a:pt x="60" y="109"/>
                    </a:moveTo>
                    <a:cubicBezTo>
                      <a:pt x="64" y="106"/>
                      <a:pt x="64" y="106"/>
                      <a:pt x="64" y="106"/>
                    </a:cubicBezTo>
                    <a:cubicBezTo>
                      <a:pt x="60" y="102"/>
                      <a:pt x="60" y="102"/>
                      <a:pt x="60" y="102"/>
                    </a:cubicBezTo>
                    <a:cubicBezTo>
                      <a:pt x="58" y="98"/>
                      <a:pt x="58" y="98"/>
                      <a:pt x="58" y="98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49" y="92"/>
                      <a:pt x="49" y="92"/>
                      <a:pt x="49" y="92"/>
                    </a:cubicBezTo>
                    <a:cubicBezTo>
                      <a:pt x="50" y="97"/>
                      <a:pt x="50" y="97"/>
                      <a:pt x="50" y="97"/>
                    </a:cubicBezTo>
                    <a:cubicBezTo>
                      <a:pt x="46" y="101"/>
                      <a:pt x="46" y="101"/>
                      <a:pt x="46" y="101"/>
                    </a:cubicBezTo>
                    <a:cubicBezTo>
                      <a:pt x="51" y="107"/>
                      <a:pt x="51" y="107"/>
                      <a:pt x="51" y="107"/>
                    </a:cubicBezTo>
                    <a:cubicBezTo>
                      <a:pt x="56" y="104"/>
                      <a:pt x="56" y="104"/>
                      <a:pt x="56" y="104"/>
                    </a:cubicBezTo>
                    <a:cubicBezTo>
                      <a:pt x="56" y="107"/>
                      <a:pt x="56" y="107"/>
                      <a:pt x="56" y="107"/>
                    </a:cubicBezTo>
                    <a:lnTo>
                      <a:pt x="60" y="109"/>
                    </a:lnTo>
                    <a:close/>
                    <a:moveTo>
                      <a:pt x="53" y="129"/>
                    </a:moveTo>
                    <a:cubicBezTo>
                      <a:pt x="49" y="126"/>
                      <a:pt x="49" y="126"/>
                      <a:pt x="49" y="126"/>
                    </a:cubicBezTo>
                    <a:cubicBezTo>
                      <a:pt x="47" y="115"/>
                      <a:pt x="47" y="115"/>
                      <a:pt x="47" y="115"/>
                    </a:cubicBezTo>
                    <a:cubicBezTo>
                      <a:pt x="47" y="115"/>
                      <a:pt x="50" y="112"/>
                      <a:pt x="48" y="110"/>
                    </a:cubicBezTo>
                    <a:cubicBezTo>
                      <a:pt x="47" y="108"/>
                      <a:pt x="45" y="106"/>
                      <a:pt x="44" y="102"/>
                    </a:cubicBezTo>
                    <a:cubicBezTo>
                      <a:pt x="44" y="100"/>
                      <a:pt x="43" y="95"/>
                      <a:pt x="43" y="95"/>
                    </a:cubicBezTo>
                    <a:cubicBezTo>
                      <a:pt x="40" y="95"/>
                      <a:pt x="40" y="95"/>
                      <a:pt x="40" y="95"/>
                    </a:cubicBezTo>
                    <a:cubicBezTo>
                      <a:pt x="38" y="100"/>
                      <a:pt x="38" y="100"/>
                      <a:pt x="38" y="100"/>
                    </a:cubicBezTo>
                    <a:cubicBezTo>
                      <a:pt x="38" y="100"/>
                      <a:pt x="42" y="106"/>
                      <a:pt x="44" y="107"/>
                    </a:cubicBezTo>
                    <a:cubicBezTo>
                      <a:pt x="45" y="109"/>
                      <a:pt x="44" y="112"/>
                      <a:pt x="44" y="112"/>
                    </a:cubicBezTo>
                    <a:cubicBezTo>
                      <a:pt x="41" y="111"/>
                      <a:pt x="41" y="111"/>
                      <a:pt x="41" y="111"/>
                    </a:cubicBezTo>
                    <a:cubicBezTo>
                      <a:pt x="46" y="124"/>
                      <a:pt x="46" y="124"/>
                      <a:pt x="46" y="124"/>
                    </a:cubicBezTo>
                    <a:cubicBezTo>
                      <a:pt x="42" y="124"/>
                      <a:pt x="42" y="124"/>
                      <a:pt x="42" y="124"/>
                    </a:cubicBezTo>
                    <a:cubicBezTo>
                      <a:pt x="45" y="135"/>
                      <a:pt x="45" y="135"/>
                      <a:pt x="45" y="135"/>
                    </a:cubicBezTo>
                    <a:cubicBezTo>
                      <a:pt x="51" y="140"/>
                      <a:pt x="51" y="140"/>
                      <a:pt x="51" y="140"/>
                    </a:cubicBezTo>
                    <a:cubicBezTo>
                      <a:pt x="53" y="138"/>
                      <a:pt x="53" y="138"/>
                      <a:pt x="53" y="138"/>
                    </a:cubicBezTo>
                    <a:cubicBezTo>
                      <a:pt x="47" y="132"/>
                      <a:pt x="47" y="132"/>
                      <a:pt x="47" y="132"/>
                    </a:cubicBezTo>
                    <a:cubicBezTo>
                      <a:pt x="46" y="129"/>
                      <a:pt x="46" y="129"/>
                      <a:pt x="46" y="129"/>
                    </a:cubicBezTo>
                    <a:cubicBezTo>
                      <a:pt x="49" y="130"/>
                      <a:pt x="49" y="130"/>
                      <a:pt x="49" y="130"/>
                    </a:cubicBezTo>
                    <a:lnTo>
                      <a:pt x="53" y="129"/>
                    </a:lnTo>
                    <a:close/>
                    <a:moveTo>
                      <a:pt x="37" y="130"/>
                    </a:moveTo>
                    <a:cubicBezTo>
                      <a:pt x="37" y="133"/>
                      <a:pt x="40" y="129"/>
                      <a:pt x="40" y="129"/>
                    </a:cubicBezTo>
                    <a:cubicBezTo>
                      <a:pt x="40" y="125"/>
                      <a:pt x="37" y="127"/>
                      <a:pt x="37" y="130"/>
                    </a:cubicBezTo>
                    <a:close/>
                    <a:moveTo>
                      <a:pt x="86" y="147"/>
                    </a:moveTo>
                    <a:cubicBezTo>
                      <a:pt x="78" y="140"/>
                      <a:pt x="78" y="140"/>
                      <a:pt x="78" y="140"/>
                    </a:cubicBezTo>
                    <a:cubicBezTo>
                      <a:pt x="74" y="139"/>
                      <a:pt x="74" y="139"/>
                      <a:pt x="74" y="139"/>
                    </a:cubicBezTo>
                    <a:cubicBezTo>
                      <a:pt x="70" y="131"/>
                      <a:pt x="70" y="131"/>
                      <a:pt x="70" y="131"/>
                    </a:cubicBezTo>
                    <a:cubicBezTo>
                      <a:pt x="67" y="130"/>
                      <a:pt x="67" y="130"/>
                      <a:pt x="67" y="130"/>
                    </a:cubicBezTo>
                    <a:cubicBezTo>
                      <a:pt x="62" y="127"/>
                      <a:pt x="62" y="127"/>
                      <a:pt x="62" y="127"/>
                    </a:cubicBezTo>
                    <a:cubicBezTo>
                      <a:pt x="72" y="140"/>
                      <a:pt x="72" y="140"/>
                      <a:pt x="72" y="140"/>
                    </a:cubicBezTo>
                    <a:cubicBezTo>
                      <a:pt x="76" y="143"/>
                      <a:pt x="76" y="143"/>
                      <a:pt x="76" y="143"/>
                    </a:cubicBezTo>
                    <a:cubicBezTo>
                      <a:pt x="82" y="149"/>
                      <a:pt x="82" y="149"/>
                      <a:pt x="82" y="149"/>
                    </a:cubicBezTo>
                    <a:lnTo>
                      <a:pt x="86" y="147"/>
                    </a:lnTo>
                    <a:close/>
                    <a:moveTo>
                      <a:pt x="59" y="121"/>
                    </a:moveTo>
                    <a:cubicBezTo>
                      <a:pt x="63" y="121"/>
                      <a:pt x="63" y="121"/>
                      <a:pt x="63" y="121"/>
                    </a:cubicBezTo>
                    <a:cubicBezTo>
                      <a:pt x="61" y="114"/>
                      <a:pt x="61" y="114"/>
                      <a:pt x="61" y="114"/>
                    </a:cubicBezTo>
                    <a:cubicBezTo>
                      <a:pt x="58" y="115"/>
                      <a:pt x="58" y="115"/>
                      <a:pt x="58" y="115"/>
                    </a:cubicBezTo>
                    <a:cubicBezTo>
                      <a:pt x="60" y="117"/>
                      <a:pt x="60" y="117"/>
                      <a:pt x="60" y="117"/>
                    </a:cubicBezTo>
                    <a:lnTo>
                      <a:pt x="59" y="121"/>
                    </a:lnTo>
                    <a:close/>
                    <a:moveTo>
                      <a:pt x="77" y="165"/>
                    </a:moveTo>
                    <a:cubicBezTo>
                      <a:pt x="72" y="160"/>
                      <a:pt x="72" y="160"/>
                      <a:pt x="72" y="160"/>
                    </a:cubicBezTo>
                    <a:cubicBezTo>
                      <a:pt x="69" y="160"/>
                      <a:pt x="69" y="160"/>
                      <a:pt x="69" y="160"/>
                    </a:cubicBezTo>
                    <a:cubicBezTo>
                      <a:pt x="75" y="165"/>
                      <a:pt x="75" y="165"/>
                      <a:pt x="75" y="165"/>
                    </a:cubicBezTo>
                    <a:cubicBezTo>
                      <a:pt x="78" y="170"/>
                      <a:pt x="78" y="170"/>
                      <a:pt x="78" y="170"/>
                    </a:cubicBezTo>
                    <a:cubicBezTo>
                      <a:pt x="84" y="177"/>
                      <a:pt x="84" y="177"/>
                      <a:pt x="84" y="177"/>
                    </a:cubicBezTo>
                    <a:cubicBezTo>
                      <a:pt x="86" y="174"/>
                      <a:pt x="86" y="174"/>
                      <a:pt x="86" y="174"/>
                    </a:cubicBezTo>
                    <a:cubicBezTo>
                      <a:pt x="79" y="169"/>
                      <a:pt x="79" y="169"/>
                      <a:pt x="79" y="169"/>
                    </a:cubicBezTo>
                    <a:lnTo>
                      <a:pt x="77" y="165"/>
                    </a:lnTo>
                    <a:close/>
                    <a:moveTo>
                      <a:pt x="162" y="212"/>
                    </a:moveTo>
                    <a:cubicBezTo>
                      <a:pt x="168" y="210"/>
                      <a:pt x="168" y="210"/>
                      <a:pt x="168" y="210"/>
                    </a:cubicBezTo>
                    <a:cubicBezTo>
                      <a:pt x="169" y="208"/>
                      <a:pt x="169" y="208"/>
                      <a:pt x="169" y="208"/>
                    </a:cubicBezTo>
                    <a:cubicBezTo>
                      <a:pt x="163" y="207"/>
                      <a:pt x="163" y="207"/>
                      <a:pt x="163" y="207"/>
                    </a:cubicBezTo>
                    <a:cubicBezTo>
                      <a:pt x="148" y="205"/>
                      <a:pt x="148" y="205"/>
                      <a:pt x="148" y="205"/>
                    </a:cubicBezTo>
                    <a:cubicBezTo>
                      <a:pt x="148" y="208"/>
                      <a:pt x="148" y="208"/>
                      <a:pt x="148" y="208"/>
                    </a:cubicBezTo>
                    <a:cubicBezTo>
                      <a:pt x="144" y="209"/>
                      <a:pt x="144" y="209"/>
                      <a:pt x="144" y="209"/>
                    </a:cubicBezTo>
                    <a:cubicBezTo>
                      <a:pt x="159" y="214"/>
                      <a:pt x="159" y="214"/>
                      <a:pt x="159" y="214"/>
                    </a:cubicBezTo>
                    <a:lnTo>
                      <a:pt x="162" y="212"/>
                    </a:lnTo>
                    <a:close/>
                    <a:moveTo>
                      <a:pt x="141" y="204"/>
                    </a:moveTo>
                    <a:cubicBezTo>
                      <a:pt x="133" y="202"/>
                      <a:pt x="136" y="206"/>
                      <a:pt x="136" y="206"/>
                    </a:cubicBezTo>
                    <a:cubicBezTo>
                      <a:pt x="140" y="208"/>
                      <a:pt x="147" y="206"/>
                      <a:pt x="141" y="204"/>
                    </a:cubicBezTo>
                    <a:close/>
                    <a:moveTo>
                      <a:pt x="182" y="222"/>
                    </a:moveTo>
                    <a:cubicBezTo>
                      <a:pt x="180" y="220"/>
                      <a:pt x="180" y="220"/>
                      <a:pt x="180" y="220"/>
                    </a:cubicBezTo>
                    <a:cubicBezTo>
                      <a:pt x="163" y="219"/>
                      <a:pt x="163" y="219"/>
                      <a:pt x="163" y="219"/>
                    </a:cubicBezTo>
                    <a:cubicBezTo>
                      <a:pt x="161" y="217"/>
                      <a:pt x="161" y="217"/>
                      <a:pt x="161" y="217"/>
                    </a:cubicBezTo>
                    <a:cubicBezTo>
                      <a:pt x="154" y="214"/>
                      <a:pt x="154" y="214"/>
                      <a:pt x="154" y="214"/>
                    </a:cubicBezTo>
                    <a:cubicBezTo>
                      <a:pt x="152" y="216"/>
                      <a:pt x="152" y="216"/>
                      <a:pt x="152" y="216"/>
                    </a:cubicBezTo>
                    <a:cubicBezTo>
                      <a:pt x="153" y="218"/>
                      <a:pt x="153" y="218"/>
                      <a:pt x="153" y="218"/>
                    </a:cubicBezTo>
                    <a:cubicBezTo>
                      <a:pt x="149" y="218"/>
                      <a:pt x="149" y="218"/>
                      <a:pt x="149" y="218"/>
                    </a:cubicBezTo>
                    <a:cubicBezTo>
                      <a:pt x="146" y="221"/>
                      <a:pt x="146" y="221"/>
                      <a:pt x="146" y="221"/>
                    </a:cubicBezTo>
                    <a:cubicBezTo>
                      <a:pt x="159" y="223"/>
                      <a:pt x="159" y="223"/>
                      <a:pt x="159" y="223"/>
                    </a:cubicBezTo>
                    <a:lnTo>
                      <a:pt x="182" y="222"/>
                    </a:lnTo>
                    <a:close/>
                    <a:moveTo>
                      <a:pt x="135" y="227"/>
                    </a:moveTo>
                    <a:cubicBezTo>
                      <a:pt x="129" y="229"/>
                      <a:pt x="129" y="229"/>
                      <a:pt x="129" y="229"/>
                    </a:cubicBezTo>
                    <a:cubicBezTo>
                      <a:pt x="129" y="229"/>
                      <a:pt x="131" y="232"/>
                      <a:pt x="138" y="230"/>
                    </a:cubicBezTo>
                    <a:cubicBezTo>
                      <a:pt x="144" y="228"/>
                      <a:pt x="143" y="225"/>
                      <a:pt x="135" y="227"/>
                    </a:cubicBezTo>
                    <a:close/>
                    <a:moveTo>
                      <a:pt x="170" y="243"/>
                    </a:moveTo>
                    <a:cubicBezTo>
                      <a:pt x="170" y="243"/>
                      <a:pt x="163" y="248"/>
                      <a:pt x="171" y="246"/>
                    </a:cubicBezTo>
                    <a:cubicBezTo>
                      <a:pt x="177" y="246"/>
                      <a:pt x="179" y="243"/>
                      <a:pt x="170" y="243"/>
                    </a:cubicBezTo>
                    <a:close/>
                    <a:moveTo>
                      <a:pt x="169" y="233"/>
                    </a:moveTo>
                    <a:cubicBezTo>
                      <a:pt x="160" y="229"/>
                      <a:pt x="160" y="229"/>
                      <a:pt x="160" y="229"/>
                    </a:cubicBezTo>
                    <a:cubicBezTo>
                      <a:pt x="159" y="232"/>
                      <a:pt x="159" y="232"/>
                      <a:pt x="159" y="232"/>
                    </a:cubicBezTo>
                    <a:cubicBezTo>
                      <a:pt x="162" y="233"/>
                      <a:pt x="162" y="233"/>
                      <a:pt x="162" y="233"/>
                    </a:cubicBezTo>
                    <a:cubicBezTo>
                      <a:pt x="160" y="235"/>
                      <a:pt x="160" y="235"/>
                      <a:pt x="160" y="235"/>
                    </a:cubicBezTo>
                    <a:cubicBezTo>
                      <a:pt x="169" y="237"/>
                      <a:pt x="169" y="237"/>
                      <a:pt x="169" y="237"/>
                    </a:cubicBezTo>
                    <a:cubicBezTo>
                      <a:pt x="174" y="235"/>
                      <a:pt x="174" y="235"/>
                      <a:pt x="174" y="235"/>
                    </a:cubicBezTo>
                    <a:cubicBezTo>
                      <a:pt x="184" y="236"/>
                      <a:pt x="184" y="236"/>
                      <a:pt x="184" y="236"/>
                    </a:cubicBezTo>
                    <a:cubicBezTo>
                      <a:pt x="186" y="235"/>
                      <a:pt x="186" y="235"/>
                      <a:pt x="186" y="235"/>
                    </a:cubicBezTo>
                    <a:cubicBezTo>
                      <a:pt x="176" y="230"/>
                      <a:pt x="176" y="230"/>
                      <a:pt x="176" y="230"/>
                    </a:cubicBezTo>
                    <a:lnTo>
                      <a:pt x="169" y="233"/>
                    </a:lnTo>
                    <a:close/>
                    <a:moveTo>
                      <a:pt x="194" y="243"/>
                    </a:moveTo>
                    <a:cubicBezTo>
                      <a:pt x="213" y="246"/>
                      <a:pt x="213" y="246"/>
                      <a:pt x="213" y="246"/>
                    </a:cubicBezTo>
                    <a:cubicBezTo>
                      <a:pt x="213" y="244"/>
                      <a:pt x="213" y="244"/>
                      <a:pt x="213" y="244"/>
                    </a:cubicBezTo>
                    <a:cubicBezTo>
                      <a:pt x="195" y="240"/>
                      <a:pt x="195" y="240"/>
                      <a:pt x="195" y="240"/>
                    </a:cubicBezTo>
                    <a:lnTo>
                      <a:pt x="194" y="243"/>
                    </a:lnTo>
                    <a:close/>
                    <a:moveTo>
                      <a:pt x="71" y="155"/>
                    </a:moveTo>
                    <a:cubicBezTo>
                      <a:pt x="67" y="153"/>
                      <a:pt x="65" y="156"/>
                      <a:pt x="65" y="156"/>
                    </a:cubicBezTo>
                    <a:cubicBezTo>
                      <a:pt x="71" y="158"/>
                      <a:pt x="74" y="157"/>
                      <a:pt x="71" y="155"/>
                    </a:cubicBezTo>
                    <a:close/>
                    <a:moveTo>
                      <a:pt x="65" y="150"/>
                    </a:moveTo>
                    <a:cubicBezTo>
                      <a:pt x="62" y="150"/>
                      <a:pt x="60" y="151"/>
                      <a:pt x="63" y="153"/>
                    </a:cubicBezTo>
                    <a:cubicBezTo>
                      <a:pt x="63" y="153"/>
                      <a:pt x="67" y="151"/>
                      <a:pt x="65" y="150"/>
                    </a:cubicBezTo>
                    <a:close/>
                    <a:moveTo>
                      <a:pt x="77" y="153"/>
                    </a:moveTo>
                    <a:cubicBezTo>
                      <a:pt x="80" y="153"/>
                      <a:pt x="84" y="149"/>
                      <a:pt x="79" y="149"/>
                    </a:cubicBezTo>
                    <a:cubicBezTo>
                      <a:pt x="75" y="148"/>
                      <a:pt x="77" y="153"/>
                      <a:pt x="77" y="153"/>
                    </a:cubicBezTo>
                    <a:close/>
                    <a:moveTo>
                      <a:pt x="65" y="146"/>
                    </a:moveTo>
                    <a:cubicBezTo>
                      <a:pt x="69" y="147"/>
                      <a:pt x="71" y="145"/>
                      <a:pt x="67" y="144"/>
                    </a:cubicBezTo>
                    <a:cubicBezTo>
                      <a:pt x="65" y="143"/>
                      <a:pt x="65" y="146"/>
                      <a:pt x="65" y="146"/>
                    </a:cubicBezTo>
                    <a:close/>
                    <a:moveTo>
                      <a:pt x="61" y="143"/>
                    </a:moveTo>
                    <a:cubicBezTo>
                      <a:pt x="60" y="142"/>
                      <a:pt x="57" y="145"/>
                      <a:pt x="59" y="146"/>
                    </a:cubicBezTo>
                    <a:cubicBezTo>
                      <a:pt x="59" y="146"/>
                      <a:pt x="63" y="144"/>
                      <a:pt x="61" y="143"/>
                    </a:cubicBezTo>
                    <a:close/>
                    <a:moveTo>
                      <a:pt x="91" y="179"/>
                    </a:moveTo>
                    <a:cubicBezTo>
                      <a:pt x="88" y="178"/>
                      <a:pt x="91" y="182"/>
                      <a:pt x="91" y="182"/>
                    </a:cubicBezTo>
                    <a:cubicBezTo>
                      <a:pt x="96" y="185"/>
                      <a:pt x="95" y="181"/>
                      <a:pt x="91" y="179"/>
                    </a:cubicBezTo>
                    <a:close/>
                    <a:moveTo>
                      <a:pt x="81" y="164"/>
                    </a:moveTo>
                    <a:cubicBezTo>
                      <a:pt x="88" y="171"/>
                      <a:pt x="88" y="167"/>
                      <a:pt x="83" y="163"/>
                    </a:cubicBezTo>
                    <a:cubicBezTo>
                      <a:pt x="78" y="158"/>
                      <a:pt x="81" y="164"/>
                      <a:pt x="81" y="164"/>
                    </a:cubicBez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79" name="Bulgaria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6092825" y="4772025"/>
                <a:ext cx="639762" cy="465137"/>
              </a:xfrm>
              <a:custGeom>
                <a:avLst/>
                <a:gdLst/>
                <a:ahLst/>
                <a:cxnLst>
                  <a:cxn ang="0">
                    <a:pos x="278" y="15"/>
                  </a:cxn>
                  <a:cxn ang="0">
                    <a:pos x="262" y="3"/>
                  </a:cxn>
                  <a:cxn ang="0">
                    <a:pos x="248" y="3"/>
                  </a:cxn>
                  <a:cxn ang="0">
                    <a:pos x="218" y="3"/>
                  </a:cxn>
                  <a:cxn ang="0">
                    <a:pos x="171" y="33"/>
                  </a:cxn>
                  <a:cxn ang="0">
                    <a:pos x="137" y="48"/>
                  </a:cxn>
                  <a:cxn ang="0">
                    <a:pos x="124" y="48"/>
                  </a:cxn>
                  <a:cxn ang="0">
                    <a:pos x="102" y="50"/>
                  </a:cxn>
                  <a:cxn ang="0">
                    <a:pos x="68" y="55"/>
                  </a:cxn>
                  <a:cxn ang="0">
                    <a:pos x="51" y="51"/>
                  </a:cxn>
                  <a:cxn ang="0">
                    <a:pos x="22" y="53"/>
                  </a:cxn>
                  <a:cxn ang="0">
                    <a:pos x="22" y="40"/>
                  </a:cxn>
                  <a:cxn ang="0">
                    <a:pos x="8" y="39"/>
                  </a:cxn>
                  <a:cxn ang="0">
                    <a:pos x="2" y="50"/>
                  </a:cxn>
                  <a:cxn ang="0">
                    <a:pos x="8" y="74"/>
                  </a:cxn>
                  <a:cxn ang="0">
                    <a:pos x="27" y="89"/>
                  </a:cxn>
                  <a:cxn ang="0">
                    <a:pos x="29" y="116"/>
                  </a:cxn>
                  <a:cxn ang="0">
                    <a:pos x="16" y="123"/>
                  </a:cxn>
                  <a:cxn ang="0">
                    <a:pos x="17" y="132"/>
                  </a:cxn>
                  <a:cxn ang="0">
                    <a:pos x="21" y="149"/>
                  </a:cxn>
                  <a:cxn ang="0">
                    <a:pos x="22" y="166"/>
                  </a:cxn>
                  <a:cxn ang="0">
                    <a:pos x="42" y="173"/>
                  </a:cxn>
                  <a:cxn ang="0">
                    <a:pos x="52" y="190"/>
                  </a:cxn>
                  <a:cxn ang="0">
                    <a:pos x="53" y="219"/>
                  </a:cxn>
                  <a:cxn ang="0">
                    <a:pos x="68" y="213"/>
                  </a:cxn>
                  <a:cxn ang="0">
                    <a:pos x="75" y="211"/>
                  </a:cxn>
                  <a:cxn ang="0">
                    <a:pos x="89" y="208"/>
                  </a:cxn>
                  <a:cxn ang="0">
                    <a:pos x="99" y="202"/>
                  </a:cxn>
                  <a:cxn ang="0">
                    <a:pos x="106" y="201"/>
                  </a:cxn>
                  <a:cxn ang="0">
                    <a:pos x="111" y="196"/>
                  </a:cxn>
                  <a:cxn ang="0">
                    <a:pos x="119" y="197"/>
                  </a:cxn>
                  <a:cxn ang="0">
                    <a:pos x="134" y="198"/>
                  </a:cxn>
                  <a:cxn ang="0">
                    <a:pos x="143" y="203"/>
                  </a:cxn>
                  <a:cxn ang="0">
                    <a:pos x="163" y="202"/>
                  </a:cxn>
                  <a:cxn ang="0">
                    <a:pos x="192" y="195"/>
                  </a:cxn>
                  <a:cxn ang="0">
                    <a:pos x="209" y="185"/>
                  </a:cxn>
                  <a:cxn ang="0">
                    <a:pos x="215" y="165"/>
                  </a:cxn>
                  <a:cxn ang="0">
                    <a:pos x="225" y="156"/>
                  </a:cxn>
                  <a:cxn ang="0">
                    <a:pos x="239" y="143"/>
                  </a:cxn>
                  <a:cxn ang="0">
                    <a:pos x="250" y="136"/>
                  </a:cxn>
                  <a:cxn ang="0">
                    <a:pos x="268" y="139"/>
                  </a:cxn>
                  <a:cxn ang="0">
                    <a:pos x="285" y="138"/>
                  </a:cxn>
                  <a:cxn ang="0">
                    <a:pos x="288" y="133"/>
                  </a:cxn>
                  <a:cxn ang="0">
                    <a:pos x="284" y="121"/>
                  </a:cxn>
                  <a:cxn ang="0">
                    <a:pos x="276" y="111"/>
                  </a:cxn>
                  <a:cxn ang="0">
                    <a:pos x="264" y="108"/>
                  </a:cxn>
                  <a:cxn ang="0">
                    <a:pos x="260" y="98"/>
                  </a:cxn>
                  <a:cxn ang="0">
                    <a:pos x="268" y="88"/>
                  </a:cxn>
                  <a:cxn ang="0">
                    <a:pos x="273" y="73"/>
                  </a:cxn>
                  <a:cxn ang="0">
                    <a:pos x="264" y="56"/>
                  </a:cxn>
                  <a:cxn ang="0">
                    <a:pos x="279" y="40"/>
                  </a:cxn>
                  <a:cxn ang="0">
                    <a:pos x="300" y="26"/>
                  </a:cxn>
                  <a:cxn ang="0">
                    <a:pos x="294" y="14"/>
                  </a:cxn>
                </a:cxnLst>
                <a:rect l="0" t="0" r="r" b="b"/>
                <a:pathLst>
                  <a:path w="300" h="219">
                    <a:moveTo>
                      <a:pt x="294" y="14"/>
                    </a:moveTo>
                    <a:cubicBezTo>
                      <a:pt x="294" y="14"/>
                      <a:pt x="282" y="16"/>
                      <a:pt x="278" y="15"/>
                    </a:cubicBezTo>
                    <a:cubicBezTo>
                      <a:pt x="274" y="15"/>
                      <a:pt x="266" y="13"/>
                      <a:pt x="266" y="13"/>
                    </a:cubicBezTo>
                    <a:cubicBezTo>
                      <a:pt x="262" y="3"/>
                      <a:pt x="262" y="3"/>
                      <a:pt x="262" y="3"/>
                    </a:cubicBezTo>
                    <a:cubicBezTo>
                      <a:pt x="262" y="3"/>
                      <a:pt x="256" y="10"/>
                      <a:pt x="253" y="9"/>
                    </a:cubicBezTo>
                    <a:cubicBezTo>
                      <a:pt x="250" y="8"/>
                      <a:pt x="250" y="3"/>
                      <a:pt x="248" y="3"/>
                    </a:cubicBezTo>
                    <a:cubicBezTo>
                      <a:pt x="246" y="3"/>
                      <a:pt x="240" y="10"/>
                      <a:pt x="236" y="9"/>
                    </a:cubicBezTo>
                    <a:cubicBezTo>
                      <a:pt x="232" y="8"/>
                      <a:pt x="226" y="0"/>
                      <a:pt x="218" y="3"/>
                    </a:cubicBezTo>
                    <a:cubicBezTo>
                      <a:pt x="209" y="6"/>
                      <a:pt x="194" y="15"/>
                      <a:pt x="189" y="16"/>
                    </a:cubicBezTo>
                    <a:cubicBezTo>
                      <a:pt x="183" y="17"/>
                      <a:pt x="175" y="27"/>
                      <a:pt x="171" y="33"/>
                    </a:cubicBezTo>
                    <a:cubicBezTo>
                      <a:pt x="167" y="39"/>
                      <a:pt x="164" y="47"/>
                      <a:pt x="152" y="50"/>
                    </a:cubicBezTo>
                    <a:cubicBezTo>
                      <a:pt x="139" y="53"/>
                      <a:pt x="137" y="48"/>
                      <a:pt x="137" y="48"/>
                    </a:cubicBezTo>
                    <a:cubicBezTo>
                      <a:pt x="131" y="51"/>
                      <a:pt x="131" y="51"/>
                      <a:pt x="131" y="51"/>
                    </a:cubicBezTo>
                    <a:cubicBezTo>
                      <a:pt x="124" y="48"/>
                      <a:pt x="124" y="48"/>
                      <a:pt x="124" y="48"/>
                    </a:cubicBezTo>
                    <a:cubicBezTo>
                      <a:pt x="124" y="48"/>
                      <a:pt x="115" y="53"/>
                      <a:pt x="110" y="51"/>
                    </a:cubicBezTo>
                    <a:cubicBezTo>
                      <a:pt x="107" y="51"/>
                      <a:pt x="106" y="49"/>
                      <a:pt x="102" y="50"/>
                    </a:cubicBezTo>
                    <a:cubicBezTo>
                      <a:pt x="99" y="53"/>
                      <a:pt x="98" y="58"/>
                      <a:pt x="87" y="59"/>
                    </a:cubicBezTo>
                    <a:cubicBezTo>
                      <a:pt x="77" y="60"/>
                      <a:pt x="68" y="55"/>
                      <a:pt x="68" y="55"/>
                    </a:cubicBezTo>
                    <a:cubicBezTo>
                      <a:pt x="60" y="55"/>
                      <a:pt x="60" y="55"/>
                      <a:pt x="60" y="55"/>
                    </a:cubicBezTo>
                    <a:cubicBezTo>
                      <a:pt x="60" y="55"/>
                      <a:pt x="54" y="51"/>
                      <a:pt x="51" y="51"/>
                    </a:cubicBezTo>
                    <a:cubicBezTo>
                      <a:pt x="47" y="51"/>
                      <a:pt x="37" y="60"/>
                      <a:pt x="32" y="59"/>
                    </a:cubicBezTo>
                    <a:cubicBezTo>
                      <a:pt x="26" y="59"/>
                      <a:pt x="22" y="58"/>
                      <a:pt x="22" y="53"/>
                    </a:cubicBezTo>
                    <a:cubicBezTo>
                      <a:pt x="23" y="47"/>
                      <a:pt x="30" y="48"/>
                      <a:pt x="29" y="43"/>
                    </a:cubicBezTo>
                    <a:cubicBezTo>
                      <a:pt x="29" y="39"/>
                      <a:pt x="26" y="41"/>
                      <a:pt x="22" y="40"/>
                    </a:cubicBezTo>
                    <a:cubicBezTo>
                      <a:pt x="20" y="40"/>
                      <a:pt x="14" y="37"/>
                      <a:pt x="10" y="35"/>
                    </a:cubicBezTo>
                    <a:cubicBezTo>
                      <a:pt x="9" y="38"/>
                      <a:pt x="8" y="39"/>
                      <a:pt x="8" y="39"/>
                    </a:cubicBezTo>
                    <a:cubicBezTo>
                      <a:pt x="8" y="39"/>
                      <a:pt x="9" y="44"/>
                      <a:pt x="7" y="47"/>
                    </a:cubicBezTo>
                    <a:cubicBezTo>
                      <a:pt x="5" y="49"/>
                      <a:pt x="2" y="50"/>
                      <a:pt x="2" y="50"/>
                    </a:cubicBezTo>
                    <a:cubicBezTo>
                      <a:pt x="0" y="65"/>
                      <a:pt x="0" y="65"/>
                      <a:pt x="0" y="65"/>
                    </a:cubicBezTo>
                    <a:cubicBezTo>
                      <a:pt x="8" y="74"/>
                      <a:pt x="8" y="74"/>
                      <a:pt x="8" y="74"/>
                    </a:cubicBezTo>
                    <a:cubicBezTo>
                      <a:pt x="11" y="83"/>
                      <a:pt x="11" y="83"/>
                      <a:pt x="11" y="83"/>
                    </a:cubicBezTo>
                    <a:cubicBezTo>
                      <a:pt x="11" y="83"/>
                      <a:pt x="23" y="86"/>
                      <a:pt x="27" y="89"/>
                    </a:cubicBezTo>
                    <a:cubicBezTo>
                      <a:pt x="33" y="92"/>
                      <a:pt x="38" y="101"/>
                      <a:pt x="38" y="101"/>
                    </a:cubicBezTo>
                    <a:cubicBezTo>
                      <a:pt x="29" y="116"/>
                      <a:pt x="29" y="116"/>
                      <a:pt x="29" y="116"/>
                    </a:cubicBezTo>
                    <a:cubicBezTo>
                      <a:pt x="29" y="116"/>
                      <a:pt x="28" y="120"/>
                      <a:pt x="26" y="121"/>
                    </a:cubicBezTo>
                    <a:cubicBezTo>
                      <a:pt x="23" y="122"/>
                      <a:pt x="19" y="120"/>
                      <a:pt x="16" y="123"/>
                    </a:cubicBezTo>
                    <a:cubicBezTo>
                      <a:pt x="11" y="126"/>
                      <a:pt x="11" y="130"/>
                      <a:pt x="11" y="130"/>
                    </a:cubicBezTo>
                    <a:cubicBezTo>
                      <a:pt x="17" y="132"/>
                      <a:pt x="17" y="132"/>
                      <a:pt x="17" y="132"/>
                    </a:cubicBezTo>
                    <a:cubicBezTo>
                      <a:pt x="13" y="141"/>
                      <a:pt x="13" y="141"/>
                      <a:pt x="13" y="141"/>
                    </a:cubicBezTo>
                    <a:cubicBezTo>
                      <a:pt x="21" y="149"/>
                      <a:pt x="21" y="149"/>
                      <a:pt x="21" y="149"/>
                    </a:cubicBezTo>
                    <a:cubicBezTo>
                      <a:pt x="13" y="160"/>
                      <a:pt x="13" y="160"/>
                      <a:pt x="13" y="160"/>
                    </a:cubicBezTo>
                    <a:cubicBezTo>
                      <a:pt x="13" y="160"/>
                      <a:pt x="20" y="164"/>
                      <a:pt x="22" y="166"/>
                    </a:cubicBezTo>
                    <a:cubicBezTo>
                      <a:pt x="24" y="169"/>
                      <a:pt x="27" y="174"/>
                      <a:pt x="32" y="173"/>
                    </a:cubicBezTo>
                    <a:cubicBezTo>
                      <a:pt x="42" y="173"/>
                      <a:pt x="42" y="173"/>
                      <a:pt x="42" y="173"/>
                    </a:cubicBezTo>
                    <a:cubicBezTo>
                      <a:pt x="43" y="186"/>
                      <a:pt x="43" y="186"/>
                      <a:pt x="43" y="186"/>
                    </a:cubicBezTo>
                    <a:cubicBezTo>
                      <a:pt x="52" y="190"/>
                      <a:pt x="52" y="190"/>
                      <a:pt x="52" y="190"/>
                    </a:cubicBezTo>
                    <a:cubicBezTo>
                      <a:pt x="49" y="199"/>
                      <a:pt x="49" y="199"/>
                      <a:pt x="49" y="199"/>
                    </a:cubicBezTo>
                    <a:cubicBezTo>
                      <a:pt x="53" y="219"/>
                      <a:pt x="53" y="219"/>
                      <a:pt x="53" y="219"/>
                    </a:cubicBezTo>
                    <a:cubicBezTo>
                      <a:pt x="63" y="218"/>
                      <a:pt x="63" y="218"/>
                      <a:pt x="63" y="218"/>
                    </a:cubicBezTo>
                    <a:cubicBezTo>
                      <a:pt x="68" y="213"/>
                      <a:pt x="68" y="213"/>
                      <a:pt x="68" y="213"/>
                    </a:cubicBezTo>
                    <a:cubicBezTo>
                      <a:pt x="73" y="215"/>
                      <a:pt x="73" y="215"/>
                      <a:pt x="73" y="215"/>
                    </a:cubicBezTo>
                    <a:cubicBezTo>
                      <a:pt x="75" y="211"/>
                      <a:pt x="75" y="211"/>
                      <a:pt x="75" y="211"/>
                    </a:cubicBezTo>
                    <a:cubicBezTo>
                      <a:pt x="87" y="211"/>
                      <a:pt x="87" y="211"/>
                      <a:pt x="87" y="211"/>
                    </a:cubicBezTo>
                    <a:cubicBezTo>
                      <a:pt x="89" y="208"/>
                      <a:pt x="89" y="208"/>
                      <a:pt x="89" y="208"/>
                    </a:cubicBezTo>
                    <a:cubicBezTo>
                      <a:pt x="92" y="207"/>
                      <a:pt x="92" y="207"/>
                      <a:pt x="92" y="207"/>
                    </a:cubicBezTo>
                    <a:cubicBezTo>
                      <a:pt x="99" y="202"/>
                      <a:pt x="99" y="202"/>
                      <a:pt x="99" y="202"/>
                    </a:cubicBezTo>
                    <a:cubicBezTo>
                      <a:pt x="101" y="205"/>
                      <a:pt x="101" y="205"/>
                      <a:pt x="101" y="205"/>
                    </a:cubicBezTo>
                    <a:cubicBezTo>
                      <a:pt x="106" y="201"/>
                      <a:pt x="106" y="201"/>
                      <a:pt x="106" y="201"/>
                    </a:cubicBezTo>
                    <a:cubicBezTo>
                      <a:pt x="105" y="196"/>
                      <a:pt x="105" y="196"/>
                      <a:pt x="105" y="196"/>
                    </a:cubicBezTo>
                    <a:cubicBezTo>
                      <a:pt x="111" y="196"/>
                      <a:pt x="111" y="196"/>
                      <a:pt x="111" y="196"/>
                    </a:cubicBezTo>
                    <a:cubicBezTo>
                      <a:pt x="114" y="192"/>
                      <a:pt x="114" y="192"/>
                      <a:pt x="114" y="192"/>
                    </a:cubicBezTo>
                    <a:cubicBezTo>
                      <a:pt x="114" y="192"/>
                      <a:pt x="117" y="198"/>
                      <a:pt x="119" y="197"/>
                    </a:cubicBezTo>
                    <a:cubicBezTo>
                      <a:pt x="121" y="195"/>
                      <a:pt x="128" y="191"/>
                      <a:pt x="128" y="191"/>
                    </a:cubicBezTo>
                    <a:cubicBezTo>
                      <a:pt x="134" y="198"/>
                      <a:pt x="134" y="198"/>
                      <a:pt x="134" y="198"/>
                    </a:cubicBezTo>
                    <a:cubicBezTo>
                      <a:pt x="138" y="197"/>
                      <a:pt x="138" y="197"/>
                      <a:pt x="138" y="197"/>
                    </a:cubicBezTo>
                    <a:cubicBezTo>
                      <a:pt x="143" y="203"/>
                      <a:pt x="143" y="203"/>
                      <a:pt x="143" y="203"/>
                    </a:cubicBezTo>
                    <a:cubicBezTo>
                      <a:pt x="149" y="198"/>
                      <a:pt x="149" y="198"/>
                      <a:pt x="149" y="198"/>
                    </a:cubicBezTo>
                    <a:cubicBezTo>
                      <a:pt x="163" y="202"/>
                      <a:pt x="163" y="202"/>
                      <a:pt x="163" y="202"/>
                    </a:cubicBezTo>
                    <a:cubicBezTo>
                      <a:pt x="163" y="202"/>
                      <a:pt x="166" y="207"/>
                      <a:pt x="168" y="206"/>
                    </a:cubicBezTo>
                    <a:cubicBezTo>
                      <a:pt x="169" y="206"/>
                      <a:pt x="192" y="195"/>
                      <a:pt x="192" y="195"/>
                    </a:cubicBezTo>
                    <a:cubicBezTo>
                      <a:pt x="199" y="196"/>
                      <a:pt x="199" y="196"/>
                      <a:pt x="199" y="196"/>
                    </a:cubicBezTo>
                    <a:cubicBezTo>
                      <a:pt x="199" y="196"/>
                      <a:pt x="208" y="192"/>
                      <a:pt x="209" y="185"/>
                    </a:cubicBezTo>
                    <a:cubicBezTo>
                      <a:pt x="209" y="176"/>
                      <a:pt x="199" y="171"/>
                      <a:pt x="201" y="168"/>
                    </a:cubicBezTo>
                    <a:cubicBezTo>
                      <a:pt x="204" y="166"/>
                      <a:pt x="215" y="165"/>
                      <a:pt x="215" y="165"/>
                    </a:cubicBezTo>
                    <a:cubicBezTo>
                      <a:pt x="215" y="165"/>
                      <a:pt x="213" y="160"/>
                      <a:pt x="216" y="158"/>
                    </a:cubicBezTo>
                    <a:cubicBezTo>
                      <a:pt x="218" y="156"/>
                      <a:pt x="223" y="159"/>
                      <a:pt x="225" y="156"/>
                    </a:cubicBezTo>
                    <a:cubicBezTo>
                      <a:pt x="226" y="152"/>
                      <a:pt x="221" y="148"/>
                      <a:pt x="224" y="145"/>
                    </a:cubicBezTo>
                    <a:cubicBezTo>
                      <a:pt x="229" y="144"/>
                      <a:pt x="235" y="148"/>
                      <a:pt x="239" y="143"/>
                    </a:cubicBezTo>
                    <a:cubicBezTo>
                      <a:pt x="245" y="139"/>
                      <a:pt x="245" y="136"/>
                      <a:pt x="247" y="134"/>
                    </a:cubicBezTo>
                    <a:cubicBezTo>
                      <a:pt x="249" y="133"/>
                      <a:pt x="250" y="136"/>
                      <a:pt x="250" y="136"/>
                    </a:cubicBezTo>
                    <a:cubicBezTo>
                      <a:pt x="250" y="136"/>
                      <a:pt x="252" y="130"/>
                      <a:pt x="256" y="130"/>
                    </a:cubicBezTo>
                    <a:cubicBezTo>
                      <a:pt x="259" y="132"/>
                      <a:pt x="264" y="138"/>
                      <a:pt x="268" y="139"/>
                    </a:cubicBezTo>
                    <a:cubicBezTo>
                      <a:pt x="273" y="139"/>
                      <a:pt x="278" y="135"/>
                      <a:pt x="278" y="135"/>
                    </a:cubicBezTo>
                    <a:cubicBezTo>
                      <a:pt x="285" y="138"/>
                      <a:pt x="285" y="138"/>
                      <a:pt x="285" y="138"/>
                    </a:cubicBezTo>
                    <a:cubicBezTo>
                      <a:pt x="285" y="133"/>
                      <a:pt x="285" y="133"/>
                      <a:pt x="285" y="133"/>
                    </a:cubicBezTo>
                    <a:cubicBezTo>
                      <a:pt x="288" y="133"/>
                      <a:pt x="288" y="133"/>
                      <a:pt x="288" y="133"/>
                    </a:cubicBezTo>
                    <a:cubicBezTo>
                      <a:pt x="294" y="130"/>
                      <a:pt x="294" y="130"/>
                      <a:pt x="294" y="130"/>
                    </a:cubicBezTo>
                    <a:cubicBezTo>
                      <a:pt x="284" y="121"/>
                      <a:pt x="284" y="121"/>
                      <a:pt x="284" y="121"/>
                    </a:cubicBezTo>
                    <a:cubicBezTo>
                      <a:pt x="278" y="117"/>
                      <a:pt x="278" y="117"/>
                      <a:pt x="278" y="117"/>
                    </a:cubicBezTo>
                    <a:cubicBezTo>
                      <a:pt x="276" y="111"/>
                      <a:pt x="276" y="111"/>
                      <a:pt x="276" y="111"/>
                    </a:cubicBezTo>
                    <a:cubicBezTo>
                      <a:pt x="267" y="103"/>
                      <a:pt x="267" y="103"/>
                      <a:pt x="267" y="103"/>
                    </a:cubicBezTo>
                    <a:cubicBezTo>
                      <a:pt x="267" y="103"/>
                      <a:pt x="266" y="106"/>
                      <a:pt x="264" y="108"/>
                    </a:cubicBezTo>
                    <a:cubicBezTo>
                      <a:pt x="262" y="110"/>
                      <a:pt x="256" y="108"/>
                      <a:pt x="256" y="108"/>
                    </a:cubicBezTo>
                    <a:cubicBezTo>
                      <a:pt x="260" y="98"/>
                      <a:pt x="260" y="98"/>
                      <a:pt x="260" y="98"/>
                    </a:cubicBezTo>
                    <a:cubicBezTo>
                      <a:pt x="268" y="97"/>
                      <a:pt x="268" y="97"/>
                      <a:pt x="268" y="97"/>
                    </a:cubicBezTo>
                    <a:cubicBezTo>
                      <a:pt x="268" y="88"/>
                      <a:pt x="268" y="88"/>
                      <a:pt x="268" y="88"/>
                    </a:cubicBezTo>
                    <a:cubicBezTo>
                      <a:pt x="278" y="85"/>
                      <a:pt x="278" y="85"/>
                      <a:pt x="278" y="85"/>
                    </a:cubicBezTo>
                    <a:cubicBezTo>
                      <a:pt x="278" y="85"/>
                      <a:pt x="274" y="80"/>
                      <a:pt x="273" y="73"/>
                    </a:cubicBezTo>
                    <a:cubicBezTo>
                      <a:pt x="273" y="66"/>
                      <a:pt x="272" y="56"/>
                      <a:pt x="272" y="56"/>
                    </a:cubicBezTo>
                    <a:cubicBezTo>
                      <a:pt x="264" y="56"/>
                      <a:pt x="264" y="56"/>
                      <a:pt x="264" y="56"/>
                    </a:cubicBezTo>
                    <a:cubicBezTo>
                      <a:pt x="264" y="56"/>
                      <a:pt x="274" y="54"/>
                      <a:pt x="275" y="51"/>
                    </a:cubicBezTo>
                    <a:cubicBezTo>
                      <a:pt x="276" y="49"/>
                      <a:pt x="271" y="44"/>
                      <a:pt x="279" y="40"/>
                    </a:cubicBezTo>
                    <a:cubicBezTo>
                      <a:pt x="286" y="34"/>
                      <a:pt x="294" y="38"/>
                      <a:pt x="294" y="38"/>
                    </a:cubicBezTo>
                    <a:cubicBezTo>
                      <a:pt x="300" y="26"/>
                      <a:pt x="300" y="26"/>
                      <a:pt x="300" y="26"/>
                    </a:cubicBezTo>
                    <a:cubicBezTo>
                      <a:pt x="300" y="26"/>
                      <a:pt x="297" y="23"/>
                      <a:pt x="296" y="19"/>
                    </a:cubicBezTo>
                    <a:cubicBezTo>
                      <a:pt x="295" y="17"/>
                      <a:pt x="294" y="14"/>
                      <a:pt x="294" y="14"/>
                    </a:cubicBez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80" name="Bosnia a. Herzegovina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392738" y="4765675"/>
                <a:ext cx="422275" cy="361950"/>
              </a:xfrm>
              <a:custGeom>
                <a:avLst/>
                <a:gdLst/>
                <a:ahLst/>
                <a:cxnLst>
                  <a:cxn ang="0">
                    <a:pos x="195" y="66"/>
                  </a:cxn>
                  <a:cxn ang="0">
                    <a:pos x="180" y="54"/>
                  </a:cxn>
                  <a:cxn ang="0">
                    <a:pos x="168" y="53"/>
                  </a:cxn>
                  <a:cxn ang="0">
                    <a:pos x="169" y="45"/>
                  </a:cxn>
                  <a:cxn ang="0">
                    <a:pos x="168" y="41"/>
                  </a:cxn>
                  <a:cxn ang="0">
                    <a:pos x="174" y="31"/>
                  </a:cxn>
                  <a:cxn ang="0">
                    <a:pos x="177" y="18"/>
                  </a:cxn>
                  <a:cxn ang="0">
                    <a:pos x="180" y="15"/>
                  </a:cxn>
                  <a:cxn ang="0">
                    <a:pos x="165" y="13"/>
                  </a:cxn>
                  <a:cxn ang="0">
                    <a:pos x="154" y="18"/>
                  </a:cxn>
                  <a:cxn ang="0">
                    <a:pos x="145" y="6"/>
                  </a:cxn>
                  <a:cxn ang="0">
                    <a:pos x="137" y="9"/>
                  </a:cxn>
                  <a:cxn ang="0">
                    <a:pos x="131" y="4"/>
                  </a:cxn>
                  <a:cxn ang="0">
                    <a:pos x="123" y="3"/>
                  </a:cxn>
                  <a:cxn ang="0">
                    <a:pos x="120" y="9"/>
                  </a:cxn>
                  <a:cxn ang="0">
                    <a:pos x="112" y="3"/>
                  </a:cxn>
                  <a:cxn ang="0">
                    <a:pos x="104" y="11"/>
                  </a:cxn>
                  <a:cxn ang="0">
                    <a:pos x="96" y="7"/>
                  </a:cxn>
                  <a:cxn ang="0">
                    <a:pos x="74" y="7"/>
                  </a:cxn>
                  <a:cxn ang="0">
                    <a:pos x="62" y="0"/>
                  </a:cxn>
                  <a:cxn ang="0">
                    <a:pos x="57" y="6"/>
                  </a:cxn>
                  <a:cxn ang="0">
                    <a:pos x="42" y="4"/>
                  </a:cxn>
                  <a:cxn ang="0">
                    <a:pos x="34" y="19"/>
                  </a:cxn>
                  <a:cxn ang="0">
                    <a:pos x="21" y="12"/>
                  </a:cxn>
                  <a:cxn ang="0">
                    <a:pos x="7" y="9"/>
                  </a:cxn>
                  <a:cxn ang="0">
                    <a:pos x="8" y="36"/>
                  </a:cxn>
                  <a:cxn ang="0">
                    <a:pos x="18" y="37"/>
                  </a:cxn>
                  <a:cxn ang="0">
                    <a:pos x="23" y="44"/>
                  </a:cxn>
                  <a:cxn ang="0">
                    <a:pos x="21" y="48"/>
                  </a:cxn>
                  <a:cxn ang="0">
                    <a:pos x="29" y="58"/>
                  </a:cxn>
                  <a:cxn ang="0">
                    <a:pos x="38" y="76"/>
                  </a:cxn>
                  <a:cxn ang="0">
                    <a:pos x="57" y="92"/>
                  </a:cxn>
                  <a:cxn ang="0">
                    <a:pos x="59" y="95"/>
                  </a:cxn>
                  <a:cxn ang="0">
                    <a:pos x="76" y="110"/>
                  </a:cxn>
                  <a:cxn ang="0">
                    <a:pos x="88" y="116"/>
                  </a:cxn>
                  <a:cxn ang="0">
                    <a:pos x="88" y="125"/>
                  </a:cxn>
                  <a:cxn ang="0">
                    <a:pos x="108" y="140"/>
                  </a:cxn>
                  <a:cxn ang="0">
                    <a:pos x="110" y="151"/>
                  </a:cxn>
                  <a:cxn ang="0">
                    <a:pos x="118" y="149"/>
                  </a:cxn>
                  <a:cxn ang="0">
                    <a:pos x="140" y="168"/>
                  </a:cxn>
                  <a:cxn ang="0">
                    <a:pos x="146" y="167"/>
                  </a:cxn>
                  <a:cxn ang="0">
                    <a:pos x="149" y="170"/>
                  </a:cxn>
                  <a:cxn ang="0">
                    <a:pos x="154" y="167"/>
                  </a:cxn>
                  <a:cxn ang="0">
                    <a:pos x="154" y="157"/>
                  </a:cxn>
                  <a:cxn ang="0">
                    <a:pos x="151" y="157"/>
                  </a:cxn>
                  <a:cxn ang="0">
                    <a:pos x="150" y="141"/>
                  </a:cxn>
                  <a:cxn ang="0">
                    <a:pos x="157" y="137"/>
                  </a:cxn>
                  <a:cxn ang="0">
                    <a:pos x="156" y="123"/>
                  </a:cxn>
                  <a:cxn ang="0">
                    <a:pos x="165" y="117"/>
                  </a:cxn>
                  <a:cxn ang="0">
                    <a:pos x="175" y="119"/>
                  </a:cxn>
                  <a:cxn ang="0">
                    <a:pos x="166" y="107"/>
                  </a:cxn>
                  <a:cxn ang="0">
                    <a:pos x="167" y="101"/>
                  </a:cxn>
                  <a:cxn ang="0">
                    <a:pos x="172" y="105"/>
                  </a:cxn>
                  <a:cxn ang="0">
                    <a:pos x="180" y="105"/>
                  </a:cxn>
                  <a:cxn ang="0">
                    <a:pos x="181" y="99"/>
                  </a:cxn>
                  <a:cxn ang="0">
                    <a:pos x="191" y="99"/>
                  </a:cxn>
                  <a:cxn ang="0">
                    <a:pos x="185" y="84"/>
                  </a:cxn>
                  <a:cxn ang="0">
                    <a:pos x="177" y="73"/>
                  </a:cxn>
                  <a:cxn ang="0">
                    <a:pos x="190" y="74"/>
                  </a:cxn>
                  <a:cxn ang="0">
                    <a:pos x="195" y="66"/>
                  </a:cxn>
                </a:cxnLst>
                <a:rect l="0" t="0" r="r" b="b"/>
                <a:pathLst>
                  <a:path w="198" h="170">
                    <a:moveTo>
                      <a:pt x="195" y="66"/>
                    </a:moveTo>
                    <a:cubicBezTo>
                      <a:pt x="180" y="54"/>
                      <a:pt x="180" y="54"/>
                      <a:pt x="180" y="54"/>
                    </a:cubicBezTo>
                    <a:cubicBezTo>
                      <a:pt x="180" y="54"/>
                      <a:pt x="172" y="54"/>
                      <a:pt x="168" y="53"/>
                    </a:cubicBezTo>
                    <a:cubicBezTo>
                      <a:pt x="165" y="52"/>
                      <a:pt x="169" y="45"/>
                      <a:pt x="169" y="45"/>
                    </a:cubicBezTo>
                    <a:cubicBezTo>
                      <a:pt x="168" y="41"/>
                      <a:pt x="168" y="41"/>
                      <a:pt x="168" y="41"/>
                    </a:cubicBezTo>
                    <a:cubicBezTo>
                      <a:pt x="168" y="41"/>
                      <a:pt x="172" y="35"/>
                      <a:pt x="174" y="31"/>
                    </a:cubicBezTo>
                    <a:cubicBezTo>
                      <a:pt x="176" y="27"/>
                      <a:pt x="177" y="18"/>
                      <a:pt x="177" y="18"/>
                    </a:cubicBezTo>
                    <a:cubicBezTo>
                      <a:pt x="180" y="15"/>
                      <a:pt x="180" y="15"/>
                      <a:pt x="180" y="15"/>
                    </a:cubicBezTo>
                    <a:cubicBezTo>
                      <a:pt x="165" y="13"/>
                      <a:pt x="165" y="13"/>
                      <a:pt x="165" y="13"/>
                    </a:cubicBezTo>
                    <a:cubicBezTo>
                      <a:pt x="165" y="13"/>
                      <a:pt x="160" y="18"/>
                      <a:pt x="154" y="18"/>
                    </a:cubicBezTo>
                    <a:cubicBezTo>
                      <a:pt x="149" y="18"/>
                      <a:pt x="151" y="9"/>
                      <a:pt x="145" y="6"/>
                    </a:cubicBezTo>
                    <a:cubicBezTo>
                      <a:pt x="139" y="5"/>
                      <a:pt x="137" y="9"/>
                      <a:pt x="137" y="9"/>
                    </a:cubicBezTo>
                    <a:cubicBezTo>
                      <a:pt x="131" y="4"/>
                      <a:pt x="131" y="4"/>
                      <a:pt x="131" y="4"/>
                    </a:cubicBezTo>
                    <a:cubicBezTo>
                      <a:pt x="123" y="3"/>
                      <a:pt x="123" y="3"/>
                      <a:pt x="123" y="3"/>
                    </a:cubicBezTo>
                    <a:cubicBezTo>
                      <a:pt x="123" y="3"/>
                      <a:pt x="123" y="9"/>
                      <a:pt x="120" y="9"/>
                    </a:cubicBezTo>
                    <a:cubicBezTo>
                      <a:pt x="117" y="9"/>
                      <a:pt x="112" y="3"/>
                      <a:pt x="112" y="3"/>
                    </a:cubicBezTo>
                    <a:cubicBezTo>
                      <a:pt x="112" y="3"/>
                      <a:pt x="108" y="11"/>
                      <a:pt x="104" y="11"/>
                    </a:cubicBezTo>
                    <a:cubicBezTo>
                      <a:pt x="101" y="11"/>
                      <a:pt x="96" y="7"/>
                      <a:pt x="96" y="7"/>
                    </a:cubicBezTo>
                    <a:cubicBezTo>
                      <a:pt x="74" y="7"/>
                      <a:pt x="74" y="7"/>
                      <a:pt x="74" y="7"/>
                    </a:cubicBezTo>
                    <a:cubicBezTo>
                      <a:pt x="70" y="7"/>
                      <a:pt x="62" y="0"/>
                      <a:pt x="62" y="0"/>
                    </a:cubicBezTo>
                    <a:cubicBezTo>
                      <a:pt x="57" y="6"/>
                      <a:pt x="57" y="6"/>
                      <a:pt x="57" y="6"/>
                    </a:cubicBezTo>
                    <a:cubicBezTo>
                      <a:pt x="57" y="6"/>
                      <a:pt x="46" y="4"/>
                      <a:pt x="42" y="4"/>
                    </a:cubicBezTo>
                    <a:cubicBezTo>
                      <a:pt x="38" y="5"/>
                      <a:pt x="38" y="18"/>
                      <a:pt x="34" y="19"/>
                    </a:cubicBezTo>
                    <a:cubicBezTo>
                      <a:pt x="30" y="21"/>
                      <a:pt x="24" y="15"/>
                      <a:pt x="21" y="12"/>
                    </a:cubicBezTo>
                    <a:cubicBezTo>
                      <a:pt x="18" y="9"/>
                      <a:pt x="14" y="4"/>
                      <a:pt x="7" y="9"/>
                    </a:cubicBezTo>
                    <a:cubicBezTo>
                      <a:pt x="0" y="12"/>
                      <a:pt x="8" y="36"/>
                      <a:pt x="8" y="36"/>
                    </a:cubicBezTo>
                    <a:cubicBezTo>
                      <a:pt x="18" y="37"/>
                      <a:pt x="18" y="37"/>
                      <a:pt x="18" y="37"/>
                    </a:cubicBezTo>
                    <a:cubicBezTo>
                      <a:pt x="23" y="44"/>
                      <a:pt x="23" y="44"/>
                      <a:pt x="23" y="44"/>
                    </a:cubicBezTo>
                    <a:cubicBezTo>
                      <a:pt x="21" y="48"/>
                      <a:pt x="21" y="48"/>
                      <a:pt x="21" y="48"/>
                    </a:cubicBezTo>
                    <a:cubicBezTo>
                      <a:pt x="21" y="48"/>
                      <a:pt x="26" y="51"/>
                      <a:pt x="29" y="58"/>
                    </a:cubicBezTo>
                    <a:cubicBezTo>
                      <a:pt x="31" y="63"/>
                      <a:pt x="30" y="68"/>
                      <a:pt x="38" y="76"/>
                    </a:cubicBezTo>
                    <a:cubicBezTo>
                      <a:pt x="44" y="83"/>
                      <a:pt x="57" y="92"/>
                      <a:pt x="57" y="92"/>
                    </a:cubicBezTo>
                    <a:cubicBezTo>
                      <a:pt x="59" y="95"/>
                      <a:pt x="59" y="95"/>
                      <a:pt x="59" y="95"/>
                    </a:cubicBezTo>
                    <a:cubicBezTo>
                      <a:pt x="76" y="110"/>
                      <a:pt x="76" y="110"/>
                      <a:pt x="76" y="110"/>
                    </a:cubicBezTo>
                    <a:cubicBezTo>
                      <a:pt x="88" y="116"/>
                      <a:pt x="88" y="116"/>
                      <a:pt x="88" y="116"/>
                    </a:cubicBezTo>
                    <a:cubicBezTo>
                      <a:pt x="88" y="116"/>
                      <a:pt x="87" y="120"/>
                      <a:pt x="88" y="125"/>
                    </a:cubicBezTo>
                    <a:cubicBezTo>
                      <a:pt x="89" y="129"/>
                      <a:pt x="102" y="135"/>
                      <a:pt x="108" y="140"/>
                    </a:cubicBezTo>
                    <a:cubicBezTo>
                      <a:pt x="113" y="145"/>
                      <a:pt x="110" y="151"/>
                      <a:pt x="110" y="151"/>
                    </a:cubicBezTo>
                    <a:cubicBezTo>
                      <a:pt x="118" y="149"/>
                      <a:pt x="118" y="149"/>
                      <a:pt x="118" y="149"/>
                    </a:cubicBezTo>
                    <a:cubicBezTo>
                      <a:pt x="140" y="168"/>
                      <a:pt x="140" y="168"/>
                      <a:pt x="140" y="168"/>
                    </a:cubicBezTo>
                    <a:cubicBezTo>
                      <a:pt x="140" y="168"/>
                      <a:pt x="142" y="165"/>
                      <a:pt x="146" y="167"/>
                    </a:cubicBezTo>
                    <a:cubicBezTo>
                      <a:pt x="148" y="167"/>
                      <a:pt x="149" y="168"/>
                      <a:pt x="149" y="170"/>
                    </a:cubicBezTo>
                    <a:cubicBezTo>
                      <a:pt x="154" y="167"/>
                      <a:pt x="154" y="167"/>
                      <a:pt x="154" y="167"/>
                    </a:cubicBezTo>
                    <a:cubicBezTo>
                      <a:pt x="154" y="157"/>
                      <a:pt x="154" y="157"/>
                      <a:pt x="154" y="157"/>
                    </a:cubicBezTo>
                    <a:cubicBezTo>
                      <a:pt x="151" y="157"/>
                      <a:pt x="151" y="157"/>
                      <a:pt x="151" y="157"/>
                    </a:cubicBezTo>
                    <a:cubicBezTo>
                      <a:pt x="151" y="157"/>
                      <a:pt x="149" y="144"/>
                      <a:pt x="150" y="141"/>
                    </a:cubicBezTo>
                    <a:cubicBezTo>
                      <a:pt x="152" y="138"/>
                      <a:pt x="155" y="138"/>
                      <a:pt x="157" y="137"/>
                    </a:cubicBezTo>
                    <a:cubicBezTo>
                      <a:pt x="159" y="135"/>
                      <a:pt x="154" y="126"/>
                      <a:pt x="156" y="123"/>
                    </a:cubicBezTo>
                    <a:cubicBezTo>
                      <a:pt x="157" y="121"/>
                      <a:pt x="160" y="117"/>
                      <a:pt x="165" y="117"/>
                    </a:cubicBezTo>
                    <a:cubicBezTo>
                      <a:pt x="168" y="117"/>
                      <a:pt x="172" y="122"/>
                      <a:pt x="175" y="119"/>
                    </a:cubicBezTo>
                    <a:cubicBezTo>
                      <a:pt x="177" y="116"/>
                      <a:pt x="166" y="107"/>
                      <a:pt x="166" y="107"/>
                    </a:cubicBezTo>
                    <a:cubicBezTo>
                      <a:pt x="167" y="101"/>
                      <a:pt x="167" y="101"/>
                      <a:pt x="167" y="101"/>
                    </a:cubicBezTo>
                    <a:cubicBezTo>
                      <a:pt x="172" y="105"/>
                      <a:pt x="172" y="105"/>
                      <a:pt x="172" y="105"/>
                    </a:cubicBezTo>
                    <a:cubicBezTo>
                      <a:pt x="180" y="105"/>
                      <a:pt x="180" y="105"/>
                      <a:pt x="180" y="105"/>
                    </a:cubicBezTo>
                    <a:cubicBezTo>
                      <a:pt x="181" y="99"/>
                      <a:pt x="181" y="99"/>
                      <a:pt x="181" y="99"/>
                    </a:cubicBezTo>
                    <a:cubicBezTo>
                      <a:pt x="181" y="99"/>
                      <a:pt x="186" y="104"/>
                      <a:pt x="191" y="99"/>
                    </a:cubicBezTo>
                    <a:cubicBezTo>
                      <a:pt x="198" y="96"/>
                      <a:pt x="185" y="84"/>
                      <a:pt x="185" y="84"/>
                    </a:cubicBezTo>
                    <a:cubicBezTo>
                      <a:pt x="177" y="73"/>
                      <a:pt x="177" y="73"/>
                      <a:pt x="177" y="73"/>
                    </a:cubicBezTo>
                    <a:cubicBezTo>
                      <a:pt x="177" y="73"/>
                      <a:pt x="185" y="74"/>
                      <a:pt x="190" y="74"/>
                    </a:cubicBezTo>
                    <a:cubicBezTo>
                      <a:pt x="195" y="74"/>
                      <a:pt x="195" y="66"/>
                      <a:pt x="195" y="66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81" name="Belgium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4183063" y="3900488"/>
                <a:ext cx="341312" cy="282575"/>
              </a:xfrm>
              <a:custGeom>
                <a:avLst/>
                <a:gdLst/>
                <a:ahLst/>
                <a:cxnLst>
                  <a:cxn ang="0">
                    <a:pos x="150" y="64"/>
                  </a:cxn>
                  <a:cxn ang="0">
                    <a:pos x="144" y="49"/>
                  </a:cxn>
                  <a:cxn ang="0">
                    <a:pos x="128" y="48"/>
                  </a:cxn>
                  <a:cxn ang="0">
                    <a:pos x="132" y="42"/>
                  </a:cxn>
                  <a:cxn ang="0">
                    <a:pos x="133" y="33"/>
                  </a:cxn>
                  <a:cxn ang="0">
                    <a:pos x="130" y="24"/>
                  </a:cxn>
                  <a:cxn ang="0">
                    <a:pos x="123" y="16"/>
                  </a:cxn>
                  <a:cxn ang="0">
                    <a:pos x="110" y="12"/>
                  </a:cxn>
                  <a:cxn ang="0">
                    <a:pos x="106" y="3"/>
                  </a:cxn>
                  <a:cxn ang="0">
                    <a:pos x="96" y="8"/>
                  </a:cxn>
                  <a:cxn ang="0">
                    <a:pos x="88" y="5"/>
                  </a:cxn>
                  <a:cxn ang="0">
                    <a:pos x="82" y="2"/>
                  </a:cxn>
                  <a:cxn ang="0">
                    <a:pos x="77" y="9"/>
                  </a:cxn>
                  <a:cxn ang="0">
                    <a:pos x="56" y="17"/>
                  </a:cxn>
                  <a:cxn ang="0">
                    <a:pos x="42" y="9"/>
                  </a:cxn>
                  <a:cxn ang="0">
                    <a:pos x="35" y="12"/>
                  </a:cxn>
                  <a:cxn ang="0">
                    <a:pos x="36" y="5"/>
                  </a:cxn>
                  <a:cxn ang="0">
                    <a:pos x="11" y="15"/>
                  </a:cxn>
                  <a:cxn ang="0">
                    <a:pos x="1" y="25"/>
                  </a:cxn>
                  <a:cxn ang="0">
                    <a:pos x="2" y="29"/>
                  </a:cxn>
                  <a:cxn ang="0">
                    <a:pos x="0" y="37"/>
                  </a:cxn>
                  <a:cxn ang="0">
                    <a:pos x="8" y="44"/>
                  </a:cxn>
                  <a:cxn ang="0">
                    <a:pos x="15" y="41"/>
                  </a:cxn>
                  <a:cxn ang="0">
                    <a:pos x="25" y="48"/>
                  </a:cxn>
                  <a:cxn ang="0">
                    <a:pos x="28" y="62"/>
                  </a:cxn>
                  <a:cxn ang="0">
                    <a:pos x="41" y="64"/>
                  </a:cxn>
                  <a:cxn ang="0">
                    <a:pos x="49" y="72"/>
                  </a:cxn>
                  <a:cxn ang="0">
                    <a:pos x="58" y="87"/>
                  </a:cxn>
                  <a:cxn ang="0">
                    <a:pos x="60" y="100"/>
                  </a:cxn>
                  <a:cxn ang="0">
                    <a:pos x="73" y="103"/>
                  </a:cxn>
                  <a:cxn ang="0">
                    <a:pos x="80" y="98"/>
                  </a:cxn>
                  <a:cxn ang="0">
                    <a:pos x="86" y="100"/>
                  </a:cxn>
                  <a:cxn ang="0">
                    <a:pos x="86" y="110"/>
                  </a:cxn>
                  <a:cxn ang="0">
                    <a:pos x="95" y="112"/>
                  </a:cxn>
                  <a:cxn ang="0">
                    <a:pos x="107" y="124"/>
                  </a:cxn>
                  <a:cxn ang="0">
                    <a:pos x="129" y="132"/>
                  </a:cxn>
                  <a:cxn ang="0">
                    <a:pos x="128" y="105"/>
                  </a:cxn>
                  <a:cxn ang="0">
                    <a:pos x="138" y="90"/>
                  </a:cxn>
                  <a:cxn ang="0">
                    <a:pos x="150" y="85"/>
                  </a:cxn>
                  <a:cxn ang="0">
                    <a:pos x="156" y="69"/>
                  </a:cxn>
                </a:cxnLst>
                <a:rect l="0" t="0" r="r" b="b"/>
                <a:pathLst>
                  <a:path w="160" h="133">
                    <a:moveTo>
                      <a:pt x="156" y="69"/>
                    </a:moveTo>
                    <a:cubicBezTo>
                      <a:pt x="154" y="66"/>
                      <a:pt x="150" y="70"/>
                      <a:pt x="150" y="64"/>
                    </a:cubicBezTo>
                    <a:cubicBezTo>
                      <a:pt x="150" y="63"/>
                      <a:pt x="153" y="61"/>
                      <a:pt x="154" y="60"/>
                    </a:cubicBezTo>
                    <a:cubicBezTo>
                      <a:pt x="150" y="59"/>
                      <a:pt x="146" y="54"/>
                      <a:pt x="144" y="49"/>
                    </a:cubicBezTo>
                    <a:cubicBezTo>
                      <a:pt x="143" y="49"/>
                      <a:pt x="139" y="51"/>
                      <a:pt x="136" y="50"/>
                    </a:cubicBezTo>
                    <a:cubicBezTo>
                      <a:pt x="132" y="50"/>
                      <a:pt x="128" y="48"/>
                      <a:pt x="128" y="48"/>
                    </a:cubicBezTo>
                    <a:cubicBezTo>
                      <a:pt x="128" y="48"/>
                      <a:pt x="124" y="47"/>
                      <a:pt x="127" y="44"/>
                    </a:cubicBezTo>
                    <a:cubicBezTo>
                      <a:pt x="128" y="42"/>
                      <a:pt x="132" y="42"/>
                      <a:pt x="132" y="42"/>
                    </a:cubicBezTo>
                    <a:cubicBezTo>
                      <a:pt x="133" y="37"/>
                      <a:pt x="133" y="37"/>
                      <a:pt x="133" y="37"/>
                    </a:cubicBezTo>
                    <a:cubicBezTo>
                      <a:pt x="133" y="37"/>
                      <a:pt x="132" y="34"/>
                      <a:pt x="133" y="33"/>
                    </a:cubicBezTo>
                    <a:cubicBezTo>
                      <a:pt x="135" y="31"/>
                      <a:pt x="138" y="29"/>
                      <a:pt x="136" y="27"/>
                    </a:cubicBezTo>
                    <a:cubicBezTo>
                      <a:pt x="133" y="24"/>
                      <a:pt x="130" y="24"/>
                      <a:pt x="130" y="24"/>
                    </a:cubicBezTo>
                    <a:cubicBezTo>
                      <a:pt x="126" y="19"/>
                      <a:pt x="126" y="19"/>
                      <a:pt x="126" y="19"/>
                    </a:cubicBezTo>
                    <a:cubicBezTo>
                      <a:pt x="126" y="19"/>
                      <a:pt x="127" y="16"/>
                      <a:pt x="123" y="16"/>
                    </a:cubicBezTo>
                    <a:cubicBezTo>
                      <a:pt x="120" y="15"/>
                      <a:pt x="117" y="18"/>
                      <a:pt x="114" y="17"/>
                    </a:cubicBezTo>
                    <a:cubicBezTo>
                      <a:pt x="111" y="17"/>
                      <a:pt x="110" y="12"/>
                      <a:pt x="110" y="12"/>
                    </a:cubicBezTo>
                    <a:cubicBezTo>
                      <a:pt x="105" y="10"/>
                      <a:pt x="105" y="10"/>
                      <a:pt x="105" y="10"/>
                    </a:cubicBezTo>
                    <a:cubicBezTo>
                      <a:pt x="105" y="10"/>
                      <a:pt x="108" y="5"/>
                      <a:pt x="106" y="3"/>
                    </a:cubicBezTo>
                    <a:cubicBezTo>
                      <a:pt x="103" y="2"/>
                      <a:pt x="101" y="8"/>
                      <a:pt x="101" y="8"/>
                    </a:cubicBezTo>
                    <a:cubicBezTo>
                      <a:pt x="96" y="8"/>
                      <a:pt x="96" y="8"/>
                      <a:pt x="96" y="8"/>
                    </a:cubicBezTo>
                    <a:cubicBezTo>
                      <a:pt x="96" y="8"/>
                      <a:pt x="100" y="1"/>
                      <a:pt x="97" y="1"/>
                    </a:cubicBezTo>
                    <a:cubicBezTo>
                      <a:pt x="93" y="1"/>
                      <a:pt x="88" y="5"/>
                      <a:pt x="88" y="5"/>
                    </a:cubicBezTo>
                    <a:cubicBezTo>
                      <a:pt x="85" y="5"/>
                      <a:pt x="85" y="5"/>
                      <a:pt x="85" y="5"/>
                    </a:cubicBezTo>
                    <a:cubicBezTo>
                      <a:pt x="85" y="5"/>
                      <a:pt x="85" y="0"/>
                      <a:pt x="82" y="2"/>
                    </a:cubicBezTo>
                    <a:cubicBezTo>
                      <a:pt x="78" y="3"/>
                      <a:pt x="80" y="9"/>
                      <a:pt x="80" y="9"/>
                    </a:cubicBezTo>
                    <a:cubicBezTo>
                      <a:pt x="77" y="9"/>
                      <a:pt x="77" y="9"/>
                      <a:pt x="77" y="9"/>
                    </a:cubicBezTo>
                    <a:cubicBezTo>
                      <a:pt x="73" y="8"/>
                      <a:pt x="73" y="8"/>
                      <a:pt x="73" y="8"/>
                    </a:cubicBezTo>
                    <a:cubicBezTo>
                      <a:pt x="73" y="8"/>
                      <a:pt x="63" y="18"/>
                      <a:pt x="56" y="17"/>
                    </a:cubicBezTo>
                    <a:cubicBezTo>
                      <a:pt x="49" y="17"/>
                      <a:pt x="52" y="12"/>
                      <a:pt x="52" y="12"/>
                    </a:cubicBezTo>
                    <a:cubicBezTo>
                      <a:pt x="42" y="9"/>
                      <a:pt x="42" y="9"/>
                      <a:pt x="42" y="9"/>
                    </a:cubicBezTo>
                    <a:cubicBezTo>
                      <a:pt x="41" y="13"/>
                      <a:pt x="41" y="13"/>
                      <a:pt x="41" y="13"/>
                    </a:cubicBezTo>
                    <a:cubicBezTo>
                      <a:pt x="35" y="12"/>
                      <a:pt x="35" y="12"/>
                      <a:pt x="35" y="12"/>
                    </a:cubicBezTo>
                    <a:cubicBezTo>
                      <a:pt x="35" y="12"/>
                      <a:pt x="34" y="9"/>
                      <a:pt x="34" y="8"/>
                    </a:cubicBezTo>
                    <a:cubicBezTo>
                      <a:pt x="35" y="7"/>
                      <a:pt x="35" y="6"/>
                      <a:pt x="36" y="5"/>
                    </a:cubicBezTo>
                    <a:cubicBezTo>
                      <a:pt x="34" y="5"/>
                      <a:pt x="31" y="5"/>
                      <a:pt x="24" y="7"/>
                    </a:cubicBezTo>
                    <a:cubicBezTo>
                      <a:pt x="16" y="11"/>
                      <a:pt x="14" y="13"/>
                      <a:pt x="11" y="15"/>
                    </a:cubicBezTo>
                    <a:cubicBezTo>
                      <a:pt x="7" y="16"/>
                      <a:pt x="1" y="18"/>
                      <a:pt x="1" y="18"/>
                    </a:cubicBezTo>
                    <a:cubicBezTo>
                      <a:pt x="1" y="25"/>
                      <a:pt x="1" y="25"/>
                      <a:pt x="1" y="25"/>
                    </a:cubicBezTo>
                    <a:cubicBezTo>
                      <a:pt x="2" y="25"/>
                      <a:pt x="2" y="25"/>
                      <a:pt x="2" y="25"/>
                    </a:cubicBezTo>
                    <a:cubicBezTo>
                      <a:pt x="2" y="29"/>
                      <a:pt x="2" y="29"/>
                      <a:pt x="2" y="29"/>
                    </a:cubicBezTo>
                    <a:cubicBezTo>
                      <a:pt x="1" y="30"/>
                      <a:pt x="1" y="30"/>
                      <a:pt x="1" y="30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37"/>
                      <a:pt x="1" y="35"/>
                      <a:pt x="3" y="37"/>
                    </a:cubicBezTo>
                    <a:cubicBezTo>
                      <a:pt x="6" y="38"/>
                      <a:pt x="8" y="44"/>
                      <a:pt x="8" y="44"/>
                    </a:cubicBezTo>
                    <a:cubicBezTo>
                      <a:pt x="12" y="45"/>
                      <a:pt x="12" y="45"/>
                      <a:pt x="12" y="45"/>
                    </a:cubicBezTo>
                    <a:cubicBezTo>
                      <a:pt x="12" y="45"/>
                      <a:pt x="13" y="41"/>
                      <a:pt x="15" y="41"/>
                    </a:cubicBezTo>
                    <a:cubicBezTo>
                      <a:pt x="22" y="41"/>
                      <a:pt x="22" y="41"/>
                      <a:pt x="22" y="41"/>
                    </a:cubicBezTo>
                    <a:cubicBezTo>
                      <a:pt x="25" y="48"/>
                      <a:pt x="25" y="48"/>
                      <a:pt x="25" y="48"/>
                    </a:cubicBezTo>
                    <a:cubicBezTo>
                      <a:pt x="25" y="59"/>
                      <a:pt x="25" y="59"/>
                      <a:pt x="25" y="59"/>
                    </a:cubicBezTo>
                    <a:cubicBezTo>
                      <a:pt x="28" y="62"/>
                      <a:pt x="28" y="62"/>
                      <a:pt x="28" y="62"/>
                    </a:cubicBezTo>
                    <a:cubicBezTo>
                      <a:pt x="35" y="59"/>
                      <a:pt x="35" y="59"/>
                      <a:pt x="35" y="59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4"/>
                      <a:pt x="38" y="77"/>
                      <a:pt x="40" y="76"/>
                    </a:cubicBezTo>
                    <a:cubicBezTo>
                      <a:pt x="44" y="76"/>
                      <a:pt x="44" y="71"/>
                      <a:pt x="49" y="72"/>
                    </a:cubicBezTo>
                    <a:cubicBezTo>
                      <a:pt x="53" y="73"/>
                      <a:pt x="61" y="74"/>
                      <a:pt x="61" y="78"/>
                    </a:cubicBezTo>
                    <a:cubicBezTo>
                      <a:pt x="61" y="84"/>
                      <a:pt x="58" y="87"/>
                      <a:pt x="58" y="87"/>
                    </a:cubicBezTo>
                    <a:cubicBezTo>
                      <a:pt x="62" y="91"/>
                      <a:pt x="62" y="91"/>
                      <a:pt x="62" y="91"/>
                    </a:cubicBezTo>
                    <a:cubicBezTo>
                      <a:pt x="62" y="91"/>
                      <a:pt x="53" y="97"/>
                      <a:pt x="60" y="100"/>
                    </a:cubicBezTo>
                    <a:cubicBezTo>
                      <a:pt x="65" y="102"/>
                      <a:pt x="70" y="100"/>
                      <a:pt x="70" y="100"/>
                    </a:cubicBezTo>
                    <a:cubicBezTo>
                      <a:pt x="73" y="103"/>
                      <a:pt x="73" y="103"/>
                      <a:pt x="73" y="103"/>
                    </a:cubicBezTo>
                    <a:cubicBezTo>
                      <a:pt x="77" y="100"/>
                      <a:pt x="77" y="100"/>
                      <a:pt x="77" y="100"/>
                    </a:cubicBezTo>
                    <a:cubicBezTo>
                      <a:pt x="80" y="98"/>
                      <a:pt x="80" y="98"/>
                      <a:pt x="80" y="98"/>
                    </a:cubicBezTo>
                    <a:cubicBezTo>
                      <a:pt x="80" y="98"/>
                      <a:pt x="86" y="85"/>
                      <a:pt x="89" y="88"/>
                    </a:cubicBezTo>
                    <a:cubicBezTo>
                      <a:pt x="93" y="91"/>
                      <a:pt x="86" y="100"/>
                      <a:pt x="86" y="100"/>
                    </a:cubicBezTo>
                    <a:cubicBezTo>
                      <a:pt x="86" y="100"/>
                      <a:pt x="88" y="100"/>
                      <a:pt x="88" y="103"/>
                    </a:cubicBezTo>
                    <a:cubicBezTo>
                      <a:pt x="89" y="105"/>
                      <a:pt x="86" y="110"/>
                      <a:pt x="86" y="110"/>
                    </a:cubicBezTo>
                    <a:cubicBezTo>
                      <a:pt x="88" y="112"/>
                      <a:pt x="88" y="112"/>
                      <a:pt x="88" y="112"/>
                    </a:cubicBezTo>
                    <a:cubicBezTo>
                      <a:pt x="95" y="112"/>
                      <a:pt x="95" y="112"/>
                      <a:pt x="95" y="112"/>
                    </a:cubicBezTo>
                    <a:cubicBezTo>
                      <a:pt x="107" y="122"/>
                      <a:pt x="107" y="122"/>
                      <a:pt x="107" y="122"/>
                    </a:cubicBezTo>
                    <a:cubicBezTo>
                      <a:pt x="107" y="124"/>
                      <a:pt x="107" y="124"/>
                      <a:pt x="107" y="124"/>
                    </a:cubicBezTo>
                    <a:cubicBezTo>
                      <a:pt x="114" y="133"/>
                      <a:pt x="114" y="133"/>
                      <a:pt x="114" y="133"/>
                    </a:cubicBezTo>
                    <a:cubicBezTo>
                      <a:pt x="129" y="132"/>
                      <a:pt x="129" y="132"/>
                      <a:pt x="129" y="132"/>
                    </a:cubicBezTo>
                    <a:cubicBezTo>
                      <a:pt x="132" y="124"/>
                      <a:pt x="132" y="124"/>
                      <a:pt x="132" y="124"/>
                    </a:cubicBezTo>
                    <a:cubicBezTo>
                      <a:pt x="128" y="105"/>
                      <a:pt x="128" y="105"/>
                      <a:pt x="128" y="105"/>
                    </a:cubicBezTo>
                    <a:cubicBezTo>
                      <a:pt x="131" y="104"/>
                      <a:pt x="131" y="104"/>
                      <a:pt x="131" y="104"/>
                    </a:cubicBezTo>
                    <a:cubicBezTo>
                      <a:pt x="138" y="90"/>
                      <a:pt x="138" y="90"/>
                      <a:pt x="138" y="90"/>
                    </a:cubicBezTo>
                    <a:cubicBezTo>
                      <a:pt x="147" y="92"/>
                      <a:pt x="147" y="92"/>
                      <a:pt x="147" y="92"/>
                    </a:cubicBezTo>
                    <a:cubicBezTo>
                      <a:pt x="148" y="89"/>
                      <a:pt x="148" y="87"/>
                      <a:pt x="150" y="85"/>
                    </a:cubicBezTo>
                    <a:cubicBezTo>
                      <a:pt x="152" y="82"/>
                      <a:pt x="157" y="81"/>
                      <a:pt x="159" y="80"/>
                    </a:cubicBezTo>
                    <a:cubicBezTo>
                      <a:pt x="160" y="78"/>
                      <a:pt x="157" y="70"/>
                      <a:pt x="156" y="69"/>
                    </a:cubicBez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82" name="Austria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4783138" y="4260850"/>
                <a:ext cx="731837" cy="363537"/>
              </a:xfrm>
              <a:custGeom>
                <a:avLst/>
                <a:gdLst/>
                <a:ahLst/>
                <a:cxnLst>
                  <a:cxn ang="0">
                    <a:pos x="335" y="43"/>
                  </a:cxn>
                  <a:cxn ang="0">
                    <a:pos x="332" y="17"/>
                  </a:cxn>
                  <a:cxn ang="0">
                    <a:pos x="320" y="11"/>
                  </a:cxn>
                  <a:cxn ang="0">
                    <a:pos x="293" y="14"/>
                  </a:cxn>
                  <a:cxn ang="0">
                    <a:pos x="267" y="2"/>
                  </a:cxn>
                  <a:cxn ang="0">
                    <a:pos x="251" y="0"/>
                  </a:cxn>
                  <a:cxn ang="0">
                    <a:pos x="237" y="14"/>
                  </a:cxn>
                  <a:cxn ang="0">
                    <a:pos x="228" y="26"/>
                  </a:cxn>
                  <a:cxn ang="0">
                    <a:pos x="217" y="31"/>
                  </a:cxn>
                  <a:cxn ang="0">
                    <a:pos x="205" y="25"/>
                  </a:cxn>
                  <a:cxn ang="0">
                    <a:pos x="193" y="18"/>
                  </a:cxn>
                  <a:cxn ang="0">
                    <a:pos x="177" y="31"/>
                  </a:cxn>
                  <a:cxn ang="0">
                    <a:pos x="149" y="60"/>
                  </a:cxn>
                  <a:cxn ang="0">
                    <a:pos x="156" y="88"/>
                  </a:cxn>
                  <a:cxn ang="0">
                    <a:pos x="150" y="98"/>
                  </a:cxn>
                  <a:cxn ang="0">
                    <a:pos x="126" y="91"/>
                  </a:cxn>
                  <a:cxn ang="0">
                    <a:pos x="110" y="95"/>
                  </a:cxn>
                  <a:cxn ang="0">
                    <a:pos x="90" y="107"/>
                  </a:cxn>
                  <a:cxn ang="0">
                    <a:pos x="69" y="110"/>
                  </a:cxn>
                  <a:cxn ang="0">
                    <a:pos x="51" y="99"/>
                  </a:cxn>
                  <a:cxn ang="0">
                    <a:pos x="34" y="117"/>
                  </a:cxn>
                  <a:cxn ang="0">
                    <a:pos x="27" y="104"/>
                  </a:cxn>
                  <a:cxn ang="0">
                    <a:pos x="10" y="99"/>
                  </a:cxn>
                  <a:cxn ang="0">
                    <a:pos x="3" y="120"/>
                  </a:cxn>
                  <a:cxn ang="0">
                    <a:pos x="18" y="133"/>
                  </a:cxn>
                  <a:cxn ang="0">
                    <a:pos x="32" y="144"/>
                  </a:cxn>
                  <a:cxn ang="0">
                    <a:pos x="45" y="146"/>
                  </a:cxn>
                  <a:cxn ang="0">
                    <a:pos x="57" y="149"/>
                  </a:cxn>
                  <a:cxn ang="0">
                    <a:pos x="76" y="138"/>
                  </a:cxn>
                  <a:cxn ang="0">
                    <a:pos x="104" y="139"/>
                  </a:cxn>
                  <a:cxn ang="0">
                    <a:pos x="125" y="128"/>
                  </a:cxn>
                  <a:cxn ang="0">
                    <a:pos x="127" y="142"/>
                  </a:cxn>
                  <a:cxn ang="0">
                    <a:pos x="134" y="156"/>
                  </a:cxn>
                  <a:cxn ang="0">
                    <a:pos x="169" y="160"/>
                  </a:cxn>
                  <a:cxn ang="0">
                    <a:pos x="197" y="165"/>
                  </a:cxn>
                  <a:cxn ang="0">
                    <a:pos x="214" y="170"/>
                  </a:cxn>
                  <a:cxn ang="0">
                    <a:pos x="238" y="164"/>
                  </a:cxn>
                  <a:cxn ang="0">
                    <a:pos x="256" y="153"/>
                  </a:cxn>
                  <a:cxn ang="0">
                    <a:pos x="275" y="154"/>
                  </a:cxn>
                  <a:cxn ang="0">
                    <a:pos x="295" y="149"/>
                  </a:cxn>
                  <a:cxn ang="0">
                    <a:pos x="300" y="137"/>
                  </a:cxn>
                  <a:cxn ang="0">
                    <a:pos x="320" y="118"/>
                  </a:cxn>
                  <a:cxn ang="0">
                    <a:pos x="313" y="104"/>
                  </a:cxn>
                  <a:cxn ang="0">
                    <a:pos x="317" y="86"/>
                  </a:cxn>
                  <a:cxn ang="0">
                    <a:pos x="328" y="82"/>
                  </a:cxn>
                  <a:cxn ang="0">
                    <a:pos x="339" y="69"/>
                  </a:cxn>
                </a:cxnLst>
                <a:rect l="0" t="0" r="r" b="b"/>
                <a:pathLst>
                  <a:path w="343" h="171">
                    <a:moveTo>
                      <a:pt x="342" y="57"/>
                    </a:moveTo>
                    <a:cubicBezTo>
                      <a:pt x="340" y="53"/>
                      <a:pt x="337" y="49"/>
                      <a:pt x="337" y="49"/>
                    </a:cubicBezTo>
                    <a:cubicBezTo>
                      <a:pt x="335" y="43"/>
                      <a:pt x="335" y="43"/>
                      <a:pt x="335" y="43"/>
                    </a:cubicBezTo>
                    <a:cubicBezTo>
                      <a:pt x="335" y="43"/>
                      <a:pt x="328" y="39"/>
                      <a:pt x="328" y="34"/>
                    </a:cubicBezTo>
                    <a:cubicBezTo>
                      <a:pt x="329" y="29"/>
                      <a:pt x="332" y="27"/>
                      <a:pt x="332" y="27"/>
                    </a:cubicBezTo>
                    <a:cubicBezTo>
                      <a:pt x="332" y="17"/>
                      <a:pt x="332" y="17"/>
                      <a:pt x="332" y="17"/>
                    </a:cubicBezTo>
                    <a:cubicBezTo>
                      <a:pt x="329" y="14"/>
                      <a:pt x="329" y="14"/>
                      <a:pt x="329" y="14"/>
                    </a:cubicBezTo>
                    <a:cubicBezTo>
                      <a:pt x="322" y="14"/>
                      <a:pt x="322" y="14"/>
                      <a:pt x="322" y="14"/>
                    </a:cubicBezTo>
                    <a:cubicBezTo>
                      <a:pt x="320" y="11"/>
                      <a:pt x="320" y="11"/>
                      <a:pt x="320" y="11"/>
                    </a:cubicBezTo>
                    <a:cubicBezTo>
                      <a:pt x="309" y="8"/>
                      <a:pt x="309" y="8"/>
                      <a:pt x="309" y="8"/>
                    </a:cubicBezTo>
                    <a:cubicBezTo>
                      <a:pt x="307" y="13"/>
                      <a:pt x="307" y="13"/>
                      <a:pt x="307" y="13"/>
                    </a:cubicBezTo>
                    <a:cubicBezTo>
                      <a:pt x="293" y="14"/>
                      <a:pt x="293" y="14"/>
                      <a:pt x="293" y="14"/>
                    </a:cubicBezTo>
                    <a:cubicBezTo>
                      <a:pt x="293" y="14"/>
                      <a:pt x="288" y="6"/>
                      <a:pt x="283" y="6"/>
                    </a:cubicBezTo>
                    <a:cubicBezTo>
                      <a:pt x="279" y="6"/>
                      <a:pt x="277" y="7"/>
                      <a:pt x="277" y="7"/>
                    </a:cubicBezTo>
                    <a:cubicBezTo>
                      <a:pt x="277" y="7"/>
                      <a:pt x="268" y="2"/>
                      <a:pt x="267" y="2"/>
                    </a:cubicBezTo>
                    <a:cubicBezTo>
                      <a:pt x="266" y="2"/>
                      <a:pt x="259" y="0"/>
                      <a:pt x="259" y="0"/>
                    </a:cubicBezTo>
                    <a:cubicBezTo>
                      <a:pt x="259" y="0"/>
                      <a:pt x="258" y="1"/>
                      <a:pt x="256" y="2"/>
                    </a:cubicBezTo>
                    <a:cubicBezTo>
                      <a:pt x="253" y="2"/>
                      <a:pt x="251" y="0"/>
                      <a:pt x="251" y="0"/>
                    </a:cubicBezTo>
                    <a:cubicBezTo>
                      <a:pt x="245" y="0"/>
                      <a:pt x="245" y="0"/>
                      <a:pt x="245" y="0"/>
                    </a:cubicBezTo>
                    <a:cubicBezTo>
                      <a:pt x="244" y="17"/>
                      <a:pt x="244" y="17"/>
                      <a:pt x="244" y="17"/>
                    </a:cubicBezTo>
                    <a:cubicBezTo>
                      <a:pt x="237" y="14"/>
                      <a:pt x="237" y="14"/>
                      <a:pt x="237" y="14"/>
                    </a:cubicBezTo>
                    <a:cubicBezTo>
                      <a:pt x="237" y="14"/>
                      <a:pt x="233" y="18"/>
                      <a:pt x="232" y="20"/>
                    </a:cubicBezTo>
                    <a:cubicBezTo>
                      <a:pt x="232" y="22"/>
                      <a:pt x="235" y="28"/>
                      <a:pt x="234" y="28"/>
                    </a:cubicBezTo>
                    <a:cubicBezTo>
                      <a:pt x="232" y="28"/>
                      <a:pt x="228" y="26"/>
                      <a:pt x="228" y="26"/>
                    </a:cubicBezTo>
                    <a:cubicBezTo>
                      <a:pt x="225" y="26"/>
                      <a:pt x="225" y="26"/>
                      <a:pt x="225" y="26"/>
                    </a:cubicBezTo>
                    <a:cubicBezTo>
                      <a:pt x="222" y="25"/>
                      <a:pt x="222" y="25"/>
                      <a:pt x="222" y="25"/>
                    </a:cubicBezTo>
                    <a:cubicBezTo>
                      <a:pt x="217" y="31"/>
                      <a:pt x="217" y="31"/>
                      <a:pt x="217" y="31"/>
                    </a:cubicBezTo>
                    <a:cubicBezTo>
                      <a:pt x="207" y="29"/>
                      <a:pt x="207" y="29"/>
                      <a:pt x="207" y="29"/>
                    </a:cubicBezTo>
                    <a:cubicBezTo>
                      <a:pt x="204" y="27"/>
                      <a:pt x="204" y="27"/>
                      <a:pt x="204" y="27"/>
                    </a:cubicBezTo>
                    <a:cubicBezTo>
                      <a:pt x="205" y="25"/>
                      <a:pt x="205" y="25"/>
                      <a:pt x="205" y="25"/>
                    </a:cubicBezTo>
                    <a:cubicBezTo>
                      <a:pt x="205" y="25"/>
                      <a:pt x="202" y="20"/>
                      <a:pt x="201" y="19"/>
                    </a:cubicBezTo>
                    <a:cubicBezTo>
                      <a:pt x="199" y="19"/>
                      <a:pt x="197" y="17"/>
                      <a:pt x="197" y="17"/>
                    </a:cubicBezTo>
                    <a:cubicBezTo>
                      <a:pt x="193" y="18"/>
                      <a:pt x="193" y="18"/>
                      <a:pt x="193" y="18"/>
                    </a:cubicBezTo>
                    <a:cubicBezTo>
                      <a:pt x="193" y="19"/>
                      <a:pt x="194" y="19"/>
                      <a:pt x="194" y="20"/>
                    </a:cubicBezTo>
                    <a:cubicBezTo>
                      <a:pt x="194" y="25"/>
                      <a:pt x="192" y="30"/>
                      <a:pt x="190" y="33"/>
                    </a:cubicBezTo>
                    <a:cubicBezTo>
                      <a:pt x="184" y="29"/>
                      <a:pt x="181" y="29"/>
                      <a:pt x="177" y="31"/>
                    </a:cubicBezTo>
                    <a:cubicBezTo>
                      <a:pt x="179" y="35"/>
                      <a:pt x="176" y="48"/>
                      <a:pt x="169" y="48"/>
                    </a:cubicBezTo>
                    <a:cubicBezTo>
                      <a:pt x="166" y="48"/>
                      <a:pt x="163" y="49"/>
                      <a:pt x="160" y="50"/>
                    </a:cubicBezTo>
                    <a:cubicBezTo>
                      <a:pt x="158" y="51"/>
                      <a:pt x="153" y="59"/>
                      <a:pt x="149" y="60"/>
                    </a:cubicBezTo>
                    <a:cubicBezTo>
                      <a:pt x="145" y="62"/>
                      <a:pt x="151" y="65"/>
                      <a:pt x="152" y="67"/>
                    </a:cubicBezTo>
                    <a:cubicBezTo>
                      <a:pt x="153" y="70"/>
                      <a:pt x="156" y="70"/>
                      <a:pt x="158" y="74"/>
                    </a:cubicBezTo>
                    <a:cubicBezTo>
                      <a:pt x="162" y="80"/>
                      <a:pt x="157" y="81"/>
                      <a:pt x="156" y="88"/>
                    </a:cubicBezTo>
                    <a:cubicBezTo>
                      <a:pt x="161" y="86"/>
                      <a:pt x="162" y="88"/>
                      <a:pt x="164" y="91"/>
                    </a:cubicBezTo>
                    <a:cubicBezTo>
                      <a:pt x="164" y="92"/>
                      <a:pt x="163" y="100"/>
                      <a:pt x="162" y="102"/>
                    </a:cubicBezTo>
                    <a:cubicBezTo>
                      <a:pt x="160" y="104"/>
                      <a:pt x="151" y="100"/>
                      <a:pt x="150" y="98"/>
                    </a:cubicBezTo>
                    <a:cubicBezTo>
                      <a:pt x="149" y="97"/>
                      <a:pt x="150" y="91"/>
                      <a:pt x="151" y="90"/>
                    </a:cubicBezTo>
                    <a:cubicBezTo>
                      <a:pt x="144" y="86"/>
                      <a:pt x="143" y="97"/>
                      <a:pt x="139" y="94"/>
                    </a:cubicBezTo>
                    <a:cubicBezTo>
                      <a:pt x="134" y="91"/>
                      <a:pt x="131" y="89"/>
                      <a:pt x="126" y="91"/>
                    </a:cubicBezTo>
                    <a:cubicBezTo>
                      <a:pt x="126" y="85"/>
                      <a:pt x="126" y="85"/>
                      <a:pt x="126" y="85"/>
                    </a:cubicBezTo>
                    <a:cubicBezTo>
                      <a:pt x="119" y="90"/>
                      <a:pt x="127" y="92"/>
                      <a:pt x="124" y="95"/>
                    </a:cubicBezTo>
                    <a:cubicBezTo>
                      <a:pt x="123" y="96"/>
                      <a:pt x="112" y="95"/>
                      <a:pt x="110" y="95"/>
                    </a:cubicBezTo>
                    <a:cubicBezTo>
                      <a:pt x="107" y="96"/>
                      <a:pt x="102" y="96"/>
                      <a:pt x="98" y="97"/>
                    </a:cubicBezTo>
                    <a:cubicBezTo>
                      <a:pt x="96" y="98"/>
                      <a:pt x="90" y="102"/>
                      <a:pt x="88" y="105"/>
                    </a:cubicBezTo>
                    <a:cubicBezTo>
                      <a:pt x="88" y="105"/>
                      <a:pt x="90" y="106"/>
                      <a:pt x="90" y="107"/>
                    </a:cubicBezTo>
                    <a:cubicBezTo>
                      <a:pt x="85" y="105"/>
                      <a:pt x="84" y="109"/>
                      <a:pt x="80" y="110"/>
                    </a:cubicBezTo>
                    <a:cubicBezTo>
                      <a:pt x="81" y="107"/>
                      <a:pt x="81" y="107"/>
                      <a:pt x="81" y="107"/>
                    </a:cubicBezTo>
                    <a:cubicBezTo>
                      <a:pt x="78" y="109"/>
                      <a:pt x="74" y="110"/>
                      <a:pt x="69" y="110"/>
                    </a:cubicBezTo>
                    <a:cubicBezTo>
                      <a:pt x="69" y="107"/>
                      <a:pt x="67" y="105"/>
                      <a:pt x="65" y="104"/>
                    </a:cubicBezTo>
                    <a:cubicBezTo>
                      <a:pt x="66" y="102"/>
                      <a:pt x="67" y="101"/>
                      <a:pt x="65" y="100"/>
                    </a:cubicBezTo>
                    <a:cubicBezTo>
                      <a:pt x="66" y="100"/>
                      <a:pt x="53" y="97"/>
                      <a:pt x="51" y="99"/>
                    </a:cubicBezTo>
                    <a:cubicBezTo>
                      <a:pt x="49" y="104"/>
                      <a:pt x="47" y="97"/>
                      <a:pt x="48" y="97"/>
                    </a:cubicBezTo>
                    <a:cubicBezTo>
                      <a:pt x="44" y="99"/>
                      <a:pt x="48" y="102"/>
                      <a:pt x="48" y="107"/>
                    </a:cubicBezTo>
                    <a:cubicBezTo>
                      <a:pt x="47" y="112"/>
                      <a:pt x="38" y="116"/>
                      <a:pt x="34" y="117"/>
                    </a:cubicBezTo>
                    <a:cubicBezTo>
                      <a:pt x="34" y="116"/>
                      <a:pt x="38" y="111"/>
                      <a:pt x="35" y="110"/>
                    </a:cubicBezTo>
                    <a:cubicBezTo>
                      <a:pt x="34" y="109"/>
                      <a:pt x="31" y="111"/>
                      <a:pt x="31" y="112"/>
                    </a:cubicBezTo>
                    <a:cubicBezTo>
                      <a:pt x="29" y="107"/>
                      <a:pt x="30" y="107"/>
                      <a:pt x="27" y="104"/>
                    </a:cubicBezTo>
                    <a:cubicBezTo>
                      <a:pt x="24" y="101"/>
                      <a:pt x="19" y="97"/>
                      <a:pt x="18" y="97"/>
                    </a:cubicBezTo>
                    <a:cubicBezTo>
                      <a:pt x="14" y="95"/>
                      <a:pt x="16" y="100"/>
                      <a:pt x="12" y="100"/>
                    </a:cubicBezTo>
                    <a:cubicBezTo>
                      <a:pt x="11" y="100"/>
                      <a:pt x="11" y="100"/>
                      <a:pt x="10" y="99"/>
                    </a:cubicBezTo>
                    <a:cubicBezTo>
                      <a:pt x="10" y="107"/>
                      <a:pt x="10" y="107"/>
                      <a:pt x="10" y="107"/>
                    </a:cubicBezTo>
                    <a:cubicBezTo>
                      <a:pt x="10" y="110"/>
                      <a:pt x="0" y="120"/>
                      <a:pt x="0" y="120"/>
                    </a:cubicBezTo>
                    <a:cubicBezTo>
                      <a:pt x="3" y="120"/>
                      <a:pt x="3" y="120"/>
                      <a:pt x="3" y="120"/>
                    </a:cubicBezTo>
                    <a:cubicBezTo>
                      <a:pt x="5" y="129"/>
                      <a:pt x="5" y="129"/>
                      <a:pt x="5" y="129"/>
                    </a:cubicBezTo>
                    <a:cubicBezTo>
                      <a:pt x="2" y="130"/>
                      <a:pt x="2" y="130"/>
                      <a:pt x="2" y="130"/>
                    </a:cubicBezTo>
                    <a:cubicBezTo>
                      <a:pt x="18" y="133"/>
                      <a:pt x="18" y="133"/>
                      <a:pt x="18" y="133"/>
                    </a:cubicBezTo>
                    <a:cubicBezTo>
                      <a:pt x="18" y="133"/>
                      <a:pt x="16" y="139"/>
                      <a:pt x="17" y="140"/>
                    </a:cubicBezTo>
                    <a:cubicBezTo>
                      <a:pt x="18" y="142"/>
                      <a:pt x="22" y="141"/>
                      <a:pt x="22" y="141"/>
                    </a:cubicBezTo>
                    <a:cubicBezTo>
                      <a:pt x="22" y="141"/>
                      <a:pt x="29" y="146"/>
                      <a:pt x="32" y="144"/>
                    </a:cubicBezTo>
                    <a:cubicBezTo>
                      <a:pt x="35" y="143"/>
                      <a:pt x="41" y="136"/>
                      <a:pt x="41" y="136"/>
                    </a:cubicBezTo>
                    <a:cubicBezTo>
                      <a:pt x="46" y="140"/>
                      <a:pt x="46" y="140"/>
                      <a:pt x="46" y="140"/>
                    </a:cubicBezTo>
                    <a:cubicBezTo>
                      <a:pt x="45" y="146"/>
                      <a:pt x="45" y="146"/>
                      <a:pt x="45" y="146"/>
                    </a:cubicBezTo>
                    <a:cubicBezTo>
                      <a:pt x="48" y="146"/>
                      <a:pt x="48" y="146"/>
                      <a:pt x="48" y="146"/>
                    </a:cubicBezTo>
                    <a:cubicBezTo>
                      <a:pt x="48" y="146"/>
                      <a:pt x="50" y="142"/>
                      <a:pt x="53" y="143"/>
                    </a:cubicBezTo>
                    <a:cubicBezTo>
                      <a:pt x="57" y="145"/>
                      <a:pt x="57" y="149"/>
                      <a:pt x="57" y="149"/>
                    </a:cubicBezTo>
                    <a:cubicBezTo>
                      <a:pt x="69" y="152"/>
                      <a:pt x="69" y="152"/>
                      <a:pt x="69" y="152"/>
                    </a:cubicBezTo>
                    <a:cubicBezTo>
                      <a:pt x="73" y="147"/>
                      <a:pt x="73" y="147"/>
                      <a:pt x="73" y="147"/>
                    </a:cubicBezTo>
                    <a:cubicBezTo>
                      <a:pt x="73" y="147"/>
                      <a:pt x="67" y="139"/>
                      <a:pt x="76" y="138"/>
                    </a:cubicBezTo>
                    <a:cubicBezTo>
                      <a:pt x="85" y="137"/>
                      <a:pt x="87" y="138"/>
                      <a:pt x="87" y="138"/>
                    </a:cubicBezTo>
                    <a:cubicBezTo>
                      <a:pt x="90" y="133"/>
                      <a:pt x="90" y="133"/>
                      <a:pt x="90" y="133"/>
                    </a:cubicBezTo>
                    <a:cubicBezTo>
                      <a:pt x="104" y="139"/>
                      <a:pt x="104" y="139"/>
                      <a:pt x="104" y="139"/>
                    </a:cubicBezTo>
                    <a:cubicBezTo>
                      <a:pt x="113" y="130"/>
                      <a:pt x="113" y="130"/>
                      <a:pt x="113" y="130"/>
                    </a:cubicBezTo>
                    <a:cubicBezTo>
                      <a:pt x="117" y="132"/>
                      <a:pt x="117" y="132"/>
                      <a:pt x="117" y="132"/>
                    </a:cubicBezTo>
                    <a:cubicBezTo>
                      <a:pt x="117" y="132"/>
                      <a:pt x="123" y="126"/>
                      <a:pt x="125" y="128"/>
                    </a:cubicBezTo>
                    <a:cubicBezTo>
                      <a:pt x="127" y="130"/>
                      <a:pt x="120" y="134"/>
                      <a:pt x="120" y="134"/>
                    </a:cubicBezTo>
                    <a:cubicBezTo>
                      <a:pt x="123" y="143"/>
                      <a:pt x="123" y="143"/>
                      <a:pt x="123" y="143"/>
                    </a:cubicBezTo>
                    <a:cubicBezTo>
                      <a:pt x="123" y="143"/>
                      <a:pt x="125" y="141"/>
                      <a:pt x="127" y="142"/>
                    </a:cubicBezTo>
                    <a:cubicBezTo>
                      <a:pt x="129" y="143"/>
                      <a:pt x="128" y="147"/>
                      <a:pt x="128" y="147"/>
                    </a:cubicBezTo>
                    <a:cubicBezTo>
                      <a:pt x="131" y="148"/>
                      <a:pt x="131" y="148"/>
                      <a:pt x="131" y="148"/>
                    </a:cubicBezTo>
                    <a:cubicBezTo>
                      <a:pt x="134" y="156"/>
                      <a:pt x="134" y="156"/>
                      <a:pt x="134" y="156"/>
                    </a:cubicBezTo>
                    <a:cubicBezTo>
                      <a:pt x="151" y="157"/>
                      <a:pt x="151" y="157"/>
                      <a:pt x="151" y="157"/>
                    </a:cubicBezTo>
                    <a:cubicBezTo>
                      <a:pt x="153" y="160"/>
                      <a:pt x="153" y="160"/>
                      <a:pt x="153" y="160"/>
                    </a:cubicBezTo>
                    <a:cubicBezTo>
                      <a:pt x="169" y="160"/>
                      <a:pt x="169" y="160"/>
                      <a:pt x="169" y="160"/>
                    </a:cubicBezTo>
                    <a:cubicBezTo>
                      <a:pt x="172" y="163"/>
                      <a:pt x="172" y="163"/>
                      <a:pt x="172" y="163"/>
                    </a:cubicBezTo>
                    <a:cubicBezTo>
                      <a:pt x="178" y="161"/>
                      <a:pt x="178" y="161"/>
                      <a:pt x="178" y="161"/>
                    </a:cubicBezTo>
                    <a:cubicBezTo>
                      <a:pt x="197" y="165"/>
                      <a:pt x="197" y="165"/>
                      <a:pt x="197" y="165"/>
                    </a:cubicBezTo>
                    <a:cubicBezTo>
                      <a:pt x="202" y="164"/>
                      <a:pt x="202" y="164"/>
                      <a:pt x="202" y="164"/>
                    </a:cubicBezTo>
                    <a:cubicBezTo>
                      <a:pt x="212" y="167"/>
                      <a:pt x="212" y="167"/>
                      <a:pt x="212" y="167"/>
                    </a:cubicBezTo>
                    <a:cubicBezTo>
                      <a:pt x="214" y="170"/>
                      <a:pt x="214" y="170"/>
                      <a:pt x="214" y="170"/>
                    </a:cubicBezTo>
                    <a:cubicBezTo>
                      <a:pt x="225" y="168"/>
                      <a:pt x="225" y="168"/>
                      <a:pt x="225" y="168"/>
                    </a:cubicBezTo>
                    <a:cubicBezTo>
                      <a:pt x="232" y="171"/>
                      <a:pt x="232" y="171"/>
                      <a:pt x="232" y="171"/>
                    </a:cubicBezTo>
                    <a:cubicBezTo>
                      <a:pt x="238" y="164"/>
                      <a:pt x="238" y="164"/>
                      <a:pt x="238" y="164"/>
                    </a:cubicBezTo>
                    <a:cubicBezTo>
                      <a:pt x="238" y="164"/>
                      <a:pt x="241" y="164"/>
                      <a:pt x="243" y="163"/>
                    </a:cubicBezTo>
                    <a:cubicBezTo>
                      <a:pt x="245" y="162"/>
                      <a:pt x="244" y="156"/>
                      <a:pt x="247" y="156"/>
                    </a:cubicBezTo>
                    <a:cubicBezTo>
                      <a:pt x="251" y="155"/>
                      <a:pt x="256" y="153"/>
                      <a:pt x="256" y="153"/>
                    </a:cubicBezTo>
                    <a:cubicBezTo>
                      <a:pt x="262" y="154"/>
                      <a:pt x="262" y="154"/>
                      <a:pt x="262" y="154"/>
                    </a:cubicBezTo>
                    <a:cubicBezTo>
                      <a:pt x="262" y="154"/>
                      <a:pt x="267" y="151"/>
                      <a:pt x="270" y="152"/>
                    </a:cubicBezTo>
                    <a:cubicBezTo>
                      <a:pt x="273" y="152"/>
                      <a:pt x="275" y="154"/>
                      <a:pt x="275" y="154"/>
                    </a:cubicBezTo>
                    <a:cubicBezTo>
                      <a:pt x="279" y="149"/>
                      <a:pt x="279" y="149"/>
                      <a:pt x="279" y="149"/>
                    </a:cubicBezTo>
                    <a:cubicBezTo>
                      <a:pt x="279" y="149"/>
                      <a:pt x="279" y="147"/>
                      <a:pt x="287" y="147"/>
                    </a:cubicBezTo>
                    <a:cubicBezTo>
                      <a:pt x="293" y="146"/>
                      <a:pt x="295" y="149"/>
                      <a:pt x="295" y="149"/>
                    </a:cubicBezTo>
                    <a:cubicBezTo>
                      <a:pt x="298" y="147"/>
                      <a:pt x="298" y="147"/>
                      <a:pt x="298" y="147"/>
                    </a:cubicBezTo>
                    <a:cubicBezTo>
                      <a:pt x="298" y="147"/>
                      <a:pt x="294" y="144"/>
                      <a:pt x="296" y="140"/>
                    </a:cubicBezTo>
                    <a:cubicBezTo>
                      <a:pt x="298" y="136"/>
                      <a:pt x="300" y="137"/>
                      <a:pt x="300" y="137"/>
                    </a:cubicBezTo>
                    <a:cubicBezTo>
                      <a:pt x="309" y="128"/>
                      <a:pt x="309" y="128"/>
                      <a:pt x="309" y="128"/>
                    </a:cubicBezTo>
                    <a:cubicBezTo>
                      <a:pt x="319" y="127"/>
                      <a:pt x="319" y="127"/>
                      <a:pt x="319" y="127"/>
                    </a:cubicBezTo>
                    <a:cubicBezTo>
                      <a:pt x="320" y="118"/>
                      <a:pt x="320" y="118"/>
                      <a:pt x="320" y="118"/>
                    </a:cubicBezTo>
                    <a:cubicBezTo>
                      <a:pt x="320" y="118"/>
                      <a:pt x="315" y="117"/>
                      <a:pt x="315" y="115"/>
                    </a:cubicBezTo>
                    <a:cubicBezTo>
                      <a:pt x="314" y="112"/>
                      <a:pt x="317" y="110"/>
                      <a:pt x="317" y="109"/>
                    </a:cubicBezTo>
                    <a:cubicBezTo>
                      <a:pt x="317" y="107"/>
                      <a:pt x="313" y="107"/>
                      <a:pt x="313" y="104"/>
                    </a:cubicBezTo>
                    <a:cubicBezTo>
                      <a:pt x="314" y="101"/>
                      <a:pt x="328" y="98"/>
                      <a:pt x="326" y="92"/>
                    </a:cubicBezTo>
                    <a:cubicBezTo>
                      <a:pt x="324" y="85"/>
                      <a:pt x="322" y="85"/>
                      <a:pt x="322" y="85"/>
                    </a:cubicBezTo>
                    <a:cubicBezTo>
                      <a:pt x="317" y="86"/>
                      <a:pt x="317" y="86"/>
                      <a:pt x="317" y="86"/>
                    </a:cubicBezTo>
                    <a:cubicBezTo>
                      <a:pt x="317" y="86"/>
                      <a:pt x="312" y="88"/>
                      <a:pt x="314" y="83"/>
                    </a:cubicBezTo>
                    <a:cubicBezTo>
                      <a:pt x="315" y="79"/>
                      <a:pt x="320" y="78"/>
                      <a:pt x="322" y="77"/>
                    </a:cubicBezTo>
                    <a:cubicBezTo>
                      <a:pt x="324" y="77"/>
                      <a:pt x="328" y="82"/>
                      <a:pt x="328" y="82"/>
                    </a:cubicBezTo>
                    <a:cubicBezTo>
                      <a:pt x="341" y="78"/>
                      <a:pt x="341" y="78"/>
                      <a:pt x="341" y="78"/>
                    </a:cubicBezTo>
                    <a:cubicBezTo>
                      <a:pt x="341" y="70"/>
                      <a:pt x="341" y="70"/>
                      <a:pt x="341" y="70"/>
                    </a:cubicBezTo>
                    <a:cubicBezTo>
                      <a:pt x="339" y="69"/>
                      <a:pt x="339" y="69"/>
                      <a:pt x="339" y="69"/>
                    </a:cubicBezTo>
                    <a:cubicBezTo>
                      <a:pt x="342" y="67"/>
                      <a:pt x="342" y="67"/>
                      <a:pt x="342" y="67"/>
                    </a:cubicBezTo>
                    <a:cubicBezTo>
                      <a:pt x="342" y="67"/>
                      <a:pt x="343" y="60"/>
                      <a:pt x="342" y="57"/>
                    </a:cubicBez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83" name="Albania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802313" y="5097463"/>
                <a:ext cx="214312" cy="407987"/>
              </a:xfrm>
              <a:custGeom>
                <a:avLst/>
                <a:gdLst/>
                <a:ahLst/>
                <a:cxnLst>
                  <a:cxn ang="0">
                    <a:pos x="95" y="110"/>
                  </a:cxn>
                  <a:cxn ang="0">
                    <a:pos x="89" y="106"/>
                  </a:cxn>
                  <a:cxn ang="0">
                    <a:pos x="78" y="98"/>
                  </a:cxn>
                  <a:cxn ang="0">
                    <a:pos x="66" y="83"/>
                  </a:cxn>
                  <a:cxn ang="0">
                    <a:pos x="63" y="69"/>
                  </a:cxn>
                  <a:cxn ang="0">
                    <a:pos x="66" y="53"/>
                  </a:cxn>
                  <a:cxn ang="0">
                    <a:pos x="61" y="24"/>
                  </a:cxn>
                  <a:cxn ang="0">
                    <a:pos x="43" y="9"/>
                  </a:cxn>
                  <a:cxn ang="0">
                    <a:pos x="28" y="12"/>
                  </a:cxn>
                  <a:cxn ang="0">
                    <a:pos x="21" y="1"/>
                  </a:cxn>
                  <a:cxn ang="0">
                    <a:pos x="0" y="35"/>
                  </a:cxn>
                  <a:cxn ang="0">
                    <a:pos x="5" y="46"/>
                  </a:cxn>
                  <a:cxn ang="0">
                    <a:pos x="14" y="55"/>
                  </a:cxn>
                  <a:cxn ang="0">
                    <a:pos x="21" y="69"/>
                  </a:cxn>
                  <a:cxn ang="0">
                    <a:pos x="13" y="71"/>
                  </a:cxn>
                  <a:cxn ang="0">
                    <a:pos x="11" y="85"/>
                  </a:cxn>
                  <a:cxn ang="0">
                    <a:pos x="18" y="92"/>
                  </a:cxn>
                  <a:cxn ang="0">
                    <a:pos x="16" y="108"/>
                  </a:cxn>
                  <a:cxn ang="0">
                    <a:pos x="14" y="113"/>
                  </a:cxn>
                  <a:cxn ang="0">
                    <a:pos x="15" y="119"/>
                  </a:cxn>
                  <a:cxn ang="0">
                    <a:pos x="12" y="130"/>
                  </a:cxn>
                  <a:cxn ang="0">
                    <a:pos x="19" y="138"/>
                  </a:cxn>
                  <a:cxn ang="0">
                    <a:pos x="16" y="141"/>
                  </a:cxn>
                  <a:cxn ang="0">
                    <a:pos x="19" y="153"/>
                  </a:cxn>
                  <a:cxn ang="0">
                    <a:pos x="16" y="146"/>
                  </a:cxn>
                  <a:cxn ang="0">
                    <a:pos x="12" y="147"/>
                  </a:cxn>
                  <a:cxn ang="0">
                    <a:pos x="33" y="164"/>
                  </a:cxn>
                  <a:cxn ang="0">
                    <a:pos x="41" y="169"/>
                  </a:cxn>
                  <a:cxn ang="0">
                    <a:pos x="47" y="179"/>
                  </a:cxn>
                  <a:cxn ang="0">
                    <a:pos x="52" y="190"/>
                  </a:cxn>
                  <a:cxn ang="0">
                    <a:pos x="67" y="187"/>
                  </a:cxn>
                  <a:cxn ang="0">
                    <a:pos x="72" y="181"/>
                  </a:cxn>
                  <a:cxn ang="0">
                    <a:pos x="66" y="171"/>
                  </a:cxn>
                  <a:cxn ang="0">
                    <a:pos x="73" y="163"/>
                  </a:cxn>
                  <a:cxn ang="0">
                    <a:pos x="85" y="149"/>
                  </a:cxn>
                  <a:cxn ang="0">
                    <a:pos x="90" y="135"/>
                  </a:cxn>
                  <a:cxn ang="0">
                    <a:pos x="100" y="125"/>
                  </a:cxn>
                </a:cxnLst>
                <a:rect l="0" t="0" r="r" b="b"/>
                <a:pathLst>
                  <a:path w="100" h="192">
                    <a:moveTo>
                      <a:pt x="95" y="117"/>
                    </a:moveTo>
                    <a:cubicBezTo>
                      <a:pt x="95" y="110"/>
                      <a:pt x="95" y="110"/>
                      <a:pt x="95" y="110"/>
                    </a:cubicBezTo>
                    <a:cubicBezTo>
                      <a:pt x="94" y="107"/>
                      <a:pt x="94" y="107"/>
                      <a:pt x="94" y="107"/>
                    </a:cubicBezTo>
                    <a:cubicBezTo>
                      <a:pt x="89" y="106"/>
                      <a:pt x="89" y="106"/>
                      <a:pt x="89" y="106"/>
                    </a:cubicBezTo>
                    <a:cubicBezTo>
                      <a:pt x="82" y="110"/>
                      <a:pt x="82" y="110"/>
                      <a:pt x="82" y="110"/>
                    </a:cubicBezTo>
                    <a:cubicBezTo>
                      <a:pt x="78" y="98"/>
                      <a:pt x="78" y="98"/>
                      <a:pt x="78" y="98"/>
                    </a:cubicBezTo>
                    <a:cubicBezTo>
                      <a:pt x="73" y="97"/>
                      <a:pt x="73" y="97"/>
                      <a:pt x="73" y="97"/>
                    </a:cubicBezTo>
                    <a:cubicBezTo>
                      <a:pt x="66" y="83"/>
                      <a:pt x="66" y="83"/>
                      <a:pt x="66" y="83"/>
                    </a:cubicBezTo>
                    <a:cubicBezTo>
                      <a:pt x="70" y="78"/>
                      <a:pt x="70" y="78"/>
                      <a:pt x="70" y="78"/>
                    </a:cubicBezTo>
                    <a:cubicBezTo>
                      <a:pt x="63" y="69"/>
                      <a:pt x="63" y="69"/>
                      <a:pt x="63" y="69"/>
                    </a:cubicBezTo>
                    <a:cubicBezTo>
                      <a:pt x="68" y="65"/>
                      <a:pt x="68" y="65"/>
                      <a:pt x="68" y="65"/>
                    </a:cubicBezTo>
                    <a:cubicBezTo>
                      <a:pt x="66" y="53"/>
                      <a:pt x="66" y="53"/>
                      <a:pt x="66" y="53"/>
                    </a:cubicBezTo>
                    <a:cubicBezTo>
                      <a:pt x="68" y="39"/>
                      <a:pt x="68" y="39"/>
                      <a:pt x="68" y="39"/>
                    </a:cubicBezTo>
                    <a:cubicBezTo>
                      <a:pt x="68" y="39"/>
                      <a:pt x="65" y="29"/>
                      <a:pt x="61" y="24"/>
                    </a:cubicBezTo>
                    <a:cubicBezTo>
                      <a:pt x="57" y="20"/>
                      <a:pt x="46" y="19"/>
                      <a:pt x="46" y="19"/>
                    </a:cubicBezTo>
                    <a:cubicBezTo>
                      <a:pt x="46" y="19"/>
                      <a:pt x="45" y="12"/>
                      <a:pt x="43" y="9"/>
                    </a:cubicBezTo>
                    <a:cubicBezTo>
                      <a:pt x="41" y="7"/>
                      <a:pt x="38" y="5"/>
                      <a:pt x="38" y="5"/>
                    </a:cubicBezTo>
                    <a:cubicBezTo>
                      <a:pt x="28" y="12"/>
                      <a:pt x="28" y="12"/>
                      <a:pt x="28" y="12"/>
                    </a:cubicBezTo>
                    <a:cubicBezTo>
                      <a:pt x="21" y="8"/>
                      <a:pt x="21" y="8"/>
                      <a:pt x="21" y="8"/>
                    </a:cubicBezTo>
                    <a:cubicBezTo>
                      <a:pt x="21" y="1"/>
                      <a:pt x="21" y="1"/>
                      <a:pt x="21" y="1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3" y="36"/>
                      <a:pt x="3" y="36"/>
                      <a:pt x="3" y="36"/>
                    </a:cubicBezTo>
                    <a:cubicBezTo>
                      <a:pt x="5" y="46"/>
                      <a:pt x="5" y="46"/>
                      <a:pt x="5" y="46"/>
                    </a:cubicBezTo>
                    <a:cubicBezTo>
                      <a:pt x="6" y="54"/>
                      <a:pt x="6" y="54"/>
                      <a:pt x="6" y="54"/>
                    </a:cubicBezTo>
                    <a:cubicBezTo>
                      <a:pt x="6" y="54"/>
                      <a:pt x="9" y="54"/>
                      <a:pt x="14" y="55"/>
                    </a:cubicBezTo>
                    <a:cubicBezTo>
                      <a:pt x="19" y="56"/>
                      <a:pt x="17" y="60"/>
                      <a:pt x="17" y="60"/>
                    </a:cubicBezTo>
                    <a:cubicBezTo>
                      <a:pt x="21" y="69"/>
                      <a:pt x="21" y="69"/>
                      <a:pt x="21" y="69"/>
                    </a:cubicBezTo>
                    <a:cubicBezTo>
                      <a:pt x="18" y="71"/>
                      <a:pt x="18" y="71"/>
                      <a:pt x="18" y="71"/>
                    </a:cubicBezTo>
                    <a:cubicBezTo>
                      <a:pt x="13" y="71"/>
                      <a:pt x="13" y="71"/>
                      <a:pt x="13" y="71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6" y="80"/>
                      <a:pt x="11" y="80"/>
                      <a:pt x="11" y="85"/>
                    </a:cubicBezTo>
                    <a:cubicBezTo>
                      <a:pt x="12" y="91"/>
                      <a:pt x="13" y="91"/>
                      <a:pt x="13" y="91"/>
                    </a:cubicBezTo>
                    <a:cubicBezTo>
                      <a:pt x="13" y="91"/>
                      <a:pt x="18" y="90"/>
                      <a:pt x="18" y="92"/>
                    </a:cubicBezTo>
                    <a:cubicBezTo>
                      <a:pt x="18" y="94"/>
                      <a:pt x="14" y="100"/>
                      <a:pt x="14" y="100"/>
                    </a:cubicBezTo>
                    <a:cubicBezTo>
                      <a:pt x="16" y="108"/>
                      <a:pt x="16" y="108"/>
                      <a:pt x="16" y="108"/>
                    </a:cubicBezTo>
                    <a:cubicBezTo>
                      <a:pt x="16" y="108"/>
                      <a:pt x="23" y="111"/>
                      <a:pt x="21" y="113"/>
                    </a:cubicBezTo>
                    <a:cubicBezTo>
                      <a:pt x="18" y="115"/>
                      <a:pt x="14" y="113"/>
                      <a:pt x="14" y="113"/>
                    </a:cubicBezTo>
                    <a:cubicBezTo>
                      <a:pt x="12" y="116"/>
                      <a:pt x="12" y="116"/>
                      <a:pt x="12" y="116"/>
                    </a:cubicBezTo>
                    <a:cubicBezTo>
                      <a:pt x="15" y="119"/>
                      <a:pt x="15" y="119"/>
                      <a:pt x="15" y="119"/>
                    </a:cubicBezTo>
                    <a:cubicBezTo>
                      <a:pt x="14" y="127"/>
                      <a:pt x="14" y="127"/>
                      <a:pt x="14" y="127"/>
                    </a:cubicBezTo>
                    <a:cubicBezTo>
                      <a:pt x="12" y="130"/>
                      <a:pt x="12" y="130"/>
                      <a:pt x="12" y="130"/>
                    </a:cubicBezTo>
                    <a:cubicBezTo>
                      <a:pt x="14" y="137"/>
                      <a:pt x="14" y="137"/>
                      <a:pt x="14" y="137"/>
                    </a:cubicBezTo>
                    <a:cubicBezTo>
                      <a:pt x="14" y="137"/>
                      <a:pt x="19" y="134"/>
                      <a:pt x="19" y="138"/>
                    </a:cubicBezTo>
                    <a:cubicBezTo>
                      <a:pt x="19" y="140"/>
                      <a:pt x="16" y="140"/>
                      <a:pt x="16" y="140"/>
                    </a:cubicBezTo>
                    <a:cubicBezTo>
                      <a:pt x="16" y="141"/>
                      <a:pt x="16" y="141"/>
                      <a:pt x="16" y="141"/>
                    </a:cubicBezTo>
                    <a:cubicBezTo>
                      <a:pt x="16" y="141"/>
                      <a:pt x="23" y="142"/>
                      <a:pt x="22" y="147"/>
                    </a:cubicBezTo>
                    <a:cubicBezTo>
                      <a:pt x="21" y="154"/>
                      <a:pt x="19" y="153"/>
                      <a:pt x="19" y="153"/>
                    </a:cubicBezTo>
                    <a:cubicBezTo>
                      <a:pt x="19" y="153"/>
                      <a:pt x="17" y="152"/>
                      <a:pt x="17" y="150"/>
                    </a:cubicBezTo>
                    <a:cubicBezTo>
                      <a:pt x="16" y="148"/>
                      <a:pt x="16" y="146"/>
                      <a:pt x="16" y="146"/>
                    </a:cubicBezTo>
                    <a:cubicBezTo>
                      <a:pt x="12" y="145"/>
                      <a:pt x="12" y="145"/>
                      <a:pt x="12" y="145"/>
                    </a:cubicBezTo>
                    <a:cubicBezTo>
                      <a:pt x="12" y="147"/>
                      <a:pt x="12" y="147"/>
                      <a:pt x="12" y="147"/>
                    </a:cubicBezTo>
                    <a:cubicBezTo>
                      <a:pt x="12" y="147"/>
                      <a:pt x="16" y="156"/>
                      <a:pt x="21" y="159"/>
                    </a:cubicBezTo>
                    <a:cubicBezTo>
                      <a:pt x="25" y="162"/>
                      <a:pt x="30" y="164"/>
                      <a:pt x="33" y="164"/>
                    </a:cubicBezTo>
                    <a:cubicBezTo>
                      <a:pt x="38" y="164"/>
                      <a:pt x="38" y="164"/>
                      <a:pt x="38" y="164"/>
                    </a:cubicBezTo>
                    <a:cubicBezTo>
                      <a:pt x="41" y="169"/>
                      <a:pt x="41" y="169"/>
                      <a:pt x="41" y="169"/>
                    </a:cubicBezTo>
                    <a:cubicBezTo>
                      <a:pt x="46" y="169"/>
                      <a:pt x="46" y="169"/>
                      <a:pt x="46" y="169"/>
                    </a:cubicBezTo>
                    <a:cubicBezTo>
                      <a:pt x="47" y="179"/>
                      <a:pt x="47" y="179"/>
                      <a:pt x="47" y="179"/>
                    </a:cubicBezTo>
                    <a:cubicBezTo>
                      <a:pt x="52" y="180"/>
                      <a:pt x="52" y="180"/>
                      <a:pt x="52" y="180"/>
                    </a:cubicBezTo>
                    <a:cubicBezTo>
                      <a:pt x="52" y="190"/>
                      <a:pt x="52" y="190"/>
                      <a:pt x="52" y="190"/>
                    </a:cubicBezTo>
                    <a:cubicBezTo>
                      <a:pt x="52" y="190"/>
                      <a:pt x="59" y="192"/>
                      <a:pt x="60" y="192"/>
                    </a:cubicBezTo>
                    <a:cubicBezTo>
                      <a:pt x="62" y="192"/>
                      <a:pt x="67" y="187"/>
                      <a:pt x="67" y="187"/>
                    </a:cubicBezTo>
                    <a:cubicBezTo>
                      <a:pt x="67" y="187"/>
                      <a:pt x="66" y="184"/>
                      <a:pt x="67" y="181"/>
                    </a:cubicBezTo>
                    <a:cubicBezTo>
                      <a:pt x="67" y="180"/>
                      <a:pt x="72" y="181"/>
                      <a:pt x="72" y="181"/>
                    </a:cubicBezTo>
                    <a:cubicBezTo>
                      <a:pt x="71" y="177"/>
                      <a:pt x="71" y="177"/>
                      <a:pt x="71" y="177"/>
                    </a:cubicBezTo>
                    <a:cubicBezTo>
                      <a:pt x="71" y="177"/>
                      <a:pt x="65" y="174"/>
                      <a:pt x="66" y="171"/>
                    </a:cubicBezTo>
                    <a:cubicBezTo>
                      <a:pt x="67" y="166"/>
                      <a:pt x="71" y="168"/>
                      <a:pt x="71" y="168"/>
                    </a:cubicBezTo>
                    <a:cubicBezTo>
                      <a:pt x="71" y="168"/>
                      <a:pt x="70" y="164"/>
                      <a:pt x="73" y="163"/>
                    </a:cubicBezTo>
                    <a:cubicBezTo>
                      <a:pt x="76" y="162"/>
                      <a:pt x="78" y="165"/>
                      <a:pt x="83" y="161"/>
                    </a:cubicBezTo>
                    <a:cubicBezTo>
                      <a:pt x="88" y="156"/>
                      <a:pt x="85" y="149"/>
                      <a:pt x="85" y="149"/>
                    </a:cubicBezTo>
                    <a:cubicBezTo>
                      <a:pt x="89" y="144"/>
                      <a:pt x="89" y="144"/>
                      <a:pt x="89" y="144"/>
                    </a:cubicBezTo>
                    <a:cubicBezTo>
                      <a:pt x="89" y="144"/>
                      <a:pt x="87" y="138"/>
                      <a:pt x="90" y="135"/>
                    </a:cubicBezTo>
                    <a:cubicBezTo>
                      <a:pt x="92" y="134"/>
                      <a:pt x="95" y="134"/>
                      <a:pt x="95" y="134"/>
                    </a:cubicBezTo>
                    <a:cubicBezTo>
                      <a:pt x="95" y="134"/>
                      <a:pt x="100" y="129"/>
                      <a:pt x="100" y="125"/>
                    </a:cubicBezTo>
                    <a:cubicBezTo>
                      <a:pt x="99" y="121"/>
                      <a:pt x="95" y="117"/>
                      <a:pt x="95" y="117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</p:grpSp>
        <p:sp>
          <p:nvSpPr>
            <p:cNvPr id="110" name="Rectangle 109"/>
            <p:cNvSpPr/>
            <p:nvPr/>
          </p:nvSpPr>
          <p:spPr bwMode="ltGray">
            <a:xfrm>
              <a:off x="5600192" y="5029785"/>
              <a:ext cx="360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SI</a:t>
              </a:r>
              <a:endParaRPr lang="en-GB" sz="675" kern="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11" name="Rectangle 110"/>
            <p:cNvSpPr/>
            <p:nvPr/>
          </p:nvSpPr>
          <p:spPr bwMode="ltGray">
            <a:xfrm>
              <a:off x="5974881" y="4236315"/>
              <a:ext cx="324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PL</a:t>
              </a:r>
            </a:p>
          </p:txBody>
        </p:sp>
        <p:sp>
          <p:nvSpPr>
            <p:cNvPr id="112" name="Rectangle 111"/>
            <p:cNvSpPr/>
            <p:nvPr/>
          </p:nvSpPr>
          <p:spPr bwMode="ltGray">
            <a:xfrm>
              <a:off x="4922392" y="4250846"/>
              <a:ext cx="324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NL</a:t>
              </a:r>
            </a:p>
          </p:txBody>
        </p:sp>
        <p:sp>
          <p:nvSpPr>
            <p:cNvPr id="113" name="Rectangle 112"/>
            <p:cNvSpPr/>
            <p:nvPr/>
          </p:nvSpPr>
          <p:spPr bwMode="ltGray">
            <a:xfrm>
              <a:off x="3927944" y="5628265"/>
              <a:ext cx="324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ES</a:t>
              </a:r>
            </a:p>
          </p:txBody>
        </p:sp>
        <p:sp>
          <p:nvSpPr>
            <p:cNvPr id="114" name="Rectangle 113"/>
            <p:cNvSpPr/>
            <p:nvPr/>
          </p:nvSpPr>
          <p:spPr bwMode="ltGray">
            <a:xfrm>
              <a:off x="6401657" y="3609536"/>
              <a:ext cx="324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LV</a:t>
              </a:r>
            </a:p>
          </p:txBody>
        </p:sp>
        <p:sp>
          <p:nvSpPr>
            <p:cNvPr id="115" name="Rectangle 114"/>
            <p:cNvSpPr/>
            <p:nvPr/>
          </p:nvSpPr>
          <p:spPr bwMode="ltGray">
            <a:xfrm>
              <a:off x="6587961" y="4945007"/>
              <a:ext cx="360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RO</a:t>
              </a:r>
            </a:p>
          </p:txBody>
        </p:sp>
        <p:sp>
          <p:nvSpPr>
            <p:cNvPr id="116" name="Rectangle 115"/>
            <p:cNvSpPr/>
            <p:nvPr/>
          </p:nvSpPr>
          <p:spPr bwMode="ltGray">
            <a:xfrm>
              <a:off x="5325297" y="4290736"/>
              <a:ext cx="360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DE</a:t>
              </a:r>
            </a:p>
          </p:txBody>
        </p:sp>
        <p:sp>
          <p:nvSpPr>
            <p:cNvPr id="117" name="Rectangle 116"/>
            <p:cNvSpPr/>
            <p:nvPr/>
          </p:nvSpPr>
          <p:spPr bwMode="ltGray">
            <a:xfrm>
              <a:off x="5684457" y="4571149"/>
              <a:ext cx="375101" cy="12305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CZ</a:t>
              </a:r>
            </a:p>
          </p:txBody>
        </p:sp>
        <p:sp>
          <p:nvSpPr>
            <p:cNvPr id="118" name="Rectangle 117"/>
            <p:cNvSpPr/>
            <p:nvPr/>
          </p:nvSpPr>
          <p:spPr bwMode="ltGray">
            <a:xfrm>
              <a:off x="3889836" y="4007818"/>
              <a:ext cx="324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IE</a:t>
              </a:r>
            </a:p>
          </p:txBody>
        </p:sp>
        <p:sp>
          <p:nvSpPr>
            <p:cNvPr id="119" name="Rectangle 118"/>
            <p:cNvSpPr/>
            <p:nvPr/>
          </p:nvSpPr>
          <p:spPr bwMode="ltGray">
            <a:xfrm>
              <a:off x="6248168" y="2895133"/>
              <a:ext cx="288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FI</a:t>
              </a:r>
            </a:p>
          </p:txBody>
        </p:sp>
        <p:sp>
          <p:nvSpPr>
            <p:cNvPr id="120" name="Rectangle 119"/>
            <p:cNvSpPr/>
            <p:nvPr/>
          </p:nvSpPr>
          <p:spPr bwMode="ltGray">
            <a:xfrm>
              <a:off x="6610082" y="5329302"/>
              <a:ext cx="360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BG</a:t>
              </a:r>
            </a:p>
          </p:txBody>
        </p:sp>
        <p:sp>
          <p:nvSpPr>
            <p:cNvPr id="121" name="Rectangle 120"/>
            <p:cNvSpPr/>
            <p:nvPr/>
          </p:nvSpPr>
          <p:spPr bwMode="ltGray">
            <a:xfrm>
              <a:off x="5560902" y="3515576"/>
              <a:ext cx="324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SE</a:t>
              </a:r>
            </a:p>
          </p:txBody>
        </p:sp>
        <p:sp>
          <p:nvSpPr>
            <p:cNvPr id="122" name="Rectangle 121"/>
            <p:cNvSpPr/>
            <p:nvPr/>
          </p:nvSpPr>
          <p:spPr bwMode="ltGray">
            <a:xfrm>
              <a:off x="6016312" y="4864423"/>
              <a:ext cx="396000" cy="144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HU</a:t>
              </a:r>
            </a:p>
          </p:txBody>
        </p:sp>
        <p:sp>
          <p:nvSpPr>
            <p:cNvPr id="123" name="Rectangle 122"/>
            <p:cNvSpPr/>
            <p:nvPr/>
          </p:nvSpPr>
          <p:spPr bwMode="ltGray">
            <a:xfrm>
              <a:off x="5439284" y="5382170"/>
              <a:ext cx="324000" cy="144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IT</a:t>
              </a:r>
            </a:p>
          </p:txBody>
        </p:sp>
        <p:sp>
          <p:nvSpPr>
            <p:cNvPr id="124" name="Rectangle 123"/>
            <p:cNvSpPr/>
            <p:nvPr/>
          </p:nvSpPr>
          <p:spPr bwMode="ltGray">
            <a:xfrm>
              <a:off x="4319415" y="4192731"/>
              <a:ext cx="360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UK</a:t>
              </a:r>
            </a:p>
          </p:txBody>
        </p:sp>
        <p:sp>
          <p:nvSpPr>
            <p:cNvPr id="125" name="Rectangle 124"/>
            <p:cNvSpPr/>
            <p:nvPr/>
          </p:nvSpPr>
          <p:spPr bwMode="ltGray">
            <a:xfrm>
              <a:off x="4794432" y="4449487"/>
              <a:ext cx="360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BE</a:t>
              </a:r>
            </a:p>
          </p:txBody>
        </p:sp>
        <p:sp>
          <p:nvSpPr>
            <p:cNvPr id="126" name="Rectangle 125"/>
            <p:cNvSpPr/>
            <p:nvPr/>
          </p:nvSpPr>
          <p:spPr bwMode="ltGray">
            <a:xfrm>
              <a:off x="4579918" y="4909044"/>
              <a:ext cx="324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FR</a:t>
              </a:r>
            </a:p>
          </p:txBody>
        </p:sp>
        <p:sp>
          <p:nvSpPr>
            <p:cNvPr id="127" name="Rectangle 126"/>
            <p:cNvSpPr/>
            <p:nvPr/>
          </p:nvSpPr>
          <p:spPr bwMode="ltGray">
            <a:xfrm>
              <a:off x="3441765" y="5646546"/>
              <a:ext cx="324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PT</a:t>
              </a:r>
            </a:p>
          </p:txBody>
        </p:sp>
        <p:sp>
          <p:nvSpPr>
            <p:cNvPr id="128" name="Rectangle 127"/>
            <p:cNvSpPr/>
            <p:nvPr/>
          </p:nvSpPr>
          <p:spPr bwMode="ltGray">
            <a:xfrm>
              <a:off x="6037790" y="4654335"/>
              <a:ext cx="324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SK</a:t>
              </a:r>
            </a:p>
          </p:txBody>
        </p:sp>
        <p:sp>
          <p:nvSpPr>
            <p:cNvPr id="129" name="Rectangle 128"/>
            <p:cNvSpPr/>
            <p:nvPr/>
          </p:nvSpPr>
          <p:spPr bwMode="ltGray">
            <a:xfrm>
              <a:off x="5263083" y="3800143"/>
              <a:ext cx="388007" cy="100656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DK</a:t>
              </a:r>
            </a:p>
          </p:txBody>
        </p:sp>
        <p:sp>
          <p:nvSpPr>
            <p:cNvPr id="130" name="Rectangle 129"/>
            <p:cNvSpPr/>
            <p:nvPr/>
          </p:nvSpPr>
          <p:spPr bwMode="ltGray">
            <a:xfrm>
              <a:off x="5699018" y="5173801"/>
              <a:ext cx="360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HR</a:t>
              </a:r>
              <a:endParaRPr lang="en-GB" sz="675" kern="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31" name="Rectangle 130"/>
            <p:cNvSpPr/>
            <p:nvPr/>
          </p:nvSpPr>
          <p:spPr bwMode="ltGray">
            <a:xfrm>
              <a:off x="6328419" y="3382829"/>
              <a:ext cx="361864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EE</a:t>
              </a:r>
            </a:p>
          </p:txBody>
        </p:sp>
        <p:sp>
          <p:nvSpPr>
            <p:cNvPr id="132" name="Rectangle 131"/>
            <p:cNvSpPr/>
            <p:nvPr/>
          </p:nvSpPr>
          <p:spPr bwMode="ltGray">
            <a:xfrm>
              <a:off x="6273597" y="3806868"/>
              <a:ext cx="324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LT</a:t>
              </a:r>
            </a:p>
          </p:txBody>
        </p:sp>
        <p:sp>
          <p:nvSpPr>
            <p:cNvPr id="133" name="Rectangle 132"/>
            <p:cNvSpPr/>
            <p:nvPr/>
          </p:nvSpPr>
          <p:spPr bwMode="ltGray">
            <a:xfrm>
              <a:off x="4898395" y="4646222"/>
              <a:ext cx="360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LU</a:t>
              </a:r>
            </a:p>
          </p:txBody>
        </p:sp>
        <p:sp>
          <p:nvSpPr>
            <p:cNvPr id="134" name="Rectangle 133"/>
            <p:cNvSpPr/>
            <p:nvPr/>
          </p:nvSpPr>
          <p:spPr bwMode="ltGray">
            <a:xfrm>
              <a:off x="7742896" y="6073913"/>
              <a:ext cx="360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CY</a:t>
              </a:r>
            </a:p>
          </p:txBody>
        </p:sp>
        <p:sp>
          <p:nvSpPr>
            <p:cNvPr id="135" name="Rectangle 134"/>
            <p:cNvSpPr/>
            <p:nvPr/>
          </p:nvSpPr>
          <p:spPr bwMode="ltGray">
            <a:xfrm>
              <a:off x="5773683" y="6325945"/>
              <a:ext cx="324000" cy="144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MT</a:t>
              </a:r>
            </a:p>
          </p:txBody>
        </p:sp>
        <p:sp>
          <p:nvSpPr>
            <p:cNvPr id="136" name="Rectangle 135"/>
            <p:cNvSpPr/>
            <p:nvPr/>
          </p:nvSpPr>
          <p:spPr bwMode="ltGray">
            <a:xfrm>
              <a:off x="6409400" y="5726500"/>
              <a:ext cx="324000" cy="144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GR</a:t>
              </a:r>
            </a:p>
          </p:txBody>
        </p:sp>
        <p:sp>
          <p:nvSpPr>
            <p:cNvPr id="137" name="Rectangle 136"/>
            <p:cNvSpPr/>
            <p:nvPr/>
          </p:nvSpPr>
          <p:spPr bwMode="ltGray">
            <a:xfrm>
              <a:off x="3808480" y="2411556"/>
              <a:ext cx="324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IS</a:t>
              </a:r>
            </a:p>
          </p:txBody>
        </p:sp>
        <p:sp>
          <p:nvSpPr>
            <p:cNvPr id="138" name="Rectangle 137"/>
            <p:cNvSpPr/>
            <p:nvPr/>
          </p:nvSpPr>
          <p:spPr bwMode="ltGray">
            <a:xfrm>
              <a:off x="7548944" y="5558393"/>
              <a:ext cx="360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TR</a:t>
              </a:r>
            </a:p>
          </p:txBody>
        </p:sp>
        <p:sp>
          <p:nvSpPr>
            <p:cNvPr id="139" name="Rectangle 138"/>
            <p:cNvSpPr/>
            <p:nvPr/>
          </p:nvSpPr>
          <p:spPr bwMode="ltGray">
            <a:xfrm>
              <a:off x="5233713" y="3191448"/>
              <a:ext cx="324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NO</a:t>
              </a:r>
            </a:p>
          </p:txBody>
        </p:sp>
        <p:sp>
          <p:nvSpPr>
            <p:cNvPr id="140" name="Rectangle 139"/>
            <p:cNvSpPr/>
            <p:nvPr/>
          </p:nvSpPr>
          <p:spPr bwMode="ltGray">
            <a:xfrm>
              <a:off x="5004048" y="4941168"/>
              <a:ext cx="360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CH</a:t>
              </a:r>
              <a:endParaRPr lang="en-GB" sz="675" kern="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41" name="Rectangle 140"/>
            <p:cNvSpPr/>
            <p:nvPr/>
          </p:nvSpPr>
          <p:spPr bwMode="ltGray">
            <a:xfrm>
              <a:off x="6344807" y="5492049"/>
              <a:ext cx="324000" cy="144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MK</a:t>
              </a:r>
            </a:p>
          </p:txBody>
        </p:sp>
        <p:sp>
          <p:nvSpPr>
            <p:cNvPr id="142" name="Rectangle 141"/>
            <p:cNvSpPr/>
            <p:nvPr/>
          </p:nvSpPr>
          <p:spPr bwMode="ltGray">
            <a:xfrm>
              <a:off x="5256104" y="4881030"/>
              <a:ext cx="252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LI</a:t>
              </a:r>
            </a:p>
          </p:txBody>
        </p:sp>
        <p:sp>
          <p:nvSpPr>
            <p:cNvPr id="143" name="Rectangle 142"/>
            <p:cNvSpPr/>
            <p:nvPr/>
          </p:nvSpPr>
          <p:spPr bwMode="ltGray">
            <a:xfrm>
              <a:off x="5615724" y="4793662"/>
              <a:ext cx="396000" cy="144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AT</a:t>
              </a: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7418746" y="1133603"/>
            <a:ext cx="1490540" cy="794756"/>
            <a:chOff x="5084672" y="-102188"/>
            <a:chExt cx="2035826" cy="1059673"/>
          </a:xfrm>
        </p:grpSpPr>
        <p:grpSp>
          <p:nvGrpSpPr>
            <p:cNvPr id="196" name="Group 195"/>
            <p:cNvGrpSpPr/>
            <p:nvPr/>
          </p:nvGrpSpPr>
          <p:grpSpPr>
            <a:xfrm>
              <a:off x="5084672" y="-102188"/>
              <a:ext cx="1891827" cy="292388"/>
              <a:chOff x="-1338511" y="3995783"/>
              <a:chExt cx="1678997" cy="292388"/>
            </a:xfrm>
          </p:grpSpPr>
          <p:sp>
            <p:nvSpPr>
              <p:cNvPr id="197" name="Rectangle 196"/>
              <p:cNvSpPr/>
              <p:nvPr/>
            </p:nvSpPr>
            <p:spPr>
              <a:xfrm>
                <a:off x="-1338511" y="4062126"/>
                <a:ext cx="241247" cy="130461"/>
              </a:xfrm>
              <a:prstGeom prst="rect">
                <a:avLst/>
              </a:prstGeom>
              <a:solidFill>
                <a:srgbClr val="00B050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200"/>
              </a:p>
            </p:txBody>
          </p:sp>
          <p:sp>
            <p:nvSpPr>
              <p:cNvPr id="198" name="TextBox 197"/>
              <p:cNvSpPr txBox="1"/>
              <p:nvPr/>
            </p:nvSpPr>
            <p:spPr>
              <a:xfrm>
                <a:off x="-1097264" y="3995783"/>
                <a:ext cx="1437750" cy="2923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825" dirty="0"/>
                  <a:t>Combination</a:t>
                </a:r>
              </a:p>
            </p:txBody>
          </p:sp>
        </p:grpSp>
        <p:grpSp>
          <p:nvGrpSpPr>
            <p:cNvPr id="199" name="Group 198"/>
            <p:cNvGrpSpPr/>
            <p:nvPr/>
          </p:nvGrpSpPr>
          <p:grpSpPr>
            <a:xfrm>
              <a:off x="5091235" y="174557"/>
              <a:ext cx="1855828" cy="292388"/>
              <a:chOff x="-1332687" y="4008499"/>
              <a:chExt cx="1647048" cy="292388"/>
            </a:xfrm>
          </p:grpSpPr>
          <p:sp>
            <p:nvSpPr>
              <p:cNvPr id="200" name="Rectangle 199"/>
              <p:cNvSpPr/>
              <p:nvPr/>
            </p:nvSpPr>
            <p:spPr>
              <a:xfrm>
                <a:off x="-1332687" y="4074832"/>
                <a:ext cx="241247" cy="130461"/>
              </a:xfrm>
              <a:prstGeom prst="rect">
                <a:avLst/>
              </a:prstGeom>
              <a:solidFill>
                <a:srgbClr val="FDC795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200"/>
              </a:p>
            </p:txBody>
          </p:sp>
          <p:sp>
            <p:nvSpPr>
              <p:cNvPr id="201" name="TextBox 200"/>
              <p:cNvSpPr txBox="1"/>
              <p:nvPr/>
            </p:nvSpPr>
            <p:spPr>
              <a:xfrm>
                <a:off x="-1091440" y="4008499"/>
                <a:ext cx="1405801" cy="2923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825" dirty="0"/>
                  <a:t>Back-office integration</a:t>
                </a:r>
              </a:p>
            </p:txBody>
          </p:sp>
        </p:grpSp>
        <p:grpSp>
          <p:nvGrpSpPr>
            <p:cNvPr id="202" name="Group 201"/>
            <p:cNvGrpSpPr/>
            <p:nvPr/>
          </p:nvGrpSpPr>
          <p:grpSpPr>
            <a:xfrm>
              <a:off x="5084672" y="665097"/>
              <a:ext cx="1135825" cy="292388"/>
              <a:chOff x="-1338513" y="3970980"/>
              <a:chExt cx="1008047" cy="292388"/>
            </a:xfrm>
          </p:grpSpPr>
          <p:sp>
            <p:nvSpPr>
              <p:cNvPr id="203" name="Rectangle 202"/>
              <p:cNvSpPr/>
              <p:nvPr/>
            </p:nvSpPr>
            <p:spPr>
              <a:xfrm>
                <a:off x="-1338513" y="4037313"/>
                <a:ext cx="241246" cy="130461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200"/>
              </a:p>
            </p:txBody>
          </p:sp>
          <p:sp>
            <p:nvSpPr>
              <p:cNvPr id="204" name="TextBox 203"/>
              <p:cNvSpPr txBox="1"/>
              <p:nvPr/>
            </p:nvSpPr>
            <p:spPr>
              <a:xfrm>
                <a:off x="-1097266" y="3970980"/>
                <a:ext cx="766800" cy="2923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825" dirty="0"/>
                  <a:t>N/A</a:t>
                </a:r>
              </a:p>
            </p:txBody>
          </p:sp>
        </p:grpSp>
        <p:grpSp>
          <p:nvGrpSpPr>
            <p:cNvPr id="206" name="Group 205"/>
            <p:cNvGrpSpPr/>
            <p:nvPr/>
          </p:nvGrpSpPr>
          <p:grpSpPr>
            <a:xfrm>
              <a:off x="5084672" y="425242"/>
              <a:ext cx="2035826" cy="292388"/>
              <a:chOff x="-1338511" y="3995155"/>
              <a:chExt cx="1806797" cy="292388"/>
            </a:xfrm>
          </p:grpSpPr>
          <p:sp>
            <p:nvSpPr>
              <p:cNvPr id="207" name="Rectangle 206"/>
              <p:cNvSpPr/>
              <p:nvPr/>
            </p:nvSpPr>
            <p:spPr>
              <a:xfrm>
                <a:off x="-1338511" y="4061488"/>
                <a:ext cx="241247" cy="130461"/>
              </a:xfrm>
              <a:prstGeom prst="rect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200"/>
              </a:p>
            </p:txBody>
          </p:sp>
          <p:sp>
            <p:nvSpPr>
              <p:cNvPr id="208" name="TextBox 207"/>
              <p:cNvSpPr txBox="1"/>
              <p:nvPr/>
            </p:nvSpPr>
            <p:spPr>
              <a:xfrm>
                <a:off x="-1097264" y="3995155"/>
                <a:ext cx="1565550" cy="2923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825" dirty="0"/>
                  <a:t>Front-office integration</a:t>
                </a:r>
              </a:p>
            </p:txBody>
          </p:sp>
        </p:grpSp>
      </p:grpSp>
      <p:sp>
        <p:nvSpPr>
          <p:cNvPr id="184" name="Rectangle 183"/>
          <p:cNvSpPr/>
          <p:nvPr/>
        </p:nvSpPr>
        <p:spPr>
          <a:xfrm>
            <a:off x="470103" y="3247431"/>
            <a:ext cx="3021777" cy="115363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4541" lvl="2" indent="-3572">
              <a:lnSpc>
                <a:spcPct val="150000"/>
              </a:lnSpc>
              <a:spcBef>
                <a:spcPts val="375"/>
              </a:spcBef>
              <a:buClr>
                <a:srgbClr val="ED7404"/>
              </a:buClr>
            </a:pPr>
            <a:r>
              <a:rPr lang="en-US" sz="825" dirty="0">
                <a:solidFill>
                  <a:schemeClr val="tx1"/>
                </a:solidFill>
                <a:cs typeface="Arial" panose="020B0604020202020204" pitchFamily="34" charset="0"/>
              </a:rPr>
              <a:t>A </a:t>
            </a:r>
            <a:r>
              <a:rPr lang="en-US" sz="825" b="1" dirty="0">
                <a:solidFill>
                  <a:schemeClr val="tx1"/>
                </a:solidFill>
                <a:cs typeface="Arial" panose="020B0604020202020204" pitchFamily="34" charset="0"/>
              </a:rPr>
              <a:t>combination of both Front and Back-office integration is used by a vast majority of countries </a:t>
            </a:r>
            <a:r>
              <a:rPr lang="en-US" sz="825" dirty="0">
                <a:solidFill>
                  <a:schemeClr val="tx1"/>
                </a:solidFill>
                <a:cs typeface="Arial" panose="020B0604020202020204" pitchFamily="34" charset="0"/>
              </a:rPr>
              <a:t>to implement the OOP. In fact, this approach facilitates the different applications and related processes used to implement the OOP.</a:t>
            </a:r>
          </a:p>
        </p:txBody>
      </p:sp>
    </p:spTree>
    <p:extLst>
      <p:ext uri="{BB962C8B-B14F-4D97-AF65-F5344CB8AC3E}">
        <p14:creationId xmlns:p14="http://schemas.microsoft.com/office/powerpoint/2010/main" val="16886751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8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8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4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Agenda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95536" y="1424084"/>
            <a:ext cx="8229600" cy="3744416"/>
          </a:xfrm>
        </p:spPr>
        <p:txBody>
          <a:bodyPr>
            <a:normAutofit/>
          </a:bodyPr>
          <a:lstStyle/>
          <a:p>
            <a:pPr marL="457200" indent="-457200"/>
            <a:r>
              <a:rPr lang="en-US" sz="2400" dirty="0" smtClean="0"/>
              <a:t>Key findings and conclusions of the European study on the “Once Only</a:t>
            </a:r>
            <a:r>
              <a:rPr lang="en-US" sz="2400" dirty="0" smtClean="0"/>
              <a:t>”</a:t>
            </a:r>
            <a:r>
              <a:rPr lang="en-US" sz="2400" dirty="0" smtClean="0"/>
              <a:t> principle conducted in the context of EUPAN</a:t>
            </a:r>
          </a:p>
          <a:p>
            <a:pPr marL="457200" indent="-457200"/>
            <a:r>
              <a:rPr lang="en-US" sz="2400" dirty="0" smtClean="0">
                <a:solidFill>
                  <a:srgbClr val="FF0000"/>
                </a:solidFill>
              </a:rPr>
              <a:t>Core eGovernment principles adopted by the Luxembourg Government Council and implementation on the </a:t>
            </a:r>
            <a:r>
              <a:rPr lang="en-US" sz="2400" dirty="0" err="1" smtClean="0">
                <a:solidFill>
                  <a:srgbClr val="FF0000"/>
                </a:solidFill>
              </a:rPr>
              <a:t>MyGuichet</a:t>
            </a:r>
            <a:r>
              <a:rPr lang="en-US" sz="2400" dirty="0" smtClean="0">
                <a:solidFill>
                  <a:srgbClr val="FF0000"/>
                </a:solidFill>
              </a:rPr>
              <a:t> platform</a:t>
            </a:r>
            <a:endParaRPr lang="en-US" sz="2400" dirty="0" smtClean="0">
              <a:solidFill>
                <a:srgbClr val="FF0000"/>
              </a:solidFill>
            </a:endParaRPr>
          </a:p>
        </p:txBody>
      </p:sp>
      <p:sp>
        <p:nvSpPr>
          <p:cNvPr id="4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8200800" y="4747557"/>
            <a:ext cx="486000" cy="377429"/>
          </a:xfrm>
        </p:spPr>
        <p:txBody>
          <a:bodyPr/>
          <a:lstStyle/>
          <a:p>
            <a:pPr>
              <a:defRPr/>
            </a:pPr>
            <a:r>
              <a:rPr lang="en-GB" dirty="0" smtClean="0"/>
              <a:t>2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20740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sz="2800" dirty="0" err="1" smtClean="0"/>
              <a:t>Towards</a:t>
            </a:r>
            <a:r>
              <a:rPr lang="fr-FR" sz="2800" dirty="0" smtClean="0"/>
              <a:t> a </a:t>
            </a:r>
            <a:r>
              <a:rPr lang="fr-FR" sz="2800" dirty="0" err="1" smtClean="0"/>
              <a:t>highly</a:t>
            </a:r>
            <a:r>
              <a:rPr lang="fr-FR" sz="2800" dirty="0" smtClean="0"/>
              <a:t> performant </a:t>
            </a:r>
            <a:r>
              <a:rPr lang="fr-FR" sz="2800" dirty="0" err="1" smtClean="0"/>
              <a:t>eAdministration</a:t>
            </a:r>
            <a:endParaRPr lang="en-US" sz="280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/>
            <a:r>
              <a:rPr lang="en-US" sz="2400" dirty="0" smtClean="0"/>
              <a:t>Fundamental</a:t>
            </a:r>
            <a:r>
              <a:rPr lang="fr-FR" sz="2400" dirty="0" smtClean="0"/>
              <a:t> </a:t>
            </a:r>
            <a:r>
              <a:rPr lang="fr-FR" sz="2400" dirty="0" err="1" smtClean="0"/>
              <a:t>principles</a:t>
            </a:r>
            <a:r>
              <a:rPr lang="fr-FR" sz="2400" dirty="0" smtClean="0"/>
              <a:t> </a:t>
            </a:r>
            <a:r>
              <a:rPr lang="fr-FR" sz="2400" dirty="0" err="1" smtClean="0"/>
              <a:t>adopted</a:t>
            </a:r>
            <a:r>
              <a:rPr lang="fr-FR" sz="2400" dirty="0" smtClean="0"/>
              <a:t> in July 2015 by the Luxembourg </a:t>
            </a:r>
            <a:r>
              <a:rPr lang="fr-FR" sz="2400" dirty="0" err="1" smtClean="0"/>
              <a:t>Government</a:t>
            </a:r>
            <a:r>
              <a:rPr lang="fr-FR" sz="2400" dirty="0" smtClean="0"/>
              <a:t> Council:</a:t>
            </a:r>
          </a:p>
          <a:p>
            <a:pPr indent="0">
              <a:buNone/>
            </a:pPr>
            <a:endParaRPr lang="fr-FR" sz="1800" dirty="0" smtClean="0"/>
          </a:p>
          <a:p>
            <a:pPr lvl="1"/>
            <a:r>
              <a:rPr lang="en-US" sz="2000" dirty="0" smtClean="0"/>
              <a:t>Digital by Default</a:t>
            </a:r>
          </a:p>
          <a:p>
            <a:pPr lvl="1"/>
            <a:r>
              <a:rPr lang="en-US" sz="2000" dirty="0" smtClean="0"/>
              <a:t>Transparency</a:t>
            </a:r>
          </a:p>
          <a:p>
            <a:pPr lvl="1"/>
            <a:r>
              <a:rPr lang="en-US" sz="2000" b="1" dirty="0" smtClean="0"/>
              <a:t>« Once </a:t>
            </a:r>
            <a:r>
              <a:rPr lang="en-US" sz="2000" b="1" dirty="0" smtClean="0"/>
              <a:t>O</a:t>
            </a:r>
            <a:r>
              <a:rPr lang="en-US" sz="2000" b="1" dirty="0" smtClean="0"/>
              <a:t>nly » principle</a:t>
            </a:r>
            <a:endParaRPr lang="en-US" sz="2000" b="1" dirty="0"/>
          </a:p>
        </p:txBody>
      </p:sp>
      <p:sp>
        <p:nvSpPr>
          <p:cNvPr id="4" name="Flèche droite 3"/>
          <p:cNvSpPr/>
          <p:nvPr/>
        </p:nvSpPr>
        <p:spPr>
          <a:xfrm>
            <a:off x="611560" y="3795886"/>
            <a:ext cx="1501253" cy="409433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ZoneTexte 4"/>
          <p:cNvSpPr txBox="1"/>
          <p:nvPr/>
        </p:nvSpPr>
        <p:spPr>
          <a:xfrm>
            <a:off x="2392084" y="3538937"/>
            <a:ext cx="629471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Right balance has to be found between administrative simplification and </a:t>
            </a:r>
            <a:r>
              <a:rPr lang="en-US" dirty="0" err="1" smtClean="0"/>
              <a:t>modernisation</a:t>
            </a:r>
            <a:r>
              <a:rPr lang="en-US" dirty="0" smtClean="0"/>
              <a:t> and data protection</a:t>
            </a:r>
          </a:p>
          <a:p>
            <a:r>
              <a:rPr lang="en-US" b="1" dirty="0" smtClean="0">
                <a:sym typeface="Wingdings" panose="05000000000000000000" pitchFamily="2" charset="2"/>
              </a:rPr>
              <a:t> Trust is key!</a:t>
            </a:r>
            <a:endParaRPr lang="en-US" b="1" dirty="0"/>
          </a:p>
        </p:txBody>
      </p:sp>
      <p:pic>
        <p:nvPicPr>
          <p:cNvPr id="6" name="Image 5" descr="MhzjYKNP.jpe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280" y="1779662"/>
            <a:ext cx="1428874" cy="142887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041106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itre 2"/>
          <p:cNvSpPr>
            <a:spLocks noGrp="1"/>
          </p:cNvSpPr>
          <p:nvPr>
            <p:ph type="title"/>
          </p:nvPr>
        </p:nvSpPr>
        <p:spPr>
          <a:xfrm>
            <a:off x="539552" y="87474"/>
            <a:ext cx="6552728" cy="378619"/>
          </a:xfrm>
        </p:spPr>
        <p:txBody>
          <a:bodyPr>
            <a:noAutofit/>
          </a:bodyPr>
          <a:lstStyle/>
          <a:p>
            <a:r>
              <a:rPr lang="en-GB" sz="2800" dirty="0" err="1" smtClean="0"/>
              <a:t>MyGuichet</a:t>
            </a:r>
            <a:r>
              <a:rPr lang="en-GB" sz="2800" dirty="0" smtClean="0"/>
              <a:t> </a:t>
            </a:r>
            <a:r>
              <a:rPr lang="en-GB" sz="2800" dirty="0" smtClean="0"/>
              <a:t>platform</a:t>
            </a:r>
            <a:endParaRPr lang="en-GB" sz="2800" dirty="0"/>
          </a:p>
        </p:txBody>
      </p:sp>
      <p:grpSp>
        <p:nvGrpSpPr>
          <p:cNvPr id="2" name="Group 1"/>
          <p:cNvGrpSpPr/>
          <p:nvPr/>
        </p:nvGrpSpPr>
        <p:grpSpPr>
          <a:xfrm>
            <a:off x="2339752" y="771550"/>
            <a:ext cx="4261277" cy="3939902"/>
            <a:chOff x="1966907" y="451232"/>
            <a:chExt cx="4961367" cy="4692268"/>
          </a:xfrm>
        </p:grpSpPr>
        <p:pic>
          <p:nvPicPr>
            <p:cNvPr id="60" name="Picture 59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11314" y="1611678"/>
              <a:ext cx="3657095" cy="2584289"/>
            </a:xfrm>
            <a:prstGeom prst="rect">
              <a:avLst/>
            </a:prstGeom>
          </p:spPr>
        </p:pic>
        <p:pic>
          <p:nvPicPr>
            <p:cNvPr id="61" name="Picture 60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78223" y="3787966"/>
              <a:ext cx="1381933" cy="1281225"/>
            </a:xfrm>
            <a:prstGeom prst="rect">
              <a:avLst/>
            </a:prstGeom>
          </p:spPr>
        </p:pic>
        <p:pic>
          <p:nvPicPr>
            <p:cNvPr id="62" name="Picture 61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04348" y="451232"/>
              <a:ext cx="1381933" cy="1281225"/>
            </a:xfrm>
            <a:prstGeom prst="rect">
              <a:avLst/>
            </a:prstGeom>
          </p:spPr>
        </p:pic>
        <p:pic>
          <p:nvPicPr>
            <p:cNvPr id="63" name="Picture 62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22415" y="1077946"/>
              <a:ext cx="1381933" cy="1281225"/>
            </a:xfrm>
            <a:prstGeom prst="rect">
              <a:avLst/>
            </a:prstGeom>
          </p:spPr>
        </p:pic>
        <p:pic>
          <p:nvPicPr>
            <p:cNvPr id="64" name="Picture 63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66907" y="2550874"/>
              <a:ext cx="1381933" cy="1281225"/>
            </a:xfrm>
            <a:prstGeom prst="rect">
              <a:avLst/>
            </a:prstGeom>
          </p:spPr>
        </p:pic>
        <p:pic>
          <p:nvPicPr>
            <p:cNvPr id="65" name="Picture 64"/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46341" y="2521603"/>
              <a:ext cx="1381933" cy="1281225"/>
            </a:xfrm>
            <a:prstGeom prst="rect">
              <a:avLst/>
            </a:prstGeom>
          </p:spPr>
        </p:pic>
        <p:pic>
          <p:nvPicPr>
            <p:cNvPr id="66" name="Picture 65"/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76204" y="1091844"/>
              <a:ext cx="1381933" cy="1281225"/>
            </a:xfrm>
            <a:prstGeom prst="rect">
              <a:avLst/>
            </a:prstGeom>
          </p:spPr>
        </p:pic>
        <p:pic>
          <p:nvPicPr>
            <p:cNvPr id="72" name="Picture 71"/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64386" y="3862275"/>
              <a:ext cx="1381933" cy="1281225"/>
            </a:xfrm>
            <a:prstGeom prst="rect">
              <a:avLst/>
            </a:prstGeom>
          </p:spPr>
        </p:pic>
        <p:pic>
          <p:nvPicPr>
            <p:cNvPr id="10242" name="Picture 2" descr="MyGuichet/"/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82899" y="2692509"/>
              <a:ext cx="1409700" cy="3238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24" descr="http://upload.wikimedia.org/wikipedia/commons/4/47/Done.png"/>
            <p:cNvPicPr>
              <a:picLocks noChangeAspect="1" noChangeArrowheads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96991" y="1506221"/>
              <a:ext cx="171429" cy="1714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" name="Picture 24" descr="http://upload.wikimedia.org/wikipedia/commons/4/47/Done.png"/>
            <p:cNvPicPr>
              <a:picLocks noChangeAspect="1" noChangeArrowheads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96990" y="1704660"/>
              <a:ext cx="171429" cy="1714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" name="TextBox 2"/>
          <p:cNvSpPr txBox="1"/>
          <p:nvPr/>
        </p:nvSpPr>
        <p:spPr>
          <a:xfrm>
            <a:off x="4814691" y="789806"/>
            <a:ext cx="10801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dirty="0" smtClean="0">
                <a:solidFill>
                  <a:schemeClr val="bg1">
                    <a:lumMod val="50000"/>
                  </a:schemeClr>
                </a:solidFill>
              </a:rPr>
              <a:t>Eco </a:t>
            </a:r>
            <a:r>
              <a:rPr lang="fr-FR" sz="1400" dirty="0" err="1" smtClean="0">
                <a:solidFill>
                  <a:schemeClr val="bg1">
                    <a:lumMod val="50000"/>
                  </a:schemeClr>
                </a:solidFill>
              </a:rPr>
              <a:t>friendly</a:t>
            </a:r>
            <a:endParaRPr lang="en-US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689656" y="3631160"/>
            <a:ext cx="14636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</a:rPr>
              <a:t>High availability</a:t>
            </a:r>
            <a:endParaRPr lang="en-US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127722" y="1279522"/>
            <a:ext cx="10801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dirty="0" smtClean="0">
                <a:solidFill>
                  <a:schemeClr val="bg1">
                    <a:lumMod val="50000"/>
                  </a:schemeClr>
                </a:solidFill>
              </a:rPr>
              <a:t>Security</a:t>
            </a:r>
            <a:endParaRPr lang="en-US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401240" y="2400728"/>
            <a:ext cx="10801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dirty="0" smtClean="0">
                <a:solidFill>
                  <a:schemeClr val="bg1">
                    <a:lumMod val="50000"/>
                  </a:schemeClr>
                </a:solidFill>
              </a:rPr>
              <a:t>Time gain</a:t>
            </a:r>
            <a:endParaRPr lang="en-US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498397" y="3665783"/>
            <a:ext cx="18722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</a:rPr>
              <a:t>Supporting</a:t>
            </a:r>
            <a:r>
              <a:rPr lang="fr-FR" sz="14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fr-FR" sz="1400" dirty="0" smtClean="0">
                <a:solidFill>
                  <a:schemeClr val="bg1">
                    <a:lumMod val="50000"/>
                  </a:schemeClr>
                </a:solidFill>
              </a:rPr>
              <a:t>document management</a:t>
            </a:r>
            <a:endParaRPr lang="en-US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229182" y="2417861"/>
            <a:ext cx="14159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</a:rPr>
              <a:t>Tailored</a:t>
            </a:r>
            <a:r>
              <a:rPr lang="fr-FR" sz="14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</a:rPr>
              <a:t>dialog</a:t>
            </a:r>
            <a:endParaRPr lang="en-US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101505" y="1169939"/>
            <a:ext cx="8072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dirty="0" err="1" smtClean="0">
                <a:solidFill>
                  <a:schemeClr val="bg1">
                    <a:lumMod val="50000"/>
                  </a:schemeClr>
                </a:solidFill>
              </a:rPr>
              <a:t>Tracking</a:t>
            </a:r>
            <a:endParaRPr lang="en-US" sz="14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81616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/>
          <p:cNvSpPr/>
          <p:nvPr/>
        </p:nvSpPr>
        <p:spPr>
          <a:xfrm>
            <a:off x="0" y="4529418"/>
            <a:ext cx="9144000" cy="6140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8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Titre 2"/>
          <p:cNvSpPr>
            <a:spLocks noGrp="1"/>
          </p:cNvSpPr>
          <p:nvPr>
            <p:ph type="title"/>
          </p:nvPr>
        </p:nvSpPr>
        <p:spPr>
          <a:xfrm>
            <a:off x="386534" y="277977"/>
            <a:ext cx="4320480" cy="378619"/>
          </a:xfrm>
        </p:spPr>
        <p:txBody>
          <a:bodyPr>
            <a:normAutofit fontScale="90000"/>
          </a:bodyPr>
          <a:lstStyle/>
          <a:p>
            <a:r>
              <a:rPr lang="en-GB" dirty="0" smtClean="0"/>
              <a:t>MyGuichet workflow</a:t>
            </a:r>
            <a:endParaRPr lang="en-GB" dirty="0"/>
          </a:p>
        </p:txBody>
      </p:sp>
      <p:sp>
        <p:nvSpPr>
          <p:cNvPr id="100" name="Rounded Rectangle 99"/>
          <p:cNvSpPr/>
          <p:nvPr/>
        </p:nvSpPr>
        <p:spPr bwMode="auto">
          <a:xfrm>
            <a:off x="5724128" y="1203599"/>
            <a:ext cx="2088232" cy="3816423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rgbClr val="33333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1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34" charset="-128"/>
            </a:endParaRPr>
          </a:p>
        </p:txBody>
      </p:sp>
      <p:sp>
        <p:nvSpPr>
          <p:cNvPr id="101" name="Rounded Rectangle 100"/>
          <p:cNvSpPr/>
          <p:nvPr/>
        </p:nvSpPr>
        <p:spPr bwMode="auto">
          <a:xfrm>
            <a:off x="1417006" y="1203599"/>
            <a:ext cx="2794953" cy="3818760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rgbClr val="33333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1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34" charset="-128"/>
            </a:endParaRPr>
          </a:p>
        </p:txBody>
      </p:sp>
      <p:pic>
        <p:nvPicPr>
          <p:cNvPr id="102" name="Picture 101" descr="MyGuichet avec LuxTrust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7915"/>
          <a:stretch/>
        </p:blipFill>
        <p:spPr bwMode="auto">
          <a:xfrm>
            <a:off x="2114161" y="1311102"/>
            <a:ext cx="1315797" cy="2650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4" name="Rectangle 103"/>
          <p:cNvSpPr/>
          <p:nvPr/>
        </p:nvSpPr>
        <p:spPr bwMode="auto">
          <a:xfrm>
            <a:off x="2195736" y="1560836"/>
            <a:ext cx="1080120" cy="326585"/>
          </a:xfrm>
          <a:prstGeom prst="rect">
            <a:avLst/>
          </a:prstGeom>
          <a:solidFill>
            <a:srgbClr val="EAF5F6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00" tIns="54000" rIns="67500" bIns="54000" rtlCol="0" anchor="ctr" anchorCtr="0"/>
          <a:lstStyle/>
          <a:p>
            <a:pPr algn="ctr">
              <a:spcAft>
                <a:spcPct val="40000"/>
              </a:spcAft>
            </a:pPr>
            <a:r>
              <a:rPr lang="fr-FR" sz="1050" b="1" dirty="0" err="1">
                <a:solidFill>
                  <a:srgbClr val="5496D4"/>
                </a:solidFill>
              </a:rPr>
              <a:t>Strong</a:t>
            </a:r>
            <a:r>
              <a:rPr lang="fr-FR" sz="1050" b="1" dirty="0">
                <a:solidFill>
                  <a:srgbClr val="5496D4"/>
                </a:solidFill>
              </a:rPr>
              <a:t> </a:t>
            </a:r>
            <a:r>
              <a:rPr lang="fr-FR" sz="1050" b="1" dirty="0" err="1">
                <a:solidFill>
                  <a:srgbClr val="5496D4"/>
                </a:solidFill>
              </a:rPr>
              <a:t>authentication</a:t>
            </a:r>
            <a:endParaRPr lang="fr-FR" sz="1050" b="1" dirty="0">
              <a:solidFill>
                <a:srgbClr val="5496D4"/>
              </a:solidFill>
            </a:endParaRPr>
          </a:p>
        </p:txBody>
      </p:sp>
      <p:sp>
        <p:nvSpPr>
          <p:cNvPr id="105" name="Rectangle 104"/>
          <p:cNvSpPr/>
          <p:nvPr/>
        </p:nvSpPr>
        <p:spPr bwMode="auto">
          <a:xfrm>
            <a:off x="2771800" y="2015088"/>
            <a:ext cx="1080120" cy="326585"/>
          </a:xfrm>
          <a:prstGeom prst="rect">
            <a:avLst/>
          </a:prstGeom>
          <a:solidFill>
            <a:srgbClr val="EAF5F6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00" tIns="54000" rIns="67500" bIns="54000" rtlCol="0" anchor="ctr" anchorCtr="0"/>
          <a:lstStyle/>
          <a:p>
            <a:pPr algn="ctr">
              <a:spcAft>
                <a:spcPct val="40000"/>
              </a:spcAft>
            </a:pPr>
            <a:r>
              <a:rPr lang="fr-FR" sz="1050" b="1" dirty="0" smtClean="0">
                <a:solidFill>
                  <a:srgbClr val="5496D4"/>
                </a:solidFill>
              </a:rPr>
              <a:t>Administrative </a:t>
            </a:r>
            <a:r>
              <a:rPr lang="fr-FR" sz="1050" b="1" dirty="0" err="1" smtClean="0">
                <a:solidFill>
                  <a:srgbClr val="5496D4"/>
                </a:solidFill>
              </a:rPr>
              <a:t>task</a:t>
            </a:r>
            <a:endParaRPr lang="fr-FR" sz="1050" b="1" dirty="0">
              <a:solidFill>
                <a:srgbClr val="5496D4"/>
              </a:solidFill>
            </a:endParaRPr>
          </a:p>
        </p:txBody>
      </p:sp>
      <p:sp>
        <p:nvSpPr>
          <p:cNvPr id="106" name="Rectangle 105"/>
          <p:cNvSpPr/>
          <p:nvPr/>
        </p:nvSpPr>
        <p:spPr bwMode="auto">
          <a:xfrm>
            <a:off x="2771799" y="2912639"/>
            <a:ext cx="1080122" cy="326585"/>
          </a:xfrm>
          <a:prstGeom prst="rect">
            <a:avLst/>
          </a:prstGeom>
          <a:solidFill>
            <a:srgbClr val="EAF5F6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00" tIns="54000" rIns="67500" bIns="54000" rtlCol="0" anchor="ctr" anchorCtr="0"/>
          <a:lstStyle/>
          <a:p>
            <a:pPr algn="ctr">
              <a:spcAft>
                <a:spcPct val="40000"/>
              </a:spcAft>
            </a:pPr>
            <a:r>
              <a:rPr lang="fr-FR" sz="1050" b="1" dirty="0" err="1">
                <a:solidFill>
                  <a:srgbClr val="5496D4"/>
                </a:solidFill>
              </a:rPr>
              <a:t>eSign</a:t>
            </a:r>
            <a:endParaRPr lang="fr-FR" sz="1050" b="1" dirty="0">
              <a:solidFill>
                <a:srgbClr val="5496D4"/>
              </a:solidFill>
            </a:endParaRPr>
          </a:p>
        </p:txBody>
      </p:sp>
      <p:sp>
        <p:nvSpPr>
          <p:cNvPr id="107" name="Rectangle 106"/>
          <p:cNvSpPr/>
          <p:nvPr/>
        </p:nvSpPr>
        <p:spPr bwMode="auto">
          <a:xfrm>
            <a:off x="2771800" y="2447136"/>
            <a:ext cx="1080120" cy="326585"/>
          </a:xfrm>
          <a:prstGeom prst="rect">
            <a:avLst/>
          </a:prstGeom>
          <a:solidFill>
            <a:srgbClr val="EAF5F6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00" tIns="54000" rIns="67500" bIns="54000" rtlCol="0" anchor="ctr" anchorCtr="0"/>
          <a:lstStyle/>
          <a:p>
            <a:pPr algn="ctr">
              <a:spcAft>
                <a:spcPct val="40000"/>
              </a:spcAft>
            </a:pPr>
            <a:r>
              <a:rPr lang="fr-FR" sz="1050" b="1" dirty="0" smtClean="0">
                <a:solidFill>
                  <a:srgbClr val="5496D4"/>
                </a:solidFill>
              </a:rPr>
              <a:t>Data entry</a:t>
            </a:r>
            <a:endParaRPr lang="fr-FR" sz="1050" b="1" dirty="0">
              <a:solidFill>
                <a:srgbClr val="5496D4"/>
              </a:solidFill>
            </a:endParaRPr>
          </a:p>
        </p:txBody>
      </p:sp>
      <p:cxnSp>
        <p:nvCxnSpPr>
          <p:cNvPr id="108" name="Straight Arrow Connector 107"/>
          <p:cNvCxnSpPr>
            <a:stCxn id="104" idx="2"/>
            <a:endCxn id="105" idx="0"/>
          </p:cNvCxnSpPr>
          <p:nvPr/>
        </p:nvCxnSpPr>
        <p:spPr bwMode="auto">
          <a:xfrm>
            <a:off x="2735796" y="1887421"/>
            <a:ext cx="576064" cy="127667"/>
          </a:xfrm>
          <a:prstGeom prst="straightConnector1">
            <a:avLst/>
          </a:prstGeom>
          <a:solidFill>
            <a:srgbClr val="969696"/>
          </a:solidFill>
          <a:ln w="25400" cap="flat" cmpd="sng" algn="ctr">
            <a:solidFill>
              <a:srgbClr val="00B0F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09" name="Straight Arrow Connector 108"/>
          <p:cNvCxnSpPr>
            <a:stCxn id="105" idx="2"/>
            <a:endCxn id="107" idx="0"/>
          </p:cNvCxnSpPr>
          <p:nvPr/>
        </p:nvCxnSpPr>
        <p:spPr bwMode="auto">
          <a:xfrm>
            <a:off x="3311860" y="2341673"/>
            <a:ext cx="0" cy="105463"/>
          </a:xfrm>
          <a:prstGeom prst="straightConnector1">
            <a:avLst/>
          </a:prstGeom>
          <a:solidFill>
            <a:srgbClr val="969696"/>
          </a:solidFill>
          <a:ln w="25400" cap="flat" cmpd="sng" algn="ctr">
            <a:solidFill>
              <a:srgbClr val="00B0F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10" name="Straight Arrow Connector 109"/>
          <p:cNvCxnSpPr>
            <a:stCxn id="107" idx="2"/>
            <a:endCxn id="106" idx="0"/>
          </p:cNvCxnSpPr>
          <p:nvPr/>
        </p:nvCxnSpPr>
        <p:spPr bwMode="auto">
          <a:xfrm>
            <a:off x="3311860" y="2773721"/>
            <a:ext cx="0" cy="138918"/>
          </a:xfrm>
          <a:prstGeom prst="straightConnector1">
            <a:avLst/>
          </a:prstGeom>
          <a:solidFill>
            <a:srgbClr val="969696"/>
          </a:solidFill>
          <a:ln w="25400" cap="flat" cmpd="sng" algn="ctr">
            <a:solidFill>
              <a:srgbClr val="00B0F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11" name="Rectangle 110"/>
          <p:cNvSpPr/>
          <p:nvPr/>
        </p:nvSpPr>
        <p:spPr bwMode="auto">
          <a:xfrm>
            <a:off x="2771800" y="3383240"/>
            <a:ext cx="1080120" cy="326585"/>
          </a:xfrm>
          <a:prstGeom prst="rect">
            <a:avLst/>
          </a:prstGeom>
          <a:solidFill>
            <a:srgbClr val="EAF5F6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00" tIns="54000" rIns="67500" bIns="54000" rtlCol="0" anchor="ctr" anchorCtr="0"/>
          <a:lstStyle/>
          <a:p>
            <a:pPr algn="ctr">
              <a:spcAft>
                <a:spcPct val="40000"/>
              </a:spcAft>
            </a:pPr>
            <a:r>
              <a:rPr lang="fr-FR" sz="1050" b="1" dirty="0" err="1">
                <a:solidFill>
                  <a:srgbClr val="5496D4"/>
                </a:solidFill>
              </a:rPr>
              <a:t>Additional</a:t>
            </a:r>
            <a:r>
              <a:rPr lang="fr-FR" sz="1050" b="1" dirty="0">
                <a:solidFill>
                  <a:srgbClr val="5496D4"/>
                </a:solidFill>
              </a:rPr>
              <a:t> documents</a:t>
            </a:r>
          </a:p>
        </p:txBody>
      </p:sp>
      <p:cxnSp>
        <p:nvCxnSpPr>
          <p:cNvPr id="112" name="Straight Arrow Connector 111"/>
          <p:cNvCxnSpPr>
            <a:stCxn id="106" idx="2"/>
            <a:endCxn id="111" idx="0"/>
          </p:cNvCxnSpPr>
          <p:nvPr/>
        </p:nvCxnSpPr>
        <p:spPr bwMode="auto">
          <a:xfrm>
            <a:off x="3311860" y="3239224"/>
            <a:ext cx="0" cy="144016"/>
          </a:xfrm>
          <a:prstGeom prst="straightConnector1">
            <a:avLst/>
          </a:prstGeom>
          <a:solidFill>
            <a:srgbClr val="969696"/>
          </a:solidFill>
          <a:ln w="25400" cap="flat" cmpd="sng" algn="ctr">
            <a:solidFill>
              <a:srgbClr val="00B0F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13" name="Rectangle 112"/>
          <p:cNvSpPr/>
          <p:nvPr/>
        </p:nvSpPr>
        <p:spPr bwMode="auto">
          <a:xfrm>
            <a:off x="2771800" y="4103320"/>
            <a:ext cx="1080120" cy="326585"/>
          </a:xfrm>
          <a:prstGeom prst="rect">
            <a:avLst/>
          </a:prstGeom>
          <a:solidFill>
            <a:srgbClr val="EAF5F6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00" tIns="54000" rIns="67500" bIns="54000" rtlCol="0" anchor="ctr" anchorCtr="0"/>
          <a:lstStyle/>
          <a:p>
            <a:pPr algn="ctr">
              <a:spcAft>
                <a:spcPct val="40000"/>
              </a:spcAft>
            </a:pPr>
            <a:r>
              <a:rPr lang="fr-FR" sz="1050" b="1" dirty="0">
                <a:solidFill>
                  <a:srgbClr val="5496D4"/>
                </a:solidFill>
              </a:rPr>
              <a:t>Transmission</a:t>
            </a:r>
          </a:p>
        </p:txBody>
      </p:sp>
      <p:cxnSp>
        <p:nvCxnSpPr>
          <p:cNvPr id="114" name="Straight Arrow Connector 113"/>
          <p:cNvCxnSpPr>
            <a:stCxn id="111" idx="2"/>
            <a:endCxn id="113" idx="0"/>
          </p:cNvCxnSpPr>
          <p:nvPr/>
        </p:nvCxnSpPr>
        <p:spPr bwMode="auto">
          <a:xfrm>
            <a:off x="3311860" y="3709825"/>
            <a:ext cx="0" cy="393495"/>
          </a:xfrm>
          <a:prstGeom prst="straightConnector1">
            <a:avLst/>
          </a:prstGeom>
          <a:solidFill>
            <a:srgbClr val="969696"/>
          </a:solidFill>
          <a:ln w="25400" cap="flat" cmpd="sng" algn="ctr">
            <a:solidFill>
              <a:srgbClr val="00B0F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15" name="Straight Arrow Connector 114"/>
          <p:cNvCxnSpPr>
            <a:stCxn id="113" idx="3"/>
            <a:endCxn id="150" idx="2"/>
          </p:cNvCxnSpPr>
          <p:nvPr/>
        </p:nvCxnSpPr>
        <p:spPr bwMode="auto">
          <a:xfrm flipV="1">
            <a:off x="3851920" y="4099452"/>
            <a:ext cx="2916324" cy="167161"/>
          </a:xfrm>
          <a:prstGeom prst="bentConnector2">
            <a:avLst/>
          </a:prstGeom>
          <a:solidFill>
            <a:srgbClr val="969696"/>
          </a:solidFill>
          <a:ln w="25400" cap="flat" cmpd="sng" algn="ctr">
            <a:solidFill>
              <a:srgbClr val="00B0F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16" name="Straight Arrow Connector 115"/>
          <p:cNvCxnSpPr>
            <a:stCxn id="154" idx="0"/>
            <a:endCxn id="151" idx="2"/>
          </p:cNvCxnSpPr>
          <p:nvPr/>
        </p:nvCxnSpPr>
        <p:spPr bwMode="auto">
          <a:xfrm flipV="1">
            <a:off x="6768244" y="3091340"/>
            <a:ext cx="0" cy="147884"/>
          </a:xfrm>
          <a:prstGeom prst="straightConnector1">
            <a:avLst/>
          </a:prstGeom>
          <a:solidFill>
            <a:srgbClr val="969696"/>
          </a:solidFill>
          <a:ln w="25400" cap="flat" cmpd="sng" algn="ctr">
            <a:solidFill>
              <a:srgbClr val="00B0F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17" name="Straight Arrow Connector 116"/>
          <p:cNvCxnSpPr>
            <a:stCxn id="151" idx="0"/>
            <a:endCxn id="107" idx="3"/>
          </p:cNvCxnSpPr>
          <p:nvPr/>
        </p:nvCxnSpPr>
        <p:spPr bwMode="auto">
          <a:xfrm rot="16200000" flipV="1">
            <a:off x="5247713" y="1214637"/>
            <a:ext cx="124739" cy="2916324"/>
          </a:xfrm>
          <a:prstGeom prst="bentConnector2">
            <a:avLst/>
          </a:prstGeom>
          <a:solidFill>
            <a:srgbClr val="969696"/>
          </a:solidFill>
          <a:ln w="25400" cap="flat" cmpd="sng" algn="ctr">
            <a:solidFill>
              <a:srgbClr val="00B0F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25" name="TextBox 124"/>
          <p:cNvSpPr txBox="1"/>
          <p:nvPr/>
        </p:nvSpPr>
        <p:spPr>
          <a:xfrm>
            <a:off x="251520" y="843558"/>
            <a:ext cx="396043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2D2D8A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</a:rPr>
              <a:t>Front Office</a:t>
            </a:r>
          </a:p>
        </p:txBody>
      </p:sp>
      <p:sp>
        <p:nvSpPr>
          <p:cNvPr id="126" name="TextBox 125"/>
          <p:cNvSpPr txBox="1"/>
          <p:nvPr/>
        </p:nvSpPr>
        <p:spPr>
          <a:xfrm>
            <a:off x="4788025" y="843558"/>
            <a:ext cx="41531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0" cap="none" spc="0" normalizeH="0" baseline="0" noProof="0" dirty="0">
                <a:ln>
                  <a:noFill/>
                </a:ln>
                <a:solidFill>
                  <a:srgbClr val="2D2D8A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</a:rPr>
              <a:t>Back Office</a:t>
            </a:r>
          </a:p>
        </p:txBody>
      </p:sp>
      <p:cxnSp>
        <p:nvCxnSpPr>
          <p:cNvPr id="129" name="Straight Arrow Connector 128"/>
          <p:cNvCxnSpPr>
            <a:stCxn id="176" idx="3"/>
            <a:endCxn id="104" idx="1"/>
          </p:cNvCxnSpPr>
          <p:nvPr/>
        </p:nvCxnSpPr>
        <p:spPr bwMode="auto">
          <a:xfrm>
            <a:off x="1107755" y="1724129"/>
            <a:ext cx="1087981" cy="0"/>
          </a:xfrm>
          <a:prstGeom prst="straightConnector1">
            <a:avLst/>
          </a:prstGeom>
          <a:solidFill>
            <a:srgbClr val="969696"/>
          </a:solidFill>
          <a:ln w="25400" cap="flat" cmpd="sng" algn="ctr">
            <a:solidFill>
              <a:srgbClr val="00B0F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31" name="Straight Arrow Connector 130"/>
          <p:cNvCxnSpPr>
            <a:stCxn id="150" idx="0"/>
            <a:endCxn id="154" idx="2"/>
          </p:cNvCxnSpPr>
          <p:nvPr/>
        </p:nvCxnSpPr>
        <p:spPr bwMode="auto">
          <a:xfrm flipV="1">
            <a:off x="6768244" y="3595396"/>
            <a:ext cx="0" cy="147884"/>
          </a:xfrm>
          <a:prstGeom prst="straightConnector1">
            <a:avLst/>
          </a:prstGeom>
          <a:solidFill>
            <a:srgbClr val="969696"/>
          </a:solidFill>
          <a:ln w="25400" cap="flat" cmpd="sng" algn="ctr">
            <a:solidFill>
              <a:srgbClr val="00B0F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45" name="Rectangle 144"/>
          <p:cNvSpPr/>
          <p:nvPr/>
        </p:nvSpPr>
        <p:spPr bwMode="auto">
          <a:xfrm>
            <a:off x="2771798" y="4628932"/>
            <a:ext cx="1080122" cy="326585"/>
          </a:xfrm>
          <a:prstGeom prst="rect">
            <a:avLst/>
          </a:prstGeom>
          <a:solidFill>
            <a:srgbClr val="EAF5F6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00" tIns="54000" rIns="67500" bIns="54000" rtlCol="0" anchor="ctr" anchorCtr="0"/>
          <a:lstStyle/>
          <a:p>
            <a:pPr algn="ctr">
              <a:spcAft>
                <a:spcPct val="40000"/>
              </a:spcAft>
            </a:pPr>
            <a:r>
              <a:rPr lang="fr-FR" sz="1050" b="1" dirty="0" err="1" smtClean="0">
                <a:solidFill>
                  <a:srgbClr val="5496D4"/>
                </a:solidFill>
              </a:rPr>
              <a:t>Tracking</a:t>
            </a:r>
            <a:endParaRPr lang="fr-FR" sz="1050" b="1" dirty="0">
              <a:solidFill>
                <a:srgbClr val="5496D4"/>
              </a:solidFill>
            </a:endParaRPr>
          </a:p>
        </p:txBody>
      </p:sp>
      <p:cxnSp>
        <p:nvCxnSpPr>
          <p:cNvPr id="147" name="Straight Arrow Connector 146"/>
          <p:cNvCxnSpPr>
            <a:stCxn id="113" idx="2"/>
            <a:endCxn id="145" idx="0"/>
          </p:cNvCxnSpPr>
          <p:nvPr/>
        </p:nvCxnSpPr>
        <p:spPr bwMode="auto">
          <a:xfrm flipH="1">
            <a:off x="3311859" y="4429905"/>
            <a:ext cx="1" cy="199027"/>
          </a:xfrm>
          <a:prstGeom prst="straightConnector1">
            <a:avLst/>
          </a:prstGeom>
          <a:solidFill>
            <a:srgbClr val="969696"/>
          </a:solidFill>
          <a:ln w="25400" cap="flat" cmpd="sng" algn="ctr">
            <a:solidFill>
              <a:srgbClr val="00B0F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50" name="Rectangle 149"/>
          <p:cNvSpPr/>
          <p:nvPr/>
        </p:nvSpPr>
        <p:spPr bwMode="auto">
          <a:xfrm>
            <a:off x="6012160" y="3743280"/>
            <a:ext cx="1512168" cy="356172"/>
          </a:xfrm>
          <a:prstGeom prst="rect">
            <a:avLst/>
          </a:prstGeom>
          <a:solidFill>
            <a:srgbClr val="EAF5F6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00" tIns="54000" rIns="67500" bIns="54000" rtlCol="0" anchor="ctr" anchorCtr="0"/>
          <a:lstStyle/>
          <a:p>
            <a:pPr algn="ctr">
              <a:spcAft>
                <a:spcPct val="40000"/>
              </a:spcAft>
            </a:pPr>
            <a:r>
              <a:rPr lang="fr-FR" sz="1050" b="1" dirty="0">
                <a:solidFill>
                  <a:srgbClr val="5496D4"/>
                </a:solidFill>
              </a:rPr>
              <a:t>Admission</a:t>
            </a:r>
          </a:p>
        </p:txBody>
      </p:sp>
      <p:sp>
        <p:nvSpPr>
          <p:cNvPr id="151" name="Rectangle 150"/>
          <p:cNvSpPr/>
          <p:nvPr/>
        </p:nvSpPr>
        <p:spPr bwMode="auto">
          <a:xfrm>
            <a:off x="6012160" y="2735168"/>
            <a:ext cx="1512168" cy="356172"/>
          </a:xfrm>
          <a:prstGeom prst="rect">
            <a:avLst/>
          </a:prstGeom>
          <a:solidFill>
            <a:srgbClr val="EAF5F6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00" tIns="54000" rIns="67500" bIns="54000" rtlCol="0" anchor="ctr" anchorCtr="0"/>
          <a:lstStyle/>
          <a:p>
            <a:pPr algn="ctr">
              <a:spcAft>
                <a:spcPct val="40000"/>
              </a:spcAft>
            </a:pPr>
            <a:r>
              <a:rPr lang="fr-FR" sz="1050" b="1" dirty="0">
                <a:solidFill>
                  <a:srgbClr val="5496D4"/>
                </a:solidFill>
              </a:rPr>
              <a:t>C</a:t>
            </a:r>
            <a:r>
              <a:rPr lang="fr-FR" sz="1050" b="1" dirty="0" err="1">
                <a:solidFill>
                  <a:srgbClr val="5496D4"/>
                </a:solidFill>
              </a:rPr>
              <a:t>orrection</a:t>
            </a:r>
            <a:r>
              <a:rPr lang="fr-FR" sz="1050" b="1" dirty="0">
                <a:solidFill>
                  <a:srgbClr val="5496D4"/>
                </a:solidFill>
              </a:rPr>
              <a:t> </a:t>
            </a:r>
            <a:r>
              <a:rPr lang="fr-FR" sz="1050" b="1" dirty="0" err="1">
                <a:solidFill>
                  <a:srgbClr val="5496D4"/>
                </a:solidFill>
              </a:rPr>
              <a:t>request</a:t>
            </a:r>
            <a:endParaRPr lang="fr-FR" sz="1050" b="1" dirty="0">
              <a:solidFill>
                <a:srgbClr val="5496D4"/>
              </a:solidFill>
            </a:endParaRPr>
          </a:p>
        </p:txBody>
      </p:sp>
      <p:sp>
        <p:nvSpPr>
          <p:cNvPr id="154" name="Rectangle 153"/>
          <p:cNvSpPr/>
          <p:nvPr/>
        </p:nvSpPr>
        <p:spPr bwMode="auto">
          <a:xfrm>
            <a:off x="6012160" y="3239224"/>
            <a:ext cx="1512168" cy="356172"/>
          </a:xfrm>
          <a:prstGeom prst="rect">
            <a:avLst/>
          </a:prstGeom>
          <a:solidFill>
            <a:srgbClr val="EAF5F6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00" tIns="54000" rIns="67500" bIns="54000" rtlCol="0" anchor="ctr" anchorCtr="0"/>
          <a:lstStyle/>
          <a:p>
            <a:pPr algn="ctr">
              <a:spcAft>
                <a:spcPct val="40000"/>
              </a:spcAft>
            </a:pPr>
            <a:r>
              <a:rPr lang="fr-FR" sz="1050" b="1" dirty="0" err="1">
                <a:solidFill>
                  <a:srgbClr val="5496D4"/>
                </a:solidFill>
              </a:rPr>
              <a:t>Processing</a:t>
            </a:r>
            <a:endParaRPr lang="fr-FR" sz="1050" b="1" dirty="0">
              <a:solidFill>
                <a:srgbClr val="5496D4"/>
              </a:solidFill>
            </a:endParaRPr>
          </a:p>
        </p:txBody>
      </p:sp>
      <p:sp>
        <p:nvSpPr>
          <p:cNvPr id="156" name="TextBox 155"/>
          <p:cNvSpPr txBox="1"/>
          <p:nvPr/>
        </p:nvSpPr>
        <p:spPr>
          <a:xfrm>
            <a:off x="35496" y="1995686"/>
            <a:ext cx="12636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dirty="0" err="1">
                <a:solidFill>
                  <a:schemeClr val="bg1">
                    <a:lumMod val="50000"/>
                  </a:schemeClr>
                </a:solidFill>
              </a:rPr>
              <a:t>Citizens</a:t>
            </a:r>
            <a:r>
              <a:rPr lang="fr-FR" sz="1400" dirty="0">
                <a:solidFill>
                  <a:schemeClr val="bg1">
                    <a:lumMod val="50000"/>
                  </a:schemeClr>
                </a:solidFill>
              </a:rPr>
              <a:t> &amp; </a:t>
            </a:r>
            <a:r>
              <a:rPr lang="fr-FR" sz="1400" dirty="0" smtClean="0">
                <a:solidFill>
                  <a:schemeClr val="bg1">
                    <a:lumMod val="50000"/>
                  </a:schemeClr>
                </a:solidFill>
              </a:rPr>
              <a:t>Businesses</a:t>
            </a:r>
            <a:endParaRPr lang="fr-FR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4855" name="Flowchart: Magnetic Disk 34854"/>
          <p:cNvSpPr/>
          <p:nvPr/>
        </p:nvSpPr>
        <p:spPr>
          <a:xfrm>
            <a:off x="6555140" y="1983900"/>
            <a:ext cx="288032" cy="350158"/>
          </a:xfrm>
          <a:prstGeom prst="flowChartMagneticDisk">
            <a:avLst/>
          </a:prstGeom>
          <a:solidFill>
            <a:srgbClr val="EAF5F6"/>
          </a:solidFill>
          <a:ln w="19050">
            <a:solidFill>
              <a:srgbClr val="0070C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00" tIns="54000" rIns="67500" bIns="54000" rtlCol="0" anchor="ctr" anchorCtr="0"/>
          <a:lstStyle/>
          <a:p>
            <a:pPr algn="ctr">
              <a:spcAft>
                <a:spcPct val="40000"/>
              </a:spcAft>
            </a:pPr>
            <a:endParaRPr lang="fr-FR" sz="1050" b="1">
              <a:solidFill>
                <a:srgbClr val="5496D4"/>
              </a:solidFill>
            </a:endParaRPr>
          </a:p>
        </p:txBody>
      </p:sp>
      <p:cxnSp>
        <p:nvCxnSpPr>
          <p:cNvPr id="168" name="Straight Arrow Connector 167"/>
          <p:cNvCxnSpPr/>
          <p:nvPr/>
        </p:nvCxnSpPr>
        <p:spPr bwMode="auto">
          <a:xfrm flipH="1">
            <a:off x="3851920" y="2165377"/>
            <a:ext cx="2659307" cy="314592"/>
          </a:xfrm>
          <a:prstGeom prst="straightConnector1">
            <a:avLst/>
          </a:prstGeom>
          <a:solidFill>
            <a:srgbClr val="969696"/>
          </a:solidFill>
          <a:ln w="12700" cap="flat" cmpd="sng" algn="ctr">
            <a:solidFill>
              <a:srgbClr val="00B0F0"/>
            </a:solidFill>
            <a:prstDash val="dash"/>
            <a:round/>
            <a:headEnd type="none" w="med" len="med"/>
            <a:tailEnd type="arrow"/>
          </a:ln>
          <a:effectLst/>
        </p:spPr>
      </p:cxnSp>
      <p:sp>
        <p:nvSpPr>
          <p:cNvPr id="173" name="Flowchart: Magnetic Disk 172"/>
          <p:cNvSpPr/>
          <p:nvPr/>
        </p:nvSpPr>
        <p:spPr>
          <a:xfrm>
            <a:off x="6682471" y="2077576"/>
            <a:ext cx="288032" cy="350158"/>
          </a:xfrm>
          <a:prstGeom prst="flowChartMagneticDisk">
            <a:avLst/>
          </a:prstGeom>
          <a:solidFill>
            <a:srgbClr val="EAF5F6"/>
          </a:solidFill>
          <a:ln w="19050">
            <a:solidFill>
              <a:srgbClr val="0070C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00" tIns="54000" rIns="67500" bIns="54000" rtlCol="0" anchor="ctr" anchorCtr="0"/>
          <a:lstStyle/>
          <a:p>
            <a:pPr algn="ctr">
              <a:spcAft>
                <a:spcPct val="40000"/>
              </a:spcAft>
            </a:pPr>
            <a:endParaRPr lang="fr-FR" sz="1050" b="1">
              <a:solidFill>
                <a:srgbClr val="5496D4"/>
              </a:solidFill>
            </a:endParaRPr>
          </a:p>
        </p:txBody>
      </p:sp>
      <p:sp>
        <p:nvSpPr>
          <p:cNvPr id="175" name="TextBox 174"/>
          <p:cNvSpPr txBox="1"/>
          <p:nvPr/>
        </p:nvSpPr>
        <p:spPr>
          <a:xfrm>
            <a:off x="6300192" y="2427734"/>
            <a:ext cx="97651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700" b="1" dirty="0" err="1" smtClean="0">
                <a:solidFill>
                  <a:schemeClr val="bg1">
                    <a:lumMod val="50000"/>
                  </a:schemeClr>
                </a:solidFill>
                <a:latin typeface="Arial" charset="0"/>
                <a:ea typeface="ＭＳ Ｐゴシック" pitchFamily="34" charset="-128"/>
              </a:rPr>
              <a:t>Authentic</a:t>
            </a:r>
            <a:r>
              <a:rPr lang="fr-FR" sz="700" b="1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ea typeface="ＭＳ Ｐゴシック" pitchFamily="34" charset="-128"/>
              </a:rPr>
              <a:t> sources</a:t>
            </a:r>
            <a:endParaRPr lang="fr-FR" sz="900" b="1" dirty="0">
              <a:solidFill>
                <a:schemeClr val="bg1">
                  <a:lumMod val="50000"/>
                </a:schemeClr>
              </a:solidFill>
              <a:latin typeface="Arial" charset="0"/>
              <a:ea typeface="ＭＳ Ｐゴシック" pitchFamily="34" charset="-128"/>
            </a:endParaRPr>
          </a:p>
        </p:txBody>
      </p:sp>
      <p:pic>
        <p:nvPicPr>
          <p:cNvPr id="176" name="Picture 2" descr="Illustration thème travail-emploi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1491630"/>
            <a:ext cx="856235" cy="464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Rectangle 46"/>
          <p:cNvSpPr/>
          <p:nvPr/>
        </p:nvSpPr>
        <p:spPr bwMode="auto">
          <a:xfrm>
            <a:off x="1547664" y="2015087"/>
            <a:ext cx="1080120" cy="326585"/>
          </a:xfrm>
          <a:prstGeom prst="rect">
            <a:avLst/>
          </a:prstGeom>
          <a:solidFill>
            <a:srgbClr val="EAF5F6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00" tIns="54000" rIns="67500" bIns="54000" rtlCol="0" anchor="ctr" anchorCtr="0"/>
          <a:lstStyle/>
          <a:p>
            <a:pPr algn="ctr">
              <a:spcAft>
                <a:spcPct val="40000"/>
              </a:spcAft>
            </a:pPr>
            <a:r>
              <a:rPr lang="fr-FR" sz="1050" b="1" dirty="0" err="1" smtClean="0">
                <a:solidFill>
                  <a:srgbClr val="5496D4"/>
                </a:solidFill>
              </a:rPr>
              <a:t>Personal</a:t>
            </a:r>
            <a:r>
              <a:rPr lang="fr-FR" sz="1050" b="1" dirty="0" smtClean="0">
                <a:solidFill>
                  <a:srgbClr val="5496D4"/>
                </a:solidFill>
              </a:rPr>
              <a:t> data consultation</a:t>
            </a:r>
            <a:endParaRPr lang="fr-FR" sz="1050" b="1" dirty="0">
              <a:solidFill>
                <a:srgbClr val="5496D4"/>
              </a:solidFill>
            </a:endParaRPr>
          </a:p>
        </p:txBody>
      </p:sp>
      <p:cxnSp>
        <p:nvCxnSpPr>
          <p:cNvPr id="73" name="Straight Arrow Connector 72"/>
          <p:cNvCxnSpPr>
            <a:stCxn id="104" idx="2"/>
            <a:endCxn id="47" idx="0"/>
          </p:cNvCxnSpPr>
          <p:nvPr/>
        </p:nvCxnSpPr>
        <p:spPr bwMode="auto">
          <a:xfrm flipH="1">
            <a:off x="2087724" y="1887421"/>
            <a:ext cx="648072" cy="127666"/>
          </a:xfrm>
          <a:prstGeom prst="straightConnector1">
            <a:avLst/>
          </a:prstGeom>
          <a:solidFill>
            <a:srgbClr val="969696"/>
          </a:solidFill>
          <a:ln w="25400" cap="flat" cmpd="sng" algn="ctr">
            <a:solidFill>
              <a:srgbClr val="00B0F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31" name="Rectangle 30"/>
          <p:cNvSpPr/>
          <p:nvPr/>
        </p:nvSpPr>
        <p:spPr>
          <a:xfrm>
            <a:off x="1443122" y="1936234"/>
            <a:ext cx="2624822" cy="458170"/>
          </a:xfrm>
          <a:prstGeom prst="rect">
            <a:avLst/>
          </a:prstGeom>
          <a:noFill/>
          <a:ln w="635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cxnSp>
        <p:nvCxnSpPr>
          <p:cNvPr id="81" name="Straight Arrow Connector 114"/>
          <p:cNvCxnSpPr>
            <a:stCxn id="154" idx="3"/>
            <a:endCxn id="145" idx="3"/>
          </p:cNvCxnSpPr>
          <p:nvPr/>
        </p:nvCxnSpPr>
        <p:spPr bwMode="auto">
          <a:xfrm flipH="1">
            <a:off x="3851920" y="3417310"/>
            <a:ext cx="3672408" cy="1374915"/>
          </a:xfrm>
          <a:prstGeom prst="bentConnector3">
            <a:avLst>
              <a:gd name="adj1" fmla="val -6225"/>
            </a:avLst>
          </a:prstGeom>
          <a:solidFill>
            <a:srgbClr val="969696"/>
          </a:solidFill>
          <a:ln w="25400" cap="flat" cmpd="sng" algn="ctr">
            <a:solidFill>
              <a:srgbClr val="00B0F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86" name="TextBox 85"/>
          <p:cNvSpPr txBox="1"/>
          <p:nvPr/>
        </p:nvSpPr>
        <p:spPr>
          <a:xfrm>
            <a:off x="4630649" y="4389051"/>
            <a:ext cx="1728275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fr-FR" sz="700" b="1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ea typeface="ＭＳ Ｐゴシック" pitchFamily="34" charset="-128"/>
              </a:rPr>
              <a:t>User consent</a:t>
            </a:r>
          </a:p>
        </p:txBody>
      </p:sp>
      <p:sp>
        <p:nvSpPr>
          <p:cNvPr id="87" name="TextBox 86"/>
          <p:cNvSpPr txBox="1"/>
          <p:nvPr/>
        </p:nvSpPr>
        <p:spPr>
          <a:xfrm>
            <a:off x="4572000" y="4831288"/>
            <a:ext cx="1127045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fr-FR" sz="700" b="1" dirty="0" err="1" smtClean="0">
                <a:solidFill>
                  <a:schemeClr val="bg1">
                    <a:lumMod val="50000"/>
                  </a:schemeClr>
                </a:solidFill>
                <a:latin typeface="Arial" charset="0"/>
                <a:ea typeface="ＭＳ Ｐゴシック" pitchFamily="34" charset="-128"/>
              </a:rPr>
              <a:t>Response</a:t>
            </a:r>
            <a:endParaRPr lang="fr-FR" sz="700" b="1" dirty="0">
              <a:solidFill>
                <a:schemeClr val="bg1">
                  <a:lumMod val="50000"/>
                </a:schemeClr>
              </a:solidFill>
              <a:latin typeface="Arial" charset="0"/>
              <a:ea typeface="ＭＳ Ｐゴシック" pitchFamily="34" charset="-128"/>
            </a:endParaRPr>
          </a:p>
        </p:txBody>
      </p:sp>
      <p:cxnSp>
        <p:nvCxnSpPr>
          <p:cNvPr id="88" name="Straight Arrow Connector 87"/>
          <p:cNvCxnSpPr/>
          <p:nvPr/>
        </p:nvCxnSpPr>
        <p:spPr bwMode="auto">
          <a:xfrm flipH="1" flipV="1">
            <a:off x="6942122" y="2174448"/>
            <a:ext cx="553825" cy="1164655"/>
          </a:xfrm>
          <a:prstGeom prst="bentConnector3">
            <a:avLst>
              <a:gd name="adj1" fmla="val -41277"/>
            </a:avLst>
          </a:prstGeom>
          <a:solidFill>
            <a:srgbClr val="969696"/>
          </a:solidFill>
          <a:ln w="12700" cap="flat" cmpd="sng" algn="ctr">
            <a:solidFill>
              <a:srgbClr val="00B0F0"/>
            </a:solidFill>
            <a:prstDash val="dash"/>
            <a:round/>
            <a:headEnd type="none" w="med" len="med"/>
            <a:tailEnd type="arrow"/>
          </a:ln>
          <a:effectLst/>
        </p:spPr>
      </p:cxnSp>
      <p:sp>
        <p:nvSpPr>
          <p:cNvPr id="39" name="Rounded Rectangular Callout 38"/>
          <p:cNvSpPr/>
          <p:nvPr/>
        </p:nvSpPr>
        <p:spPr>
          <a:xfrm>
            <a:off x="3889111" y="1491630"/>
            <a:ext cx="1101578" cy="406052"/>
          </a:xfrm>
          <a:prstGeom prst="wedgeRoundRectCallout">
            <a:avLst>
              <a:gd name="adj1" fmla="val -56540"/>
              <a:gd name="adj2" fmla="val 120088"/>
              <a:gd name="adj3" fmla="val 16667"/>
            </a:avLst>
          </a:prstGeom>
          <a:solidFill>
            <a:schemeClr val="bg1"/>
          </a:solidFill>
          <a:ln w="19050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00" tIns="54000" rIns="67500" bIns="54000" rtlCol="0" anchor="ctr" anchorCtr="0"/>
          <a:lstStyle/>
          <a:p>
            <a:r>
              <a:rPr lang="fr-FR" sz="900" dirty="0" smtClean="0">
                <a:solidFill>
                  <a:schemeClr val="tx1"/>
                </a:solidFill>
                <a:cs typeface="Calibri" pitchFamily="34" charset="0"/>
              </a:rPr>
              <a:t>Once </a:t>
            </a:r>
            <a:r>
              <a:rPr lang="fr-FR" sz="900" dirty="0" err="1" smtClean="0">
                <a:solidFill>
                  <a:schemeClr val="tx1"/>
                </a:solidFill>
                <a:cs typeface="Calibri" pitchFamily="34" charset="0"/>
              </a:rPr>
              <a:t>Only</a:t>
            </a:r>
            <a:endParaRPr lang="fr-FR" sz="900" dirty="0" smtClean="0">
              <a:solidFill>
                <a:schemeClr val="tx1"/>
              </a:solidFill>
              <a:cs typeface="Calibri" pitchFamily="34" charset="0"/>
            </a:endParaRPr>
          </a:p>
          <a:p>
            <a:r>
              <a:rPr lang="fr-FR" sz="900" dirty="0" smtClean="0">
                <a:solidFill>
                  <a:schemeClr val="tx1"/>
                </a:solidFill>
                <a:cs typeface="Calibri" pitchFamily="34" charset="0"/>
              </a:rPr>
              <a:t>(front office)</a:t>
            </a:r>
            <a:endParaRPr lang="fr-FR" sz="900" dirty="0">
              <a:solidFill>
                <a:schemeClr val="tx1"/>
              </a:solidFill>
              <a:cs typeface="Calibri" pitchFamily="34" charset="0"/>
            </a:endParaRPr>
          </a:p>
        </p:txBody>
      </p:sp>
      <p:sp>
        <p:nvSpPr>
          <p:cNvPr id="92" name="Rounded Rectangular Callout 91"/>
          <p:cNvSpPr/>
          <p:nvPr/>
        </p:nvSpPr>
        <p:spPr>
          <a:xfrm>
            <a:off x="7960483" y="2188375"/>
            <a:ext cx="960371" cy="317566"/>
          </a:xfrm>
          <a:prstGeom prst="wedgeRoundRectCallout">
            <a:avLst>
              <a:gd name="adj1" fmla="val -82640"/>
              <a:gd name="adj2" fmla="val 144490"/>
              <a:gd name="adj3" fmla="val 16667"/>
            </a:avLst>
          </a:prstGeom>
          <a:solidFill>
            <a:schemeClr val="bg1"/>
          </a:solidFill>
          <a:ln w="19050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00" tIns="54000" rIns="67500" bIns="54000" rtlCol="0" anchor="ctr" anchorCtr="0"/>
          <a:lstStyle/>
          <a:p>
            <a:r>
              <a:rPr lang="fr-FR" sz="900" dirty="0" smtClean="0">
                <a:solidFill>
                  <a:schemeClr val="tx1"/>
                </a:solidFill>
                <a:cs typeface="Calibri" pitchFamily="34" charset="0"/>
              </a:rPr>
              <a:t>Once </a:t>
            </a:r>
            <a:r>
              <a:rPr lang="fr-FR" sz="900" dirty="0" err="1">
                <a:solidFill>
                  <a:schemeClr val="tx1"/>
                </a:solidFill>
                <a:cs typeface="Calibri" pitchFamily="34" charset="0"/>
              </a:rPr>
              <a:t>O</a:t>
            </a:r>
            <a:r>
              <a:rPr lang="fr-FR" sz="900" dirty="0" err="1" smtClean="0">
                <a:solidFill>
                  <a:schemeClr val="tx1"/>
                </a:solidFill>
                <a:cs typeface="Calibri" pitchFamily="34" charset="0"/>
              </a:rPr>
              <a:t>nly</a:t>
            </a:r>
            <a:endParaRPr lang="fr-FR" sz="900" dirty="0" smtClean="0">
              <a:solidFill>
                <a:schemeClr val="tx1"/>
              </a:solidFill>
              <a:cs typeface="Calibri" pitchFamily="34" charset="0"/>
            </a:endParaRPr>
          </a:p>
          <a:p>
            <a:r>
              <a:rPr lang="fr-FR" sz="900" dirty="0" smtClean="0">
                <a:solidFill>
                  <a:schemeClr val="tx1"/>
                </a:solidFill>
                <a:cs typeface="Calibri" pitchFamily="34" charset="0"/>
              </a:rPr>
              <a:t>(back office)</a:t>
            </a:r>
            <a:endParaRPr lang="fr-FR" sz="900" dirty="0">
              <a:solidFill>
                <a:schemeClr val="tx1"/>
              </a:solidFill>
              <a:cs typeface="Calibri" pitchFamily="34" charset="0"/>
            </a:endParaRPr>
          </a:p>
        </p:txBody>
      </p:sp>
      <p:sp>
        <p:nvSpPr>
          <p:cNvPr id="93" name="Rounded Rectangular Callout 92"/>
          <p:cNvSpPr/>
          <p:nvPr/>
        </p:nvSpPr>
        <p:spPr>
          <a:xfrm>
            <a:off x="1835696" y="4411720"/>
            <a:ext cx="823377" cy="317566"/>
          </a:xfrm>
          <a:prstGeom prst="wedgeRoundRectCallout">
            <a:avLst>
              <a:gd name="adj1" fmla="val 63476"/>
              <a:gd name="adj2" fmla="val 83829"/>
              <a:gd name="adj3" fmla="val 16667"/>
            </a:avLst>
          </a:prstGeom>
          <a:solidFill>
            <a:schemeClr val="bg1"/>
          </a:solidFill>
          <a:ln w="19050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00" tIns="54000" rIns="67500" bIns="54000" rtlCol="0" anchor="ctr" anchorCtr="0"/>
          <a:lstStyle/>
          <a:p>
            <a:r>
              <a:rPr lang="fr-FR" sz="900" dirty="0" err="1" smtClean="0">
                <a:solidFill>
                  <a:schemeClr val="tx1"/>
                </a:solidFill>
                <a:cs typeface="Calibri" pitchFamily="34" charset="0"/>
              </a:rPr>
              <a:t>Transparency</a:t>
            </a:r>
            <a:endParaRPr lang="fr-FR" sz="900" dirty="0">
              <a:solidFill>
                <a:schemeClr val="tx1"/>
              </a:solidFill>
              <a:cs typeface="Calibri" pitchFamily="34" charset="0"/>
            </a:endParaRPr>
          </a:p>
        </p:txBody>
      </p:sp>
      <p:pic>
        <p:nvPicPr>
          <p:cNvPr id="94" name="Picture 6" descr="http://icons.iconarchive.com/icons/aha-soft/security/256/key-icon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1207" y="1565270"/>
            <a:ext cx="187130" cy="187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5" name="Rounded Rectangular Callout 94"/>
          <p:cNvSpPr/>
          <p:nvPr/>
        </p:nvSpPr>
        <p:spPr>
          <a:xfrm>
            <a:off x="3569710" y="1126082"/>
            <a:ext cx="682889" cy="317566"/>
          </a:xfrm>
          <a:prstGeom prst="wedgeRoundRectCallout">
            <a:avLst>
              <a:gd name="adj1" fmla="val -89272"/>
              <a:gd name="adj2" fmla="val 111557"/>
              <a:gd name="adj3" fmla="val 16667"/>
            </a:avLst>
          </a:prstGeom>
          <a:solidFill>
            <a:schemeClr val="bg1"/>
          </a:solidFill>
          <a:ln w="19050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00" tIns="54000" rIns="67500" bIns="54000" rtlCol="0" anchor="ctr" anchorCtr="0"/>
          <a:lstStyle/>
          <a:p>
            <a:r>
              <a:rPr lang="fr-FR" sz="900" dirty="0" smtClean="0">
                <a:solidFill>
                  <a:schemeClr val="tx1"/>
                </a:solidFill>
                <a:cs typeface="Calibri" pitchFamily="34" charset="0"/>
              </a:rPr>
              <a:t>Security</a:t>
            </a:r>
            <a:endParaRPr lang="fr-FR" sz="900" dirty="0">
              <a:solidFill>
                <a:schemeClr val="tx1"/>
              </a:solidFill>
              <a:cs typeface="Calibri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353904" y="4831287"/>
            <a:ext cx="209550" cy="228600"/>
          </a:xfrm>
          <a:prstGeom prst="rect">
            <a:avLst/>
          </a:prstGeom>
        </p:spPr>
      </p:pic>
      <p:pic>
        <p:nvPicPr>
          <p:cNvPr id="63" name="Picture 50" descr="Image result for agreement icon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0094" y="4313851"/>
            <a:ext cx="366701" cy="366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8" name="TextBox 57"/>
          <p:cNvSpPr txBox="1"/>
          <p:nvPr/>
        </p:nvSpPr>
        <p:spPr>
          <a:xfrm>
            <a:off x="4572000" y="4035589"/>
            <a:ext cx="1728275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fr-FR" sz="700" b="1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ea typeface="ＭＳ Ｐゴシック" pitchFamily="34" charset="-128"/>
              </a:rPr>
              <a:t>Administrative </a:t>
            </a:r>
            <a:r>
              <a:rPr lang="fr-FR" sz="700" b="1" dirty="0" err="1" smtClean="0">
                <a:solidFill>
                  <a:schemeClr val="bg1">
                    <a:lumMod val="50000"/>
                  </a:schemeClr>
                </a:solidFill>
                <a:latin typeface="Arial" charset="0"/>
                <a:ea typeface="ＭＳ Ｐゴシック" pitchFamily="34" charset="-128"/>
              </a:rPr>
              <a:t>request</a:t>
            </a:r>
            <a:endParaRPr lang="fr-FR" sz="700" b="1" dirty="0" smtClean="0">
              <a:solidFill>
                <a:schemeClr val="bg1">
                  <a:lumMod val="50000"/>
                </a:schemeClr>
              </a:solidFill>
              <a:latin typeface="Arial" charset="0"/>
              <a:ea typeface="ＭＳ Ｐゴシック" pitchFamily="34" charset="-128"/>
            </a:endParaRPr>
          </a:p>
        </p:txBody>
      </p:sp>
      <p:pic>
        <p:nvPicPr>
          <p:cNvPr id="59" name="Picture 5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356819" y="4011460"/>
            <a:ext cx="209550" cy="228600"/>
          </a:xfrm>
          <a:prstGeom prst="rect">
            <a:avLst/>
          </a:prstGeom>
        </p:spPr>
      </p:pic>
      <p:sp>
        <p:nvSpPr>
          <p:cNvPr id="60" name="TextBox 59"/>
          <p:cNvSpPr txBox="1"/>
          <p:nvPr/>
        </p:nvSpPr>
        <p:spPr>
          <a:xfrm>
            <a:off x="7853729" y="2855222"/>
            <a:ext cx="1728275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fr-FR" sz="700" b="1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ea typeface="ＭＳ Ｐゴシック" pitchFamily="34" charset="-128"/>
              </a:rPr>
              <a:t>User consent</a:t>
            </a:r>
          </a:p>
        </p:txBody>
      </p:sp>
      <p:pic>
        <p:nvPicPr>
          <p:cNvPr id="61" name="Picture 50" descr="Image result for agreement icon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6603" y="2773721"/>
            <a:ext cx="367192" cy="367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5" name="TextBox 64"/>
          <p:cNvSpPr txBox="1"/>
          <p:nvPr/>
        </p:nvSpPr>
        <p:spPr>
          <a:xfrm>
            <a:off x="4615634" y="2134003"/>
            <a:ext cx="1728275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fr-FR" sz="700" b="1" dirty="0" err="1" smtClean="0">
                <a:solidFill>
                  <a:schemeClr val="bg1">
                    <a:lumMod val="50000"/>
                  </a:schemeClr>
                </a:solidFill>
                <a:latin typeface="Arial" charset="0"/>
                <a:ea typeface="ＭＳ Ｐゴシック" pitchFamily="34" charset="-128"/>
              </a:rPr>
              <a:t>Pre</a:t>
            </a:r>
            <a:r>
              <a:rPr lang="fr-FR" sz="700" b="1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ea typeface="ＭＳ Ｐゴシック" pitchFamily="34" charset="-128"/>
              </a:rPr>
              <a:t> </a:t>
            </a:r>
            <a:r>
              <a:rPr lang="fr-FR" sz="700" b="1" dirty="0" err="1" smtClean="0">
                <a:solidFill>
                  <a:schemeClr val="bg1">
                    <a:lumMod val="50000"/>
                  </a:schemeClr>
                </a:solidFill>
                <a:latin typeface="Arial" charset="0"/>
                <a:ea typeface="ＭＳ Ｐゴシック" pitchFamily="34" charset="-128"/>
              </a:rPr>
              <a:t>filling</a:t>
            </a:r>
            <a:endParaRPr lang="fr-FR" sz="700" b="1" dirty="0" smtClean="0">
              <a:solidFill>
                <a:schemeClr val="bg1">
                  <a:lumMod val="50000"/>
                </a:schemeClr>
              </a:solidFill>
              <a:latin typeface="Arial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2666423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61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2" dur="500" tmFilter="0, 0; .2, .5; .8, .5; 1, 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63" dur="250" autoRev="1" fill="hold"/>
                                        <p:tgtEl>
                                          <p:spTgt spid="10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6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5" grpId="0" animBg="1"/>
      <p:bldP spid="106" grpId="0" animBg="1"/>
      <p:bldP spid="107" grpId="0" animBg="1"/>
      <p:bldP spid="111" grpId="0" animBg="1"/>
      <p:bldP spid="113" grpId="0" animBg="1"/>
      <p:bldP spid="145" grpId="0" animBg="1"/>
      <p:bldP spid="150" grpId="0" animBg="1"/>
      <p:bldP spid="151" grpId="0" animBg="1"/>
      <p:bldP spid="154" grpId="0" animBg="1"/>
      <p:bldP spid="34855" grpId="0" animBg="1"/>
      <p:bldP spid="173" grpId="0" animBg="1"/>
      <p:bldP spid="175" grpId="0"/>
      <p:bldP spid="86" grpId="0"/>
      <p:bldP spid="87" grpId="0"/>
      <p:bldP spid="39" grpId="0" animBg="1"/>
      <p:bldP spid="92" grpId="0" animBg="1"/>
      <p:bldP spid="93" grpId="0" animBg="1"/>
      <p:bldP spid="58" grpId="0"/>
      <p:bldP spid="60" grpId="0"/>
      <p:bldP spid="65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Titre 2"/>
          <p:cNvSpPr>
            <a:spLocks noGrp="1"/>
          </p:cNvSpPr>
          <p:nvPr>
            <p:ph type="title"/>
          </p:nvPr>
        </p:nvSpPr>
        <p:spPr>
          <a:xfrm>
            <a:off x="386534" y="277977"/>
            <a:ext cx="4320480" cy="378619"/>
          </a:xfrm>
        </p:spPr>
        <p:txBody>
          <a:bodyPr>
            <a:normAutofit fontScale="90000"/>
          </a:bodyPr>
          <a:lstStyle/>
          <a:p>
            <a:r>
              <a:rPr lang="en-GB" dirty="0" err="1" smtClean="0"/>
              <a:t>MyGuichet</a:t>
            </a:r>
            <a:r>
              <a:rPr lang="en-GB" dirty="0" smtClean="0"/>
              <a:t> </a:t>
            </a:r>
            <a:r>
              <a:rPr lang="en-GB" dirty="0" smtClean="0"/>
              <a:t>platform</a:t>
            </a:r>
            <a:endParaRPr lang="en-GB" dirty="0"/>
          </a:p>
        </p:txBody>
      </p:sp>
      <p:sp>
        <p:nvSpPr>
          <p:cNvPr id="54" name="Espace réservé du contenu 2"/>
          <p:cNvSpPr txBox="1">
            <a:spLocks/>
          </p:cNvSpPr>
          <p:nvPr/>
        </p:nvSpPr>
        <p:spPr bwMode="auto">
          <a:xfrm>
            <a:off x="297768" y="902554"/>
            <a:ext cx="6172200" cy="2943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Ø"/>
              <a:defRPr sz="3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  <a:defRPr sz="2800">
                <a:solidFill>
                  <a:schemeClr val="tx2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Calibri" pitchFamily="34" charset="0"/>
              <a:buChar char="‒"/>
              <a:defRPr sz="2400">
                <a:solidFill>
                  <a:schemeClr val="tx2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Calibri" pitchFamily="34" charset="0"/>
              <a:buChar char="»"/>
              <a:defRPr sz="2000">
                <a:solidFill>
                  <a:schemeClr val="tx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257175" lvl="1" indent="-257175" eaLnBrk="1" hangingPunct="1">
              <a:spcAft>
                <a:spcPts val="900"/>
              </a:spcAft>
              <a:buSzPct val="80000"/>
              <a:buFont typeface="Wingdings" pitchFamily="2" charset="2"/>
              <a:buChar char="Ø"/>
              <a:defRPr/>
            </a:pPr>
            <a:r>
              <a:rPr lang="en-GB" sz="1050" kern="0" dirty="0" smtClean="0">
                <a:solidFill>
                  <a:schemeClr val="tx1"/>
                </a:solidFill>
              </a:rPr>
              <a:t>More APIs </a:t>
            </a:r>
            <a:r>
              <a:rPr lang="en-GB" sz="1050" kern="0" dirty="0">
                <a:solidFill>
                  <a:schemeClr val="tx1"/>
                </a:solidFill>
              </a:rPr>
              <a:t>for </a:t>
            </a:r>
            <a:r>
              <a:rPr lang="en-GB" sz="1050" kern="0" dirty="0" smtClean="0">
                <a:solidFill>
                  <a:schemeClr val="tx1"/>
                </a:solidFill>
              </a:rPr>
              <a:t>databases </a:t>
            </a:r>
            <a:r>
              <a:rPr lang="en-GB" sz="1050" kern="0" dirty="0">
                <a:solidFill>
                  <a:schemeClr val="tx1"/>
                </a:solidFill>
              </a:rPr>
              <a:t>or registers containing authentic sources will be </a:t>
            </a:r>
            <a:r>
              <a:rPr lang="en-GB" sz="1050" kern="0" dirty="0" smtClean="0">
                <a:solidFill>
                  <a:schemeClr val="tx1"/>
                </a:solidFill>
              </a:rPr>
              <a:t>implemented over time.</a:t>
            </a:r>
            <a:endParaRPr lang="en-GB" sz="1200" kern="0" dirty="0">
              <a:solidFill>
                <a:schemeClr val="tx1"/>
              </a:solidFill>
            </a:endParaRPr>
          </a:p>
        </p:txBody>
      </p:sp>
      <p:sp>
        <p:nvSpPr>
          <p:cNvPr id="47" name="TextBox 1"/>
          <p:cNvSpPr txBox="1">
            <a:spLocks noChangeArrowheads="1"/>
          </p:cNvSpPr>
          <p:nvPr/>
        </p:nvSpPr>
        <p:spPr bwMode="auto">
          <a:xfrm>
            <a:off x="1677429" y="1186233"/>
            <a:ext cx="2673296" cy="37391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 sz="1600" b="1">
                <a:solidFill>
                  <a:srgbClr val="003366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600" b="1">
                <a:solidFill>
                  <a:srgbClr val="003366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600" b="1">
                <a:solidFill>
                  <a:srgbClr val="003366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600" b="1">
                <a:solidFill>
                  <a:srgbClr val="003366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600" b="1">
                <a:solidFill>
                  <a:srgbClr val="003366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3366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3366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3366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3366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fr-FR" sz="105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Citizens &amp; Businesses</a:t>
            </a:r>
          </a:p>
        </p:txBody>
      </p:sp>
      <p:sp>
        <p:nvSpPr>
          <p:cNvPr id="6" name="Rectangle 9"/>
          <p:cNvSpPr>
            <a:spLocks noChangeArrowheads="1"/>
          </p:cNvSpPr>
          <p:nvPr/>
        </p:nvSpPr>
        <p:spPr bwMode="auto">
          <a:xfrm>
            <a:off x="311076" y="1715906"/>
            <a:ext cx="4514902" cy="2747464"/>
          </a:xfrm>
          <a:prstGeom prst="rect">
            <a:avLst/>
          </a:prstGeom>
          <a:noFill/>
          <a:ln w="9525" algn="ctr">
            <a:solidFill>
              <a:srgbClr val="333333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fr-FR" sz="1350"/>
          </a:p>
        </p:txBody>
      </p:sp>
      <p:sp>
        <p:nvSpPr>
          <p:cNvPr id="7" name="Rounded Rectangle 6"/>
          <p:cNvSpPr/>
          <p:nvPr/>
        </p:nvSpPr>
        <p:spPr bwMode="auto">
          <a:xfrm>
            <a:off x="1261583" y="3592589"/>
            <a:ext cx="3373553" cy="641820"/>
          </a:xfrm>
          <a:prstGeom prst="roundRect">
            <a:avLst/>
          </a:prstGeom>
          <a:solidFill>
            <a:schemeClr val="bg1">
              <a:lumMod val="95000"/>
              <a:alpha val="85000"/>
            </a:schemeClr>
          </a:solidFill>
          <a:ln w="9525" cap="flat" cmpd="sng" algn="ctr">
            <a:solidFill>
              <a:srgbClr val="33333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003366"/>
              </a:solidFill>
            </a:endParaRPr>
          </a:p>
        </p:txBody>
      </p:sp>
      <p:sp>
        <p:nvSpPr>
          <p:cNvPr id="8" name="Rounded Rectangle 7"/>
          <p:cNvSpPr/>
          <p:nvPr/>
        </p:nvSpPr>
        <p:spPr bwMode="auto">
          <a:xfrm>
            <a:off x="1217693" y="2046960"/>
            <a:ext cx="3393975" cy="1173540"/>
          </a:xfrm>
          <a:prstGeom prst="roundRect">
            <a:avLst/>
          </a:prstGeom>
          <a:solidFill>
            <a:schemeClr val="bg1">
              <a:lumMod val="95000"/>
              <a:alpha val="85000"/>
            </a:schemeClr>
          </a:solidFill>
          <a:ln w="9525" cap="flat" cmpd="sng" algn="ctr">
            <a:solidFill>
              <a:srgbClr val="33333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endParaRPr lang="fr-FR" sz="1200" b="1">
              <a:solidFill>
                <a:srgbClr val="003366"/>
              </a:solidFill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1855228" y="3729180"/>
            <a:ext cx="2316858" cy="263658"/>
          </a:xfrm>
          <a:prstGeom prst="roundRect">
            <a:avLst/>
          </a:prstGeom>
          <a:solidFill>
            <a:schemeClr val="bg1">
              <a:lumMod val="50000"/>
              <a:alpha val="85000"/>
            </a:schemeClr>
          </a:solidFill>
          <a:ln w="9525" cap="flat" cmpd="sng" algn="ctr">
            <a:solidFill>
              <a:srgbClr val="33333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</a:pPr>
            <a:r>
              <a:rPr lang="fr-FR" sz="900" b="1" dirty="0">
                <a:solidFill>
                  <a:schemeClr val="bg1"/>
                </a:solidFill>
              </a:rPr>
              <a:t>Back Office</a:t>
            </a:r>
          </a:p>
        </p:txBody>
      </p:sp>
      <p:sp>
        <p:nvSpPr>
          <p:cNvPr id="13" name="Rounded Rectangle 12"/>
          <p:cNvSpPr/>
          <p:nvPr/>
        </p:nvSpPr>
        <p:spPr bwMode="auto">
          <a:xfrm>
            <a:off x="1578416" y="2184961"/>
            <a:ext cx="1393440" cy="975788"/>
          </a:xfrm>
          <a:prstGeom prst="roundRect">
            <a:avLst/>
          </a:prstGeom>
          <a:solidFill>
            <a:srgbClr val="0099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r>
              <a:rPr lang="en-GB" sz="825" b="1" dirty="0" smtClean="0">
                <a:solidFill>
                  <a:schemeClr val="bg1"/>
                </a:solidFill>
              </a:rPr>
              <a:t>Private Space</a:t>
            </a:r>
          </a:p>
        </p:txBody>
      </p:sp>
      <p:sp>
        <p:nvSpPr>
          <p:cNvPr id="14" name="Rounded Rectangle 13"/>
          <p:cNvSpPr/>
          <p:nvPr/>
        </p:nvSpPr>
        <p:spPr bwMode="auto">
          <a:xfrm>
            <a:off x="3083384" y="2184961"/>
            <a:ext cx="1393441" cy="975788"/>
          </a:xfrm>
          <a:prstGeom prst="roundRect">
            <a:avLst/>
          </a:prstGeom>
          <a:solidFill>
            <a:srgbClr val="66CC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r>
              <a:rPr lang="en-GB" sz="825" b="1" dirty="0" smtClean="0">
                <a:solidFill>
                  <a:schemeClr val="bg1"/>
                </a:solidFill>
              </a:rPr>
              <a:t>Professional Spaces</a:t>
            </a:r>
            <a:endParaRPr lang="en-GB" sz="825" b="1" dirty="0">
              <a:solidFill>
                <a:schemeClr val="bg1"/>
              </a:solidFill>
            </a:endParaRPr>
          </a:p>
        </p:txBody>
      </p:sp>
      <p:pic>
        <p:nvPicPr>
          <p:cNvPr id="17" name="Picture 12" descr="https://encrypted-tbn0.gstatic.com/images?q=tbn:ANd9GcREAESz9vN_9fwL5kfJNArHSzFtNqSlzpSESovikZIRLL-BGsCsCQ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38" r="5743" b="19235"/>
          <a:stretch>
            <a:fillRect/>
          </a:stretch>
        </p:blipFill>
        <p:spPr bwMode="auto">
          <a:xfrm>
            <a:off x="2569678" y="3302229"/>
            <a:ext cx="236851" cy="290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Left-Right Arrow 17"/>
          <p:cNvSpPr/>
          <p:nvPr/>
        </p:nvSpPr>
        <p:spPr bwMode="auto">
          <a:xfrm rot="16200000">
            <a:off x="2774408" y="3334245"/>
            <a:ext cx="302029" cy="171687"/>
          </a:xfrm>
          <a:prstGeom prst="leftRightArrow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rgbClr val="33333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>
              <a:defRPr/>
            </a:pPr>
            <a:endParaRPr lang="fr-FR" sz="1350"/>
          </a:p>
        </p:txBody>
      </p:sp>
      <p:sp>
        <p:nvSpPr>
          <p:cNvPr id="20" name="Text Box 78"/>
          <p:cNvSpPr txBox="1">
            <a:spLocks noChangeArrowheads="1"/>
          </p:cNvSpPr>
          <p:nvPr/>
        </p:nvSpPr>
        <p:spPr bwMode="auto">
          <a:xfrm rot="16200000">
            <a:off x="925886" y="2454080"/>
            <a:ext cx="1099012" cy="31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 b="1">
                <a:solidFill>
                  <a:srgbClr val="003366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rgbClr val="003366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rgbClr val="003366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rgbClr val="003366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rgbClr val="003366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3366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3366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3366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3366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fr-FR" sz="900" dirty="0">
                <a:solidFill>
                  <a:srgbClr val="000000"/>
                </a:solidFill>
                <a:latin typeface="+mn-lt"/>
              </a:rPr>
              <a:t>Front Office</a:t>
            </a:r>
          </a:p>
        </p:txBody>
      </p:sp>
      <p:sp>
        <p:nvSpPr>
          <p:cNvPr id="21" name="Text Box 78"/>
          <p:cNvSpPr txBox="1">
            <a:spLocks noChangeArrowheads="1"/>
          </p:cNvSpPr>
          <p:nvPr/>
        </p:nvSpPr>
        <p:spPr bwMode="auto">
          <a:xfrm rot="16200000">
            <a:off x="1023195" y="3751842"/>
            <a:ext cx="855648" cy="3630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 b="1">
                <a:solidFill>
                  <a:srgbClr val="003366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rgbClr val="003366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rgbClr val="003366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rgbClr val="003366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rgbClr val="003366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3366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3366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3366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3366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fr-FR" sz="900" dirty="0">
                <a:solidFill>
                  <a:srgbClr val="000000"/>
                </a:solidFill>
                <a:latin typeface="+mn-lt"/>
              </a:rPr>
              <a:t>Back </a:t>
            </a:r>
          </a:p>
          <a:p>
            <a:pPr algn="ctr" eaLnBrk="1" hangingPunct="1"/>
            <a:r>
              <a:rPr lang="fr-FR" sz="900" dirty="0">
                <a:solidFill>
                  <a:srgbClr val="000000"/>
                </a:solidFill>
                <a:latin typeface="+mn-lt"/>
              </a:rPr>
              <a:t>Office</a:t>
            </a:r>
          </a:p>
        </p:txBody>
      </p:sp>
      <p:sp>
        <p:nvSpPr>
          <p:cNvPr id="22" name="TextBox 1"/>
          <p:cNvSpPr txBox="1">
            <a:spLocks noChangeArrowheads="1"/>
          </p:cNvSpPr>
          <p:nvPr/>
        </p:nvSpPr>
        <p:spPr bwMode="auto">
          <a:xfrm>
            <a:off x="2078387" y="4646024"/>
            <a:ext cx="1955503" cy="37391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 sz="1600" b="1">
                <a:solidFill>
                  <a:srgbClr val="003366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600" b="1">
                <a:solidFill>
                  <a:srgbClr val="003366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600" b="1">
                <a:solidFill>
                  <a:srgbClr val="003366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600" b="1">
                <a:solidFill>
                  <a:srgbClr val="003366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600" b="1">
                <a:solidFill>
                  <a:srgbClr val="003366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3366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3366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3366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3366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fr-FR" sz="105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Administrations</a:t>
            </a:r>
          </a:p>
        </p:txBody>
      </p:sp>
      <p:pic>
        <p:nvPicPr>
          <p:cNvPr id="27" name="Picture 5" descr="http://www.guichet.public.lu/pictures/photos/splash-screen-myguichet-logo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-178112" y="2886621"/>
            <a:ext cx="1999608" cy="5362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Rectangle 9"/>
          <p:cNvSpPr>
            <a:spLocks noChangeArrowheads="1"/>
          </p:cNvSpPr>
          <p:nvPr/>
        </p:nvSpPr>
        <p:spPr bwMode="auto">
          <a:xfrm>
            <a:off x="4885386" y="1715906"/>
            <a:ext cx="2495077" cy="2748156"/>
          </a:xfrm>
          <a:prstGeom prst="rect">
            <a:avLst/>
          </a:prstGeom>
          <a:noFill/>
          <a:ln w="9525" algn="ctr">
            <a:solidFill>
              <a:srgbClr val="333333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fr-FR" sz="1350"/>
          </a:p>
        </p:txBody>
      </p:sp>
      <p:sp>
        <p:nvSpPr>
          <p:cNvPr id="33" name="Rounded Rectangle 70"/>
          <p:cNvSpPr/>
          <p:nvPr/>
        </p:nvSpPr>
        <p:spPr bwMode="auto">
          <a:xfrm>
            <a:off x="5417226" y="2018881"/>
            <a:ext cx="1250441" cy="231836"/>
          </a:xfrm>
          <a:prstGeom prst="roundRect">
            <a:avLst/>
          </a:prstGeom>
          <a:solidFill>
            <a:schemeClr val="bg1">
              <a:lumMod val="95000"/>
              <a:alpha val="85000"/>
            </a:schemeClr>
          </a:solidFill>
          <a:ln w="9525" cap="flat" cmpd="sng" algn="ctr">
            <a:solidFill>
              <a:srgbClr val="333333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825" b="1" dirty="0" smtClean="0">
                <a:solidFill>
                  <a:schemeClr val="bg1">
                    <a:lumMod val="50000"/>
                  </a:schemeClr>
                </a:solidFill>
              </a:rPr>
              <a:t>Data compartment</a:t>
            </a:r>
            <a:endParaRPr lang="en-GB" sz="825" b="1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34866" name="Picture 50" descr="Image result for agreement icon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2397" y="3302229"/>
            <a:ext cx="240238" cy="290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ounded Rectangle 8"/>
          <p:cNvSpPr/>
          <p:nvPr/>
        </p:nvSpPr>
        <p:spPr bwMode="auto">
          <a:xfrm>
            <a:off x="1716071" y="2485364"/>
            <a:ext cx="1090458" cy="169941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825" b="1" dirty="0" err="1" smtClean="0">
                <a:solidFill>
                  <a:schemeClr val="bg1"/>
                </a:solidFill>
              </a:rPr>
              <a:t>eForms</a:t>
            </a:r>
            <a:endParaRPr lang="fr-FR" sz="825" b="1" dirty="0">
              <a:solidFill>
                <a:schemeClr val="bg1"/>
              </a:solidFill>
            </a:endParaRPr>
          </a:p>
        </p:txBody>
      </p:sp>
      <p:sp>
        <p:nvSpPr>
          <p:cNvPr id="38" name="Rounded Rectangle 37"/>
          <p:cNvSpPr/>
          <p:nvPr/>
        </p:nvSpPr>
        <p:spPr bwMode="auto">
          <a:xfrm>
            <a:off x="1716070" y="2688208"/>
            <a:ext cx="1090458" cy="169941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825" b="1" dirty="0" smtClean="0">
                <a:solidFill>
                  <a:schemeClr val="bg1"/>
                </a:solidFill>
              </a:rPr>
              <a:t>Data consultation</a:t>
            </a:r>
            <a:endParaRPr lang="fr-FR" sz="825" b="1" dirty="0">
              <a:solidFill>
                <a:schemeClr val="bg1"/>
              </a:solidFill>
            </a:endParaRPr>
          </a:p>
        </p:txBody>
      </p:sp>
      <p:sp>
        <p:nvSpPr>
          <p:cNvPr id="40" name="Rounded Rectangle 39"/>
          <p:cNvSpPr/>
          <p:nvPr/>
        </p:nvSpPr>
        <p:spPr bwMode="auto">
          <a:xfrm>
            <a:off x="1716071" y="2892021"/>
            <a:ext cx="1090458" cy="169941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825" b="1" dirty="0" err="1" smtClean="0">
                <a:solidFill>
                  <a:schemeClr val="bg1"/>
                </a:solidFill>
              </a:rPr>
              <a:t>Tracking</a:t>
            </a:r>
            <a:endParaRPr lang="fr-FR" sz="825" b="1" dirty="0">
              <a:solidFill>
                <a:schemeClr val="bg1"/>
              </a:solidFill>
            </a:endParaRPr>
          </a:p>
        </p:txBody>
      </p:sp>
      <p:sp>
        <p:nvSpPr>
          <p:cNvPr id="41" name="Rounded Rectangle 40"/>
          <p:cNvSpPr/>
          <p:nvPr/>
        </p:nvSpPr>
        <p:spPr bwMode="auto">
          <a:xfrm>
            <a:off x="3241803" y="2485364"/>
            <a:ext cx="1090458" cy="169941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825" b="1" dirty="0" err="1" smtClean="0">
                <a:solidFill>
                  <a:schemeClr val="bg1"/>
                </a:solidFill>
              </a:rPr>
              <a:t>eForms</a:t>
            </a:r>
            <a:endParaRPr lang="fr-FR" sz="825" b="1" dirty="0">
              <a:solidFill>
                <a:schemeClr val="bg1"/>
              </a:solidFill>
            </a:endParaRPr>
          </a:p>
        </p:txBody>
      </p:sp>
      <p:sp>
        <p:nvSpPr>
          <p:cNvPr id="42" name="Rounded Rectangle 41"/>
          <p:cNvSpPr/>
          <p:nvPr/>
        </p:nvSpPr>
        <p:spPr bwMode="auto">
          <a:xfrm>
            <a:off x="3241802" y="2688208"/>
            <a:ext cx="1090458" cy="169941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825" b="1" dirty="0" smtClean="0">
                <a:solidFill>
                  <a:schemeClr val="bg1"/>
                </a:solidFill>
              </a:rPr>
              <a:t>Data consultation</a:t>
            </a:r>
            <a:endParaRPr lang="fr-FR" sz="825" b="1" dirty="0">
              <a:solidFill>
                <a:schemeClr val="bg1"/>
              </a:solidFill>
            </a:endParaRPr>
          </a:p>
        </p:txBody>
      </p:sp>
      <p:sp>
        <p:nvSpPr>
          <p:cNvPr id="44" name="Rounded Rectangle 43"/>
          <p:cNvSpPr/>
          <p:nvPr/>
        </p:nvSpPr>
        <p:spPr bwMode="auto">
          <a:xfrm>
            <a:off x="3241803" y="2892021"/>
            <a:ext cx="1090458" cy="169941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825" b="1" dirty="0" err="1" smtClean="0">
                <a:solidFill>
                  <a:schemeClr val="bg1"/>
                </a:solidFill>
              </a:rPr>
              <a:t>Tracking</a:t>
            </a:r>
            <a:endParaRPr lang="fr-FR" sz="825" b="1" dirty="0">
              <a:solidFill>
                <a:schemeClr val="bg1"/>
              </a:solidFill>
            </a:endParaRPr>
          </a:p>
        </p:txBody>
      </p:sp>
      <p:sp>
        <p:nvSpPr>
          <p:cNvPr id="46" name="Rounded Rectangle 45"/>
          <p:cNvSpPr/>
          <p:nvPr/>
        </p:nvSpPr>
        <p:spPr bwMode="auto">
          <a:xfrm>
            <a:off x="1217693" y="1630935"/>
            <a:ext cx="3393975" cy="169941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825" b="1" dirty="0" smtClean="0">
                <a:solidFill>
                  <a:schemeClr val="bg1"/>
                </a:solidFill>
              </a:rPr>
              <a:t>Security</a:t>
            </a:r>
            <a:endParaRPr lang="fr-FR" sz="825" b="1" dirty="0">
              <a:solidFill>
                <a:schemeClr val="bg1"/>
              </a:solidFill>
            </a:endParaRPr>
          </a:p>
        </p:txBody>
      </p:sp>
      <p:pic>
        <p:nvPicPr>
          <p:cNvPr id="48" name="Picture 6" descr="http://icons.iconarchive.com/icons/aha-soft/security/256/key-icon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2516" y="1584316"/>
            <a:ext cx="205843" cy="2490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Flowchart: Magnetic Disk 51"/>
          <p:cNvSpPr/>
          <p:nvPr/>
        </p:nvSpPr>
        <p:spPr>
          <a:xfrm>
            <a:off x="7004429" y="2096569"/>
            <a:ext cx="316835" cy="466060"/>
          </a:xfrm>
          <a:prstGeom prst="flowChartMagneticDisk">
            <a:avLst/>
          </a:prstGeom>
          <a:solidFill>
            <a:srgbClr val="EAF5F6"/>
          </a:solidFill>
          <a:ln w="19050">
            <a:solidFill>
              <a:srgbClr val="0070C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00" tIns="54000" rIns="67500" bIns="54000" rtlCol="0" anchor="ctr" anchorCtr="0"/>
          <a:lstStyle/>
          <a:p>
            <a:pPr algn="ctr">
              <a:spcAft>
                <a:spcPct val="40000"/>
              </a:spcAft>
            </a:pPr>
            <a:endParaRPr lang="fr-FR" sz="1050" b="1">
              <a:solidFill>
                <a:srgbClr val="5496D4"/>
              </a:solidFill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6720365" y="2512367"/>
            <a:ext cx="916702" cy="4096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700" b="1" dirty="0" err="1" smtClean="0">
                <a:solidFill>
                  <a:schemeClr val="bg1">
                    <a:lumMod val="50000"/>
                  </a:schemeClr>
                </a:solidFill>
                <a:latin typeface="Arial" charset="0"/>
                <a:ea typeface="ＭＳ Ｐゴシック" pitchFamily="34" charset="-128"/>
              </a:rPr>
              <a:t>Authentic</a:t>
            </a:r>
            <a:r>
              <a:rPr lang="fr-FR" sz="700" b="1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ea typeface="ＭＳ Ｐゴシック" pitchFamily="34" charset="-128"/>
              </a:rPr>
              <a:t>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700" b="1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ea typeface="ＭＳ Ｐゴシック" pitchFamily="34" charset="-128"/>
              </a:rPr>
              <a:t>sources</a:t>
            </a:r>
            <a:endParaRPr lang="fr-FR" sz="900" b="1" dirty="0">
              <a:solidFill>
                <a:schemeClr val="bg1">
                  <a:lumMod val="50000"/>
                </a:schemeClr>
              </a:solidFill>
              <a:latin typeface="Arial" charset="0"/>
              <a:ea typeface="ＭＳ Ｐゴシック" pitchFamily="34" charset="-128"/>
            </a:endParaRPr>
          </a:p>
        </p:txBody>
      </p:sp>
      <p:sp>
        <p:nvSpPr>
          <p:cNvPr id="55" name="Rounded Rectangle 70"/>
          <p:cNvSpPr/>
          <p:nvPr/>
        </p:nvSpPr>
        <p:spPr bwMode="auto">
          <a:xfrm>
            <a:off x="5417226" y="2325101"/>
            <a:ext cx="1250441" cy="231836"/>
          </a:xfrm>
          <a:prstGeom prst="roundRect">
            <a:avLst/>
          </a:prstGeom>
          <a:solidFill>
            <a:schemeClr val="bg1">
              <a:lumMod val="95000"/>
              <a:alpha val="85000"/>
            </a:schemeClr>
          </a:solidFill>
          <a:ln w="9525" cap="flat" cmpd="sng" algn="ctr">
            <a:solidFill>
              <a:srgbClr val="333333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825" b="1" dirty="0">
                <a:solidFill>
                  <a:schemeClr val="bg1">
                    <a:lumMod val="50000"/>
                  </a:schemeClr>
                </a:solidFill>
              </a:rPr>
              <a:t>Data compartment</a:t>
            </a:r>
          </a:p>
        </p:txBody>
      </p:sp>
      <p:sp>
        <p:nvSpPr>
          <p:cNvPr id="56" name="Flowchart: Magnetic Disk 55"/>
          <p:cNvSpPr/>
          <p:nvPr/>
        </p:nvSpPr>
        <p:spPr>
          <a:xfrm>
            <a:off x="6999614" y="2975415"/>
            <a:ext cx="316835" cy="466060"/>
          </a:xfrm>
          <a:prstGeom prst="flowChartMagneticDisk">
            <a:avLst/>
          </a:prstGeom>
          <a:solidFill>
            <a:srgbClr val="EAF5F6"/>
          </a:solidFill>
          <a:ln w="19050">
            <a:solidFill>
              <a:srgbClr val="0070C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00" tIns="54000" rIns="67500" bIns="54000" rtlCol="0" anchor="ctr" anchorCtr="0"/>
          <a:lstStyle/>
          <a:p>
            <a:pPr algn="ctr">
              <a:spcAft>
                <a:spcPct val="40000"/>
              </a:spcAft>
            </a:pPr>
            <a:endParaRPr lang="fr-FR" sz="1050" b="1">
              <a:solidFill>
                <a:srgbClr val="5496D4"/>
              </a:solidFill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6704495" y="3420088"/>
            <a:ext cx="916702" cy="4096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700" b="1" dirty="0" err="1" smtClean="0">
                <a:solidFill>
                  <a:schemeClr val="bg1">
                    <a:lumMod val="50000"/>
                  </a:schemeClr>
                </a:solidFill>
                <a:latin typeface="Arial" charset="0"/>
                <a:ea typeface="ＭＳ Ｐゴシック" pitchFamily="34" charset="-128"/>
              </a:rPr>
              <a:t>Authentic</a:t>
            </a:r>
            <a:r>
              <a:rPr lang="fr-FR" sz="700" b="1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ea typeface="ＭＳ Ｐゴシック" pitchFamily="34" charset="-128"/>
              </a:rPr>
              <a:t>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700" b="1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ea typeface="ＭＳ Ｐゴシック" pitchFamily="34" charset="-128"/>
              </a:rPr>
              <a:t>sources</a:t>
            </a:r>
            <a:endParaRPr lang="fr-FR" sz="900" b="1" dirty="0">
              <a:solidFill>
                <a:schemeClr val="bg1">
                  <a:lumMod val="50000"/>
                </a:schemeClr>
              </a:solidFill>
              <a:latin typeface="Arial" charset="0"/>
              <a:ea typeface="ＭＳ Ｐゴシック" pitchFamily="34" charset="-128"/>
            </a:endParaRPr>
          </a:p>
        </p:txBody>
      </p:sp>
      <p:sp>
        <p:nvSpPr>
          <p:cNvPr id="59" name="Rounded Rectangle 70"/>
          <p:cNvSpPr/>
          <p:nvPr/>
        </p:nvSpPr>
        <p:spPr bwMode="auto">
          <a:xfrm>
            <a:off x="5417226" y="2650373"/>
            <a:ext cx="1250441" cy="231836"/>
          </a:xfrm>
          <a:prstGeom prst="roundRect">
            <a:avLst/>
          </a:prstGeom>
          <a:solidFill>
            <a:schemeClr val="bg1">
              <a:lumMod val="95000"/>
              <a:alpha val="85000"/>
            </a:schemeClr>
          </a:solidFill>
          <a:ln w="9525" cap="flat" cmpd="sng" algn="ctr">
            <a:solidFill>
              <a:srgbClr val="333333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825" b="1" dirty="0">
                <a:solidFill>
                  <a:schemeClr val="bg1">
                    <a:lumMod val="50000"/>
                  </a:schemeClr>
                </a:solidFill>
              </a:rPr>
              <a:t>Data compartment</a:t>
            </a:r>
          </a:p>
        </p:txBody>
      </p:sp>
      <p:sp>
        <p:nvSpPr>
          <p:cNvPr id="62" name="Rounded Rectangle 70"/>
          <p:cNvSpPr/>
          <p:nvPr/>
        </p:nvSpPr>
        <p:spPr bwMode="auto">
          <a:xfrm>
            <a:off x="5417226" y="2961200"/>
            <a:ext cx="1250441" cy="231836"/>
          </a:xfrm>
          <a:prstGeom prst="roundRect">
            <a:avLst/>
          </a:prstGeom>
          <a:solidFill>
            <a:schemeClr val="bg1">
              <a:lumMod val="95000"/>
              <a:alpha val="85000"/>
            </a:schemeClr>
          </a:solidFill>
          <a:ln w="9525" cap="flat" cmpd="sng" algn="ctr">
            <a:solidFill>
              <a:srgbClr val="333333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825" b="1" dirty="0">
                <a:solidFill>
                  <a:schemeClr val="bg1">
                    <a:lumMod val="50000"/>
                  </a:schemeClr>
                </a:solidFill>
              </a:rPr>
              <a:t>Data compartment</a:t>
            </a:r>
          </a:p>
        </p:txBody>
      </p:sp>
      <p:sp>
        <p:nvSpPr>
          <p:cNvPr id="63" name="Rounded Rectangle 70"/>
          <p:cNvSpPr/>
          <p:nvPr/>
        </p:nvSpPr>
        <p:spPr bwMode="auto">
          <a:xfrm>
            <a:off x="5417226" y="3293748"/>
            <a:ext cx="1250441" cy="231836"/>
          </a:xfrm>
          <a:prstGeom prst="roundRect">
            <a:avLst/>
          </a:prstGeom>
          <a:solidFill>
            <a:schemeClr val="bg1">
              <a:lumMod val="95000"/>
              <a:alpha val="85000"/>
            </a:schemeClr>
          </a:solidFill>
          <a:ln w="9525" cap="flat" cmpd="sng" algn="ctr">
            <a:solidFill>
              <a:srgbClr val="333333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825" b="1" dirty="0">
                <a:solidFill>
                  <a:schemeClr val="bg1">
                    <a:lumMod val="50000"/>
                  </a:schemeClr>
                </a:solidFill>
              </a:rPr>
              <a:t>Data compartment</a:t>
            </a:r>
          </a:p>
        </p:txBody>
      </p:sp>
      <p:cxnSp>
        <p:nvCxnSpPr>
          <p:cNvPr id="66" name="Straight Arrow Connector 65"/>
          <p:cNvCxnSpPr>
            <a:stCxn id="52" idx="2"/>
            <a:endCxn id="33" idx="3"/>
          </p:cNvCxnSpPr>
          <p:nvPr/>
        </p:nvCxnSpPr>
        <p:spPr bwMode="auto">
          <a:xfrm flipH="1" flipV="1">
            <a:off x="6667667" y="2134799"/>
            <a:ext cx="336762" cy="194800"/>
          </a:xfrm>
          <a:prstGeom prst="straightConnector1">
            <a:avLst/>
          </a:prstGeom>
          <a:solidFill>
            <a:srgbClr val="969696"/>
          </a:solidFill>
          <a:ln w="12700" cap="flat" cmpd="sng" algn="ctr">
            <a:solidFill>
              <a:srgbClr val="00B0F0"/>
            </a:solidFill>
            <a:prstDash val="dash"/>
            <a:round/>
            <a:headEnd type="none" w="med" len="med"/>
            <a:tailEnd type="arrow"/>
          </a:ln>
          <a:effectLst/>
        </p:spPr>
      </p:cxnSp>
      <p:cxnSp>
        <p:nvCxnSpPr>
          <p:cNvPr id="67" name="Straight Arrow Connector 66"/>
          <p:cNvCxnSpPr>
            <a:stCxn id="52" idx="2"/>
            <a:endCxn id="55" idx="3"/>
          </p:cNvCxnSpPr>
          <p:nvPr/>
        </p:nvCxnSpPr>
        <p:spPr bwMode="auto">
          <a:xfrm flipH="1">
            <a:off x="6667667" y="2329599"/>
            <a:ext cx="336762" cy="111419"/>
          </a:xfrm>
          <a:prstGeom prst="straightConnector1">
            <a:avLst/>
          </a:prstGeom>
          <a:solidFill>
            <a:srgbClr val="969696"/>
          </a:solidFill>
          <a:ln w="12700" cap="flat" cmpd="sng" algn="ctr">
            <a:solidFill>
              <a:srgbClr val="00B0F0"/>
            </a:solidFill>
            <a:prstDash val="dash"/>
            <a:round/>
            <a:headEnd type="none" w="med" len="med"/>
            <a:tailEnd type="arrow"/>
          </a:ln>
          <a:effectLst/>
        </p:spPr>
      </p:cxnSp>
      <p:cxnSp>
        <p:nvCxnSpPr>
          <p:cNvPr id="68" name="Straight Arrow Connector 67"/>
          <p:cNvCxnSpPr>
            <a:stCxn id="52" idx="2"/>
            <a:endCxn id="59" idx="3"/>
          </p:cNvCxnSpPr>
          <p:nvPr/>
        </p:nvCxnSpPr>
        <p:spPr bwMode="auto">
          <a:xfrm flipH="1">
            <a:off x="6667667" y="2329599"/>
            <a:ext cx="336762" cy="436692"/>
          </a:xfrm>
          <a:prstGeom prst="straightConnector1">
            <a:avLst/>
          </a:prstGeom>
          <a:solidFill>
            <a:srgbClr val="969696"/>
          </a:solidFill>
          <a:ln w="12700" cap="flat" cmpd="sng" algn="ctr">
            <a:solidFill>
              <a:srgbClr val="00B0F0"/>
            </a:solidFill>
            <a:prstDash val="dash"/>
            <a:round/>
            <a:headEnd type="none" w="med" len="med"/>
            <a:tailEnd type="arrow"/>
          </a:ln>
          <a:effectLst/>
        </p:spPr>
      </p:cxnSp>
      <p:cxnSp>
        <p:nvCxnSpPr>
          <p:cNvPr id="69" name="Straight Arrow Connector 68"/>
          <p:cNvCxnSpPr>
            <a:stCxn id="56" idx="2"/>
            <a:endCxn id="62" idx="3"/>
          </p:cNvCxnSpPr>
          <p:nvPr/>
        </p:nvCxnSpPr>
        <p:spPr bwMode="auto">
          <a:xfrm flipH="1" flipV="1">
            <a:off x="6667667" y="3077118"/>
            <a:ext cx="331947" cy="131327"/>
          </a:xfrm>
          <a:prstGeom prst="straightConnector1">
            <a:avLst/>
          </a:prstGeom>
          <a:solidFill>
            <a:srgbClr val="969696"/>
          </a:solidFill>
          <a:ln w="12700" cap="flat" cmpd="sng" algn="ctr">
            <a:solidFill>
              <a:srgbClr val="00B0F0"/>
            </a:solidFill>
            <a:prstDash val="dash"/>
            <a:round/>
            <a:headEnd type="none" w="med" len="med"/>
            <a:tailEnd type="arrow"/>
          </a:ln>
          <a:effectLst/>
        </p:spPr>
      </p:cxnSp>
      <p:cxnSp>
        <p:nvCxnSpPr>
          <p:cNvPr id="72" name="Straight Arrow Connector 71"/>
          <p:cNvCxnSpPr>
            <a:stCxn id="56" idx="2"/>
            <a:endCxn id="63" idx="3"/>
          </p:cNvCxnSpPr>
          <p:nvPr/>
        </p:nvCxnSpPr>
        <p:spPr bwMode="auto">
          <a:xfrm flipH="1">
            <a:off x="6667667" y="3208445"/>
            <a:ext cx="331947" cy="201221"/>
          </a:xfrm>
          <a:prstGeom prst="straightConnector1">
            <a:avLst/>
          </a:prstGeom>
          <a:solidFill>
            <a:srgbClr val="969696"/>
          </a:solidFill>
          <a:ln w="12700" cap="flat" cmpd="sng" algn="ctr">
            <a:solidFill>
              <a:srgbClr val="00B0F0"/>
            </a:solidFill>
            <a:prstDash val="dash"/>
            <a:round/>
            <a:headEnd type="none" w="med" len="med"/>
            <a:tailEnd type="arrow"/>
          </a:ln>
          <a:effectLst/>
        </p:spPr>
      </p:cxnSp>
      <p:cxnSp>
        <p:nvCxnSpPr>
          <p:cNvPr id="78" name="Straight Arrow Connector 77"/>
          <p:cNvCxnSpPr>
            <a:endCxn id="55" idx="1"/>
          </p:cNvCxnSpPr>
          <p:nvPr/>
        </p:nvCxnSpPr>
        <p:spPr bwMode="auto">
          <a:xfrm flipV="1">
            <a:off x="4332261" y="2441019"/>
            <a:ext cx="1084965" cy="129315"/>
          </a:xfrm>
          <a:prstGeom prst="straightConnector1">
            <a:avLst/>
          </a:prstGeom>
          <a:solidFill>
            <a:srgbClr val="969696"/>
          </a:solidFill>
          <a:ln w="12700" cap="flat" cmpd="sng" algn="ctr">
            <a:solidFill>
              <a:srgbClr val="00B0F0"/>
            </a:solidFill>
            <a:prstDash val="dash"/>
            <a:round/>
            <a:headEnd type="none" w="med" len="med"/>
            <a:tailEnd type="arrow"/>
          </a:ln>
          <a:effectLst/>
        </p:spPr>
      </p:cxnSp>
      <p:sp>
        <p:nvSpPr>
          <p:cNvPr id="85" name="Rounded Rectangular Callout 84"/>
          <p:cNvSpPr/>
          <p:nvPr/>
        </p:nvSpPr>
        <p:spPr>
          <a:xfrm>
            <a:off x="7663918" y="2061736"/>
            <a:ext cx="1228562" cy="1479755"/>
          </a:xfrm>
          <a:prstGeom prst="wedgeRoundRectCallout">
            <a:avLst>
              <a:gd name="adj1" fmla="val -73118"/>
              <a:gd name="adj2" fmla="val 19482"/>
              <a:gd name="adj3" fmla="val 16667"/>
            </a:avLst>
          </a:prstGeom>
          <a:solidFill>
            <a:schemeClr val="bg1"/>
          </a:solidFill>
          <a:ln w="19050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00" tIns="54000" rIns="67500" bIns="54000" rtlCol="0" anchor="ctr" anchorCtr="0"/>
          <a:lstStyle/>
          <a:p>
            <a:r>
              <a:rPr lang="en-US" sz="900" dirty="0">
                <a:solidFill>
                  <a:schemeClr val="tx1"/>
                </a:solidFill>
                <a:cs typeface="Calibri" pitchFamily="34" charset="0"/>
              </a:rPr>
              <a:t>VAT balance sheet</a:t>
            </a:r>
          </a:p>
          <a:p>
            <a:r>
              <a:rPr lang="en-US" sz="900" dirty="0">
                <a:solidFill>
                  <a:schemeClr val="tx1"/>
                </a:solidFill>
                <a:cs typeface="Calibri" pitchFamily="34" charset="0"/>
              </a:rPr>
              <a:t>Taxi waiting list</a:t>
            </a:r>
          </a:p>
          <a:p>
            <a:r>
              <a:rPr lang="en-US" sz="900" dirty="0" smtClean="0">
                <a:solidFill>
                  <a:schemeClr val="tx1"/>
                </a:solidFill>
                <a:cs typeface="Calibri" pitchFamily="34" charset="0"/>
              </a:rPr>
              <a:t>National </a:t>
            </a:r>
            <a:r>
              <a:rPr lang="en-US" sz="900" dirty="0">
                <a:solidFill>
                  <a:schemeClr val="tx1"/>
                </a:solidFill>
                <a:cs typeface="Calibri" pitchFamily="34" charset="0"/>
              </a:rPr>
              <a:t>Register</a:t>
            </a:r>
          </a:p>
          <a:p>
            <a:r>
              <a:rPr lang="en-US" sz="900" dirty="0">
                <a:solidFill>
                  <a:schemeClr val="tx1"/>
                </a:solidFill>
                <a:cs typeface="Calibri" pitchFamily="34" charset="0"/>
              </a:rPr>
              <a:t>Driving </a:t>
            </a:r>
            <a:r>
              <a:rPr lang="en-US" sz="900" dirty="0" smtClean="0">
                <a:solidFill>
                  <a:schemeClr val="tx1"/>
                </a:solidFill>
                <a:cs typeface="Calibri" pitchFamily="34" charset="0"/>
              </a:rPr>
              <a:t>license</a:t>
            </a:r>
            <a:endParaRPr lang="en-US" sz="900" dirty="0">
              <a:solidFill>
                <a:schemeClr val="tx1"/>
              </a:solidFill>
              <a:cs typeface="Calibri" pitchFamily="34" charset="0"/>
            </a:endParaRPr>
          </a:p>
          <a:p>
            <a:r>
              <a:rPr lang="en-US" sz="900" dirty="0">
                <a:solidFill>
                  <a:schemeClr val="tx1"/>
                </a:solidFill>
                <a:cs typeface="Calibri" pitchFamily="34" charset="0"/>
              </a:rPr>
              <a:t>Tax credit</a:t>
            </a:r>
          </a:p>
          <a:p>
            <a:r>
              <a:rPr lang="en-US" sz="900" dirty="0">
                <a:solidFill>
                  <a:schemeClr val="tx1"/>
                </a:solidFill>
                <a:cs typeface="Calibri" pitchFamily="34" charset="0"/>
              </a:rPr>
              <a:t>…</a:t>
            </a:r>
          </a:p>
          <a:p>
            <a:endParaRPr lang="en-US" sz="900" dirty="0">
              <a:solidFill>
                <a:schemeClr val="tx1"/>
              </a:solidFill>
              <a:cs typeface="Calibri" pitchFamily="34" charset="0"/>
            </a:endParaRPr>
          </a:p>
        </p:txBody>
      </p:sp>
      <p:cxnSp>
        <p:nvCxnSpPr>
          <p:cNvPr id="86" name="Straight Arrow Connector 85"/>
          <p:cNvCxnSpPr>
            <a:stCxn id="42" idx="3"/>
            <a:endCxn id="59" idx="1"/>
          </p:cNvCxnSpPr>
          <p:nvPr/>
        </p:nvCxnSpPr>
        <p:spPr bwMode="auto">
          <a:xfrm flipV="1">
            <a:off x="4332260" y="2766291"/>
            <a:ext cx="1084966" cy="6888"/>
          </a:xfrm>
          <a:prstGeom prst="straightConnector1">
            <a:avLst/>
          </a:prstGeom>
          <a:solidFill>
            <a:srgbClr val="969696"/>
          </a:solidFill>
          <a:ln w="12700" cap="flat" cmpd="sng" algn="ctr">
            <a:solidFill>
              <a:srgbClr val="00B0F0"/>
            </a:solidFill>
            <a:prstDash val="dash"/>
            <a:round/>
            <a:headEnd type="none" w="med" len="med"/>
            <a:tailEnd type="arrow"/>
          </a:ln>
          <a:effectLst/>
        </p:spPr>
      </p:cxnSp>
      <p:pic>
        <p:nvPicPr>
          <p:cNvPr id="89" name="Picture 6" descr="http://icons.iconarchive.com/icons/aha-soft/security/256/key-icon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1822" y="2657154"/>
            <a:ext cx="205843" cy="2490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Rounded Rectangle 89"/>
          <p:cNvSpPr/>
          <p:nvPr/>
        </p:nvSpPr>
        <p:spPr bwMode="auto">
          <a:xfrm>
            <a:off x="1261582" y="4406276"/>
            <a:ext cx="3393975" cy="169941"/>
          </a:xfrm>
          <a:prstGeom prst="round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825" b="1" dirty="0" smtClean="0">
                <a:solidFill>
                  <a:schemeClr val="bg1"/>
                </a:solidFill>
              </a:rPr>
              <a:t>Security</a:t>
            </a:r>
            <a:endParaRPr lang="fr-FR" sz="825" b="1" dirty="0">
              <a:solidFill>
                <a:schemeClr val="bg1"/>
              </a:solidFill>
            </a:endParaRPr>
          </a:p>
        </p:txBody>
      </p:sp>
      <p:pic>
        <p:nvPicPr>
          <p:cNvPr id="91" name="Picture 6" descr="http://icons.iconarchive.com/icons/aha-soft/security/256/key-icon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6404" y="4359658"/>
            <a:ext cx="205843" cy="2490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6" descr="http://icons.iconarchive.com/icons/aha-soft/security/256/key-icon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1151" y="2362172"/>
            <a:ext cx="205843" cy="2490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415226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33" grpId="0" animBg="1"/>
      <p:bldP spid="52" grpId="0" animBg="1"/>
      <p:bldP spid="53" grpId="0"/>
      <p:bldP spid="55" grpId="0" animBg="1"/>
      <p:bldP spid="56" grpId="0" animBg="1"/>
      <p:bldP spid="58" grpId="0"/>
      <p:bldP spid="59" grpId="0" animBg="1"/>
      <p:bldP spid="62" grpId="0" animBg="1"/>
      <p:bldP spid="63" grpId="0" animBg="1"/>
      <p:bldP spid="85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fr-FR" sz="2800" dirty="0" err="1" smtClean="0"/>
              <a:t>Authentic</a:t>
            </a:r>
            <a:r>
              <a:rPr lang="fr-FR" sz="2800" dirty="0" smtClean="0"/>
              <a:t> sources - the main </a:t>
            </a:r>
            <a:r>
              <a:rPr lang="fr-FR" sz="2800" dirty="0" err="1" smtClean="0"/>
              <a:t>engine</a:t>
            </a:r>
            <a:r>
              <a:rPr lang="fr-FR" sz="2800" dirty="0" smtClean="0"/>
              <a:t> for OOP</a:t>
            </a:r>
            <a:endParaRPr lang="en-US" sz="280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23528" y="915395"/>
            <a:ext cx="8229600" cy="3744416"/>
          </a:xfrm>
        </p:spPr>
        <p:txBody>
          <a:bodyPr>
            <a:normAutofit lnSpcReduction="10000"/>
          </a:bodyPr>
          <a:lstStyle/>
          <a:p>
            <a:pPr marL="457200" indent="-457200"/>
            <a:endParaRPr lang="fr-FR" dirty="0" smtClean="0"/>
          </a:p>
          <a:p>
            <a:pPr marL="457200" indent="-457200"/>
            <a:r>
              <a:rPr lang="fr-FR" dirty="0" smtClean="0"/>
              <a:t>No </a:t>
            </a:r>
            <a:r>
              <a:rPr lang="fr-FR" dirty="0" err="1" smtClean="0"/>
              <a:t>need</a:t>
            </a:r>
            <a:r>
              <a:rPr lang="fr-FR" dirty="0" smtClean="0"/>
              <a:t> for </a:t>
            </a:r>
            <a:r>
              <a:rPr lang="fr-FR" dirty="0" err="1" smtClean="0"/>
              <a:t>users</a:t>
            </a:r>
            <a:r>
              <a:rPr lang="fr-FR" dirty="0" smtClean="0"/>
              <a:t> </a:t>
            </a:r>
            <a:r>
              <a:rPr lang="fr-FR" dirty="0" smtClean="0"/>
              <a:t>to </a:t>
            </a:r>
            <a:r>
              <a:rPr lang="fr-FR" dirty="0" err="1" smtClean="0"/>
              <a:t>provide</a:t>
            </a:r>
            <a:r>
              <a:rPr lang="fr-FR" dirty="0" smtClean="0"/>
              <a:t> </a:t>
            </a:r>
            <a:r>
              <a:rPr lang="fr-FR" dirty="0" err="1" smtClean="0"/>
              <a:t>supporting</a:t>
            </a:r>
            <a:r>
              <a:rPr lang="fr-FR" dirty="0" smtClean="0"/>
              <a:t> documents</a:t>
            </a:r>
          </a:p>
          <a:p>
            <a:pPr marL="457200" indent="-457200"/>
            <a:r>
              <a:rPr lang="fr-FR" dirty="0" err="1" smtClean="0"/>
              <a:t>Compliant</a:t>
            </a:r>
            <a:r>
              <a:rPr lang="fr-FR" dirty="0" smtClean="0"/>
              <a:t> </a:t>
            </a:r>
            <a:r>
              <a:rPr lang="fr-FR" dirty="0" err="1" smtClean="0"/>
              <a:t>with</a:t>
            </a:r>
            <a:r>
              <a:rPr lang="fr-FR" dirty="0" smtClean="0"/>
              <a:t> data protection</a:t>
            </a:r>
          </a:p>
          <a:p>
            <a:pPr marL="1200150" lvl="1" indent="-457200"/>
            <a:r>
              <a:rPr lang="fr-FR" dirty="0" err="1" smtClean="0"/>
              <a:t>Users</a:t>
            </a:r>
            <a:r>
              <a:rPr lang="fr-FR" dirty="0" smtClean="0"/>
              <a:t> </a:t>
            </a:r>
            <a:r>
              <a:rPr lang="fr-FR" dirty="0" err="1" smtClean="0"/>
              <a:t>can</a:t>
            </a:r>
            <a:r>
              <a:rPr lang="fr-FR" dirty="0" smtClean="0"/>
              <a:t> </a:t>
            </a:r>
            <a:r>
              <a:rPr lang="fr-FR" dirty="0" err="1" smtClean="0"/>
              <a:t>access</a:t>
            </a:r>
            <a:r>
              <a:rPr lang="fr-FR" dirty="0" smtClean="0"/>
              <a:t> </a:t>
            </a:r>
            <a:r>
              <a:rPr lang="fr-FR" dirty="0" err="1" smtClean="0"/>
              <a:t>their</a:t>
            </a:r>
            <a:r>
              <a:rPr lang="fr-FR" dirty="0" smtClean="0"/>
              <a:t> data</a:t>
            </a:r>
          </a:p>
          <a:p>
            <a:pPr marL="1200150" lvl="1" indent="-457200"/>
            <a:r>
              <a:rPr lang="fr-FR" dirty="0" smtClean="0"/>
              <a:t>Data are </a:t>
            </a:r>
            <a:r>
              <a:rPr lang="en-US" dirty="0"/>
              <a:t>compartmentalized in semantic units</a:t>
            </a:r>
          </a:p>
          <a:p>
            <a:pPr marL="457200" indent="-457200"/>
            <a:r>
              <a:rPr lang="fr-FR" dirty="0" err="1" smtClean="0"/>
              <a:t>Users</a:t>
            </a:r>
            <a:r>
              <a:rPr lang="fr-FR" dirty="0" smtClean="0"/>
              <a:t> have the </a:t>
            </a:r>
            <a:r>
              <a:rPr lang="fr-FR" dirty="0" err="1" smtClean="0"/>
              <a:t>possibility</a:t>
            </a:r>
            <a:r>
              <a:rPr lang="fr-FR" dirty="0" smtClean="0"/>
              <a:t> to correct data </a:t>
            </a:r>
            <a:r>
              <a:rPr lang="fr-FR" dirty="0" err="1" smtClean="0"/>
              <a:t>that</a:t>
            </a:r>
            <a:r>
              <a:rPr lang="fr-FR" dirty="0" smtClean="0"/>
              <a:t> </a:t>
            </a:r>
            <a:r>
              <a:rPr lang="fr-FR" dirty="0" err="1" smtClean="0"/>
              <a:t>concerns</a:t>
            </a:r>
            <a:r>
              <a:rPr lang="fr-FR" dirty="0" smtClean="0"/>
              <a:t> </a:t>
            </a:r>
            <a:r>
              <a:rPr lang="fr-FR" dirty="0" err="1" smtClean="0"/>
              <a:t>them</a:t>
            </a:r>
            <a:endParaRPr lang="fr-FR" dirty="0" smtClean="0"/>
          </a:p>
          <a:p>
            <a:pPr marL="1200150" lvl="1" indent="-457200"/>
            <a:r>
              <a:rPr lang="fr-FR" dirty="0" err="1" smtClean="0"/>
              <a:t>Increases</a:t>
            </a:r>
            <a:r>
              <a:rPr lang="fr-FR" dirty="0" smtClean="0"/>
              <a:t> the </a:t>
            </a:r>
            <a:r>
              <a:rPr lang="fr-FR" dirty="0" err="1" smtClean="0"/>
              <a:t>quality</a:t>
            </a:r>
            <a:r>
              <a:rPr lang="fr-FR" dirty="0" smtClean="0"/>
              <a:t> </a:t>
            </a:r>
            <a:r>
              <a:rPr lang="fr-FR" dirty="0"/>
              <a:t>of  </a:t>
            </a:r>
            <a:r>
              <a:rPr lang="fr-FR" dirty="0" err="1" smtClean="0"/>
              <a:t>government</a:t>
            </a:r>
            <a:r>
              <a:rPr lang="fr-FR" dirty="0" smtClean="0"/>
              <a:t> </a:t>
            </a:r>
            <a:r>
              <a:rPr lang="fr-FR" dirty="0" smtClean="0"/>
              <a:t>data</a:t>
            </a:r>
            <a:endParaRPr lang="fr-FR" dirty="0"/>
          </a:p>
          <a:p>
            <a:pPr marL="1200150" lvl="1" indent="-457200"/>
            <a:endParaRPr lang="fr-FR" sz="2000" dirty="0" smtClean="0"/>
          </a:p>
        </p:txBody>
      </p:sp>
      <p:sp>
        <p:nvSpPr>
          <p:cNvPr id="4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8200800" y="4747557"/>
            <a:ext cx="486000" cy="377429"/>
          </a:xfrm>
        </p:spPr>
        <p:txBody>
          <a:bodyPr/>
          <a:lstStyle/>
          <a:p>
            <a:pPr>
              <a:defRPr/>
            </a:pPr>
            <a:r>
              <a:rPr lang="en-GB" dirty="0" smtClean="0"/>
              <a:t>2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60689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51520" y="51470"/>
            <a:ext cx="6432963" cy="677700"/>
          </a:xfrm>
        </p:spPr>
        <p:txBody>
          <a:bodyPr/>
          <a:lstStyle/>
          <a:p>
            <a:r>
              <a:rPr lang="fr-LU" dirty="0" err="1" smtClean="0"/>
              <a:t>Thank</a:t>
            </a:r>
            <a:r>
              <a:rPr lang="fr-LU" dirty="0" smtClean="0"/>
              <a:t> </a:t>
            </a:r>
            <a:r>
              <a:rPr lang="fr-LU" dirty="0" err="1" smtClean="0"/>
              <a:t>you</a:t>
            </a:r>
            <a:r>
              <a:rPr lang="fr-LU" dirty="0" smtClean="0"/>
              <a:t> </a:t>
            </a:r>
            <a:r>
              <a:rPr lang="fr-LU" dirty="0" err="1" smtClean="0"/>
              <a:t>very</a:t>
            </a:r>
            <a:r>
              <a:rPr lang="fr-LU" dirty="0" smtClean="0"/>
              <a:t> </a:t>
            </a:r>
            <a:r>
              <a:rPr lang="fr-LU" dirty="0" err="1" smtClean="0"/>
              <a:t>much</a:t>
            </a:r>
            <a:endParaRPr lang="fr-LU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LU"/>
          </a:p>
        </p:txBody>
      </p:sp>
      <p:sp>
        <p:nvSpPr>
          <p:cNvPr id="4" name="Espace réservé du contenu 2"/>
          <p:cNvSpPr txBox="1">
            <a:spLocks/>
          </p:cNvSpPr>
          <p:nvPr/>
        </p:nvSpPr>
        <p:spPr>
          <a:xfrm>
            <a:off x="3563888" y="461202"/>
            <a:ext cx="2664296" cy="4054764"/>
          </a:xfrm>
          <a:prstGeom prst="rect">
            <a:avLst/>
          </a:prstGeom>
        </p:spPr>
        <p:txBody>
          <a:bodyPr>
            <a:noAutofit/>
            <a:scene3d>
              <a:camera prst="orthographicFront"/>
              <a:lightRig rig="freezing" dir="t">
                <a:rot lat="0" lon="0" rev="6000000"/>
              </a:lightRig>
            </a:scene3d>
            <a:sp3d extrusionH="438150" prstMaterial="powder">
              <a:bevelT w="95250" h="38100"/>
            </a:sp3d>
          </a:bodyPr>
          <a:lstStyle>
            <a:lvl1pPr marL="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lang="en-US" sz="2800" kern="1200" baseline="0" dirty="0" smtClean="0">
                <a:solidFill>
                  <a:srgbClr val="1369AC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buNone/>
            </a:pPr>
            <a:r>
              <a:rPr lang="fr-FR" sz="30000" i="1" dirty="0" smtClean="0">
                <a:effectLst>
                  <a:glow>
                    <a:schemeClr val="accent1">
                      <a:alpha val="40000"/>
                    </a:schemeClr>
                  </a:glow>
                </a:effectLst>
              </a:rPr>
              <a:t>?</a:t>
            </a:r>
            <a:endParaRPr lang="fr-FR" sz="30000" i="1" dirty="0" smtClean="0">
              <a:effectLst>
                <a:glow>
                  <a:schemeClr val="accent1">
                    <a:alpha val="40000"/>
                  </a:schemeClr>
                </a:glo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0758174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Agenda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95536" y="1424084"/>
            <a:ext cx="8229600" cy="3744416"/>
          </a:xfrm>
        </p:spPr>
        <p:txBody>
          <a:bodyPr>
            <a:normAutofit/>
          </a:bodyPr>
          <a:lstStyle/>
          <a:p>
            <a:pPr marL="457200" indent="-457200"/>
            <a:r>
              <a:rPr lang="en-US" sz="2400" dirty="0" smtClean="0"/>
              <a:t>Key findings and conclusions of the European study on the “Once Only” principle conducted in the context of EUPAN</a:t>
            </a:r>
          </a:p>
          <a:p>
            <a:pPr marL="457200" indent="-457200"/>
            <a:r>
              <a:rPr lang="en-US" sz="2400" dirty="0" smtClean="0"/>
              <a:t>Core eGovernment principles adopted by the Luxembourg Government Council and their implementation on the </a:t>
            </a:r>
            <a:r>
              <a:rPr lang="en-US" sz="2400" dirty="0" err="1" smtClean="0"/>
              <a:t>MyGuichet</a:t>
            </a:r>
            <a:r>
              <a:rPr lang="en-US" sz="2400" dirty="0" smtClean="0"/>
              <a:t> platform</a:t>
            </a:r>
            <a:endParaRPr lang="en-US" sz="2400" dirty="0" smtClean="0"/>
          </a:p>
        </p:txBody>
      </p:sp>
      <p:sp>
        <p:nvSpPr>
          <p:cNvPr id="4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8200800" y="4747557"/>
            <a:ext cx="486000" cy="377429"/>
          </a:xfrm>
        </p:spPr>
        <p:txBody>
          <a:bodyPr/>
          <a:lstStyle/>
          <a:p>
            <a:pPr>
              <a:defRPr/>
            </a:pPr>
            <a:r>
              <a:rPr lang="en-GB" dirty="0" smtClean="0"/>
              <a:t>2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9777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Agenda</a:t>
            </a:r>
            <a:endParaRPr lang="en-US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95536" y="1424084"/>
            <a:ext cx="8229600" cy="3744416"/>
          </a:xfrm>
        </p:spPr>
        <p:txBody>
          <a:bodyPr>
            <a:normAutofit/>
          </a:bodyPr>
          <a:lstStyle/>
          <a:p>
            <a:pPr marL="457200" indent="-457200"/>
            <a:r>
              <a:rPr lang="en-US" sz="2400" dirty="0" smtClean="0">
                <a:solidFill>
                  <a:srgbClr val="FF0000"/>
                </a:solidFill>
              </a:rPr>
              <a:t>Key findings and conclusions of the European study on the “Once Only” principle conducted in the context of EUPAN</a:t>
            </a:r>
          </a:p>
          <a:p>
            <a:pPr marL="457200" indent="-457200"/>
            <a:r>
              <a:rPr lang="en-US" sz="2400" dirty="0" smtClean="0"/>
              <a:t>Core eGovernment principles adopted by the Luxembourg Government Council and their implementation on the </a:t>
            </a:r>
            <a:r>
              <a:rPr lang="en-US" sz="2400" dirty="0" err="1" smtClean="0"/>
              <a:t>MyGuichet</a:t>
            </a:r>
            <a:r>
              <a:rPr lang="en-US" sz="2400" dirty="0" smtClean="0"/>
              <a:t> platform</a:t>
            </a:r>
            <a:endParaRPr lang="en-US" sz="2400" dirty="0" smtClean="0"/>
          </a:p>
        </p:txBody>
      </p:sp>
      <p:sp>
        <p:nvSpPr>
          <p:cNvPr id="4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8200800" y="4747557"/>
            <a:ext cx="486000" cy="377429"/>
          </a:xfrm>
        </p:spPr>
        <p:txBody>
          <a:bodyPr/>
          <a:lstStyle/>
          <a:p>
            <a:pPr>
              <a:defRPr/>
            </a:pPr>
            <a:r>
              <a:rPr lang="en-GB" dirty="0" smtClean="0"/>
              <a:t>2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17039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512" y="60807"/>
            <a:ext cx="8119584" cy="775809"/>
          </a:xfrm>
        </p:spPr>
        <p:txBody>
          <a:bodyPr>
            <a:normAutofit/>
          </a:bodyPr>
          <a:lstStyle/>
          <a:p>
            <a:r>
              <a:rPr lang="en-US" sz="2800" dirty="0" smtClean="0"/>
              <a:t>Has your country started to implement the OOP?</a:t>
            </a:r>
            <a:endParaRPr lang="en-US" sz="2800" dirty="0"/>
          </a:p>
        </p:txBody>
      </p:sp>
      <p:grpSp>
        <p:nvGrpSpPr>
          <p:cNvPr id="81" name="Group 98"/>
          <p:cNvGrpSpPr/>
          <p:nvPr/>
        </p:nvGrpSpPr>
        <p:grpSpPr>
          <a:xfrm>
            <a:off x="930819" y="3914148"/>
            <a:ext cx="2696099" cy="530323"/>
            <a:chOff x="716457" y="4407627"/>
            <a:chExt cx="2761811" cy="530323"/>
          </a:xfrm>
        </p:grpSpPr>
        <p:grpSp>
          <p:nvGrpSpPr>
            <p:cNvPr id="82" name="Group 99"/>
            <p:cNvGrpSpPr/>
            <p:nvPr/>
          </p:nvGrpSpPr>
          <p:grpSpPr>
            <a:xfrm>
              <a:off x="717627" y="4407627"/>
              <a:ext cx="2458074" cy="261610"/>
              <a:chOff x="-5214264" y="8505598"/>
              <a:chExt cx="2181541" cy="261610"/>
            </a:xfrm>
          </p:grpSpPr>
          <p:sp>
            <p:nvSpPr>
              <p:cNvPr id="89" name="Rectangle 88"/>
              <p:cNvSpPr/>
              <p:nvPr/>
            </p:nvSpPr>
            <p:spPr>
              <a:xfrm>
                <a:off x="-5214264" y="8571936"/>
                <a:ext cx="241247" cy="130461"/>
              </a:xfrm>
              <a:prstGeom prst="rect">
                <a:avLst/>
              </a:prstGeom>
              <a:solidFill>
                <a:srgbClr val="00B050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 dirty="0"/>
              </a:p>
            </p:txBody>
          </p:sp>
          <p:sp>
            <p:nvSpPr>
              <p:cNvPr id="90" name="TextBox 166"/>
              <p:cNvSpPr txBox="1"/>
              <p:nvPr/>
            </p:nvSpPr>
            <p:spPr>
              <a:xfrm>
                <a:off x="-4973017" y="8505598"/>
                <a:ext cx="1940294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1100" dirty="0" smtClean="0">
                    <a:latin typeface="+mn-lt"/>
                  </a:rPr>
                  <a:t>Implementing OOP</a:t>
                </a:r>
                <a:endParaRPr lang="en-GB" sz="1100" dirty="0">
                  <a:latin typeface="+mn-lt"/>
                </a:endParaRPr>
              </a:p>
            </p:txBody>
          </p:sp>
        </p:grpSp>
        <p:grpSp>
          <p:nvGrpSpPr>
            <p:cNvPr id="83" name="Group 100"/>
            <p:cNvGrpSpPr/>
            <p:nvPr/>
          </p:nvGrpSpPr>
          <p:grpSpPr>
            <a:xfrm>
              <a:off x="716457" y="4676340"/>
              <a:ext cx="2761811" cy="261610"/>
              <a:chOff x="-5215318" y="8510282"/>
              <a:chExt cx="2451109" cy="261610"/>
            </a:xfrm>
          </p:grpSpPr>
          <p:sp>
            <p:nvSpPr>
              <p:cNvPr id="87" name="Rectangle 86"/>
              <p:cNvSpPr/>
              <p:nvPr/>
            </p:nvSpPr>
            <p:spPr>
              <a:xfrm>
                <a:off x="-5215318" y="8575856"/>
                <a:ext cx="241247" cy="130461"/>
              </a:xfrm>
              <a:prstGeom prst="rect">
                <a:avLst/>
              </a:prstGeom>
              <a:solidFill>
                <a:srgbClr val="FDC795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 dirty="0"/>
              </a:p>
            </p:txBody>
          </p:sp>
          <p:sp>
            <p:nvSpPr>
              <p:cNvPr id="88" name="TextBox 105"/>
              <p:cNvSpPr txBox="1"/>
              <p:nvPr/>
            </p:nvSpPr>
            <p:spPr>
              <a:xfrm>
                <a:off x="-4973117" y="8510282"/>
                <a:ext cx="2208908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1100" dirty="0" smtClean="0">
                    <a:latin typeface="+mn-lt"/>
                  </a:rPr>
                  <a:t>Not implementing OOP</a:t>
                </a:r>
                <a:endParaRPr lang="en-GB" sz="1100" dirty="0">
                  <a:latin typeface="+mn-lt"/>
                </a:endParaRPr>
              </a:p>
            </p:txBody>
          </p:sp>
        </p:grpSp>
      </p:grpSp>
      <p:sp>
        <p:nvSpPr>
          <p:cNvPr id="91" name="Rectangle 90"/>
          <p:cNvSpPr/>
          <p:nvPr/>
        </p:nvSpPr>
        <p:spPr>
          <a:xfrm>
            <a:off x="323527" y="1203598"/>
            <a:ext cx="2808313" cy="198608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9388" lvl="2" indent="-4763">
              <a:lnSpc>
                <a:spcPct val="150000"/>
              </a:lnSpc>
              <a:spcBef>
                <a:spcPts val="500"/>
              </a:spcBef>
              <a:buClr>
                <a:srgbClr val="ED7404"/>
              </a:buClr>
            </a:pPr>
            <a:r>
              <a:rPr lang="en-US" sz="1200" dirty="0">
                <a:solidFill>
                  <a:schemeClr val="tx1"/>
                </a:solidFill>
                <a:cs typeface="Arial" panose="020B0604020202020204" pitchFamily="34" charset="0"/>
              </a:rPr>
              <a:t>Out of a total of 33 </a:t>
            </a:r>
            <a:r>
              <a:rPr lang="en-US" sz="1200" dirty="0" smtClean="0">
                <a:solidFill>
                  <a:schemeClr val="tx1"/>
                </a:solidFill>
                <a:cs typeface="Arial" panose="020B0604020202020204" pitchFamily="34" charset="0"/>
              </a:rPr>
              <a:t>European countries, </a:t>
            </a:r>
            <a:r>
              <a:rPr lang="en-US" sz="1200" b="1" dirty="0" smtClean="0">
                <a:solidFill>
                  <a:schemeClr val="tx1"/>
                </a:solidFill>
                <a:cs typeface="Arial" panose="020B0604020202020204" pitchFamily="34" charset="0"/>
              </a:rPr>
              <a:t>25</a:t>
            </a:r>
            <a:r>
              <a:rPr lang="en-US" sz="1200" dirty="0" smtClean="0">
                <a:solidFill>
                  <a:schemeClr val="tx1"/>
                </a:solidFill>
                <a:cs typeface="Arial" panose="020B0604020202020204" pitchFamily="34" charset="0"/>
              </a:rPr>
              <a:t> </a:t>
            </a:r>
            <a:r>
              <a:rPr lang="en-US" sz="1200" dirty="0">
                <a:solidFill>
                  <a:schemeClr val="tx1"/>
                </a:solidFill>
                <a:cs typeface="Arial" panose="020B0604020202020204" pitchFamily="34" charset="0"/>
              </a:rPr>
              <a:t>countries have started to implement </a:t>
            </a:r>
            <a:r>
              <a:rPr lang="en-US" sz="1200" dirty="0" smtClean="0">
                <a:solidFill>
                  <a:schemeClr val="tx1"/>
                </a:solidFill>
                <a:cs typeface="Arial" panose="020B0604020202020204" pitchFamily="34" charset="0"/>
              </a:rPr>
              <a:t>the OOP </a:t>
            </a:r>
            <a:r>
              <a:rPr lang="en-US" sz="1200" dirty="0">
                <a:solidFill>
                  <a:schemeClr val="tx1"/>
                </a:solidFill>
                <a:cs typeface="Arial" panose="020B0604020202020204" pitchFamily="34" charset="0"/>
              </a:rPr>
              <a:t>at </a:t>
            </a:r>
            <a:r>
              <a:rPr lang="en-US" sz="1200" b="1" dirty="0">
                <a:solidFill>
                  <a:schemeClr val="tx1"/>
                </a:solidFill>
                <a:cs typeface="Arial" panose="020B0604020202020204" pitchFamily="34" charset="0"/>
              </a:rPr>
              <a:t>national level. </a:t>
            </a:r>
            <a:endParaRPr lang="en-US" sz="1200" b="1" dirty="0" smtClean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marL="179388" lvl="2" indent="-4763">
              <a:lnSpc>
                <a:spcPct val="150000"/>
              </a:lnSpc>
              <a:spcBef>
                <a:spcPts val="500"/>
              </a:spcBef>
              <a:buClr>
                <a:srgbClr val="ED7404"/>
              </a:buClr>
            </a:pPr>
            <a:r>
              <a:rPr lang="en-US" sz="1200" b="1" dirty="0" smtClean="0">
                <a:solidFill>
                  <a:schemeClr val="tx1"/>
                </a:solidFill>
                <a:cs typeface="Arial" panose="020B0604020202020204" pitchFamily="34" charset="0"/>
              </a:rPr>
              <a:t>7</a:t>
            </a:r>
            <a:r>
              <a:rPr lang="en-US" sz="1200" dirty="0" smtClean="0">
                <a:solidFill>
                  <a:schemeClr val="tx1"/>
                </a:solidFill>
                <a:cs typeface="Arial" panose="020B0604020202020204" pitchFamily="34" charset="0"/>
              </a:rPr>
              <a:t> of these 25 countries have </a:t>
            </a:r>
            <a:r>
              <a:rPr lang="en-US" sz="1200" dirty="0" smtClean="0">
                <a:solidFill>
                  <a:schemeClr val="tx1"/>
                </a:solidFill>
                <a:cs typeface="Arial" panose="020B0604020202020204" pitchFamily="34" charset="0"/>
              </a:rPr>
              <a:t>started </a:t>
            </a:r>
            <a:r>
              <a:rPr lang="en-US" sz="1200" dirty="0" smtClean="0">
                <a:solidFill>
                  <a:schemeClr val="tx1"/>
                </a:solidFill>
                <a:cs typeface="Arial" panose="020B0604020202020204" pitchFamily="34" charset="0"/>
              </a:rPr>
              <a:t>implementing it on </a:t>
            </a:r>
            <a:r>
              <a:rPr lang="en-US" sz="1200" dirty="0">
                <a:solidFill>
                  <a:schemeClr val="tx1"/>
                </a:solidFill>
                <a:cs typeface="Arial" panose="020B0604020202020204" pitchFamily="34" charset="0"/>
              </a:rPr>
              <a:t>both </a:t>
            </a:r>
            <a:r>
              <a:rPr lang="en-US" sz="1200" b="1" dirty="0">
                <a:solidFill>
                  <a:schemeClr val="tx1"/>
                </a:solidFill>
                <a:cs typeface="Arial" panose="020B0604020202020204" pitchFamily="34" charset="0"/>
              </a:rPr>
              <a:t>regional</a:t>
            </a:r>
            <a:r>
              <a:rPr lang="en-US" sz="1200" dirty="0">
                <a:solidFill>
                  <a:schemeClr val="tx1"/>
                </a:solidFill>
                <a:cs typeface="Arial" panose="020B0604020202020204" pitchFamily="34" charset="0"/>
              </a:rPr>
              <a:t> and </a:t>
            </a:r>
            <a:r>
              <a:rPr lang="en-US" sz="1200" b="1" dirty="0">
                <a:solidFill>
                  <a:schemeClr val="tx1"/>
                </a:solidFill>
                <a:cs typeface="Arial" panose="020B0604020202020204" pitchFamily="34" charset="0"/>
              </a:rPr>
              <a:t>local</a:t>
            </a:r>
            <a:r>
              <a:rPr lang="en-US" sz="1200" dirty="0">
                <a:solidFill>
                  <a:schemeClr val="tx1"/>
                </a:solidFill>
                <a:cs typeface="Arial" panose="020B0604020202020204" pitchFamily="34" charset="0"/>
              </a:rPr>
              <a:t> levels.</a:t>
            </a:r>
          </a:p>
        </p:txBody>
      </p:sp>
      <p:grpSp>
        <p:nvGrpSpPr>
          <p:cNvPr id="92" name="Group 106"/>
          <p:cNvGrpSpPr/>
          <p:nvPr/>
        </p:nvGrpSpPr>
        <p:grpSpPr>
          <a:xfrm>
            <a:off x="3596910" y="627534"/>
            <a:ext cx="5495315" cy="4032447"/>
            <a:chOff x="3428590" y="1928130"/>
            <a:chExt cx="5466394" cy="4541815"/>
          </a:xfrm>
        </p:grpSpPr>
        <p:grpSp>
          <p:nvGrpSpPr>
            <p:cNvPr id="93" name="Country Europe (shapes)"/>
            <p:cNvGrpSpPr/>
            <p:nvPr/>
          </p:nvGrpSpPr>
          <p:grpSpPr>
            <a:xfrm>
              <a:off x="3428590" y="1928130"/>
              <a:ext cx="5466394" cy="4460169"/>
              <a:chOff x="2684463" y="1143000"/>
              <a:chExt cx="6015037" cy="4991100"/>
            </a:xfrm>
            <a:solidFill>
              <a:srgbClr val="B5B5B5">
                <a:lumMod val="40000"/>
                <a:lumOff val="60000"/>
              </a:srgb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28" name="Turkey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6521450" y="4591050"/>
                <a:ext cx="2178050" cy="1219200"/>
              </a:xfrm>
              <a:custGeom>
                <a:avLst/>
                <a:gdLst/>
                <a:ahLst/>
                <a:cxnLst>
                  <a:cxn ang="0">
                    <a:pos x="24" y="340"/>
                  </a:cxn>
                  <a:cxn ang="0">
                    <a:pos x="49" y="328"/>
                  </a:cxn>
                  <a:cxn ang="0">
                    <a:pos x="102" y="283"/>
                  </a:cxn>
                  <a:cxn ang="0">
                    <a:pos x="135" y="275"/>
                  </a:cxn>
                  <a:cxn ang="0">
                    <a:pos x="103" y="241"/>
                  </a:cxn>
                  <a:cxn ang="0">
                    <a:pos x="87" y="218"/>
                  </a:cxn>
                  <a:cxn ang="0">
                    <a:pos x="55" y="215"/>
                  </a:cxn>
                  <a:cxn ang="0">
                    <a:pos x="24" y="241"/>
                  </a:cxn>
                  <a:cxn ang="0">
                    <a:pos x="29" y="264"/>
                  </a:cxn>
                  <a:cxn ang="0">
                    <a:pos x="25" y="300"/>
                  </a:cxn>
                  <a:cxn ang="0">
                    <a:pos x="41" y="327"/>
                  </a:cxn>
                  <a:cxn ang="0">
                    <a:pos x="15" y="353"/>
                  </a:cxn>
                  <a:cxn ang="0">
                    <a:pos x="973" y="186"/>
                  </a:cxn>
                  <a:cxn ang="0">
                    <a:pos x="946" y="128"/>
                  </a:cxn>
                  <a:cxn ang="0">
                    <a:pos x="942" y="68"/>
                  </a:cxn>
                  <a:cxn ang="0">
                    <a:pos x="843" y="17"/>
                  </a:cxn>
                  <a:cxn ang="0">
                    <a:pos x="789" y="14"/>
                  </a:cxn>
                  <a:cxn ang="0">
                    <a:pos x="720" y="63"/>
                  </a:cxn>
                  <a:cxn ang="0">
                    <a:pos x="587" y="131"/>
                  </a:cxn>
                  <a:cxn ang="0">
                    <a:pos x="517" y="129"/>
                  </a:cxn>
                  <a:cxn ang="0">
                    <a:pos x="448" y="131"/>
                  </a:cxn>
                  <a:cxn ang="0">
                    <a:pos x="373" y="138"/>
                  </a:cxn>
                  <a:cxn ang="0">
                    <a:pos x="276" y="207"/>
                  </a:cxn>
                  <a:cxn ang="0">
                    <a:pos x="218" y="236"/>
                  </a:cxn>
                  <a:cxn ang="0">
                    <a:pos x="157" y="262"/>
                  </a:cxn>
                  <a:cxn ang="0">
                    <a:pos x="198" y="277"/>
                  </a:cxn>
                  <a:cxn ang="0">
                    <a:pos x="151" y="303"/>
                  </a:cxn>
                  <a:cxn ang="0">
                    <a:pos x="151" y="310"/>
                  </a:cxn>
                  <a:cxn ang="0">
                    <a:pos x="97" y="314"/>
                  </a:cxn>
                  <a:cxn ang="0">
                    <a:pos x="80" y="321"/>
                  </a:cxn>
                  <a:cxn ang="0">
                    <a:pos x="37" y="357"/>
                  </a:cxn>
                  <a:cxn ang="0">
                    <a:pos x="26" y="399"/>
                  </a:cxn>
                  <a:cxn ang="0">
                    <a:pos x="66" y="411"/>
                  </a:cxn>
                  <a:cxn ang="0">
                    <a:pos x="73" y="446"/>
                  </a:cxn>
                  <a:cxn ang="0">
                    <a:pos x="79" y="459"/>
                  </a:cxn>
                  <a:cxn ang="0">
                    <a:pos x="69" y="453"/>
                  </a:cxn>
                  <a:cxn ang="0">
                    <a:pos x="71" y="478"/>
                  </a:cxn>
                  <a:cxn ang="0">
                    <a:pos x="107" y="496"/>
                  </a:cxn>
                  <a:cxn ang="0">
                    <a:pos x="110" y="510"/>
                  </a:cxn>
                  <a:cxn ang="0">
                    <a:pos x="130" y="524"/>
                  </a:cxn>
                  <a:cxn ang="0">
                    <a:pos x="128" y="540"/>
                  </a:cxn>
                  <a:cxn ang="0">
                    <a:pos x="150" y="548"/>
                  </a:cxn>
                  <a:cxn ang="0">
                    <a:pos x="147" y="554"/>
                  </a:cxn>
                  <a:cxn ang="0">
                    <a:pos x="162" y="556"/>
                  </a:cxn>
                  <a:cxn ang="0">
                    <a:pos x="175" y="543"/>
                  </a:cxn>
                  <a:cxn ang="0">
                    <a:pos x="208" y="545"/>
                  </a:cxn>
                  <a:cxn ang="0">
                    <a:pos x="221" y="551"/>
                  </a:cxn>
                  <a:cxn ang="0">
                    <a:pos x="241" y="560"/>
                  </a:cxn>
                  <a:cxn ang="0">
                    <a:pos x="315" y="546"/>
                  </a:cxn>
                  <a:cxn ang="0">
                    <a:pos x="391" y="513"/>
                  </a:cxn>
                  <a:cxn ang="0">
                    <a:pos x="563" y="456"/>
                  </a:cxn>
                  <a:cxn ang="0">
                    <a:pos x="606" y="438"/>
                  </a:cxn>
                  <a:cxn ang="0">
                    <a:pos x="631" y="472"/>
                  </a:cxn>
                  <a:cxn ang="0">
                    <a:pos x="645" y="413"/>
                  </a:cxn>
                  <a:cxn ang="0">
                    <a:pos x="707" y="377"/>
                  </a:cxn>
                  <a:cxn ang="0">
                    <a:pos x="865" y="297"/>
                  </a:cxn>
                  <a:cxn ang="0">
                    <a:pos x="910" y="253"/>
                  </a:cxn>
                  <a:cxn ang="0">
                    <a:pos x="975" y="238"/>
                  </a:cxn>
                  <a:cxn ang="0">
                    <a:pos x="1020" y="222"/>
                  </a:cxn>
                </a:cxnLst>
                <a:rect l="0" t="0" r="r" b="b"/>
                <a:pathLst>
                  <a:path w="1022" h="573">
                    <a:moveTo>
                      <a:pt x="91" y="305"/>
                    </a:moveTo>
                    <a:cubicBezTo>
                      <a:pt x="82" y="306"/>
                      <a:pt x="85" y="312"/>
                      <a:pt x="91" y="310"/>
                    </a:cubicBezTo>
                    <a:cubicBezTo>
                      <a:pt x="100" y="308"/>
                      <a:pt x="101" y="304"/>
                      <a:pt x="91" y="305"/>
                    </a:cubicBezTo>
                    <a:close/>
                    <a:moveTo>
                      <a:pt x="41" y="327"/>
                    </a:moveTo>
                    <a:cubicBezTo>
                      <a:pt x="24" y="340"/>
                      <a:pt x="24" y="340"/>
                      <a:pt x="24" y="340"/>
                    </a:cubicBezTo>
                    <a:cubicBezTo>
                      <a:pt x="30" y="347"/>
                      <a:pt x="30" y="347"/>
                      <a:pt x="30" y="347"/>
                    </a:cubicBezTo>
                    <a:cubicBezTo>
                      <a:pt x="26" y="360"/>
                      <a:pt x="26" y="360"/>
                      <a:pt x="26" y="360"/>
                    </a:cubicBezTo>
                    <a:cubicBezTo>
                      <a:pt x="33" y="355"/>
                      <a:pt x="33" y="355"/>
                      <a:pt x="33" y="355"/>
                    </a:cubicBezTo>
                    <a:cubicBezTo>
                      <a:pt x="35" y="347"/>
                      <a:pt x="35" y="347"/>
                      <a:pt x="35" y="347"/>
                    </a:cubicBezTo>
                    <a:cubicBezTo>
                      <a:pt x="49" y="328"/>
                      <a:pt x="49" y="328"/>
                      <a:pt x="49" y="328"/>
                    </a:cubicBezTo>
                    <a:cubicBezTo>
                      <a:pt x="64" y="318"/>
                      <a:pt x="64" y="318"/>
                      <a:pt x="64" y="318"/>
                    </a:cubicBezTo>
                    <a:cubicBezTo>
                      <a:pt x="77" y="302"/>
                      <a:pt x="77" y="302"/>
                      <a:pt x="77" y="302"/>
                    </a:cubicBezTo>
                    <a:cubicBezTo>
                      <a:pt x="77" y="302"/>
                      <a:pt x="79" y="294"/>
                      <a:pt x="80" y="290"/>
                    </a:cubicBezTo>
                    <a:cubicBezTo>
                      <a:pt x="81" y="287"/>
                      <a:pt x="93" y="283"/>
                      <a:pt x="93" y="283"/>
                    </a:cubicBezTo>
                    <a:cubicBezTo>
                      <a:pt x="93" y="283"/>
                      <a:pt x="100" y="284"/>
                      <a:pt x="102" y="283"/>
                    </a:cubicBezTo>
                    <a:cubicBezTo>
                      <a:pt x="105" y="283"/>
                      <a:pt x="106" y="275"/>
                      <a:pt x="113" y="274"/>
                    </a:cubicBezTo>
                    <a:cubicBezTo>
                      <a:pt x="120" y="273"/>
                      <a:pt x="132" y="274"/>
                      <a:pt x="132" y="274"/>
                    </a:cubicBezTo>
                    <a:cubicBezTo>
                      <a:pt x="132" y="270"/>
                      <a:pt x="132" y="270"/>
                      <a:pt x="132" y="270"/>
                    </a:cubicBezTo>
                    <a:cubicBezTo>
                      <a:pt x="135" y="270"/>
                      <a:pt x="135" y="270"/>
                      <a:pt x="135" y="270"/>
                    </a:cubicBezTo>
                    <a:cubicBezTo>
                      <a:pt x="135" y="275"/>
                      <a:pt x="135" y="275"/>
                      <a:pt x="135" y="275"/>
                    </a:cubicBezTo>
                    <a:cubicBezTo>
                      <a:pt x="135" y="275"/>
                      <a:pt x="140" y="275"/>
                      <a:pt x="149" y="272"/>
                    </a:cubicBezTo>
                    <a:cubicBezTo>
                      <a:pt x="157" y="268"/>
                      <a:pt x="153" y="258"/>
                      <a:pt x="153" y="258"/>
                    </a:cubicBezTo>
                    <a:cubicBezTo>
                      <a:pt x="155" y="253"/>
                      <a:pt x="155" y="253"/>
                      <a:pt x="155" y="253"/>
                    </a:cubicBezTo>
                    <a:cubicBezTo>
                      <a:pt x="155" y="253"/>
                      <a:pt x="143" y="253"/>
                      <a:pt x="133" y="251"/>
                    </a:cubicBezTo>
                    <a:cubicBezTo>
                      <a:pt x="123" y="250"/>
                      <a:pt x="112" y="246"/>
                      <a:pt x="103" y="241"/>
                    </a:cubicBezTo>
                    <a:cubicBezTo>
                      <a:pt x="95" y="237"/>
                      <a:pt x="101" y="233"/>
                      <a:pt x="100" y="229"/>
                    </a:cubicBezTo>
                    <a:cubicBezTo>
                      <a:pt x="99" y="226"/>
                      <a:pt x="93" y="223"/>
                      <a:pt x="93" y="223"/>
                    </a:cubicBezTo>
                    <a:cubicBezTo>
                      <a:pt x="96" y="221"/>
                      <a:pt x="96" y="221"/>
                      <a:pt x="96" y="221"/>
                    </a:cubicBezTo>
                    <a:cubicBezTo>
                      <a:pt x="93" y="215"/>
                      <a:pt x="93" y="215"/>
                      <a:pt x="93" y="215"/>
                    </a:cubicBezTo>
                    <a:cubicBezTo>
                      <a:pt x="87" y="218"/>
                      <a:pt x="87" y="218"/>
                      <a:pt x="87" y="218"/>
                    </a:cubicBezTo>
                    <a:cubicBezTo>
                      <a:pt x="84" y="218"/>
                      <a:pt x="84" y="218"/>
                      <a:pt x="84" y="218"/>
                    </a:cubicBezTo>
                    <a:cubicBezTo>
                      <a:pt x="84" y="223"/>
                      <a:pt x="84" y="223"/>
                      <a:pt x="84" y="223"/>
                    </a:cubicBezTo>
                    <a:cubicBezTo>
                      <a:pt x="77" y="220"/>
                      <a:pt x="77" y="220"/>
                      <a:pt x="77" y="220"/>
                    </a:cubicBezTo>
                    <a:cubicBezTo>
                      <a:pt x="77" y="220"/>
                      <a:pt x="72" y="224"/>
                      <a:pt x="67" y="224"/>
                    </a:cubicBezTo>
                    <a:cubicBezTo>
                      <a:pt x="63" y="223"/>
                      <a:pt x="58" y="217"/>
                      <a:pt x="55" y="215"/>
                    </a:cubicBezTo>
                    <a:cubicBezTo>
                      <a:pt x="51" y="215"/>
                      <a:pt x="49" y="221"/>
                      <a:pt x="49" y="221"/>
                    </a:cubicBezTo>
                    <a:cubicBezTo>
                      <a:pt x="49" y="221"/>
                      <a:pt x="48" y="218"/>
                      <a:pt x="46" y="219"/>
                    </a:cubicBezTo>
                    <a:cubicBezTo>
                      <a:pt x="44" y="221"/>
                      <a:pt x="44" y="224"/>
                      <a:pt x="38" y="228"/>
                    </a:cubicBezTo>
                    <a:cubicBezTo>
                      <a:pt x="34" y="233"/>
                      <a:pt x="28" y="229"/>
                      <a:pt x="23" y="230"/>
                    </a:cubicBezTo>
                    <a:cubicBezTo>
                      <a:pt x="20" y="233"/>
                      <a:pt x="25" y="237"/>
                      <a:pt x="24" y="241"/>
                    </a:cubicBezTo>
                    <a:cubicBezTo>
                      <a:pt x="22" y="244"/>
                      <a:pt x="17" y="241"/>
                      <a:pt x="15" y="243"/>
                    </a:cubicBezTo>
                    <a:cubicBezTo>
                      <a:pt x="12" y="245"/>
                      <a:pt x="14" y="250"/>
                      <a:pt x="14" y="250"/>
                    </a:cubicBezTo>
                    <a:cubicBezTo>
                      <a:pt x="21" y="252"/>
                      <a:pt x="21" y="252"/>
                      <a:pt x="21" y="252"/>
                    </a:cubicBezTo>
                    <a:cubicBezTo>
                      <a:pt x="28" y="255"/>
                      <a:pt x="28" y="255"/>
                      <a:pt x="28" y="255"/>
                    </a:cubicBezTo>
                    <a:cubicBezTo>
                      <a:pt x="28" y="255"/>
                      <a:pt x="28" y="261"/>
                      <a:pt x="29" y="264"/>
                    </a:cubicBezTo>
                    <a:cubicBezTo>
                      <a:pt x="30" y="266"/>
                      <a:pt x="36" y="271"/>
                      <a:pt x="34" y="273"/>
                    </a:cubicBezTo>
                    <a:cubicBezTo>
                      <a:pt x="32" y="275"/>
                      <a:pt x="26" y="274"/>
                      <a:pt x="26" y="274"/>
                    </a:cubicBezTo>
                    <a:cubicBezTo>
                      <a:pt x="19" y="281"/>
                      <a:pt x="19" y="281"/>
                      <a:pt x="19" y="281"/>
                    </a:cubicBezTo>
                    <a:cubicBezTo>
                      <a:pt x="20" y="290"/>
                      <a:pt x="20" y="290"/>
                      <a:pt x="20" y="290"/>
                    </a:cubicBezTo>
                    <a:cubicBezTo>
                      <a:pt x="20" y="290"/>
                      <a:pt x="28" y="296"/>
                      <a:pt x="25" y="300"/>
                    </a:cubicBezTo>
                    <a:cubicBezTo>
                      <a:pt x="23" y="305"/>
                      <a:pt x="13" y="316"/>
                      <a:pt x="13" y="316"/>
                    </a:cubicBezTo>
                    <a:cubicBezTo>
                      <a:pt x="13" y="316"/>
                      <a:pt x="14" y="322"/>
                      <a:pt x="18" y="324"/>
                    </a:cubicBezTo>
                    <a:cubicBezTo>
                      <a:pt x="22" y="328"/>
                      <a:pt x="39" y="320"/>
                      <a:pt x="39" y="320"/>
                    </a:cubicBezTo>
                    <a:cubicBezTo>
                      <a:pt x="39" y="320"/>
                      <a:pt x="50" y="314"/>
                      <a:pt x="52" y="318"/>
                    </a:cubicBezTo>
                    <a:cubicBezTo>
                      <a:pt x="53" y="321"/>
                      <a:pt x="41" y="327"/>
                      <a:pt x="41" y="327"/>
                    </a:cubicBezTo>
                    <a:close/>
                    <a:moveTo>
                      <a:pt x="13" y="350"/>
                    </a:moveTo>
                    <a:cubicBezTo>
                      <a:pt x="13" y="350"/>
                      <a:pt x="0" y="354"/>
                      <a:pt x="0" y="361"/>
                    </a:cubicBezTo>
                    <a:cubicBezTo>
                      <a:pt x="0" y="361"/>
                      <a:pt x="2" y="364"/>
                      <a:pt x="8" y="361"/>
                    </a:cubicBezTo>
                    <a:cubicBezTo>
                      <a:pt x="15" y="357"/>
                      <a:pt x="18" y="355"/>
                      <a:pt x="18" y="355"/>
                    </a:cubicBezTo>
                    <a:cubicBezTo>
                      <a:pt x="15" y="353"/>
                      <a:pt x="15" y="353"/>
                      <a:pt x="15" y="353"/>
                    </a:cubicBezTo>
                    <a:lnTo>
                      <a:pt x="13" y="350"/>
                    </a:lnTo>
                    <a:close/>
                    <a:moveTo>
                      <a:pt x="1019" y="210"/>
                    </a:moveTo>
                    <a:cubicBezTo>
                      <a:pt x="1015" y="206"/>
                      <a:pt x="1013" y="209"/>
                      <a:pt x="1004" y="209"/>
                    </a:cubicBezTo>
                    <a:cubicBezTo>
                      <a:pt x="997" y="209"/>
                      <a:pt x="1003" y="198"/>
                      <a:pt x="996" y="191"/>
                    </a:cubicBezTo>
                    <a:cubicBezTo>
                      <a:pt x="988" y="182"/>
                      <a:pt x="973" y="186"/>
                      <a:pt x="973" y="186"/>
                    </a:cubicBezTo>
                    <a:cubicBezTo>
                      <a:pt x="971" y="155"/>
                      <a:pt x="971" y="155"/>
                      <a:pt x="971" y="155"/>
                    </a:cubicBezTo>
                    <a:cubicBezTo>
                      <a:pt x="963" y="159"/>
                      <a:pt x="963" y="159"/>
                      <a:pt x="963" y="159"/>
                    </a:cubicBezTo>
                    <a:cubicBezTo>
                      <a:pt x="963" y="159"/>
                      <a:pt x="964" y="150"/>
                      <a:pt x="959" y="146"/>
                    </a:cubicBezTo>
                    <a:cubicBezTo>
                      <a:pt x="955" y="141"/>
                      <a:pt x="950" y="138"/>
                      <a:pt x="950" y="138"/>
                    </a:cubicBezTo>
                    <a:cubicBezTo>
                      <a:pt x="946" y="128"/>
                      <a:pt x="946" y="128"/>
                      <a:pt x="946" y="128"/>
                    </a:cubicBezTo>
                    <a:cubicBezTo>
                      <a:pt x="938" y="128"/>
                      <a:pt x="938" y="128"/>
                      <a:pt x="938" y="128"/>
                    </a:cubicBezTo>
                    <a:cubicBezTo>
                      <a:pt x="938" y="128"/>
                      <a:pt x="920" y="108"/>
                      <a:pt x="919" y="104"/>
                    </a:cubicBezTo>
                    <a:cubicBezTo>
                      <a:pt x="919" y="100"/>
                      <a:pt x="929" y="98"/>
                      <a:pt x="934" y="95"/>
                    </a:cubicBezTo>
                    <a:cubicBezTo>
                      <a:pt x="938" y="92"/>
                      <a:pt x="932" y="82"/>
                      <a:pt x="930" y="75"/>
                    </a:cubicBezTo>
                    <a:cubicBezTo>
                      <a:pt x="927" y="68"/>
                      <a:pt x="942" y="68"/>
                      <a:pt x="942" y="68"/>
                    </a:cubicBezTo>
                    <a:cubicBezTo>
                      <a:pt x="942" y="68"/>
                      <a:pt x="934" y="61"/>
                      <a:pt x="922" y="59"/>
                    </a:cubicBezTo>
                    <a:cubicBezTo>
                      <a:pt x="910" y="55"/>
                      <a:pt x="906" y="62"/>
                      <a:pt x="898" y="68"/>
                    </a:cubicBezTo>
                    <a:cubicBezTo>
                      <a:pt x="890" y="73"/>
                      <a:pt x="882" y="68"/>
                      <a:pt x="871" y="59"/>
                    </a:cubicBezTo>
                    <a:cubicBezTo>
                      <a:pt x="861" y="49"/>
                      <a:pt x="864" y="36"/>
                      <a:pt x="861" y="25"/>
                    </a:cubicBezTo>
                    <a:cubicBezTo>
                      <a:pt x="858" y="16"/>
                      <a:pt x="849" y="17"/>
                      <a:pt x="843" y="17"/>
                    </a:cubicBezTo>
                    <a:cubicBezTo>
                      <a:pt x="838" y="17"/>
                      <a:pt x="841" y="8"/>
                      <a:pt x="838" y="8"/>
                    </a:cubicBezTo>
                    <a:cubicBezTo>
                      <a:pt x="834" y="8"/>
                      <a:pt x="829" y="14"/>
                      <a:pt x="829" y="14"/>
                    </a:cubicBezTo>
                    <a:cubicBezTo>
                      <a:pt x="803" y="4"/>
                      <a:pt x="803" y="4"/>
                      <a:pt x="803" y="4"/>
                    </a:cubicBezTo>
                    <a:cubicBezTo>
                      <a:pt x="803" y="4"/>
                      <a:pt x="799" y="0"/>
                      <a:pt x="792" y="0"/>
                    </a:cubicBezTo>
                    <a:cubicBezTo>
                      <a:pt x="787" y="0"/>
                      <a:pt x="789" y="14"/>
                      <a:pt x="789" y="14"/>
                    </a:cubicBezTo>
                    <a:cubicBezTo>
                      <a:pt x="789" y="14"/>
                      <a:pt x="781" y="15"/>
                      <a:pt x="773" y="16"/>
                    </a:cubicBezTo>
                    <a:cubicBezTo>
                      <a:pt x="766" y="17"/>
                      <a:pt x="757" y="28"/>
                      <a:pt x="757" y="28"/>
                    </a:cubicBezTo>
                    <a:cubicBezTo>
                      <a:pt x="741" y="30"/>
                      <a:pt x="741" y="30"/>
                      <a:pt x="741" y="30"/>
                    </a:cubicBezTo>
                    <a:cubicBezTo>
                      <a:pt x="726" y="59"/>
                      <a:pt x="726" y="59"/>
                      <a:pt x="726" y="59"/>
                    </a:cubicBezTo>
                    <a:cubicBezTo>
                      <a:pt x="720" y="63"/>
                      <a:pt x="720" y="63"/>
                      <a:pt x="720" y="63"/>
                    </a:cubicBezTo>
                    <a:cubicBezTo>
                      <a:pt x="720" y="63"/>
                      <a:pt x="721" y="69"/>
                      <a:pt x="703" y="85"/>
                    </a:cubicBezTo>
                    <a:cubicBezTo>
                      <a:pt x="685" y="101"/>
                      <a:pt x="665" y="99"/>
                      <a:pt x="665" y="99"/>
                    </a:cubicBezTo>
                    <a:cubicBezTo>
                      <a:pt x="665" y="99"/>
                      <a:pt x="662" y="95"/>
                      <a:pt x="651" y="98"/>
                    </a:cubicBezTo>
                    <a:cubicBezTo>
                      <a:pt x="640" y="101"/>
                      <a:pt x="624" y="118"/>
                      <a:pt x="614" y="126"/>
                    </a:cubicBezTo>
                    <a:cubicBezTo>
                      <a:pt x="604" y="132"/>
                      <a:pt x="587" y="131"/>
                      <a:pt x="587" y="131"/>
                    </a:cubicBezTo>
                    <a:cubicBezTo>
                      <a:pt x="578" y="126"/>
                      <a:pt x="578" y="126"/>
                      <a:pt x="578" y="126"/>
                    </a:cubicBezTo>
                    <a:cubicBezTo>
                      <a:pt x="569" y="125"/>
                      <a:pt x="569" y="125"/>
                      <a:pt x="569" y="125"/>
                    </a:cubicBezTo>
                    <a:cubicBezTo>
                      <a:pt x="564" y="138"/>
                      <a:pt x="564" y="138"/>
                      <a:pt x="564" y="138"/>
                    </a:cubicBezTo>
                    <a:cubicBezTo>
                      <a:pt x="564" y="138"/>
                      <a:pt x="542" y="133"/>
                      <a:pt x="539" y="130"/>
                    </a:cubicBezTo>
                    <a:cubicBezTo>
                      <a:pt x="534" y="127"/>
                      <a:pt x="517" y="129"/>
                      <a:pt x="517" y="129"/>
                    </a:cubicBezTo>
                    <a:cubicBezTo>
                      <a:pt x="517" y="129"/>
                      <a:pt x="522" y="142"/>
                      <a:pt x="515" y="145"/>
                    </a:cubicBezTo>
                    <a:cubicBezTo>
                      <a:pt x="509" y="148"/>
                      <a:pt x="490" y="136"/>
                      <a:pt x="490" y="136"/>
                    </a:cubicBezTo>
                    <a:cubicBezTo>
                      <a:pt x="490" y="123"/>
                      <a:pt x="490" y="123"/>
                      <a:pt x="490" y="123"/>
                    </a:cubicBezTo>
                    <a:cubicBezTo>
                      <a:pt x="477" y="118"/>
                      <a:pt x="477" y="118"/>
                      <a:pt x="477" y="118"/>
                    </a:cubicBezTo>
                    <a:cubicBezTo>
                      <a:pt x="477" y="118"/>
                      <a:pt x="467" y="134"/>
                      <a:pt x="448" y="131"/>
                    </a:cubicBezTo>
                    <a:cubicBezTo>
                      <a:pt x="428" y="129"/>
                      <a:pt x="434" y="111"/>
                      <a:pt x="434" y="111"/>
                    </a:cubicBezTo>
                    <a:cubicBezTo>
                      <a:pt x="423" y="113"/>
                      <a:pt x="423" y="113"/>
                      <a:pt x="423" y="113"/>
                    </a:cubicBezTo>
                    <a:cubicBezTo>
                      <a:pt x="423" y="113"/>
                      <a:pt x="421" y="117"/>
                      <a:pt x="419" y="122"/>
                    </a:cubicBezTo>
                    <a:cubicBezTo>
                      <a:pt x="417" y="126"/>
                      <a:pt x="403" y="131"/>
                      <a:pt x="395" y="130"/>
                    </a:cubicBezTo>
                    <a:cubicBezTo>
                      <a:pt x="386" y="128"/>
                      <a:pt x="381" y="134"/>
                      <a:pt x="373" y="138"/>
                    </a:cubicBezTo>
                    <a:cubicBezTo>
                      <a:pt x="364" y="142"/>
                      <a:pt x="348" y="143"/>
                      <a:pt x="348" y="143"/>
                    </a:cubicBezTo>
                    <a:cubicBezTo>
                      <a:pt x="326" y="159"/>
                      <a:pt x="326" y="159"/>
                      <a:pt x="326" y="159"/>
                    </a:cubicBezTo>
                    <a:cubicBezTo>
                      <a:pt x="300" y="178"/>
                      <a:pt x="300" y="178"/>
                      <a:pt x="300" y="178"/>
                    </a:cubicBezTo>
                    <a:cubicBezTo>
                      <a:pt x="300" y="186"/>
                      <a:pt x="300" y="186"/>
                      <a:pt x="300" y="186"/>
                    </a:cubicBezTo>
                    <a:cubicBezTo>
                      <a:pt x="276" y="207"/>
                      <a:pt x="276" y="207"/>
                      <a:pt x="276" y="207"/>
                    </a:cubicBezTo>
                    <a:cubicBezTo>
                      <a:pt x="269" y="213"/>
                      <a:pt x="269" y="213"/>
                      <a:pt x="269" y="213"/>
                    </a:cubicBezTo>
                    <a:cubicBezTo>
                      <a:pt x="269" y="213"/>
                      <a:pt x="271" y="222"/>
                      <a:pt x="264" y="230"/>
                    </a:cubicBezTo>
                    <a:cubicBezTo>
                      <a:pt x="255" y="239"/>
                      <a:pt x="239" y="238"/>
                      <a:pt x="239" y="238"/>
                    </a:cubicBezTo>
                    <a:cubicBezTo>
                      <a:pt x="220" y="240"/>
                      <a:pt x="220" y="240"/>
                      <a:pt x="220" y="240"/>
                    </a:cubicBezTo>
                    <a:cubicBezTo>
                      <a:pt x="218" y="236"/>
                      <a:pt x="218" y="236"/>
                      <a:pt x="218" y="236"/>
                    </a:cubicBezTo>
                    <a:cubicBezTo>
                      <a:pt x="206" y="245"/>
                      <a:pt x="206" y="245"/>
                      <a:pt x="206" y="245"/>
                    </a:cubicBezTo>
                    <a:cubicBezTo>
                      <a:pt x="197" y="245"/>
                      <a:pt x="197" y="245"/>
                      <a:pt x="197" y="245"/>
                    </a:cubicBezTo>
                    <a:cubicBezTo>
                      <a:pt x="194" y="247"/>
                      <a:pt x="187" y="251"/>
                      <a:pt x="184" y="252"/>
                    </a:cubicBezTo>
                    <a:cubicBezTo>
                      <a:pt x="180" y="253"/>
                      <a:pt x="166" y="251"/>
                      <a:pt x="161" y="253"/>
                    </a:cubicBezTo>
                    <a:cubicBezTo>
                      <a:pt x="154" y="255"/>
                      <a:pt x="157" y="262"/>
                      <a:pt x="157" y="262"/>
                    </a:cubicBezTo>
                    <a:cubicBezTo>
                      <a:pt x="157" y="262"/>
                      <a:pt x="156" y="266"/>
                      <a:pt x="155" y="270"/>
                    </a:cubicBezTo>
                    <a:cubicBezTo>
                      <a:pt x="155" y="273"/>
                      <a:pt x="171" y="275"/>
                      <a:pt x="171" y="275"/>
                    </a:cubicBezTo>
                    <a:cubicBezTo>
                      <a:pt x="170" y="278"/>
                      <a:pt x="170" y="278"/>
                      <a:pt x="170" y="278"/>
                    </a:cubicBezTo>
                    <a:cubicBezTo>
                      <a:pt x="177" y="280"/>
                      <a:pt x="177" y="280"/>
                      <a:pt x="177" y="280"/>
                    </a:cubicBezTo>
                    <a:cubicBezTo>
                      <a:pt x="177" y="280"/>
                      <a:pt x="197" y="275"/>
                      <a:pt x="198" y="277"/>
                    </a:cubicBezTo>
                    <a:cubicBezTo>
                      <a:pt x="198" y="280"/>
                      <a:pt x="186" y="283"/>
                      <a:pt x="186" y="283"/>
                    </a:cubicBezTo>
                    <a:cubicBezTo>
                      <a:pt x="183" y="282"/>
                      <a:pt x="183" y="282"/>
                      <a:pt x="183" y="282"/>
                    </a:cubicBezTo>
                    <a:cubicBezTo>
                      <a:pt x="173" y="287"/>
                      <a:pt x="173" y="287"/>
                      <a:pt x="173" y="287"/>
                    </a:cubicBezTo>
                    <a:cubicBezTo>
                      <a:pt x="156" y="291"/>
                      <a:pt x="156" y="291"/>
                      <a:pt x="156" y="291"/>
                    </a:cubicBezTo>
                    <a:cubicBezTo>
                      <a:pt x="151" y="303"/>
                      <a:pt x="151" y="303"/>
                      <a:pt x="151" y="303"/>
                    </a:cubicBezTo>
                    <a:cubicBezTo>
                      <a:pt x="156" y="305"/>
                      <a:pt x="156" y="305"/>
                      <a:pt x="156" y="305"/>
                    </a:cubicBezTo>
                    <a:cubicBezTo>
                      <a:pt x="156" y="305"/>
                      <a:pt x="161" y="303"/>
                      <a:pt x="165" y="303"/>
                    </a:cubicBezTo>
                    <a:cubicBezTo>
                      <a:pt x="171" y="303"/>
                      <a:pt x="171" y="303"/>
                      <a:pt x="171" y="303"/>
                    </a:cubicBezTo>
                    <a:cubicBezTo>
                      <a:pt x="171" y="303"/>
                      <a:pt x="168" y="306"/>
                      <a:pt x="165" y="309"/>
                    </a:cubicBezTo>
                    <a:cubicBezTo>
                      <a:pt x="162" y="312"/>
                      <a:pt x="151" y="310"/>
                      <a:pt x="151" y="310"/>
                    </a:cubicBezTo>
                    <a:cubicBezTo>
                      <a:pt x="144" y="314"/>
                      <a:pt x="144" y="314"/>
                      <a:pt x="144" y="314"/>
                    </a:cubicBezTo>
                    <a:cubicBezTo>
                      <a:pt x="136" y="313"/>
                      <a:pt x="136" y="313"/>
                      <a:pt x="136" y="313"/>
                    </a:cubicBezTo>
                    <a:cubicBezTo>
                      <a:pt x="110" y="318"/>
                      <a:pt x="110" y="318"/>
                      <a:pt x="110" y="318"/>
                    </a:cubicBezTo>
                    <a:cubicBezTo>
                      <a:pt x="114" y="312"/>
                      <a:pt x="114" y="312"/>
                      <a:pt x="114" y="312"/>
                    </a:cubicBezTo>
                    <a:cubicBezTo>
                      <a:pt x="97" y="314"/>
                      <a:pt x="97" y="314"/>
                      <a:pt x="97" y="314"/>
                    </a:cubicBezTo>
                    <a:cubicBezTo>
                      <a:pt x="97" y="317"/>
                      <a:pt x="97" y="317"/>
                      <a:pt x="97" y="317"/>
                    </a:cubicBezTo>
                    <a:cubicBezTo>
                      <a:pt x="106" y="322"/>
                      <a:pt x="106" y="322"/>
                      <a:pt x="106" y="322"/>
                    </a:cubicBezTo>
                    <a:cubicBezTo>
                      <a:pt x="106" y="322"/>
                      <a:pt x="102" y="327"/>
                      <a:pt x="96" y="328"/>
                    </a:cubicBezTo>
                    <a:cubicBezTo>
                      <a:pt x="80" y="328"/>
                      <a:pt x="80" y="328"/>
                      <a:pt x="80" y="328"/>
                    </a:cubicBezTo>
                    <a:cubicBezTo>
                      <a:pt x="80" y="321"/>
                      <a:pt x="80" y="321"/>
                      <a:pt x="80" y="321"/>
                    </a:cubicBezTo>
                    <a:cubicBezTo>
                      <a:pt x="69" y="324"/>
                      <a:pt x="69" y="324"/>
                      <a:pt x="69" y="324"/>
                    </a:cubicBezTo>
                    <a:cubicBezTo>
                      <a:pt x="69" y="324"/>
                      <a:pt x="67" y="330"/>
                      <a:pt x="63" y="330"/>
                    </a:cubicBezTo>
                    <a:cubicBezTo>
                      <a:pt x="58" y="330"/>
                      <a:pt x="50" y="333"/>
                      <a:pt x="48" y="337"/>
                    </a:cubicBezTo>
                    <a:cubicBezTo>
                      <a:pt x="47" y="341"/>
                      <a:pt x="45" y="346"/>
                      <a:pt x="40" y="348"/>
                    </a:cubicBezTo>
                    <a:cubicBezTo>
                      <a:pt x="35" y="349"/>
                      <a:pt x="38" y="353"/>
                      <a:pt x="37" y="357"/>
                    </a:cubicBezTo>
                    <a:cubicBezTo>
                      <a:pt x="36" y="362"/>
                      <a:pt x="29" y="363"/>
                      <a:pt x="29" y="363"/>
                    </a:cubicBezTo>
                    <a:cubicBezTo>
                      <a:pt x="28" y="368"/>
                      <a:pt x="28" y="368"/>
                      <a:pt x="28" y="368"/>
                    </a:cubicBezTo>
                    <a:cubicBezTo>
                      <a:pt x="29" y="383"/>
                      <a:pt x="29" y="383"/>
                      <a:pt x="29" y="383"/>
                    </a:cubicBezTo>
                    <a:cubicBezTo>
                      <a:pt x="32" y="384"/>
                      <a:pt x="32" y="384"/>
                      <a:pt x="32" y="384"/>
                    </a:cubicBezTo>
                    <a:cubicBezTo>
                      <a:pt x="26" y="399"/>
                      <a:pt x="26" y="399"/>
                      <a:pt x="26" y="399"/>
                    </a:cubicBezTo>
                    <a:cubicBezTo>
                      <a:pt x="51" y="388"/>
                      <a:pt x="51" y="388"/>
                      <a:pt x="51" y="388"/>
                    </a:cubicBezTo>
                    <a:cubicBezTo>
                      <a:pt x="51" y="388"/>
                      <a:pt x="68" y="380"/>
                      <a:pt x="73" y="385"/>
                    </a:cubicBezTo>
                    <a:cubicBezTo>
                      <a:pt x="78" y="391"/>
                      <a:pt x="58" y="404"/>
                      <a:pt x="58" y="404"/>
                    </a:cubicBezTo>
                    <a:cubicBezTo>
                      <a:pt x="65" y="407"/>
                      <a:pt x="65" y="407"/>
                      <a:pt x="65" y="407"/>
                    </a:cubicBezTo>
                    <a:cubicBezTo>
                      <a:pt x="66" y="411"/>
                      <a:pt x="66" y="411"/>
                      <a:pt x="66" y="411"/>
                    </a:cubicBezTo>
                    <a:cubicBezTo>
                      <a:pt x="74" y="413"/>
                      <a:pt x="74" y="413"/>
                      <a:pt x="74" y="413"/>
                    </a:cubicBezTo>
                    <a:cubicBezTo>
                      <a:pt x="74" y="413"/>
                      <a:pt x="71" y="419"/>
                      <a:pt x="72" y="424"/>
                    </a:cubicBezTo>
                    <a:cubicBezTo>
                      <a:pt x="73" y="429"/>
                      <a:pt x="82" y="422"/>
                      <a:pt x="85" y="426"/>
                    </a:cubicBezTo>
                    <a:cubicBezTo>
                      <a:pt x="88" y="430"/>
                      <a:pt x="80" y="434"/>
                      <a:pt x="75" y="436"/>
                    </a:cubicBezTo>
                    <a:cubicBezTo>
                      <a:pt x="71" y="438"/>
                      <a:pt x="72" y="443"/>
                      <a:pt x="73" y="446"/>
                    </a:cubicBezTo>
                    <a:cubicBezTo>
                      <a:pt x="74" y="448"/>
                      <a:pt x="79" y="446"/>
                      <a:pt x="79" y="446"/>
                    </a:cubicBezTo>
                    <a:cubicBezTo>
                      <a:pt x="79" y="450"/>
                      <a:pt x="79" y="450"/>
                      <a:pt x="79" y="450"/>
                    </a:cubicBezTo>
                    <a:cubicBezTo>
                      <a:pt x="85" y="453"/>
                      <a:pt x="85" y="453"/>
                      <a:pt x="85" y="453"/>
                    </a:cubicBezTo>
                    <a:cubicBezTo>
                      <a:pt x="95" y="453"/>
                      <a:pt x="95" y="453"/>
                      <a:pt x="95" y="453"/>
                    </a:cubicBezTo>
                    <a:cubicBezTo>
                      <a:pt x="79" y="459"/>
                      <a:pt x="79" y="459"/>
                      <a:pt x="79" y="459"/>
                    </a:cubicBezTo>
                    <a:cubicBezTo>
                      <a:pt x="74" y="457"/>
                      <a:pt x="74" y="457"/>
                      <a:pt x="74" y="457"/>
                    </a:cubicBezTo>
                    <a:cubicBezTo>
                      <a:pt x="71" y="458"/>
                      <a:pt x="71" y="458"/>
                      <a:pt x="71" y="458"/>
                    </a:cubicBezTo>
                    <a:cubicBezTo>
                      <a:pt x="72" y="463"/>
                      <a:pt x="72" y="463"/>
                      <a:pt x="72" y="463"/>
                    </a:cubicBezTo>
                    <a:cubicBezTo>
                      <a:pt x="67" y="458"/>
                      <a:pt x="67" y="458"/>
                      <a:pt x="67" y="458"/>
                    </a:cubicBezTo>
                    <a:cubicBezTo>
                      <a:pt x="69" y="453"/>
                      <a:pt x="69" y="453"/>
                      <a:pt x="69" y="453"/>
                    </a:cubicBezTo>
                    <a:cubicBezTo>
                      <a:pt x="69" y="453"/>
                      <a:pt x="59" y="444"/>
                      <a:pt x="55" y="445"/>
                    </a:cubicBezTo>
                    <a:cubicBezTo>
                      <a:pt x="50" y="446"/>
                      <a:pt x="56" y="458"/>
                      <a:pt x="56" y="458"/>
                    </a:cubicBezTo>
                    <a:cubicBezTo>
                      <a:pt x="56" y="458"/>
                      <a:pt x="61" y="458"/>
                      <a:pt x="61" y="464"/>
                    </a:cubicBezTo>
                    <a:cubicBezTo>
                      <a:pt x="62" y="471"/>
                      <a:pt x="52" y="471"/>
                      <a:pt x="52" y="471"/>
                    </a:cubicBezTo>
                    <a:cubicBezTo>
                      <a:pt x="71" y="478"/>
                      <a:pt x="71" y="478"/>
                      <a:pt x="71" y="478"/>
                    </a:cubicBezTo>
                    <a:cubicBezTo>
                      <a:pt x="81" y="471"/>
                      <a:pt x="81" y="471"/>
                      <a:pt x="81" y="471"/>
                    </a:cubicBezTo>
                    <a:cubicBezTo>
                      <a:pt x="86" y="481"/>
                      <a:pt x="86" y="481"/>
                      <a:pt x="86" y="481"/>
                    </a:cubicBezTo>
                    <a:cubicBezTo>
                      <a:pt x="91" y="478"/>
                      <a:pt x="91" y="478"/>
                      <a:pt x="91" y="478"/>
                    </a:cubicBezTo>
                    <a:cubicBezTo>
                      <a:pt x="91" y="478"/>
                      <a:pt x="101" y="478"/>
                      <a:pt x="108" y="480"/>
                    </a:cubicBezTo>
                    <a:cubicBezTo>
                      <a:pt x="115" y="482"/>
                      <a:pt x="107" y="496"/>
                      <a:pt x="107" y="496"/>
                    </a:cubicBezTo>
                    <a:cubicBezTo>
                      <a:pt x="100" y="503"/>
                      <a:pt x="100" y="503"/>
                      <a:pt x="100" y="503"/>
                    </a:cubicBezTo>
                    <a:cubicBezTo>
                      <a:pt x="111" y="505"/>
                      <a:pt x="111" y="505"/>
                      <a:pt x="111" y="505"/>
                    </a:cubicBezTo>
                    <a:cubicBezTo>
                      <a:pt x="111" y="507"/>
                      <a:pt x="111" y="507"/>
                      <a:pt x="111" y="507"/>
                    </a:cubicBezTo>
                    <a:cubicBezTo>
                      <a:pt x="127" y="509"/>
                      <a:pt x="127" y="509"/>
                      <a:pt x="127" y="509"/>
                    </a:cubicBezTo>
                    <a:cubicBezTo>
                      <a:pt x="110" y="510"/>
                      <a:pt x="110" y="510"/>
                      <a:pt x="110" y="510"/>
                    </a:cubicBezTo>
                    <a:cubicBezTo>
                      <a:pt x="112" y="520"/>
                      <a:pt x="112" y="520"/>
                      <a:pt x="112" y="520"/>
                    </a:cubicBezTo>
                    <a:cubicBezTo>
                      <a:pt x="118" y="519"/>
                      <a:pt x="118" y="519"/>
                      <a:pt x="118" y="519"/>
                    </a:cubicBezTo>
                    <a:cubicBezTo>
                      <a:pt x="123" y="515"/>
                      <a:pt x="123" y="515"/>
                      <a:pt x="123" y="515"/>
                    </a:cubicBezTo>
                    <a:cubicBezTo>
                      <a:pt x="122" y="520"/>
                      <a:pt x="122" y="520"/>
                      <a:pt x="122" y="520"/>
                    </a:cubicBezTo>
                    <a:cubicBezTo>
                      <a:pt x="130" y="524"/>
                      <a:pt x="130" y="524"/>
                      <a:pt x="130" y="524"/>
                    </a:cubicBezTo>
                    <a:cubicBezTo>
                      <a:pt x="130" y="524"/>
                      <a:pt x="135" y="522"/>
                      <a:pt x="134" y="527"/>
                    </a:cubicBezTo>
                    <a:cubicBezTo>
                      <a:pt x="134" y="532"/>
                      <a:pt x="129" y="535"/>
                      <a:pt x="129" y="535"/>
                    </a:cubicBezTo>
                    <a:cubicBezTo>
                      <a:pt x="129" y="535"/>
                      <a:pt x="123" y="529"/>
                      <a:pt x="119" y="536"/>
                    </a:cubicBezTo>
                    <a:cubicBezTo>
                      <a:pt x="115" y="542"/>
                      <a:pt x="122" y="543"/>
                      <a:pt x="122" y="543"/>
                    </a:cubicBezTo>
                    <a:cubicBezTo>
                      <a:pt x="128" y="540"/>
                      <a:pt x="128" y="540"/>
                      <a:pt x="128" y="540"/>
                    </a:cubicBezTo>
                    <a:cubicBezTo>
                      <a:pt x="133" y="541"/>
                      <a:pt x="133" y="541"/>
                      <a:pt x="133" y="541"/>
                    </a:cubicBezTo>
                    <a:cubicBezTo>
                      <a:pt x="176" y="530"/>
                      <a:pt x="176" y="530"/>
                      <a:pt x="176" y="530"/>
                    </a:cubicBezTo>
                    <a:cubicBezTo>
                      <a:pt x="162" y="540"/>
                      <a:pt x="162" y="540"/>
                      <a:pt x="162" y="540"/>
                    </a:cubicBezTo>
                    <a:cubicBezTo>
                      <a:pt x="163" y="546"/>
                      <a:pt x="163" y="546"/>
                      <a:pt x="163" y="546"/>
                    </a:cubicBezTo>
                    <a:cubicBezTo>
                      <a:pt x="150" y="548"/>
                      <a:pt x="150" y="548"/>
                      <a:pt x="150" y="548"/>
                    </a:cubicBezTo>
                    <a:cubicBezTo>
                      <a:pt x="137" y="555"/>
                      <a:pt x="137" y="555"/>
                      <a:pt x="137" y="555"/>
                    </a:cubicBezTo>
                    <a:cubicBezTo>
                      <a:pt x="130" y="561"/>
                      <a:pt x="130" y="561"/>
                      <a:pt x="130" y="561"/>
                    </a:cubicBezTo>
                    <a:cubicBezTo>
                      <a:pt x="132" y="562"/>
                      <a:pt x="132" y="562"/>
                      <a:pt x="132" y="562"/>
                    </a:cubicBezTo>
                    <a:cubicBezTo>
                      <a:pt x="147" y="558"/>
                      <a:pt x="147" y="558"/>
                      <a:pt x="147" y="558"/>
                    </a:cubicBezTo>
                    <a:cubicBezTo>
                      <a:pt x="147" y="554"/>
                      <a:pt x="147" y="554"/>
                      <a:pt x="147" y="554"/>
                    </a:cubicBezTo>
                    <a:cubicBezTo>
                      <a:pt x="153" y="553"/>
                      <a:pt x="153" y="553"/>
                      <a:pt x="153" y="553"/>
                    </a:cubicBezTo>
                    <a:cubicBezTo>
                      <a:pt x="155" y="554"/>
                      <a:pt x="155" y="554"/>
                      <a:pt x="155" y="554"/>
                    </a:cubicBezTo>
                    <a:cubicBezTo>
                      <a:pt x="167" y="548"/>
                      <a:pt x="167" y="548"/>
                      <a:pt x="167" y="548"/>
                    </a:cubicBezTo>
                    <a:cubicBezTo>
                      <a:pt x="168" y="551"/>
                      <a:pt x="168" y="551"/>
                      <a:pt x="168" y="551"/>
                    </a:cubicBezTo>
                    <a:cubicBezTo>
                      <a:pt x="162" y="556"/>
                      <a:pt x="162" y="556"/>
                      <a:pt x="162" y="556"/>
                    </a:cubicBezTo>
                    <a:cubicBezTo>
                      <a:pt x="165" y="558"/>
                      <a:pt x="165" y="558"/>
                      <a:pt x="165" y="558"/>
                    </a:cubicBezTo>
                    <a:cubicBezTo>
                      <a:pt x="162" y="560"/>
                      <a:pt x="162" y="560"/>
                      <a:pt x="162" y="560"/>
                    </a:cubicBezTo>
                    <a:cubicBezTo>
                      <a:pt x="165" y="562"/>
                      <a:pt x="165" y="562"/>
                      <a:pt x="165" y="562"/>
                    </a:cubicBezTo>
                    <a:cubicBezTo>
                      <a:pt x="177" y="550"/>
                      <a:pt x="177" y="550"/>
                      <a:pt x="177" y="550"/>
                    </a:cubicBezTo>
                    <a:cubicBezTo>
                      <a:pt x="175" y="543"/>
                      <a:pt x="175" y="543"/>
                      <a:pt x="175" y="543"/>
                    </a:cubicBezTo>
                    <a:cubicBezTo>
                      <a:pt x="175" y="543"/>
                      <a:pt x="179" y="540"/>
                      <a:pt x="185" y="539"/>
                    </a:cubicBezTo>
                    <a:cubicBezTo>
                      <a:pt x="192" y="538"/>
                      <a:pt x="195" y="545"/>
                      <a:pt x="195" y="545"/>
                    </a:cubicBezTo>
                    <a:cubicBezTo>
                      <a:pt x="206" y="551"/>
                      <a:pt x="206" y="551"/>
                      <a:pt x="206" y="551"/>
                    </a:cubicBezTo>
                    <a:cubicBezTo>
                      <a:pt x="210" y="549"/>
                      <a:pt x="210" y="549"/>
                      <a:pt x="210" y="549"/>
                    </a:cubicBezTo>
                    <a:cubicBezTo>
                      <a:pt x="208" y="545"/>
                      <a:pt x="208" y="545"/>
                      <a:pt x="208" y="545"/>
                    </a:cubicBezTo>
                    <a:cubicBezTo>
                      <a:pt x="212" y="541"/>
                      <a:pt x="212" y="541"/>
                      <a:pt x="212" y="541"/>
                    </a:cubicBezTo>
                    <a:cubicBezTo>
                      <a:pt x="221" y="545"/>
                      <a:pt x="221" y="545"/>
                      <a:pt x="221" y="545"/>
                    </a:cubicBezTo>
                    <a:cubicBezTo>
                      <a:pt x="221" y="545"/>
                      <a:pt x="219" y="546"/>
                      <a:pt x="218" y="548"/>
                    </a:cubicBezTo>
                    <a:cubicBezTo>
                      <a:pt x="216" y="548"/>
                      <a:pt x="217" y="552"/>
                      <a:pt x="217" y="552"/>
                    </a:cubicBezTo>
                    <a:cubicBezTo>
                      <a:pt x="221" y="551"/>
                      <a:pt x="221" y="551"/>
                      <a:pt x="221" y="551"/>
                    </a:cubicBezTo>
                    <a:cubicBezTo>
                      <a:pt x="225" y="557"/>
                      <a:pt x="225" y="557"/>
                      <a:pt x="225" y="557"/>
                    </a:cubicBezTo>
                    <a:cubicBezTo>
                      <a:pt x="223" y="548"/>
                      <a:pt x="223" y="548"/>
                      <a:pt x="223" y="548"/>
                    </a:cubicBezTo>
                    <a:cubicBezTo>
                      <a:pt x="227" y="546"/>
                      <a:pt x="232" y="543"/>
                      <a:pt x="233" y="545"/>
                    </a:cubicBezTo>
                    <a:cubicBezTo>
                      <a:pt x="236" y="548"/>
                      <a:pt x="233" y="552"/>
                      <a:pt x="233" y="552"/>
                    </a:cubicBezTo>
                    <a:cubicBezTo>
                      <a:pt x="241" y="560"/>
                      <a:pt x="241" y="560"/>
                      <a:pt x="241" y="560"/>
                    </a:cubicBezTo>
                    <a:cubicBezTo>
                      <a:pt x="241" y="566"/>
                      <a:pt x="241" y="566"/>
                      <a:pt x="241" y="566"/>
                    </a:cubicBezTo>
                    <a:cubicBezTo>
                      <a:pt x="241" y="566"/>
                      <a:pt x="255" y="570"/>
                      <a:pt x="267" y="572"/>
                    </a:cubicBezTo>
                    <a:cubicBezTo>
                      <a:pt x="278" y="573"/>
                      <a:pt x="284" y="564"/>
                      <a:pt x="295" y="556"/>
                    </a:cubicBezTo>
                    <a:cubicBezTo>
                      <a:pt x="305" y="550"/>
                      <a:pt x="312" y="558"/>
                      <a:pt x="312" y="558"/>
                    </a:cubicBezTo>
                    <a:cubicBezTo>
                      <a:pt x="315" y="546"/>
                      <a:pt x="315" y="546"/>
                      <a:pt x="315" y="546"/>
                    </a:cubicBezTo>
                    <a:cubicBezTo>
                      <a:pt x="309" y="546"/>
                      <a:pt x="309" y="546"/>
                      <a:pt x="309" y="546"/>
                    </a:cubicBezTo>
                    <a:cubicBezTo>
                      <a:pt x="309" y="546"/>
                      <a:pt x="312" y="527"/>
                      <a:pt x="310" y="517"/>
                    </a:cubicBezTo>
                    <a:cubicBezTo>
                      <a:pt x="309" y="507"/>
                      <a:pt x="318" y="510"/>
                      <a:pt x="332" y="508"/>
                    </a:cubicBezTo>
                    <a:cubicBezTo>
                      <a:pt x="346" y="506"/>
                      <a:pt x="353" y="506"/>
                      <a:pt x="353" y="506"/>
                    </a:cubicBezTo>
                    <a:cubicBezTo>
                      <a:pt x="353" y="506"/>
                      <a:pt x="379" y="510"/>
                      <a:pt x="391" y="513"/>
                    </a:cubicBezTo>
                    <a:cubicBezTo>
                      <a:pt x="402" y="515"/>
                      <a:pt x="407" y="526"/>
                      <a:pt x="417" y="534"/>
                    </a:cubicBezTo>
                    <a:cubicBezTo>
                      <a:pt x="429" y="540"/>
                      <a:pt x="454" y="525"/>
                      <a:pt x="454" y="525"/>
                    </a:cubicBezTo>
                    <a:cubicBezTo>
                      <a:pt x="454" y="525"/>
                      <a:pt x="484" y="507"/>
                      <a:pt x="494" y="497"/>
                    </a:cubicBezTo>
                    <a:cubicBezTo>
                      <a:pt x="505" y="489"/>
                      <a:pt x="514" y="458"/>
                      <a:pt x="523" y="449"/>
                    </a:cubicBezTo>
                    <a:cubicBezTo>
                      <a:pt x="530" y="442"/>
                      <a:pt x="553" y="456"/>
                      <a:pt x="563" y="456"/>
                    </a:cubicBezTo>
                    <a:cubicBezTo>
                      <a:pt x="575" y="455"/>
                      <a:pt x="578" y="441"/>
                      <a:pt x="578" y="441"/>
                    </a:cubicBezTo>
                    <a:cubicBezTo>
                      <a:pt x="573" y="439"/>
                      <a:pt x="573" y="439"/>
                      <a:pt x="573" y="439"/>
                    </a:cubicBezTo>
                    <a:cubicBezTo>
                      <a:pt x="581" y="436"/>
                      <a:pt x="581" y="436"/>
                      <a:pt x="581" y="436"/>
                    </a:cubicBezTo>
                    <a:cubicBezTo>
                      <a:pt x="581" y="436"/>
                      <a:pt x="578" y="423"/>
                      <a:pt x="592" y="423"/>
                    </a:cubicBezTo>
                    <a:cubicBezTo>
                      <a:pt x="606" y="423"/>
                      <a:pt x="606" y="438"/>
                      <a:pt x="606" y="438"/>
                    </a:cubicBezTo>
                    <a:cubicBezTo>
                      <a:pt x="606" y="438"/>
                      <a:pt x="594" y="446"/>
                      <a:pt x="590" y="458"/>
                    </a:cubicBezTo>
                    <a:cubicBezTo>
                      <a:pt x="587" y="469"/>
                      <a:pt x="606" y="474"/>
                      <a:pt x="607" y="477"/>
                    </a:cubicBezTo>
                    <a:cubicBezTo>
                      <a:pt x="608" y="479"/>
                      <a:pt x="606" y="486"/>
                      <a:pt x="606" y="486"/>
                    </a:cubicBezTo>
                    <a:cubicBezTo>
                      <a:pt x="623" y="489"/>
                      <a:pt x="623" y="489"/>
                      <a:pt x="623" y="489"/>
                    </a:cubicBezTo>
                    <a:cubicBezTo>
                      <a:pt x="631" y="472"/>
                      <a:pt x="631" y="472"/>
                      <a:pt x="631" y="472"/>
                    </a:cubicBezTo>
                    <a:cubicBezTo>
                      <a:pt x="624" y="459"/>
                      <a:pt x="624" y="459"/>
                      <a:pt x="624" y="459"/>
                    </a:cubicBezTo>
                    <a:cubicBezTo>
                      <a:pt x="638" y="451"/>
                      <a:pt x="638" y="451"/>
                      <a:pt x="638" y="451"/>
                    </a:cubicBezTo>
                    <a:cubicBezTo>
                      <a:pt x="625" y="439"/>
                      <a:pt x="625" y="439"/>
                      <a:pt x="625" y="439"/>
                    </a:cubicBezTo>
                    <a:cubicBezTo>
                      <a:pt x="625" y="439"/>
                      <a:pt x="625" y="423"/>
                      <a:pt x="626" y="416"/>
                    </a:cubicBezTo>
                    <a:cubicBezTo>
                      <a:pt x="626" y="410"/>
                      <a:pt x="645" y="413"/>
                      <a:pt x="645" y="413"/>
                    </a:cubicBezTo>
                    <a:cubicBezTo>
                      <a:pt x="648" y="419"/>
                      <a:pt x="648" y="419"/>
                      <a:pt x="648" y="419"/>
                    </a:cubicBezTo>
                    <a:cubicBezTo>
                      <a:pt x="675" y="407"/>
                      <a:pt x="675" y="407"/>
                      <a:pt x="675" y="407"/>
                    </a:cubicBezTo>
                    <a:cubicBezTo>
                      <a:pt x="674" y="400"/>
                      <a:pt x="674" y="400"/>
                      <a:pt x="674" y="400"/>
                    </a:cubicBezTo>
                    <a:cubicBezTo>
                      <a:pt x="684" y="398"/>
                      <a:pt x="684" y="398"/>
                      <a:pt x="684" y="398"/>
                    </a:cubicBezTo>
                    <a:cubicBezTo>
                      <a:pt x="684" y="398"/>
                      <a:pt x="698" y="380"/>
                      <a:pt x="707" y="377"/>
                    </a:cubicBezTo>
                    <a:cubicBezTo>
                      <a:pt x="714" y="372"/>
                      <a:pt x="732" y="382"/>
                      <a:pt x="732" y="382"/>
                    </a:cubicBezTo>
                    <a:cubicBezTo>
                      <a:pt x="751" y="373"/>
                      <a:pt x="751" y="373"/>
                      <a:pt x="751" y="373"/>
                    </a:cubicBezTo>
                    <a:cubicBezTo>
                      <a:pt x="751" y="373"/>
                      <a:pt x="766" y="371"/>
                      <a:pt x="781" y="360"/>
                    </a:cubicBezTo>
                    <a:cubicBezTo>
                      <a:pt x="796" y="348"/>
                      <a:pt x="825" y="313"/>
                      <a:pt x="825" y="313"/>
                    </a:cubicBezTo>
                    <a:cubicBezTo>
                      <a:pt x="825" y="313"/>
                      <a:pt x="845" y="305"/>
                      <a:pt x="865" y="297"/>
                    </a:cubicBezTo>
                    <a:cubicBezTo>
                      <a:pt x="885" y="288"/>
                      <a:pt x="889" y="271"/>
                      <a:pt x="889" y="271"/>
                    </a:cubicBezTo>
                    <a:cubicBezTo>
                      <a:pt x="900" y="272"/>
                      <a:pt x="900" y="272"/>
                      <a:pt x="900" y="272"/>
                    </a:cubicBezTo>
                    <a:cubicBezTo>
                      <a:pt x="904" y="276"/>
                      <a:pt x="904" y="276"/>
                      <a:pt x="904" y="276"/>
                    </a:cubicBezTo>
                    <a:cubicBezTo>
                      <a:pt x="916" y="270"/>
                      <a:pt x="916" y="270"/>
                      <a:pt x="916" y="270"/>
                    </a:cubicBezTo>
                    <a:cubicBezTo>
                      <a:pt x="910" y="253"/>
                      <a:pt x="910" y="253"/>
                      <a:pt x="910" y="253"/>
                    </a:cubicBezTo>
                    <a:cubicBezTo>
                      <a:pt x="930" y="253"/>
                      <a:pt x="930" y="253"/>
                      <a:pt x="930" y="253"/>
                    </a:cubicBezTo>
                    <a:cubicBezTo>
                      <a:pt x="933" y="246"/>
                      <a:pt x="933" y="246"/>
                      <a:pt x="933" y="246"/>
                    </a:cubicBezTo>
                    <a:cubicBezTo>
                      <a:pt x="946" y="246"/>
                      <a:pt x="946" y="246"/>
                      <a:pt x="946" y="246"/>
                    </a:cubicBezTo>
                    <a:cubicBezTo>
                      <a:pt x="946" y="242"/>
                      <a:pt x="946" y="242"/>
                      <a:pt x="946" y="242"/>
                    </a:cubicBezTo>
                    <a:cubicBezTo>
                      <a:pt x="975" y="238"/>
                      <a:pt x="975" y="238"/>
                      <a:pt x="975" y="238"/>
                    </a:cubicBezTo>
                    <a:cubicBezTo>
                      <a:pt x="975" y="238"/>
                      <a:pt x="976" y="225"/>
                      <a:pt x="988" y="225"/>
                    </a:cubicBezTo>
                    <a:cubicBezTo>
                      <a:pt x="1000" y="225"/>
                      <a:pt x="995" y="240"/>
                      <a:pt x="995" y="240"/>
                    </a:cubicBezTo>
                    <a:cubicBezTo>
                      <a:pt x="1002" y="242"/>
                      <a:pt x="1002" y="242"/>
                      <a:pt x="1002" y="242"/>
                    </a:cubicBezTo>
                    <a:cubicBezTo>
                      <a:pt x="1002" y="242"/>
                      <a:pt x="1008" y="227"/>
                      <a:pt x="1011" y="223"/>
                    </a:cubicBezTo>
                    <a:cubicBezTo>
                      <a:pt x="1013" y="220"/>
                      <a:pt x="1020" y="222"/>
                      <a:pt x="1020" y="222"/>
                    </a:cubicBezTo>
                    <a:cubicBezTo>
                      <a:pt x="1020" y="222"/>
                      <a:pt x="1022" y="213"/>
                      <a:pt x="1019" y="210"/>
                    </a:cubicBez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29" name="Switzerland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4438650" y="4432300"/>
                <a:ext cx="442912" cy="274637"/>
              </a:xfrm>
              <a:custGeom>
                <a:avLst/>
                <a:gdLst/>
                <a:ahLst/>
                <a:cxnLst>
                  <a:cxn ang="0">
                    <a:pos x="208" y="59"/>
                  </a:cxn>
                  <a:cxn ang="0">
                    <a:pos x="194" y="63"/>
                  </a:cxn>
                  <a:cxn ang="0">
                    <a:pos x="179" y="59"/>
                  </a:cxn>
                  <a:cxn ang="0">
                    <a:pos x="164" y="49"/>
                  </a:cxn>
                  <a:cxn ang="0">
                    <a:pos x="162" y="39"/>
                  </a:cxn>
                  <a:cxn ang="0">
                    <a:pos x="172" y="18"/>
                  </a:cxn>
                  <a:cxn ang="0">
                    <a:pos x="148" y="9"/>
                  </a:cxn>
                  <a:cxn ang="0">
                    <a:pos x="135" y="4"/>
                  </a:cxn>
                  <a:cxn ang="0">
                    <a:pos x="128" y="2"/>
                  </a:cxn>
                  <a:cxn ang="0">
                    <a:pos x="118" y="8"/>
                  </a:cxn>
                  <a:cxn ang="0">
                    <a:pos x="125" y="14"/>
                  </a:cxn>
                  <a:cxn ang="0">
                    <a:pos x="112" y="13"/>
                  </a:cxn>
                  <a:cxn ang="0">
                    <a:pos x="83" y="15"/>
                  </a:cxn>
                  <a:cxn ang="0">
                    <a:pos x="81" y="13"/>
                  </a:cxn>
                  <a:cxn ang="0">
                    <a:pos x="73" y="16"/>
                  </a:cxn>
                  <a:cxn ang="0">
                    <a:pos x="61" y="24"/>
                  </a:cxn>
                  <a:cxn ang="0">
                    <a:pos x="46" y="27"/>
                  </a:cxn>
                  <a:cxn ang="0">
                    <a:pos x="35" y="47"/>
                  </a:cxn>
                  <a:cxn ang="0">
                    <a:pos x="24" y="64"/>
                  </a:cxn>
                  <a:cxn ang="0">
                    <a:pos x="9" y="90"/>
                  </a:cxn>
                  <a:cxn ang="0">
                    <a:pos x="0" y="97"/>
                  </a:cxn>
                  <a:cxn ang="0">
                    <a:pos x="8" y="103"/>
                  </a:cxn>
                  <a:cxn ang="0">
                    <a:pos x="12" y="93"/>
                  </a:cxn>
                  <a:cxn ang="0">
                    <a:pos x="40" y="87"/>
                  </a:cxn>
                  <a:cxn ang="0">
                    <a:pos x="41" y="98"/>
                  </a:cxn>
                  <a:cxn ang="0">
                    <a:pos x="41" y="107"/>
                  </a:cxn>
                  <a:cxn ang="0">
                    <a:pos x="48" y="120"/>
                  </a:cxn>
                  <a:cxn ang="0">
                    <a:pos x="52" y="124"/>
                  </a:cxn>
                  <a:cxn ang="0">
                    <a:pos x="64" y="121"/>
                  </a:cxn>
                  <a:cxn ang="0">
                    <a:pos x="82" y="122"/>
                  </a:cxn>
                  <a:cxn ang="0">
                    <a:pos x="92" y="116"/>
                  </a:cxn>
                  <a:cxn ang="0">
                    <a:pos x="100" y="107"/>
                  </a:cxn>
                  <a:cxn ang="0">
                    <a:pos x="99" y="96"/>
                  </a:cxn>
                  <a:cxn ang="0">
                    <a:pos x="107" y="93"/>
                  </a:cxn>
                  <a:cxn ang="0">
                    <a:pos x="112" y="88"/>
                  </a:cxn>
                  <a:cxn ang="0">
                    <a:pos x="112" y="99"/>
                  </a:cxn>
                  <a:cxn ang="0">
                    <a:pos x="121" y="110"/>
                  </a:cxn>
                  <a:cxn ang="0">
                    <a:pos x="132" y="114"/>
                  </a:cxn>
                  <a:cxn ang="0">
                    <a:pos x="131" y="119"/>
                  </a:cxn>
                  <a:cxn ang="0">
                    <a:pos x="139" y="129"/>
                  </a:cxn>
                  <a:cxn ang="0">
                    <a:pos x="138" y="122"/>
                  </a:cxn>
                  <a:cxn ang="0">
                    <a:pos x="141" y="114"/>
                  </a:cxn>
                  <a:cxn ang="0">
                    <a:pos x="150" y="102"/>
                  </a:cxn>
                  <a:cxn ang="0">
                    <a:pos x="150" y="91"/>
                  </a:cxn>
                  <a:cxn ang="0">
                    <a:pos x="157" y="88"/>
                  </a:cxn>
                  <a:cxn ang="0">
                    <a:pos x="164" y="99"/>
                  </a:cxn>
                  <a:cxn ang="0">
                    <a:pos x="182" y="95"/>
                  </a:cxn>
                  <a:cxn ang="0">
                    <a:pos x="187" y="103"/>
                  </a:cxn>
                  <a:cxn ang="0">
                    <a:pos x="190" y="105"/>
                  </a:cxn>
                  <a:cxn ang="0">
                    <a:pos x="193" y="93"/>
                  </a:cxn>
                  <a:cxn ang="0">
                    <a:pos x="188" y="92"/>
                  </a:cxn>
                  <a:cxn ang="0">
                    <a:pos x="196" y="77"/>
                  </a:cxn>
                  <a:cxn ang="0">
                    <a:pos x="207" y="86"/>
                  </a:cxn>
                  <a:cxn ang="0">
                    <a:pos x="204" y="79"/>
                  </a:cxn>
                </a:cxnLst>
                <a:rect l="0" t="0" r="r" b="b"/>
                <a:pathLst>
                  <a:path w="208" h="129">
                    <a:moveTo>
                      <a:pt x="204" y="79"/>
                    </a:moveTo>
                    <a:cubicBezTo>
                      <a:pt x="208" y="59"/>
                      <a:pt x="208" y="59"/>
                      <a:pt x="208" y="59"/>
                    </a:cubicBezTo>
                    <a:cubicBezTo>
                      <a:pt x="203" y="55"/>
                      <a:pt x="203" y="55"/>
                      <a:pt x="203" y="55"/>
                    </a:cubicBezTo>
                    <a:cubicBezTo>
                      <a:pt x="203" y="55"/>
                      <a:pt x="197" y="62"/>
                      <a:pt x="194" y="63"/>
                    </a:cubicBezTo>
                    <a:cubicBezTo>
                      <a:pt x="191" y="65"/>
                      <a:pt x="184" y="60"/>
                      <a:pt x="184" y="60"/>
                    </a:cubicBezTo>
                    <a:cubicBezTo>
                      <a:pt x="184" y="60"/>
                      <a:pt x="180" y="61"/>
                      <a:pt x="179" y="59"/>
                    </a:cubicBezTo>
                    <a:cubicBezTo>
                      <a:pt x="178" y="58"/>
                      <a:pt x="180" y="52"/>
                      <a:pt x="180" y="52"/>
                    </a:cubicBezTo>
                    <a:cubicBezTo>
                      <a:pt x="164" y="49"/>
                      <a:pt x="164" y="49"/>
                      <a:pt x="164" y="49"/>
                    </a:cubicBezTo>
                    <a:cubicBezTo>
                      <a:pt x="164" y="49"/>
                      <a:pt x="162" y="48"/>
                      <a:pt x="160" y="46"/>
                    </a:cubicBezTo>
                    <a:cubicBezTo>
                      <a:pt x="158" y="43"/>
                      <a:pt x="162" y="39"/>
                      <a:pt x="162" y="39"/>
                    </a:cubicBezTo>
                    <a:cubicBezTo>
                      <a:pt x="162" y="39"/>
                      <a:pt x="172" y="29"/>
                      <a:pt x="172" y="26"/>
                    </a:cubicBezTo>
                    <a:cubicBezTo>
                      <a:pt x="172" y="18"/>
                      <a:pt x="172" y="18"/>
                      <a:pt x="172" y="18"/>
                    </a:cubicBezTo>
                    <a:cubicBezTo>
                      <a:pt x="165" y="17"/>
                      <a:pt x="165" y="14"/>
                      <a:pt x="158" y="12"/>
                    </a:cubicBezTo>
                    <a:cubicBezTo>
                      <a:pt x="155" y="11"/>
                      <a:pt x="151" y="10"/>
                      <a:pt x="148" y="9"/>
                    </a:cubicBezTo>
                    <a:cubicBezTo>
                      <a:pt x="145" y="8"/>
                      <a:pt x="141" y="11"/>
                      <a:pt x="140" y="11"/>
                    </a:cubicBezTo>
                    <a:cubicBezTo>
                      <a:pt x="138" y="10"/>
                      <a:pt x="137" y="7"/>
                      <a:pt x="135" y="4"/>
                    </a:cubicBezTo>
                    <a:cubicBezTo>
                      <a:pt x="135" y="5"/>
                      <a:pt x="135" y="8"/>
                      <a:pt x="134" y="9"/>
                    </a:cubicBezTo>
                    <a:cubicBezTo>
                      <a:pt x="132" y="5"/>
                      <a:pt x="131" y="0"/>
                      <a:pt x="128" y="2"/>
                    </a:cubicBezTo>
                    <a:cubicBezTo>
                      <a:pt x="127" y="0"/>
                      <a:pt x="125" y="1"/>
                      <a:pt x="125" y="1"/>
                    </a:cubicBezTo>
                    <a:cubicBezTo>
                      <a:pt x="123" y="2"/>
                      <a:pt x="117" y="4"/>
                      <a:pt x="118" y="8"/>
                    </a:cubicBezTo>
                    <a:cubicBezTo>
                      <a:pt x="118" y="11"/>
                      <a:pt x="120" y="9"/>
                      <a:pt x="122" y="10"/>
                    </a:cubicBezTo>
                    <a:cubicBezTo>
                      <a:pt x="123" y="11"/>
                      <a:pt x="132" y="9"/>
                      <a:pt x="125" y="14"/>
                    </a:cubicBezTo>
                    <a:cubicBezTo>
                      <a:pt x="124" y="11"/>
                      <a:pt x="122" y="12"/>
                      <a:pt x="122" y="15"/>
                    </a:cubicBezTo>
                    <a:cubicBezTo>
                      <a:pt x="116" y="17"/>
                      <a:pt x="115" y="13"/>
                      <a:pt x="112" y="13"/>
                    </a:cubicBezTo>
                    <a:cubicBezTo>
                      <a:pt x="107" y="12"/>
                      <a:pt x="105" y="18"/>
                      <a:pt x="101" y="16"/>
                    </a:cubicBezTo>
                    <a:cubicBezTo>
                      <a:pt x="91" y="12"/>
                      <a:pt x="86" y="18"/>
                      <a:pt x="83" y="15"/>
                    </a:cubicBezTo>
                    <a:cubicBezTo>
                      <a:pt x="83" y="14"/>
                      <a:pt x="84" y="14"/>
                      <a:pt x="85" y="14"/>
                    </a:cubicBezTo>
                    <a:cubicBezTo>
                      <a:pt x="84" y="14"/>
                      <a:pt x="82" y="13"/>
                      <a:pt x="81" y="13"/>
                    </a:cubicBezTo>
                    <a:cubicBezTo>
                      <a:pt x="80" y="12"/>
                      <a:pt x="80" y="12"/>
                      <a:pt x="80" y="11"/>
                    </a:cubicBezTo>
                    <a:cubicBezTo>
                      <a:pt x="73" y="16"/>
                      <a:pt x="73" y="16"/>
                      <a:pt x="73" y="16"/>
                    </a:cubicBezTo>
                    <a:cubicBezTo>
                      <a:pt x="73" y="19"/>
                      <a:pt x="73" y="19"/>
                      <a:pt x="73" y="19"/>
                    </a:cubicBezTo>
                    <a:cubicBezTo>
                      <a:pt x="73" y="19"/>
                      <a:pt x="65" y="24"/>
                      <a:pt x="61" y="24"/>
                    </a:cubicBezTo>
                    <a:cubicBezTo>
                      <a:pt x="57" y="23"/>
                      <a:pt x="58" y="16"/>
                      <a:pt x="52" y="16"/>
                    </a:cubicBezTo>
                    <a:cubicBezTo>
                      <a:pt x="48" y="15"/>
                      <a:pt x="46" y="27"/>
                      <a:pt x="46" y="27"/>
                    </a:cubicBezTo>
                    <a:cubicBezTo>
                      <a:pt x="51" y="28"/>
                      <a:pt x="51" y="28"/>
                      <a:pt x="51" y="28"/>
                    </a:cubicBezTo>
                    <a:cubicBezTo>
                      <a:pt x="51" y="28"/>
                      <a:pt x="39" y="44"/>
                      <a:pt x="35" y="47"/>
                    </a:cubicBezTo>
                    <a:cubicBezTo>
                      <a:pt x="32" y="50"/>
                      <a:pt x="28" y="49"/>
                      <a:pt x="25" y="51"/>
                    </a:cubicBezTo>
                    <a:cubicBezTo>
                      <a:pt x="23" y="52"/>
                      <a:pt x="26" y="58"/>
                      <a:pt x="24" y="64"/>
                    </a:cubicBezTo>
                    <a:cubicBezTo>
                      <a:pt x="22" y="70"/>
                      <a:pt x="11" y="73"/>
                      <a:pt x="7" y="79"/>
                    </a:cubicBezTo>
                    <a:cubicBezTo>
                      <a:pt x="2" y="87"/>
                      <a:pt x="9" y="90"/>
                      <a:pt x="9" y="90"/>
                    </a:cubicBezTo>
                    <a:cubicBezTo>
                      <a:pt x="4" y="97"/>
                      <a:pt x="4" y="97"/>
                      <a:pt x="4" y="97"/>
                    </a:cubicBezTo>
                    <a:cubicBezTo>
                      <a:pt x="0" y="97"/>
                      <a:pt x="0" y="97"/>
                      <a:pt x="0" y="97"/>
                    </a:cubicBezTo>
                    <a:cubicBezTo>
                      <a:pt x="1" y="103"/>
                      <a:pt x="1" y="103"/>
                      <a:pt x="1" y="103"/>
                    </a:cubicBezTo>
                    <a:cubicBezTo>
                      <a:pt x="8" y="103"/>
                      <a:pt x="8" y="103"/>
                      <a:pt x="8" y="103"/>
                    </a:cubicBezTo>
                    <a:cubicBezTo>
                      <a:pt x="14" y="96"/>
                      <a:pt x="14" y="96"/>
                      <a:pt x="14" y="96"/>
                    </a:cubicBezTo>
                    <a:cubicBezTo>
                      <a:pt x="14" y="96"/>
                      <a:pt x="12" y="95"/>
                      <a:pt x="12" y="93"/>
                    </a:cubicBezTo>
                    <a:cubicBezTo>
                      <a:pt x="12" y="90"/>
                      <a:pt x="17" y="84"/>
                      <a:pt x="26" y="83"/>
                    </a:cubicBezTo>
                    <a:cubicBezTo>
                      <a:pt x="34" y="82"/>
                      <a:pt x="40" y="87"/>
                      <a:pt x="40" y="87"/>
                    </a:cubicBezTo>
                    <a:cubicBezTo>
                      <a:pt x="39" y="92"/>
                      <a:pt x="39" y="92"/>
                      <a:pt x="39" y="92"/>
                    </a:cubicBezTo>
                    <a:cubicBezTo>
                      <a:pt x="39" y="92"/>
                      <a:pt x="42" y="94"/>
                      <a:pt x="41" y="98"/>
                    </a:cubicBezTo>
                    <a:cubicBezTo>
                      <a:pt x="40" y="103"/>
                      <a:pt x="37" y="107"/>
                      <a:pt x="37" y="107"/>
                    </a:cubicBezTo>
                    <a:cubicBezTo>
                      <a:pt x="41" y="107"/>
                      <a:pt x="41" y="107"/>
                      <a:pt x="41" y="107"/>
                    </a:cubicBezTo>
                    <a:cubicBezTo>
                      <a:pt x="42" y="110"/>
                      <a:pt x="42" y="110"/>
                      <a:pt x="42" y="110"/>
                    </a:cubicBezTo>
                    <a:cubicBezTo>
                      <a:pt x="42" y="110"/>
                      <a:pt x="48" y="112"/>
                      <a:pt x="48" y="120"/>
                    </a:cubicBezTo>
                    <a:cubicBezTo>
                      <a:pt x="48" y="122"/>
                      <a:pt x="48" y="122"/>
                      <a:pt x="48" y="122"/>
                    </a:cubicBezTo>
                    <a:cubicBezTo>
                      <a:pt x="48" y="123"/>
                      <a:pt x="50" y="124"/>
                      <a:pt x="52" y="124"/>
                    </a:cubicBezTo>
                    <a:cubicBezTo>
                      <a:pt x="57" y="123"/>
                      <a:pt x="57" y="120"/>
                      <a:pt x="58" y="120"/>
                    </a:cubicBezTo>
                    <a:cubicBezTo>
                      <a:pt x="60" y="121"/>
                      <a:pt x="61" y="122"/>
                      <a:pt x="64" y="121"/>
                    </a:cubicBezTo>
                    <a:cubicBezTo>
                      <a:pt x="67" y="121"/>
                      <a:pt x="68" y="116"/>
                      <a:pt x="71" y="116"/>
                    </a:cubicBezTo>
                    <a:cubicBezTo>
                      <a:pt x="72" y="116"/>
                      <a:pt x="79" y="122"/>
                      <a:pt x="82" y="122"/>
                    </a:cubicBezTo>
                    <a:cubicBezTo>
                      <a:pt x="86" y="122"/>
                      <a:pt x="85" y="118"/>
                      <a:pt x="86" y="118"/>
                    </a:cubicBezTo>
                    <a:cubicBezTo>
                      <a:pt x="88" y="118"/>
                      <a:pt x="91" y="118"/>
                      <a:pt x="92" y="116"/>
                    </a:cubicBezTo>
                    <a:cubicBezTo>
                      <a:pt x="93" y="115"/>
                      <a:pt x="92" y="112"/>
                      <a:pt x="94" y="111"/>
                    </a:cubicBezTo>
                    <a:cubicBezTo>
                      <a:pt x="97" y="110"/>
                      <a:pt x="100" y="107"/>
                      <a:pt x="100" y="107"/>
                    </a:cubicBezTo>
                    <a:cubicBezTo>
                      <a:pt x="97" y="99"/>
                      <a:pt x="97" y="99"/>
                      <a:pt x="97" y="99"/>
                    </a:cubicBezTo>
                    <a:cubicBezTo>
                      <a:pt x="99" y="96"/>
                      <a:pt x="99" y="96"/>
                      <a:pt x="99" y="96"/>
                    </a:cubicBezTo>
                    <a:cubicBezTo>
                      <a:pt x="101" y="97"/>
                      <a:pt x="101" y="97"/>
                      <a:pt x="101" y="97"/>
                    </a:cubicBezTo>
                    <a:cubicBezTo>
                      <a:pt x="107" y="93"/>
                      <a:pt x="107" y="93"/>
                      <a:pt x="107" y="93"/>
                    </a:cubicBezTo>
                    <a:cubicBezTo>
                      <a:pt x="105" y="90"/>
                      <a:pt x="105" y="90"/>
                      <a:pt x="105" y="90"/>
                    </a:cubicBezTo>
                    <a:cubicBezTo>
                      <a:pt x="112" y="88"/>
                      <a:pt x="112" y="88"/>
                      <a:pt x="112" y="88"/>
                    </a:cubicBezTo>
                    <a:cubicBezTo>
                      <a:pt x="116" y="90"/>
                      <a:pt x="116" y="90"/>
                      <a:pt x="116" y="90"/>
                    </a:cubicBezTo>
                    <a:cubicBezTo>
                      <a:pt x="116" y="90"/>
                      <a:pt x="110" y="96"/>
                      <a:pt x="112" y="99"/>
                    </a:cubicBezTo>
                    <a:cubicBezTo>
                      <a:pt x="114" y="103"/>
                      <a:pt x="118" y="104"/>
                      <a:pt x="118" y="105"/>
                    </a:cubicBezTo>
                    <a:cubicBezTo>
                      <a:pt x="118" y="106"/>
                      <a:pt x="117" y="108"/>
                      <a:pt x="121" y="110"/>
                    </a:cubicBezTo>
                    <a:cubicBezTo>
                      <a:pt x="124" y="112"/>
                      <a:pt x="129" y="111"/>
                      <a:pt x="129" y="111"/>
                    </a:cubicBezTo>
                    <a:cubicBezTo>
                      <a:pt x="132" y="114"/>
                      <a:pt x="132" y="114"/>
                      <a:pt x="132" y="114"/>
                    </a:cubicBezTo>
                    <a:cubicBezTo>
                      <a:pt x="129" y="116"/>
                      <a:pt x="129" y="116"/>
                      <a:pt x="129" y="116"/>
                    </a:cubicBezTo>
                    <a:cubicBezTo>
                      <a:pt x="131" y="119"/>
                      <a:pt x="131" y="119"/>
                      <a:pt x="131" y="119"/>
                    </a:cubicBezTo>
                    <a:cubicBezTo>
                      <a:pt x="135" y="128"/>
                      <a:pt x="135" y="128"/>
                      <a:pt x="135" y="128"/>
                    </a:cubicBezTo>
                    <a:cubicBezTo>
                      <a:pt x="139" y="129"/>
                      <a:pt x="139" y="129"/>
                      <a:pt x="139" y="129"/>
                    </a:cubicBezTo>
                    <a:cubicBezTo>
                      <a:pt x="140" y="124"/>
                      <a:pt x="140" y="124"/>
                      <a:pt x="140" y="124"/>
                    </a:cubicBezTo>
                    <a:cubicBezTo>
                      <a:pt x="138" y="122"/>
                      <a:pt x="138" y="122"/>
                      <a:pt x="138" y="122"/>
                    </a:cubicBezTo>
                    <a:cubicBezTo>
                      <a:pt x="137" y="118"/>
                      <a:pt x="137" y="118"/>
                      <a:pt x="137" y="118"/>
                    </a:cubicBezTo>
                    <a:cubicBezTo>
                      <a:pt x="141" y="114"/>
                      <a:pt x="141" y="114"/>
                      <a:pt x="141" y="114"/>
                    </a:cubicBezTo>
                    <a:cubicBezTo>
                      <a:pt x="142" y="111"/>
                      <a:pt x="142" y="111"/>
                      <a:pt x="142" y="111"/>
                    </a:cubicBezTo>
                    <a:cubicBezTo>
                      <a:pt x="142" y="111"/>
                      <a:pt x="148" y="107"/>
                      <a:pt x="150" y="102"/>
                    </a:cubicBezTo>
                    <a:cubicBezTo>
                      <a:pt x="153" y="96"/>
                      <a:pt x="153" y="93"/>
                      <a:pt x="153" y="93"/>
                    </a:cubicBezTo>
                    <a:cubicBezTo>
                      <a:pt x="150" y="91"/>
                      <a:pt x="150" y="91"/>
                      <a:pt x="150" y="91"/>
                    </a:cubicBezTo>
                    <a:cubicBezTo>
                      <a:pt x="153" y="86"/>
                      <a:pt x="153" y="86"/>
                      <a:pt x="153" y="86"/>
                    </a:cubicBezTo>
                    <a:cubicBezTo>
                      <a:pt x="157" y="88"/>
                      <a:pt x="157" y="88"/>
                      <a:pt x="157" y="88"/>
                    </a:cubicBezTo>
                    <a:cubicBezTo>
                      <a:pt x="160" y="86"/>
                      <a:pt x="160" y="86"/>
                      <a:pt x="160" y="86"/>
                    </a:cubicBezTo>
                    <a:cubicBezTo>
                      <a:pt x="160" y="86"/>
                      <a:pt x="159" y="96"/>
                      <a:pt x="164" y="99"/>
                    </a:cubicBezTo>
                    <a:cubicBezTo>
                      <a:pt x="170" y="102"/>
                      <a:pt x="173" y="97"/>
                      <a:pt x="173" y="97"/>
                    </a:cubicBezTo>
                    <a:cubicBezTo>
                      <a:pt x="182" y="95"/>
                      <a:pt x="182" y="95"/>
                      <a:pt x="182" y="95"/>
                    </a:cubicBezTo>
                    <a:cubicBezTo>
                      <a:pt x="184" y="99"/>
                      <a:pt x="184" y="99"/>
                      <a:pt x="184" y="99"/>
                    </a:cubicBezTo>
                    <a:cubicBezTo>
                      <a:pt x="187" y="103"/>
                      <a:pt x="187" y="103"/>
                      <a:pt x="187" y="103"/>
                    </a:cubicBezTo>
                    <a:cubicBezTo>
                      <a:pt x="188" y="105"/>
                      <a:pt x="188" y="105"/>
                      <a:pt x="188" y="105"/>
                    </a:cubicBezTo>
                    <a:cubicBezTo>
                      <a:pt x="190" y="105"/>
                      <a:pt x="190" y="105"/>
                      <a:pt x="190" y="105"/>
                    </a:cubicBezTo>
                    <a:cubicBezTo>
                      <a:pt x="190" y="98"/>
                      <a:pt x="190" y="98"/>
                      <a:pt x="190" y="98"/>
                    </a:cubicBezTo>
                    <a:cubicBezTo>
                      <a:pt x="193" y="93"/>
                      <a:pt x="193" y="93"/>
                      <a:pt x="193" y="93"/>
                    </a:cubicBezTo>
                    <a:cubicBezTo>
                      <a:pt x="191" y="92"/>
                      <a:pt x="191" y="92"/>
                      <a:pt x="191" y="92"/>
                    </a:cubicBezTo>
                    <a:cubicBezTo>
                      <a:pt x="188" y="92"/>
                      <a:pt x="188" y="92"/>
                      <a:pt x="188" y="92"/>
                    </a:cubicBezTo>
                    <a:cubicBezTo>
                      <a:pt x="188" y="92"/>
                      <a:pt x="182" y="88"/>
                      <a:pt x="188" y="82"/>
                    </a:cubicBezTo>
                    <a:cubicBezTo>
                      <a:pt x="194" y="76"/>
                      <a:pt x="196" y="77"/>
                      <a:pt x="196" y="77"/>
                    </a:cubicBezTo>
                    <a:cubicBezTo>
                      <a:pt x="197" y="83"/>
                      <a:pt x="197" y="83"/>
                      <a:pt x="197" y="83"/>
                    </a:cubicBezTo>
                    <a:cubicBezTo>
                      <a:pt x="207" y="86"/>
                      <a:pt x="207" y="86"/>
                      <a:pt x="207" y="86"/>
                    </a:cubicBezTo>
                    <a:cubicBezTo>
                      <a:pt x="207" y="79"/>
                      <a:pt x="207" y="79"/>
                      <a:pt x="207" y="79"/>
                    </a:cubicBezTo>
                    <a:lnTo>
                      <a:pt x="204" y="79"/>
                    </a:lnTo>
                    <a:close/>
                  </a:path>
                </a:pathLst>
              </a:custGeom>
              <a:solidFill>
                <a:srgbClr val="FDC795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30" name="Sweden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4957763" y="1476375"/>
                <a:ext cx="779462" cy="1914525"/>
              </a:xfrm>
              <a:custGeom>
                <a:avLst/>
                <a:gdLst/>
                <a:ahLst/>
                <a:cxnLst>
                  <a:cxn ang="0">
                    <a:pos x="336" y="111"/>
                  </a:cxn>
                  <a:cxn ang="0">
                    <a:pos x="305" y="38"/>
                  </a:cxn>
                  <a:cxn ang="0">
                    <a:pos x="247" y="2"/>
                  </a:cxn>
                  <a:cxn ang="0">
                    <a:pos x="194" y="36"/>
                  </a:cxn>
                  <a:cxn ang="0">
                    <a:pos x="136" y="151"/>
                  </a:cxn>
                  <a:cxn ang="0">
                    <a:pos x="98" y="268"/>
                  </a:cxn>
                  <a:cxn ang="0">
                    <a:pos x="33" y="410"/>
                  </a:cxn>
                  <a:cxn ang="0">
                    <a:pos x="41" y="538"/>
                  </a:cxn>
                  <a:cxn ang="0">
                    <a:pos x="12" y="671"/>
                  </a:cxn>
                  <a:cxn ang="0">
                    <a:pos x="9" y="707"/>
                  </a:cxn>
                  <a:cxn ang="0">
                    <a:pos x="18" y="737"/>
                  </a:cxn>
                  <a:cxn ang="0">
                    <a:pos x="37" y="779"/>
                  </a:cxn>
                  <a:cxn ang="0">
                    <a:pos x="52" y="826"/>
                  </a:cxn>
                  <a:cxn ang="0">
                    <a:pos x="64" y="871"/>
                  </a:cxn>
                  <a:cxn ang="0">
                    <a:pos x="106" y="895"/>
                  </a:cxn>
                  <a:cxn ang="0">
                    <a:pos x="172" y="847"/>
                  </a:cxn>
                  <a:cxn ang="0">
                    <a:pos x="197" y="756"/>
                  </a:cxn>
                  <a:cxn ang="0">
                    <a:pos x="196" y="719"/>
                  </a:cxn>
                  <a:cxn ang="0">
                    <a:pos x="192" y="677"/>
                  </a:cxn>
                  <a:cxn ang="0">
                    <a:pos x="226" y="648"/>
                  </a:cxn>
                  <a:cxn ang="0">
                    <a:pos x="237" y="628"/>
                  </a:cxn>
                  <a:cxn ang="0">
                    <a:pos x="267" y="592"/>
                  </a:cxn>
                  <a:cxn ang="0">
                    <a:pos x="216" y="557"/>
                  </a:cxn>
                  <a:cxn ang="0">
                    <a:pos x="193" y="502"/>
                  </a:cxn>
                  <a:cxn ang="0">
                    <a:pos x="201" y="450"/>
                  </a:cxn>
                  <a:cxn ang="0">
                    <a:pos x="207" y="432"/>
                  </a:cxn>
                  <a:cxn ang="0">
                    <a:pos x="225" y="405"/>
                  </a:cxn>
                  <a:cxn ang="0">
                    <a:pos x="233" y="375"/>
                  </a:cxn>
                  <a:cxn ang="0">
                    <a:pos x="262" y="357"/>
                  </a:cxn>
                  <a:cxn ang="0">
                    <a:pos x="290" y="333"/>
                  </a:cxn>
                  <a:cxn ang="0">
                    <a:pos x="309" y="283"/>
                  </a:cxn>
                  <a:cxn ang="0">
                    <a:pos x="307" y="221"/>
                  </a:cxn>
                  <a:cxn ang="0">
                    <a:pos x="329" y="199"/>
                  </a:cxn>
                  <a:cxn ang="0">
                    <a:pos x="365" y="195"/>
                  </a:cxn>
                  <a:cxn ang="0">
                    <a:pos x="14" y="718"/>
                  </a:cxn>
                  <a:cxn ang="0">
                    <a:pos x="207" y="765"/>
                  </a:cxn>
                  <a:cxn ang="0">
                    <a:pos x="190" y="816"/>
                  </a:cxn>
                  <a:cxn ang="0">
                    <a:pos x="208" y="788"/>
                  </a:cxn>
                  <a:cxn ang="0">
                    <a:pos x="277" y="731"/>
                  </a:cxn>
                  <a:cxn ang="0">
                    <a:pos x="248" y="746"/>
                  </a:cxn>
                  <a:cxn ang="0">
                    <a:pos x="253" y="787"/>
                  </a:cxn>
                  <a:cxn ang="0">
                    <a:pos x="277" y="750"/>
                  </a:cxn>
                  <a:cxn ang="0">
                    <a:pos x="281" y="712"/>
                  </a:cxn>
                  <a:cxn ang="0">
                    <a:pos x="281" y="689"/>
                  </a:cxn>
                  <a:cxn ang="0">
                    <a:pos x="243" y="630"/>
                  </a:cxn>
                  <a:cxn ang="0">
                    <a:pos x="258" y="630"/>
                  </a:cxn>
                  <a:cxn ang="0">
                    <a:pos x="247" y="656"/>
                  </a:cxn>
                  <a:cxn ang="0">
                    <a:pos x="251" y="636"/>
                  </a:cxn>
                  <a:cxn ang="0">
                    <a:pos x="241" y="554"/>
                  </a:cxn>
                  <a:cxn ang="0">
                    <a:pos x="256" y="573"/>
                  </a:cxn>
                  <a:cxn ang="0">
                    <a:pos x="195" y="740"/>
                  </a:cxn>
                  <a:cxn ang="0">
                    <a:pos x="205" y="485"/>
                  </a:cxn>
                  <a:cxn ang="0">
                    <a:pos x="214" y="425"/>
                  </a:cxn>
                  <a:cxn ang="0">
                    <a:pos x="294" y="343"/>
                  </a:cxn>
                  <a:cxn ang="0">
                    <a:pos x="307" y="241"/>
                  </a:cxn>
                  <a:cxn ang="0">
                    <a:pos x="312" y="222"/>
                  </a:cxn>
                  <a:cxn ang="0">
                    <a:pos x="325" y="217"/>
                  </a:cxn>
                  <a:cxn ang="0">
                    <a:pos x="356" y="200"/>
                  </a:cxn>
                </a:cxnLst>
                <a:rect l="0" t="0" r="r" b="b"/>
                <a:pathLst>
                  <a:path w="365" h="899">
                    <a:moveTo>
                      <a:pt x="364" y="188"/>
                    </a:moveTo>
                    <a:cubicBezTo>
                      <a:pt x="364" y="188"/>
                      <a:pt x="359" y="186"/>
                      <a:pt x="358" y="182"/>
                    </a:cubicBezTo>
                    <a:cubicBezTo>
                      <a:pt x="357" y="178"/>
                      <a:pt x="358" y="175"/>
                      <a:pt x="356" y="173"/>
                    </a:cubicBezTo>
                    <a:cubicBezTo>
                      <a:pt x="354" y="172"/>
                      <a:pt x="347" y="171"/>
                      <a:pt x="347" y="167"/>
                    </a:cubicBezTo>
                    <a:cubicBezTo>
                      <a:pt x="348" y="161"/>
                      <a:pt x="348" y="160"/>
                      <a:pt x="348" y="160"/>
                    </a:cubicBezTo>
                    <a:cubicBezTo>
                      <a:pt x="348" y="160"/>
                      <a:pt x="343" y="159"/>
                      <a:pt x="345" y="155"/>
                    </a:cubicBezTo>
                    <a:cubicBezTo>
                      <a:pt x="348" y="150"/>
                      <a:pt x="353" y="147"/>
                      <a:pt x="352" y="144"/>
                    </a:cubicBezTo>
                    <a:cubicBezTo>
                      <a:pt x="350" y="140"/>
                      <a:pt x="348" y="136"/>
                      <a:pt x="348" y="136"/>
                    </a:cubicBezTo>
                    <a:cubicBezTo>
                      <a:pt x="348" y="136"/>
                      <a:pt x="349" y="129"/>
                      <a:pt x="347" y="125"/>
                    </a:cubicBezTo>
                    <a:cubicBezTo>
                      <a:pt x="345" y="122"/>
                      <a:pt x="336" y="117"/>
                      <a:pt x="336" y="111"/>
                    </a:cubicBezTo>
                    <a:cubicBezTo>
                      <a:pt x="336" y="106"/>
                      <a:pt x="337" y="104"/>
                      <a:pt x="337" y="104"/>
                    </a:cubicBezTo>
                    <a:cubicBezTo>
                      <a:pt x="340" y="101"/>
                      <a:pt x="340" y="101"/>
                      <a:pt x="340" y="101"/>
                    </a:cubicBezTo>
                    <a:cubicBezTo>
                      <a:pt x="339" y="95"/>
                      <a:pt x="339" y="95"/>
                      <a:pt x="339" y="95"/>
                    </a:cubicBezTo>
                    <a:cubicBezTo>
                      <a:pt x="328" y="93"/>
                      <a:pt x="328" y="93"/>
                      <a:pt x="328" y="93"/>
                    </a:cubicBezTo>
                    <a:cubicBezTo>
                      <a:pt x="328" y="93"/>
                      <a:pt x="330" y="87"/>
                      <a:pt x="328" y="81"/>
                    </a:cubicBezTo>
                    <a:cubicBezTo>
                      <a:pt x="327" y="77"/>
                      <a:pt x="325" y="74"/>
                      <a:pt x="326" y="69"/>
                    </a:cubicBezTo>
                    <a:cubicBezTo>
                      <a:pt x="327" y="65"/>
                      <a:pt x="332" y="65"/>
                      <a:pt x="330" y="62"/>
                    </a:cubicBezTo>
                    <a:cubicBezTo>
                      <a:pt x="328" y="59"/>
                      <a:pt x="319" y="50"/>
                      <a:pt x="319" y="50"/>
                    </a:cubicBezTo>
                    <a:cubicBezTo>
                      <a:pt x="315" y="53"/>
                      <a:pt x="315" y="53"/>
                      <a:pt x="315" y="53"/>
                    </a:cubicBezTo>
                    <a:cubicBezTo>
                      <a:pt x="315" y="53"/>
                      <a:pt x="314" y="43"/>
                      <a:pt x="305" y="38"/>
                    </a:cubicBezTo>
                    <a:cubicBezTo>
                      <a:pt x="295" y="33"/>
                      <a:pt x="282" y="31"/>
                      <a:pt x="282" y="31"/>
                    </a:cubicBezTo>
                    <a:cubicBezTo>
                      <a:pt x="278" y="27"/>
                      <a:pt x="278" y="27"/>
                      <a:pt x="278" y="27"/>
                    </a:cubicBezTo>
                    <a:cubicBezTo>
                      <a:pt x="274" y="27"/>
                      <a:pt x="274" y="27"/>
                      <a:pt x="274" y="27"/>
                    </a:cubicBezTo>
                    <a:cubicBezTo>
                      <a:pt x="272" y="24"/>
                      <a:pt x="272" y="24"/>
                      <a:pt x="272" y="24"/>
                    </a:cubicBezTo>
                    <a:cubicBezTo>
                      <a:pt x="267" y="22"/>
                      <a:pt x="267" y="22"/>
                      <a:pt x="267" y="22"/>
                    </a:cubicBezTo>
                    <a:cubicBezTo>
                      <a:pt x="265" y="15"/>
                      <a:pt x="265" y="15"/>
                      <a:pt x="265" y="15"/>
                    </a:cubicBezTo>
                    <a:cubicBezTo>
                      <a:pt x="261" y="15"/>
                      <a:pt x="261" y="15"/>
                      <a:pt x="261" y="15"/>
                    </a:cubicBezTo>
                    <a:cubicBezTo>
                      <a:pt x="251" y="11"/>
                      <a:pt x="251" y="11"/>
                      <a:pt x="251" y="11"/>
                    </a:cubicBezTo>
                    <a:cubicBezTo>
                      <a:pt x="250" y="5"/>
                      <a:pt x="250" y="5"/>
                      <a:pt x="250" y="5"/>
                    </a:cubicBezTo>
                    <a:cubicBezTo>
                      <a:pt x="247" y="2"/>
                      <a:pt x="247" y="2"/>
                      <a:pt x="247" y="2"/>
                    </a:cubicBezTo>
                    <a:cubicBezTo>
                      <a:pt x="242" y="2"/>
                      <a:pt x="242" y="2"/>
                      <a:pt x="242" y="2"/>
                    </a:cubicBezTo>
                    <a:cubicBezTo>
                      <a:pt x="242" y="0"/>
                      <a:pt x="242" y="0"/>
                      <a:pt x="242" y="0"/>
                    </a:cubicBezTo>
                    <a:cubicBezTo>
                      <a:pt x="230" y="2"/>
                      <a:pt x="230" y="2"/>
                      <a:pt x="230" y="2"/>
                    </a:cubicBezTo>
                    <a:cubicBezTo>
                      <a:pt x="230" y="2"/>
                      <a:pt x="237" y="11"/>
                      <a:pt x="238" y="17"/>
                    </a:cubicBezTo>
                    <a:cubicBezTo>
                      <a:pt x="239" y="25"/>
                      <a:pt x="231" y="34"/>
                      <a:pt x="231" y="34"/>
                    </a:cubicBezTo>
                    <a:cubicBezTo>
                      <a:pt x="239" y="38"/>
                      <a:pt x="239" y="38"/>
                      <a:pt x="239" y="38"/>
                    </a:cubicBezTo>
                    <a:cubicBezTo>
                      <a:pt x="232" y="48"/>
                      <a:pt x="232" y="48"/>
                      <a:pt x="232" y="48"/>
                    </a:cubicBezTo>
                    <a:cubicBezTo>
                      <a:pt x="210" y="38"/>
                      <a:pt x="210" y="38"/>
                      <a:pt x="210" y="38"/>
                    </a:cubicBezTo>
                    <a:cubicBezTo>
                      <a:pt x="198" y="41"/>
                      <a:pt x="198" y="41"/>
                      <a:pt x="198" y="41"/>
                    </a:cubicBezTo>
                    <a:cubicBezTo>
                      <a:pt x="194" y="36"/>
                      <a:pt x="194" y="36"/>
                      <a:pt x="194" y="36"/>
                    </a:cubicBezTo>
                    <a:cubicBezTo>
                      <a:pt x="186" y="41"/>
                      <a:pt x="186" y="41"/>
                      <a:pt x="186" y="41"/>
                    </a:cubicBezTo>
                    <a:cubicBezTo>
                      <a:pt x="186" y="41"/>
                      <a:pt x="189" y="56"/>
                      <a:pt x="188" y="61"/>
                    </a:cubicBezTo>
                    <a:cubicBezTo>
                      <a:pt x="186" y="66"/>
                      <a:pt x="183" y="77"/>
                      <a:pt x="183" y="77"/>
                    </a:cubicBezTo>
                    <a:cubicBezTo>
                      <a:pt x="167" y="69"/>
                      <a:pt x="167" y="69"/>
                      <a:pt x="167" y="69"/>
                    </a:cubicBezTo>
                    <a:cubicBezTo>
                      <a:pt x="153" y="84"/>
                      <a:pt x="153" y="84"/>
                      <a:pt x="153" y="84"/>
                    </a:cubicBezTo>
                    <a:cubicBezTo>
                      <a:pt x="153" y="84"/>
                      <a:pt x="149" y="101"/>
                      <a:pt x="149" y="106"/>
                    </a:cubicBezTo>
                    <a:cubicBezTo>
                      <a:pt x="148" y="111"/>
                      <a:pt x="140" y="109"/>
                      <a:pt x="140" y="109"/>
                    </a:cubicBezTo>
                    <a:cubicBezTo>
                      <a:pt x="140" y="116"/>
                      <a:pt x="140" y="116"/>
                      <a:pt x="140" y="116"/>
                    </a:cubicBezTo>
                    <a:cubicBezTo>
                      <a:pt x="140" y="116"/>
                      <a:pt x="147" y="127"/>
                      <a:pt x="148" y="135"/>
                    </a:cubicBezTo>
                    <a:cubicBezTo>
                      <a:pt x="150" y="141"/>
                      <a:pt x="144" y="143"/>
                      <a:pt x="136" y="151"/>
                    </a:cubicBezTo>
                    <a:cubicBezTo>
                      <a:pt x="130" y="157"/>
                      <a:pt x="132" y="162"/>
                      <a:pt x="130" y="169"/>
                    </a:cubicBezTo>
                    <a:cubicBezTo>
                      <a:pt x="128" y="175"/>
                      <a:pt x="123" y="176"/>
                      <a:pt x="123" y="176"/>
                    </a:cubicBezTo>
                    <a:cubicBezTo>
                      <a:pt x="126" y="189"/>
                      <a:pt x="126" y="189"/>
                      <a:pt x="126" y="189"/>
                    </a:cubicBezTo>
                    <a:cubicBezTo>
                      <a:pt x="113" y="199"/>
                      <a:pt x="113" y="199"/>
                      <a:pt x="113" y="199"/>
                    </a:cubicBezTo>
                    <a:cubicBezTo>
                      <a:pt x="100" y="201"/>
                      <a:pt x="100" y="201"/>
                      <a:pt x="100" y="201"/>
                    </a:cubicBezTo>
                    <a:cubicBezTo>
                      <a:pt x="104" y="221"/>
                      <a:pt x="104" y="221"/>
                      <a:pt x="104" y="221"/>
                    </a:cubicBezTo>
                    <a:cubicBezTo>
                      <a:pt x="102" y="233"/>
                      <a:pt x="102" y="233"/>
                      <a:pt x="102" y="233"/>
                    </a:cubicBezTo>
                    <a:cubicBezTo>
                      <a:pt x="103" y="253"/>
                      <a:pt x="103" y="253"/>
                      <a:pt x="103" y="253"/>
                    </a:cubicBezTo>
                    <a:cubicBezTo>
                      <a:pt x="99" y="258"/>
                      <a:pt x="99" y="258"/>
                      <a:pt x="99" y="258"/>
                    </a:cubicBezTo>
                    <a:cubicBezTo>
                      <a:pt x="98" y="268"/>
                      <a:pt x="98" y="268"/>
                      <a:pt x="98" y="268"/>
                    </a:cubicBezTo>
                    <a:cubicBezTo>
                      <a:pt x="79" y="300"/>
                      <a:pt x="79" y="300"/>
                      <a:pt x="79" y="300"/>
                    </a:cubicBezTo>
                    <a:cubicBezTo>
                      <a:pt x="93" y="310"/>
                      <a:pt x="93" y="310"/>
                      <a:pt x="93" y="310"/>
                    </a:cubicBezTo>
                    <a:cubicBezTo>
                      <a:pt x="94" y="325"/>
                      <a:pt x="94" y="325"/>
                      <a:pt x="94" y="325"/>
                    </a:cubicBezTo>
                    <a:cubicBezTo>
                      <a:pt x="89" y="337"/>
                      <a:pt x="89" y="337"/>
                      <a:pt x="89" y="337"/>
                    </a:cubicBezTo>
                    <a:cubicBezTo>
                      <a:pt x="89" y="337"/>
                      <a:pt x="69" y="331"/>
                      <a:pt x="59" y="334"/>
                    </a:cubicBezTo>
                    <a:cubicBezTo>
                      <a:pt x="47" y="337"/>
                      <a:pt x="35" y="365"/>
                      <a:pt x="35" y="365"/>
                    </a:cubicBezTo>
                    <a:cubicBezTo>
                      <a:pt x="38" y="374"/>
                      <a:pt x="38" y="374"/>
                      <a:pt x="38" y="374"/>
                    </a:cubicBezTo>
                    <a:cubicBezTo>
                      <a:pt x="30" y="385"/>
                      <a:pt x="30" y="385"/>
                      <a:pt x="30" y="385"/>
                    </a:cubicBezTo>
                    <a:cubicBezTo>
                      <a:pt x="37" y="404"/>
                      <a:pt x="37" y="404"/>
                      <a:pt x="37" y="404"/>
                    </a:cubicBezTo>
                    <a:cubicBezTo>
                      <a:pt x="33" y="410"/>
                      <a:pt x="33" y="410"/>
                      <a:pt x="33" y="410"/>
                    </a:cubicBezTo>
                    <a:cubicBezTo>
                      <a:pt x="36" y="421"/>
                      <a:pt x="36" y="421"/>
                      <a:pt x="36" y="421"/>
                    </a:cubicBezTo>
                    <a:cubicBezTo>
                      <a:pt x="33" y="429"/>
                      <a:pt x="33" y="429"/>
                      <a:pt x="33" y="429"/>
                    </a:cubicBezTo>
                    <a:cubicBezTo>
                      <a:pt x="41" y="452"/>
                      <a:pt x="41" y="452"/>
                      <a:pt x="41" y="452"/>
                    </a:cubicBezTo>
                    <a:cubicBezTo>
                      <a:pt x="35" y="487"/>
                      <a:pt x="35" y="487"/>
                      <a:pt x="35" y="487"/>
                    </a:cubicBezTo>
                    <a:cubicBezTo>
                      <a:pt x="45" y="497"/>
                      <a:pt x="45" y="497"/>
                      <a:pt x="45" y="497"/>
                    </a:cubicBezTo>
                    <a:cubicBezTo>
                      <a:pt x="45" y="497"/>
                      <a:pt x="50" y="500"/>
                      <a:pt x="54" y="503"/>
                    </a:cubicBezTo>
                    <a:cubicBezTo>
                      <a:pt x="58" y="507"/>
                      <a:pt x="59" y="511"/>
                      <a:pt x="55" y="523"/>
                    </a:cubicBezTo>
                    <a:cubicBezTo>
                      <a:pt x="53" y="535"/>
                      <a:pt x="45" y="529"/>
                      <a:pt x="45" y="529"/>
                    </a:cubicBezTo>
                    <a:cubicBezTo>
                      <a:pt x="36" y="532"/>
                      <a:pt x="36" y="532"/>
                      <a:pt x="36" y="532"/>
                    </a:cubicBezTo>
                    <a:cubicBezTo>
                      <a:pt x="41" y="538"/>
                      <a:pt x="41" y="538"/>
                      <a:pt x="41" y="538"/>
                    </a:cubicBezTo>
                    <a:cubicBezTo>
                      <a:pt x="43" y="547"/>
                      <a:pt x="43" y="547"/>
                      <a:pt x="43" y="547"/>
                    </a:cubicBezTo>
                    <a:cubicBezTo>
                      <a:pt x="43" y="547"/>
                      <a:pt x="49" y="561"/>
                      <a:pt x="51" y="568"/>
                    </a:cubicBezTo>
                    <a:cubicBezTo>
                      <a:pt x="54" y="576"/>
                      <a:pt x="46" y="572"/>
                      <a:pt x="45" y="577"/>
                    </a:cubicBezTo>
                    <a:cubicBezTo>
                      <a:pt x="44" y="581"/>
                      <a:pt x="48" y="584"/>
                      <a:pt x="45" y="597"/>
                    </a:cubicBezTo>
                    <a:cubicBezTo>
                      <a:pt x="41" y="609"/>
                      <a:pt x="30" y="603"/>
                      <a:pt x="26" y="607"/>
                    </a:cubicBezTo>
                    <a:cubicBezTo>
                      <a:pt x="21" y="610"/>
                      <a:pt x="28" y="611"/>
                      <a:pt x="27" y="616"/>
                    </a:cubicBezTo>
                    <a:cubicBezTo>
                      <a:pt x="27" y="620"/>
                      <a:pt x="21" y="619"/>
                      <a:pt x="19" y="623"/>
                    </a:cubicBezTo>
                    <a:cubicBezTo>
                      <a:pt x="16" y="625"/>
                      <a:pt x="25" y="643"/>
                      <a:pt x="25" y="643"/>
                    </a:cubicBezTo>
                    <a:cubicBezTo>
                      <a:pt x="25" y="643"/>
                      <a:pt x="21" y="651"/>
                      <a:pt x="19" y="658"/>
                    </a:cubicBezTo>
                    <a:cubicBezTo>
                      <a:pt x="17" y="665"/>
                      <a:pt x="16" y="671"/>
                      <a:pt x="12" y="671"/>
                    </a:cubicBezTo>
                    <a:cubicBezTo>
                      <a:pt x="8" y="671"/>
                      <a:pt x="11" y="662"/>
                      <a:pt x="10" y="657"/>
                    </a:cubicBezTo>
                    <a:cubicBezTo>
                      <a:pt x="9" y="652"/>
                      <a:pt x="1" y="657"/>
                      <a:pt x="1" y="657"/>
                    </a:cubicBezTo>
                    <a:cubicBezTo>
                      <a:pt x="0" y="664"/>
                      <a:pt x="0" y="664"/>
                      <a:pt x="0" y="664"/>
                    </a:cubicBezTo>
                    <a:cubicBezTo>
                      <a:pt x="0" y="664"/>
                      <a:pt x="3" y="668"/>
                      <a:pt x="3" y="673"/>
                    </a:cubicBezTo>
                    <a:cubicBezTo>
                      <a:pt x="3" y="676"/>
                      <a:pt x="0" y="679"/>
                      <a:pt x="0" y="679"/>
                    </a:cubicBezTo>
                    <a:cubicBezTo>
                      <a:pt x="0" y="679"/>
                      <a:pt x="5" y="693"/>
                      <a:pt x="5" y="696"/>
                    </a:cubicBezTo>
                    <a:cubicBezTo>
                      <a:pt x="5" y="699"/>
                      <a:pt x="1" y="699"/>
                      <a:pt x="1" y="699"/>
                    </a:cubicBezTo>
                    <a:cubicBezTo>
                      <a:pt x="2" y="703"/>
                      <a:pt x="2" y="703"/>
                      <a:pt x="2" y="703"/>
                    </a:cubicBezTo>
                    <a:cubicBezTo>
                      <a:pt x="2" y="703"/>
                      <a:pt x="6" y="700"/>
                      <a:pt x="9" y="702"/>
                    </a:cubicBezTo>
                    <a:cubicBezTo>
                      <a:pt x="10" y="703"/>
                      <a:pt x="9" y="707"/>
                      <a:pt x="9" y="707"/>
                    </a:cubicBezTo>
                    <a:cubicBezTo>
                      <a:pt x="11" y="707"/>
                      <a:pt x="11" y="707"/>
                      <a:pt x="11" y="707"/>
                    </a:cubicBezTo>
                    <a:cubicBezTo>
                      <a:pt x="14" y="697"/>
                      <a:pt x="14" y="697"/>
                      <a:pt x="14" y="697"/>
                    </a:cubicBezTo>
                    <a:cubicBezTo>
                      <a:pt x="17" y="700"/>
                      <a:pt x="17" y="700"/>
                      <a:pt x="17" y="700"/>
                    </a:cubicBezTo>
                    <a:cubicBezTo>
                      <a:pt x="10" y="710"/>
                      <a:pt x="10" y="710"/>
                      <a:pt x="10" y="710"/>
                    </a:cubicBezTo>
                    <a:cubicBezTo>
                      <a:pt x="10" y="712"/>
                      <a:pt x="10" y="712"/>
                      <a:pt x="10" y="712"/>
                    </a:cubicBezTo>
                    <a:cubicBezTo>
                      <a:pt x="25" y="704"/>
                      <a:pt x="25" y="704"/>
                      <a:pt x="25" y="704"/>
                    </a:cubicBezTo>
                    <a:cubicBezTo>
                      <a:pt x="22" y="709"/>
                      <a:pt x="22" y="709"/>
                      <a:pt x="22" y="709"/>
                    </a:cubicBezTo>
                    <a:cubicBezTo>
                      <a:pt x="25" y="713"/>
                      <a:pt x="25" y="713"/>
                      <a:pt x="25" y="713"/>
                    </a:cubicBezTo>
                    <a:cubicBezTo>
                      <a:pt x="21" y="730"/>
                      <a:pt x="21" y="730"/>
                      <a:pt x="21" y="730"/>
                    </a:cubicBezTo>
                    <a:cubicBezTo>
                      <a:pt x="18" y="737"/>
                      <a:pt x="18" y="737"/>
                      <a:pt x="18" y="737"/>
                    </a:cubicBezTo>
                    <a:cubicBezTo>
                      <a:pt x="22" y="741"/>
                      <a:pt x="22" y="741"/>
                      <a:pt x="22" y="741"/>
                    </a:cubicBezTo>
                    <a:cubicBezTo>
                      <a:pt x="17" y="746"/>
                      <a:pt x="17" y="746"/>
                      <a:pt x="17" y="746"/>
                    </a:cubicBezTo>
                    <a:cubicBezTo>
                      <a:pt x="22" y="746"/>
                      <a:pt x="22" y="746"/>
                      <a:pt x="22" y="746"/>
                    </a:cubicBezTo>
                    <a:cubicBezTo>
                      <a:pt x="24" y="746"/>
                      <a:pt x="26" y="754"/>
                      <a:pt x="26" y="757"/>
                    </a:cubicBezTo>
                    <a:cubicBezTo>
                      <a:pt x="26" y="761"/>
                      <a:pt x="27" y="768"/>
                      <a:pt x="29" y="768"/>
                    </a:cubicBezTo>
                    <a:cubicBezTo>
                      <a:pt x="31" y="768"/>
                      <a:pt x="32" y="761"/>
                      <a:pt x="32" y="761"/>
                    </a:cubicBezTo>
                    <a:cubicBezTo>
                      <a:pt x="32" y="770"/>
                      <a:pt x="32" y="770"/>
                      <a:pt x="32" y="770"/>
                    </a:cubicBezTo>
                    <a:cubicBezTo>
                      <a:pt x="34" y="771"/>
                      <a:pt x="34" y="771"/>
                      <a:pt x="34" y="771"/>
                    </a:cubicBezTo>
                    <a:cubicBezTo>
                      <a:pt x="32" y="777"/>
                      <a:pt x="32" y="777"/>
                      <a:pt x="32" y="777"/>
                    </a:cubicBezTo>
                    <a:cubicBezTo>
                      <a:pt x="37" y="779"/>
                      <a:pt x="37" y="779"/>
                      <a:pt x="37" y="779"/>
                    </a:cubicBezTo>
                    <a:cubicBezTo>
                      <a:pt x="37" y="786"/>
                      <a:pt x="37" y="786"/>
                      <a:pt x="37" y="786"/>
                    </a:cubicBezTo>
                    <a:cubicBezTo>
                      <a:pt x="42" y="791"/>
                      <a:pt x="42" y="791"/>
                      <a:pt x="42" y="791"/>
                    </a:cubicBezTo>
                    <a:cubicBezTo>
                      <a:pt x="42" y="796"/>
                      <a:pt x="42" y="796"/>
                      <a:pt x="42" y="796"/>
                    </a:cubicBezTo>
                    <a:cubicBezTo>
                      <a:pt x="48" y="804"/>
                      <a:pt x="48" y="804"/>
                      <a:pt x="48" y="804"/>
                    </a:cubicBezTo>
                    <a:cubicBezTo>
                      <a:pt x="50" y="803"/>
                      <a:pt x="50" y="803"/>
                      <a:pt x="50" y="803"/>
                    </a:cubicBezTo>
                    <a:cubicBezTo>
                      <a:pt x="50" y="803"/>
                      <a:pt x="52" y="815"/>
                      <a:pt x="55" y="816"/>
                    </a:cubicBezTo>
                    <a:cubicBezTo>
                      <a:pt x="60" y="818"/>
                      <a:pt x="61" y="814"/>
                      <a:pt x="61" y="814"/>
                    </a:cubicBezTo>
                    <a:cubicBezTo>
                      <a:pt x="61" y="814"/>
                      <a:pt x="64" y="822"/>
                      <a:pt x="64" y="825"/>
                    </a:cubicBezTo>
                    <a:cubicBezTo>
                      <a:pt x="64" y="829"/>
                      <a:pt x="58" y="828"/>
                      <a:pt x="58" y="828"/>
                    </a:cubicBezTo>
                    <a:cubicBezTo>
                      <a:pt x="58" y="828"/>
                      <a:pt x="57" y="823"/>
                      <a:pt x="52" y="826"/>
                    </a:cubicBezTo>
                    <a:cubicBezTo>
                      <a:pt x="48" y="830"/>
                      <a:pt x="58" y="834"/>
                      <a:pt x="58" y="834"/>
                    </a:cubicBezTo>
                    <a:cubicBezTo>
                      <a:pt x="58" y="834"/>
                      <a:pt x="61" y="839"/>
                      <a:pt x="59" y="841"/>
                    </a:cubicBezTo>
                    <a:cubicBezTo>
                      <a:pt x="55" y="844"/>
                      <a:pt x="51" y="838"/>
                      <a:pt x="49" y="837"/>
                    </a:cubicBezTo>
                    <a:cubicBezTo>
                      <a:pt x="47" y="835"/>
                      <a:pt x="44" y="835"/>
                      <a:pt x="43" y="836"/>
                    </a:cubicBezTo>
                    <a:cubicBezTo>
                      <a:pt x="42" y="837"/>
                      <a:pt x="47" y="839"/>
                      <a:pt x="47" y="839"/>
                    </a:cubicBezTo>
                    <a:cubicBezTo>
                      <a:pt x="48" y="844"/>
                      <a:pt x="48" y="844"/>
                      <a:pt x="48" y="844"/>
                    </a:cubicBezTo>
                    <a:cubicBezTo>
                      <a:pt x="48" y="844"/>
                      <a:pt x="54" y="852"/>
                      <a:pt x="58" y="856"/>
                    </a:cubicBezTo>
                    <a:cubicBezTo>
                      <a:pt x="61" y="861"/>
                      <a:pt x="61" y="865"/>
                      <a:pt x="61" y="865"/>
                    </a:cubicBezTo>
                    <a:cubicBezTo>
                      <a:pt x="65" y="866"/>
                      <a:pt x="65" y="866"/>
                      <a:pt x="65" y="866"/>
                    </a:cubicBezTo>
                    <a:cubicBezTo>
                      <a:pt x="64" y="871"/>
                      <a:pt x="64" y="871"/>
                      <a:pt x="64" y="871"/>
                    </a:cubicBezTo>
                    <a:cubicBezTo>
                      <a:pt x="64" y="871"/>
                      <a:pt x="67" y="871"/>
                      <a:pt x="69" y="877"/>
                    </a:cubicBezTo>
                    <a:cubicBezTo>
                      <a:pt x="71" y="881"/>
                      <a:pt x="64" y="882"/>
                      <a:pt x="64" y="882"/>
                    </a:cubicBezTo>
                    <a:cubicBezTo>
                      <a:pt x="64" y="888"/>
                      <a:pt x="64" y="888"/>
                      <a:pt x="64" y="888"/>
                    </a:cubicBezTo>
                    <a:cubicBezTo>
                      <a:pt x="64" y="888"/>
                      <a:pt x="67" y="891"/>
                      <a:pt x="66" y="894"/>
                    </a:cubicBezTo>
                    <a:cubicBezTo>
                      <a:pt x="65" y="896"/>
                      <a:pt x="62" y="893"/>
                      <a:pt x="62" y="893"/>
                    </a:cubicBezTo>
                    <a:cubicBezTo>
                      <a:pt x="61" y="897"/>
                      <a:pt x="61" y="897"/>
                      <a:pt x="61" y="897"/>
                    </a:cubicBezTo>
                    <a:cubicBezTo>
                      <a:pt x="65" y="896"/>
                      <a:pt x="65" y="896"/>
                      <a:pt x="65" y="896"/>
                    </a:cubicBezTo>
                    <a:cubicBezTo>
                      <a:pt x="65" y="896"/>
                      <a:pt x="78" y="899"/>
                      <a:pt x="82" y="899"/>
                    </a:cubicBezTo>
                    <a:cubicBezTo>
                      <a:pt x="85" y="899"/>
                      <a:pt x="91" y="895"/>
                      <a:pt x="97" y="893"/>
                    </a:cubicBezTo>
                    <a:cubicBezTo>
                      <a:pt x="103" y="891"/>
                      <a:pt x="106" y="895"/>
                      <a:pt x="106" y="895"/>
                    </a:cubicBezTo>
                    <a:cubicBezTo>
                      <a:pt x="112" y="894"/>
                      <a:pt x="112" y="894"/>
                      <a:pt x="112" y="894"/>
                    </a:cubicBezTo>
                    <a:cubicBezTo>
                      <a:pt x="112" y="894"/>
                      <a:pt x="117" y="885"/>
                      <a:pt x="118" y="880"/>
                    </a:cubicBezTo>
                    <a:cubicBezTo>
                      <a:pt x="119" y="876"/>
                      <a:pt x="111" y="875"/>
                      <a:pt x="111" y="869"/>
                    </a:cubicBezTo>
                    <a:cubicBezTo>
                      <a:pt x="111" y="865"/>
                      <a:pt x="118" y="854"/>
                      <a:pt x="120" y="852"/>
                    </a:cubicBezTo>
                    <a:cubicBezTo>
                      <a:pt x="123" y="851"/>
                      <a:pt x="129" y="855"/>
                      <a:pt x="131" y="854"/>
                    </a:cubicBezTo>
                    <a:cubicBezTo>
                      <a:pt x="133" y="852"/>
                      <a:pt x="129" y="844"/>
                      <a:pt x="129" y="844"/>
                    </a:cubicBezTo>
                    <a:cubicBezTo>
                      <a:pt x="147" y="842"/>
                      <a:pt x="147" y="842"/>
                      <a:pt x="147" y="842"/>
                    </a:cubicBezTo>
                    <a:cubicBezTo>
                      <a:pt x="155" y="844"/>
                      <a:pt x="155" y="844"/>
                      <a:pt x="155" y="844"/>
                    </a:cubicBezTo>
                    <a:cubicBezTo>
                      <a:pt x="161" y="839"/>
                      <a:pt x="161" y="839"/>
                      <a:pt x="161" y="839"/>
                    </a:cubicBezTo>
                    <a:cubicBezTo>
                      <a:pt x="172" y="847"/>
                      <a:pt x="172" y="847"/>
                      <a:pt x="172" y="847"/>
                    </a:cubicBezTo>
                    <a:cubicBezTo>
                      <a:pt x="172" y="847"/>
                      <a:pt x="176" y="838"/>
                      <a:pt x="178" y="837"/>
                    </a:cubicBezTo>
                    <a:cubicBezTo>
                      <a:pt x="179" y="835"/>
                      <a:pt x="181" y="820"/>
                      <a:pt x="181" y="820"/>
                    </a:cubicBezTo>
                    <a:cubicBezTo>
                      <a:pt x="184" y="810"/>
                      <a:pt x="184" y="810"/>
                      <a:pt x="184" y="810"/>
                    </a:cubicBezTo>
                    <a:cubicBezTo>
                      <a:pt x="188" y="807"/>
                      <a:pt x="188" y="807"/>
                      <a:pt x="188" y="807"/>
                    </a:cubicBezTo>
                    <a:cubicBezTo>
                      <a:pt x="192" y="791"/>
                      <a:pt x="192" y="791"/>
                      <a:pt x="192" y="791"/>
                    </a:cubicBezTo>
                    <a:cubicBezTo>
                      <a:pt x="190" y="785"/>
                      <a:pt x="190" y="785"/>
                      <a:pt x="190" y="785"/>
                    </a:cubicBezTo>
                    <a:cubicBezTo>
                      <a:pt x="190" y="785"/>
                      <a:pt x="193" y="784"/>
                      <a:pt x="194" y="781"/>
                    </a:cubicBezTo>
                    <a:cubicBezTo>
                      <a:pt x="195" y="777"/>
                      <a:pt x="191" y="775"/>
                      <a:pt x="191" y="775"/>
                    </a:cubicBezTo>
                    <a:cubicBezTo>
                      <a:pt x="192" y="761"/>
                      <a:pt x="192" y="761"/>
                      <a:pt x="192" y="761"/>
                    </a:cubicBezTo>
                    <a:cubicBezTo>
                      <a:pt x="192" y="761"/>
                      <a:pt x="195" y="762"/>
                      <a:pt x="197" y="756"/>
                    </a:cubicBezTo>
                    <a:cubicBezTo>
                      <a:pt x="200" y="751"/>
                      <a:pt x="191" y="746"/>
                      <a:pt x="191" y="746"/>
                    </a:cubicBezTo>
                    <a:cubicBezTo>
                      <a:pt x="193" y="744"/>
                      <a:pt x="193" y="744"/>
                      <a:pt x="193" y="744"/>
                    </a:cubicBezTo>
                    <a:cubicBezTo>
                      <a:pt x="194" y="735"/>
                      <a:pt x="194" y="735"/>
                      <a:pt x="194" y="735"/>
                    </a:cubicBezTo>
                    <a:cubicBezTo>
                      <a:pt x="192" y="728"/>
                      <a:pt x="192" y="728"/>
                      <a:pt x="192" y="728"/>
                    </a:cubicBezTo>
                    <a:cubicBezTo>
                      <a:pt x="188" y="728"/>
                      <a:pt x="188" y="728"/>
                      <a:pt x="188" y="728"/>
                    </a:cubicBezTo>
                    <a:cubicBezTo>
                      <a:pt x="188" y="728"/>
                      <a:pt x="188" y="726"/>
                      <a:pt x="191" y="725"/>
                    </a:cubicBezTo>
                    <a:cubicBezTo>
                      <a:pt x="195" y="725"/>
                      <a:pt x="198" y="728"/>
                      <a:pt x="198" y="728"/>
                    </a:cubicBezTo>
                    <a:cubicBezTo>
                      <a:pt x="197" y="722"/>
                      <a:pt x="197" y="722"/>
                      <a:pt x="197" y="722"/>
                    </a:cubicBezTo>
                    <a:cubicBezTo>
                      <a:pt x="193" y="720"/>
                      <a:pt x="193" y="720"/>
                      <a:pt x="193" y="720"/>
                    </a:cubicBezTo>
                    <a:cubicBezTo>
                      <a:pt x="196" y="719"/>
                      <a:pt x="196" y="719"/>
                      <a:pt x="196" y="719"/>
                    </a:cubicBezTo>
                    <a:cubicBezTo>
                      <a:pt x="196" y="719"/>
                      <a:pt x="196" y="711"/>
                      <a:pt x="198" y="707"/>
                    </a:cubicBezTo>
                    <a:cubicBezTo>
                      <a:pt x="201" y="703"/>
                      <a:pt x="192" y="698"/>
                      <a:pt x="192" y="698"/>
                    </a:cubicBezTo>
                    <a:cubicBezTo>
                      <a:pt x="195" y="697"/>
                      <a:pt x="195" y="697"/>
                      <a:pt x="195" y="697"/>
                    </a:cubicBezTo>
                    <a:cubicBezTo>
                      <a:pt x="192" y="692"/>
                      <a:pt x="192" y="692"/>
                      <a:pt x="192" y="692"/>
                    </a:cubicBezTo>
                    <a:cubicBezTo>
                      <a:pt x="192" y="692"/>
                      <a:pt x="198" y="694"/>
                      <a:pt x="201" y="687"/>
                    </a:cubicBezTo>
                    <a:cubicBezTo>
                      <a:pt x="204" y="679"/>
                      <a:pt x="183" y="679"/>
                      <a:pt x="183" y="679"/>
                    </a:cubicBezTo>
                    <a:cubicBezTo>
                      <a:pt x="182" y="682"/>
                      <a:pt x="182" y="682"/>
                      <a:pt x="182" y="682"/>
                    </a:cubicBezTo>
                    <a:cubicBezTo>
                      <a:pt x="176" y="681"/>
                      <a:pt x="176" y="681"/>
                      <a:pt x="176" y="681"/>
                    </a:cubicBezTo>
                    <a:cubicBezTo>
                      <a:pt x="176" y="677"/>
                      <a:pt x="176" y="677"/>
                      <a:pt x="176" y="677"/>
                    </a:cubicBezTo>
                    <a:cubicBezTo>
                      <a:pt x="192" y="677"/>
                      <a:pt x="192" y="677"/>
                      <a:pt x="192" y="677"/>
                    </a:cubicBezTo>
                    <a:cubicBezTo>
                      <a:pt x="195" y="677"/>
                      <a:pt x="201" y="680"/>
                      <a:pt x="201" y="680"/>
                    </a:cubicBezTo>
                    <a:cubicBezTo>
                      <a:pt x="204" y="675"/>
                      <a:pt x="204" y="675"/>
                      <a:pt x="204" y="675"/>
                    </a:cubicBezTo>
                    <a:cubicBezTo>
                      <a:pt x="202" y="668"/>
                      <a:pt x="202" y="668"/>
                      <a:pt x="202" y="668"/>
                    </a:cubicBezTo>
                    <a:cubicBezTo>
                      <a:pt x="208" y="672"/>
                      <a:pt x="208" y="672"/>
                      <a:pt x="208" y="672"/>
                    </a:cubicBezTo>
                    <a:cubicBezTo>
                      <a:pt x="208" y="672"/>
                      <a:pt x="212" y="671"/>
                      <a:pt x="213" y="671"/>
                    </a:cubicBezTo>
                    <a:cubicBezTo>
                      <a:pt x="214" y="671"/>
                      <a:pt x="218" y="666"/>
                      <a:pt x="218" y="666"/>
                    </a:cubicBezTo>
                    <a:cubicBezTo>
                      <a:pt x="218" y="661"/>
                      <a:pt x="218" y="661"/>
                      <a:pt x="218" y="661"/>
                    </a:cubicBezTo>
                    <a:cubicBezTo>
                      <a:pt x="222" y="662"/>
                      <a:pt x="222" y="662"/>
                      <a:pt x="222" y="662"/>
                    </a:cubicBezTo>
                    <a:cubicBezTo>
                      <a:pt x="223" y="647"/>
                      <a:pt x="223" y="647"/>
                      <a:pt x="223" y="647"/>
                    </a:cubicBezTo>
                    <a:cubicBezTo>
                      <a:pt x="226" y="648"/>
                      <a:pt x="226" y="648"/>
                      <a:pt x="226" y="648"/>
                    </a:cubicBezTo>
                    <a:cubicBezTo>
                      <a:pt x="228" y="658"/>
                      <a:pt x="228" y="658"/>
                      <a:pt x="228" y="658"/>
                    </a:cubicBezTo>
                    <a:cubicBezTo>
                      <a:pt x="235" y="659"/>
                      <a:pt x="235" y="659"/>
                      <a:pt x="235" y="659"/>
                    </a:cubicBezTo>
                    <a:cubicBezTo>
                      <a:pt x="237" y="649"/>
                      <a:pt x="237" y="649"/>
                      <a:pt x="237" y="649"/>
                    </a:cubicBezTo>
                    <a:cubicBezTo>
                      <a:pt x="237" y="649"/>
                      <a:pt x="239" y="649"/>
                      <a:pt x="241" y="648"/>
                    </a:cubicBezTo>
                    <a:cubicBezTo>
                      <a:pt x="242" y="647"/>
                      <a:pt x="242" y="643"/>
                      <a:pt x="242" y="643"/>
                    </a:cubicBezTo>
                    <a:cubicBezTo>
                      <a:pt x="246" y="642"/>
                      <a:pt x="246" y="642"/>
                      <a:pt x="246" y="642"/>
                    </a:cubicBezTo>
                    <a:cubicBezTo>
                      <a:pt x="248" y="640"/>
                      <a:pt x="248" y="640"/>
                      <a:pt x="248" y="640"/>
                    </a:cubicBezTo>
                    <a:cubicBezTo>
                      <a:pt x="245" y="639"/>
                      <a:pt x="245" y="639"/>
                      <a:pt x="245" y="639"/>
                    </a:cubicBezTo>
                    <a:cubicBezTo>
                      <a:pt x="243" y="633"/>
                      <a:pt x="243" y="633"/>
                      <a:pt x="243" y="633"/>
                    </a:cubicBezTo>
                    <a:cubicBezTo>
                      <a:pt x="237" y="628"/>
                      <a:pt x="237" y="628"/>
                      <a:pt x="237" y="628"/>
                    </a:cubicBezTo>
                    <a:cubicBezTo>
                      <a:pt x="239" y="625"/>
                      <a:pt x="239" y="625"/>
                      <a:pt x="239" y="625"/>
                    </a:cubicBezTo>
                    <a:cubicBezTo>
                      <a:pt x="244" y="625"/>
                      <a:pt x="244" y="625"/>
                      <a:pt x="244" y="625"/>
                    </a:cubicBezTo>
                    <a:cubicBezTo>
                      <a:pt x="258" y="610"/>
                      <a:pt x="258" y="610"/>
                      <a:pt x="258" y="610"/>
                    </a:cubicBezTo>
                    <a:cubicBezTo>
                      <a:pt x="258" y="607"/>
                      <a:pt x="258" y="607"/>
                      <a:pt x="258" y="607"/>
                    </a:cubicBezTo>
                    <a:cubicBezTo>
                      <a:pt x="266" y="601"/>
                      <a:pt x="266" y="601"/>
                      <a:pt x="266" y="601"/>
                    </a:cubicBezTo>
                    <a:cubicBezTo>
                      <a:pt x="267" y="600"/>
                      <a:pt x="267" y="600"/>
                      <a:pt x="267" y="600"/>
                    </a:cubicBezTo>
                    <a:cubicBezTo>
                      <a:pt x="259" y="600"/>
                      <a:pt x="259" y="600"/>
                      <a:pt x="259" y="600"/>
                    </a:cubicBezTo>
                    <a:cubicBezTo>
                      <a:pt x="261" y="594"/>
                      <a:pt x="261" y="594"/>
                      <a:pt x="261" y="594"/>
                    </a:cubicBezTo>
                    <a:cubicBezTo>
                      <a:pt x="266" y="595"/>
                      <a:pt x="266" y="595"/>
                      <a:pt x="266" y="595"/>
                    </a:cubicBezTo>
                    <a:cubicBezTo>
                      <a:pt x="267" y="592"/>
                      <a:pt x="267" y="592"/>
                      <a:pt x="267" y="592"/>
                    </a:cubicBezTo>
                    <a:cubicBezTo>
                      <a:pt x="261" y="588"/>
                      <a:pt x="261" y="588"/>
                      <a:pt x="261" y="588"/>
                    </a:cubicBezTo>
                    <a:cubicBezTo>
                      <a:pt x="256" y="578"/>
                      <a:pt x="256" y="578"/>
                      <a:pt x="256" y="578"/>
                    </a:cubicBezTo>
                    <a:cubicBezTo>
                      <a:pt x="247" y="578"/>
                      <a:pt x="247" y="578"/>
                      <a:pt x="247" y="578"/>
                    </a:cubicBezTo>
                    <a:cubicBezTo>
                      <a:pt x="245" y="578"/>
                      <a:pt x="242" y="570"/>
                      <a:pt x="242" y="570"/>
                    </a:cubicBezTo>
                    <a:cubicBezTo>
                      <a:pt x="242" y="566"/>
                      <a:pt x="242" y="566"/>
                      <a:pt x="242" y="566"/>
                    </a:cubicBezTo>
                    <a:cubicBezTo>
                      <a:pt x="241" y="564"/>
                      <a:pt x="241" y="564"/>
                      <a:pt x="241" y="564"/>
                    </a:cubicBezTo>
                    <a:cubicBezTo>
                      <a:pt x="237" y="565"/>
                      <a:pt x="237" y="565"/>
                      <a:pt x="237" y="565"/>
                    </a:cubicBezTo>
                    <a:cubicBezTo>
                      <a:pt x="227" y="554"/>
                      <a:pt x="227" y="554"/>
                      <a:pt x="227" y="554"/>
                    </a:cubicBezTo>
                    <a:cubicBezTo>
                      <a:pt x="227" y="554"/>
                      <a:pt x="228" y="550"/>
                      <a:pt x="225" y="549"/>
                    </a:cubicBezTo>
                    <a:cubicBezTo>
                      <a:pt x="221" y="548"/>
                      <a:pt x="216" y="557"/>
                      <a:pt x="216" y="557"/>
                    </a:cubicBezTo>
                    <a:cubicBezTo>
                      <a:pt x="213" y="552"/>
                      <a:pt x="213" y="552"/>
                      <a:pt x="213" y="552"/>
                    </a:cubicBezTo>
                    <a:cubicBezTo>
                      <a:pt x="213" y="552"/>
                      <a:pt x="215" y="550"/>
                      <a:pt x="213" y="548"/>
                    </a:cubicBezTo>
                    <a:cubicBezTo>
                      <a:pt x="210" y="546"/>
                      <a:pt x="198" y="548"/>
                      <a:pt x="198" y="548"/>
                    </a:cubicBezTo>
                    <a:cubicBezTo>
                      <a:pt x="205" y="541"/>
                      <a:pt x="205" y="541"/>
                      <a:pt x="205" y="541"/>
                    </a:cubicBezTo>
                    <a:cubicBezTo>
                      <a:pt x="200" y="534"/>
                      <a:pt x="200" y="534"/>
                      <a:pt x="200" y="534"/>
                    </a:cubicBezTo>
                    <a:cubicBezTo>
                      <a:pt x="196" y="533"/>
                      <a:pt x="196" y="533"/>
                      <a:pt x="196" y="533"/>
                    </a:cubicBezTo>
                    <a:cubicBezTo>
                      <a:pt x="198" y="525"/>
                      <a:pt x="198" y="525"/>
                      <a:pt x="198" y="525"/>
                    </a:cubicBezTo>
                    <a:cubicBezTo>
                      <a:pt x="196" y="515"/>
                      <a:pt x="196" y="515"/>
                      <a:pt x="196" y="515"/>
                    </a:cubicBezTo>
                    <a:cubicBezTo>
                      <a:pt x="196" y="515"/>
                      <a:pt x="198" y="509"/>
                      <a:pt x="198" y="506"/>
                    </a:cubicBezTo>
                    <a:cubicBezTo>
                      <a:pt x="198" y="504"/>
                      <a:pt x="193" y="502"/>
                      <a:pt x="193" y="502"/>
                    </a:cubicBezTo>
                    <a:cubicBezTo>
                      <a:pt x="195" y="491"/>
                      <a:pt x="195" y="491"/>
                      <a:pt x="195" y="491"/>
                    </a:cubicBezTo>
                    <a:cubicBezTo>
                      <a:pt x="193" y="490"/>
                      <a:pt x="193" y="490"/>
                      <a:pt x="193" y="490"/>
                    </a:cubicBezTo>
                    <a:cubicBezTo>
                      <a:pt x="196" y="488"/>
                      <a:pt x="196" y="488"/>
                      <a:pt x="196" y="488"/>
                    </a:cubicBezTo>
                    <a:cubicBezTo>
                      <a:pt x="192" y="479"/>
                      <a:pt x="192" y="479"/>
                      <a:pt x="192" y="479"/>
                    </a:cubicBezTo>
                    <a:cubicBezTo>
                      <a:pt x="198" y="483"/>
                      <a:pt x="198" y="483"/>
                      <a:pt x="198" y="483"/>
                    </a:cubicBezTo>
                    <a:cubicBezTo>
                      <a:pt x="201" y="479"/>
                      <a:pt x="201" y="479"/>
                      <a:pt x="201" y="479"/>
                    </a:cubicBezTo>
                    <a:cubicBezTo>
                      <a:pt x="201" y="479"/>
                      <a:pt x="200" y="475"/>
                      <a:pt x="198" y="473"/>
                    </a:cubicBezTo>
                    <a:cubicBezTo>
                      <a:pt x="195" y="472"/>
                      <a:pt x="197" y="464"/>
                      <a:pt x="197" y="464"/>
                    </a:cubicBezTo>
                    <a:cubicBezTo>
                      <a:pt x="200" y="461"/>
                      <a:pt x="200" y="461"/>
                      <a:pt x="200" y="461"/>
                    </a:cubicBezTo>
                    <a:cubicBezTo>
                      <a:pt x="201" y="450"/>
                      <a:pt x="201" y="450"/>
                      <a:pt x="201" y="450"/>
                    </a:cubicBezTo>
                    <a:cubicBezTo>
                      <a:pt x="206" y="448"/>
                      <a:pt x="206" y="448"/>
                      <a:pt x="206" y="448"/>
                    </a:cubicBezTo>
                    <a:cubicBezTo>
                      <a:pt x="206" y="445"/>
                      <a:pt x="206" y="445"/>
                      <a:pt x="206" y="445"/>
                    </a:cubicBezTo>
                    <a:cubicBezTo>
                      <a:pt x="200" y="445"/>
                      <a:pt x="200" y="445"/>
                      <a:pt x="200" y="445"/>
                    </a:cubicBezTo>
                    <a:cubicBezTo>
                      <a:pt x="199" y="441"/>
                      <a:pt x="199" y="441"/>
                      <a:pt x="199" y="441"/>
                    </a:cubicBezTo>
                    <a:cubicBezTo>
                      <a:pt x="197" y="442"/>
                      <a:pt x="197" y="442"/>
                      <a:pt x="197" y="442"/>
                    </a:cubicBezTo>
                    <a:cubicBezTo>
                      <a:pt x="196" y="432"/>
                      <a:pt x="196" y="432"/>
                      <a:pt x="196" y="432"/>
                    </a:cubicBezTo>
                    <a:cubicBezTo>
                      <a:pt x="194" y="430"/>
                      <a:pt x="194" y="430"/>
                      <a:pt x="194" y="430"/>
                    </a:cubicBezTo>
                    <a:cubicBezTo>
                      <a:pt x="199" y="428"/>
                      <a:pt x="199" y="428"/>
                      <a:pt x="199" y="428"/>
                    </a:cubicBezTo>
                    <a:cubicBezTo>
                      <a:pt x="202" y="434"/>
                      <a:pt x="202" y="434"/>
                      <a:pt x="202" y="434"/>
                    </a:cubicBezTo>
                    <a:cubicBezTo>
                      <a:pt x="207" y="432"/>
                      <a:pt x="207" y="432"/>
                      <a:pt x="207" y="432"/>
                    </a:cubicBezTo>
                    <a:cubicBezTo>
                      <a:pt x="205" y="430"/>
                      <a:pt x="205" y="430"/>
                      <a:pt x="205" y="430"/>
                    </a:cubicBezTo>
                    <a:cubicBezTo>
                      <a:pt x="207" y="427"/>
                      <a:pt x="207" y="427"/>
                      <a:pt x="207" y="427"/>
                    </a:cubicBezTo>
                    <a:cubicBezTo>
                      <a:pt x="207" y="427"/>
                      <a:pt x="212" y="427"/>
                      <a:pt x="212" y="425"/>
                    </a:cubicBezTo>
                    <a:cubicBezTo>
                      <a:pt x="212" y="418"/>
                      <a:pt x="212" y="418"/>
                      <a:pt x="212" y="418"/>
                    </a:cubicBezTo>
                    <a:cubicBezTo>
                      <a:pt x="213" y="414"/>
                      <a:pt x="213" y="414"/>
                      <a:pt x="213" y="414"/>
                    </a:cubicBezTo>
                    <a:cubicBezTo>
                      <a:pt x="213" y="414"/>
                      <a:pt x="211" y="408"/>
                      <a:pt x="213" y="408"/>
                    </a:cubicBezTo>
                    <a:cubicBezTo>
                      <a:pt x="215" y="407"/>
                      <a:pt x="216" y="410"/>
                      <a:pt x="216" y="410"/>
                    </a:cubicBezTo>
                    <a:cubicBezTo>
                      <a:pt x="221" y="407"/>
                      <a:pt x="221" y="407"/>
                      <a:pt x="221" y="407"/>
                    </a:cubicBezTo>
                    <a:cubicBezTo>
                      <a:pt x="221" y="407"/>
                      <a:pt x="218" y="403"/>
                      <a:pt x="221" y="401"/>
                    </a:cubicBezTo>
                    <a:cubicBezTo>
                      <a:pt x="222" y="400"/>
                      <a:pt x="225" y="405"/>
                      <a:pt x="225" y="405"/>
                    </a:cubicBezTo>
                    <a:cubicBezTo>
                      <a:pt x="229" y="399"/>
                      <a:pt x="229" y="399"/>
                      <a:pt x="229" y="399"/>
                    </a:cubicBezTo>
                    <a:cubicBezTo>
                      <a:pt x="225" y="397"/>
                      <a:pt x="225" y="397"/>
                      <a:pt x="225" y="397"/>
                    </a:cubicBezTo>
                    <a:cubicBezTo>
                      <a:pt x="228" y="396"/>
                      <a:pt x="228" y="396"/>
                      <a:pt x="228" y="396"/>
                    </a:cubicBezTo>
                    <a:cubicBezTo>
                      <a:pt x="228" y="395"/>
                      <a:pt x="228" y="395"/>
                      <a:pt x="228" y="395"/>
                    </a:cubicBezTo>
                    <a:cubicBezTo>
                      <a:pt x="222" y="395"/>
                      <a:pt x="222" y="395"/>
                      <a:pt x="222" y="395"/>
                    </a:cubicBezTo>
                    <a:cubicBezTo>
                      <a:pt x="226" y="392"/>
                      <a:pt x="226" y="392"/>
                      <a:pt x="226" y="392"/>
                    </a:cubicBezTo>
                    <a:cubicBezTo>
                      <a:pt x="231" y="380"/>
                      <a:pt x="231" y="380"/>
                      <a:pt x="231" y="380"/>
                    </a:cubicBezTo>
                    <a:cubicBezTo>
                      <a:pt x="234" y="380"/>
                      <a:pt x="234" y="380"/>
                      <a:pt x="234" y="380"/>
                    </a:cubicBezTo>
                    <a:cubicBezTo>
                      <a:pt x="239" y="377"/>
                      <a:pt x="239" y="377"/>
                      <a:pt x="239" y="377"/>
                    </a:cubicBezTo>
                    <a:cubicBezTo>
                      <a:pt x="233" y="375"/>
                      <a:pt x="233" y="375"/>
                      <a:pt x="233" y="375"/>
                    </a:cubicBezTo>
                    <a:cubicBezTo>
                      <a:pt x="239" y="374"/>
                      <a:pt x="239" y="374"/>
                      <a:pt x="239" y="374"/>
                    </a:cubicBezTo>
                    <a:cubicBezTo>
                      <a:pt x="243" y="378"/>
                      <a:pt x="243" y="378"/>
                      <a:pt x="243" y="378"/>
                    </a:cubicBezTo>
                    <a:cubicBezTo>
                      <a:pt x="243" y="378"/>
                      <a:pt x="244" y="374"/>
                      <a:pt x="246" y="371"/>
                    </a:cubicBezTo>
                    <a:cubicBezTo>
                      <a:pt x="248" y="368"/>
                      <a:pt x="249" y="361"/>
                      <a:pt x="249" y="361"/>
                    </a:cubicBezTo>
                    <a:cubicBezTo>
                      <a:pt x="249" y="361"/>
                      <a:pt x="251" y="362"/>
                      <a:pt x="254" y="360"/>
                    </a:cubicBezTo>
                    <a:cubicBezTo>
                      <a:pt x="256" y="359"/>
                      <a:pt x="255" y="353"/>
                      <a:pt x="255" y="353"/>
                    </a:cubicBezTo>
                    <a:cubicBezTo>
                      <a:pt x="258" y="358"/>
                      <a:pt x="258" y="358"/>
                      <a:pt x="258" y="358"/>
                    </a:cubicBezTo>
                    <a:cubicBezTo>
                      <a:pt x="261" y="363"/>
                      <a:pt x="261" y="363"/>
                      <a:pt x="261" y="363"/>
                    </a:cubicBezTo>
                    <a:cubicBezTo>
                      <a:pt x="263" y="361"/>
                      <a:pt x="263" y="361"/>
                      <a:pt x="263" y="361"/>
                    </a:cubicBezTo>
                    <a:cubicBezTo>
                      <a:pt x="262" y="357"/>
                      <a:pt x="262" y="357"/>
                      <a:pt x="262" y="357"/>
                    </a:cubicBezTo>
                    <a:cubicBezTo>
                      <a:pt x="270" y="348"/>
                      <a:pt x="270" y="348"/>
                      <a:pt x="270" y="348"/>
                    </a:cubicBezTo>
                    <a:cubicBezTo>
                      <a:pt x="268" y="346"/>
                      <a:pt x="268" y="346"/>
                      <a:pt x="268" y="346"/>
                    </a:cubicBezTo>
                    <a:cubicBezTo>
                      <a:pt x="271" y="345"/>
                      <a:pt x="271" y="345"/>
                      <a:pt x="271" y="345"/>
                    </a:cubicBezTo>
                    <a:cubicBezTo>
                      <a:pt x="272" y="346"/>
                      <a:pt x="272" y="346"/>
                      <a:pt x="272" y="346"/>
                    </a:cubicBezTo>
                    <a:cubicBezTo>
                      <a:pt x="278" y="344"/>
                      <a:pt x="278" y="344"/>
                      <a:pt x="278" y="344"/>
                    </a:cubicBezTo>
                    <a:cubicBezTo>
                      <a:pt x="278" y="340"/>
                      <a:pt x="278" y="340"/>
                      <a:pt x="278" y="340"/>
                    </a:cubicBezTo>
                    <a:cubicBezTo>
                      <a:pt x="280" y="344"/>
                      <a:pt x="280" y="344"/>
                      <a:pt x="280" y="344"/>
                    </a:cubicBezTo>
                    <a:cubicBezTo>
                      <a:pt x="281" y="334"/>
                      <a:pt x="281" y="334"/>
                      <a:pt x="281" y="334"/>
                    </a:cubicBezTo>
                    <a:cubicBezTo>
                      <a:pt x="284" y="339"/>
                      <a:pt x="284" y="339"/>
                      <a:pt x="284" y="339"/>
                    </a:cubicBezTo>
                    <a:cubicBezTo>
                      <a:pt x="290" y="333"/>
                      <a:pt x="290" y="333"/>
                      <a:pt x="290" y="333"/>
                    </a:cubicBezTo>
                    <a:cubicBezTo>
                      <a:pt x="290" y="333"/>
                      <a:pt x="293" y="325"/>
                      <a:pt x="294" y="321"/>
                    </a:cubicBezTo>
                    <a:cubicBezTo>
                      <a:pt x="295" y="318"/>
                      <a:pt x="293" y="313"/>
                      <a:pt x="293" y="313"/>
                    </a:cubicBezTo>
                    <a:cubicBezTo>
                      <a:pt x="298" y="308"/>
                      <a:pt x="298" y="308"/>
                      <a:pt x="298" y="308"/>
                    </a:cubicBezTo>
                    <a:cubicBezTo>
                      <a:pt x="299" y="302"/>
                      <a:pt x="299" y="302"/>
                      <a:pt x="299" y="302"/>
                    </a:cubicBezTo>
                    <a:cubicBezTo>
                      <a:pt x="309" y="293"/>
                      <a:pt x="309" y="293"/>
                      <a:pt x="309" y="293"/>
                    </a:cubicBezTo>
                    <a:cubicBezTo>
                      <a:pt x="310" y="287"/>
                      <a:pt x="310" y="287"/>
                      <a:pt x="310" y="287"/>
                    </a:cubicBezTo>
                    <a:cubicBezTo>
                      <a:pt x="306" y="288"/>
                      <a:pt x="306" y="288"/>
                      <a:pt x="306" y="288"/>
                    </a:cubicBezTo>
                    <a:cubicBezTo>
                      <a:pt x="304" y="286"/>
                      <a:pt x="304" y="286"/>
                      <a:pt x="304" y="286"/>
                    </a:cubicBezTo>
                    <a:cubicBezTo>
                      <a:pt x="308" y="285"/>
                      <a:pt x="308" y="285"/>
                      <a:pt x="308" y="285"/>
                    </a:cubicBezTo>
                    <a:cubicBezTo>
                      <a:pt x="309" y="283"/>
                      <a:pt x="309" y="283"/>
                      <a:pt x="309" y="283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295" y="277"/>
                      <a:pt x="295" y="277"/>
                      <a:pt x="295" y="277"/>
                    </a:cubicBezTo>
                    <a:cubicBezTo>
                      <a:pt x="298" y="269"/>
                      <a:pt x="298" y="269"/>
                      <a:pt x="298" y="269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5" y="261"/>
                      <a:pt x="295" y="261"/>
                      <a:pt x="295" y="261"/>
                    </a:cubicBezTo>
                    <a:cubicBezTo>
                      <a:pt x="298" y="259"/>
                      <a:pt x="298" y="259"/>
                      <a:pt x="298" y="259"/>
                    </a:cubicBezTo>
                    <a:cubicBezTo>
                      <a:pt x="303" y="246"/>
                      <a:pt x="303" y="246"/>
                      <a:pt x="303" y="246"/>
                    </a:cubicBezTo>
                    <a:cubicBezTo>
                      <a:pt x="303" y="246"/>
                      <a:pt x="293" y="238"/>
                      <a:pt x="295" y="234"/>
                    </a:cubicBezTo>
                    <a:cubicBezTo>
                      <a:pt x="296" y="230"/>
                      <a:pt x="304" y="231"/>
                      <a:pt x="309" y="229"/>
                    </a:cubicBezTo>
                    <a:cubicBezTo>
                      <a:pt x="315" y="226"/>
                      <a:pt x="307" y="221"/>
                      <a:pt x="307" y="221"/>
                    </a:cubicBezTo>
                    <a:cubicBezTo>
                      <a:pt x="313" y="219"/>
                      <a:pt x="313" y="219"/>
                      <a:pt x="313" y="219"/>
                    </a:cubicBezTo>
                    <a:cubicBezTo>
                      <a:pt x="313" y="216"/>
                      <a:pt x="313" y="216"/>
                      <a:pt x="313" y="216"/>
                    </a:cubicBezTo>
                    <a:cubicBezTo>
                      <a:pt x="319" y="216"/>
                      <a:pt x="319" y="216"/>
                      <a:pt x="319" y="216"/>
                    </a:cubicBezTo>
                    <a:cubicBezTo>
                      <a:pt x="315" y="196"/>
                      <a:pt x="315" y="196"/>
                      <a:pt x="315" y="196"/>
                    </a:cubicBezTo>
                    <a:cubicBezTo>
                      <a:pt x="319" y="196"/>
                      <a:pt x="319" y="196"/>
                      <a:pt x="319" y="196"/>
                    </a:cubicBezTo>
                    <a:cubicBezTo>
                      <a:pt x="322" y="201"/>
                      <a:pt x="322" y="201"/>
                      <a:pt x="322" y="201"/>
                    </a:cubicBezTo>
                    <a:cubicBezTo>
                      <a:pt x="326" y="201"/>
                      <a:pt x="326" y="201"/>
                      <a:pt x="326" y="201"/>
                    </a:cubicBezTo>
                    <a:cubicBezTo>
                      <a:pt x="324" y="193"/>
                      <a:pt x="324" y="193"/>
                      <a:pt x="324" y="193"/>
                    </a:cubicBezTo>
                    <a:cubicBezTo>
                      <a:pt x="329" y="195"/>
                      <a:pt x="329" y="195"/>
                      <a:pt x="329" y="195"/>
                    </a:cubicBezTo>
                    <a:cubicBezTo>
                      <a:pt x="329" y="199"/>
                      <a:pt x="329" y="199"/>
                      <a:pt x="329" y="199"/>
                    </a:cubicBezTo>
                    <a:cubicBezTo>
                      <a:pt x="336" y="201"/>
                      <a:pt x="336" y="201"/>
                      <a:pt x="336" y="201"/>
                    </a:cubicBezTo>
                    <a:cubicBezTo>
                      <a:pt x="337" y="205"/>
                      <a:pt x="337" y="205"/>
                      <a:pt x="337" y="205"/>
                    </a:cubicBezTo>
                    <a:cubicBezTo>
                      <a:pt x="340" y="200"/>
                      <a:pt x="340" y="200"/>
                      <a:pt x="340" y="200"/>
                    </a:cubicBezTo>
                    <a:cubicBezTo>
                      <a:pt x="339" y="196"/>
                      <a:pt x="339" y="196"/>
                      <a:pt x="339" y="196"/>
                    </a:cubicBezTo>
                    <a:cubicBezTo>
                      <a:pt x="350" y="196"/>
                      <a:pt x="350" y="196"/>
                      <a:pt x="350" y="196"/>
                    </a:cubicBezTo>
                    <a:cubicBezTo>
                      <a:pt x="354" y="193"/>
                      <a:pt x="354" y="193"/>
                      <a:pt x="354" y="193"/>
                    </a:cubicBezTo>
                    <a:cubicBezTo>
                      <a:pt x="357" y="196"/>
                      <a:pt x="357" y="196"/>
                      <a:pt x="357" y="196"/>
                    </a:cubicBezTo>
                    <a:cubicBezTo>
                      <a:pt x="360" y="196"/>
                      <a:pt x="360" y="196"/>
                      <a:pt x="360" y="196"/>
                    </a:cubicBezTo>
                    <a:cubicBezTo>
                      <a:pt x="360" y="194"/>
                      <a:pt x="360" y="194"/>
                      <a:pt x="360" y="194"/>
                    </a:cubicBezTo>
                    <a:cubicBezTo>
                      <a:pt x="365" y="195"/>
                      <a:pt x="365" y="195"/>
                      <a:pt x="365" y="195"/>
                    </a:cubicBezTo>
                    <a:lnTo>
                      <a:pt x="364" y="188"/>
                    </a:lnTo>
                    <a:close/>
                    <a:moveTo>
                      <a:pt x="14" y="718"/>
                    </a:moveTo>
                    <a:cubicBezTo>
                      <a:pt x="21" y="719"/>
                      <a:pt x="21" y="719"/>
                      <a:pt x="21" y="719"/>
                    </a:cubicBezTo>
                    <a:cubicBezTo>
                      <a:pt x="22" y="712"/>
                      <a:pt x="22" y="712"/>
                      <a:pt x="22" y="712"/>
                    </a:cubicBezTo>
                    <a:cubicBezTo>
                      <a:pt x="19" y="709"/>
                      <a:pt x="19" y="709"/>
                      <a:pt x="19" y="709"/>
                    </a:cubicBezTo>
                    <a:cubicBezTo>
                      <a:pt x="17" y="712"/>
                      <a:pt x="17" y="712"/>
                      <a:pt x="17" y="712"/>
                    </a:cubicBezTo>
                    <a:cubicBezTo>
                      <a:pt x="16" y="712"/>
                      <a:pt x="16" y="712"/>
                      <a:pt x="16" y="712"/>
                    </a:cubicBezTo>
                    <a:cubicBezTo>
                      <a:pt x="8" y="720"/>
                      <a:pt x="8" y="720"/>
                      <a:pt x="8" y="720"/>
                    </a:cubicBezTo>
                    <a:cubicBezTo>
                      <a:pt x="14" y="721"/>
                      <a:pt x="14" y="721"/>
                      <a:pt x="14" y="721"/>
                    </a:cubicBezTo>
                    <a:lnTo>
                      <a:pt x="14" y="718"/>
                    </a:lnTo>
                    <a:close/>
                    <a:moveTo>
                      <a:pt x="20" y="727"/>
                    </a:moveTo>
                    <a:cubicBezTo>
                      <a:pt x="19" y="723"/>
                      <a:pt x="19" y="723"/>
                      <a:pt x="19" y="723"/>
                    </a:cubicBezTo>
                    <a:cubicBezTo>
                      <a:pt x="11" y="725"/>
                      <a:pt x="11" y="725"/>
                      <a:pt x="11" y="725"/>
                    </a:cubicBezTo>
                    <a:cubicBezTo>
                      <a:pt x="13" y="728"/>
                      <a:pt x="13" y="728"/>
                      <a:pt x="13" y="728"/>
                    </a:cubicBezTo>
                    <a:cubicBezTo>
                      <a:pt x="13" y="730"/>
                      <a:pt x="13" y="730"/>
                      <a:pt x="13" y="730"/>
                    </a:cubicBezTo>
                    <a:cubicBezTo>
                      <a:pt x="16" y="730"/>
                      <a:pt x="16" y="730"/>
                      <a:pt x="16" y="730"/>
                    </a:cubicBezTo>
                    <a:cubicBezTo>
                      <a:pt x="17" y="727"/>
                      <a:pt x="17" y="727"/>
                      <a:pt x="17" y="727"/>
                    </a:cubicBezTo>
                    <a:lnTo>
                      <a:pt x="20" y="727"/>
                    </a:lnTo>
                    <a:close/>
                    <a:moveTo>
                      <a:pt x="211" y="760"/>
                    </a:moveTo>
                    <a:cubicBezTo>
                      <a:pt x="207" y="765"/>
                      <a:pt x="207" y="765"/>
                      <a:pt x="207" y="765"/>
                    </a:cubicBezTo>
                    <a:cubicBezTo>
                      <a:pt x="208" y="771"/>
                      <a:pt x="208" y="771"/>
                      <a:pt x="208" y="771"/>
                    </a:cubicBezTo>
                    <a:cubicBezTo>
                      <a:pt x="207" y="771"/>
                      <a:pt x="207" y="771"/>
                      <a:pt x="207" y="771"/>
                    </a:cubicBezTo>
                    <a:cubicBezTo>
                      <a:pt x="207" y="773"/>
                      <a:pt x="207" y="773"/>
                      <a:pt x="207" y="773"/>
                    </a:cubicBezTo>
                    <a:cubicBezTo>
                      <a:pt x="205" y="783"/>
                      <a:pt x="205" y="783"/>
                      <a:pt x="205" y="783"/>
                    </a:cubicBezTo>
                    <a:cubicBezTo>
                      <a:pt x="202" y="784"/>
                      <a:pt x="202" y="784"/>
                      <a:pt x="202" y="784"/>
                    </a:cubicBezTo>
                    <a:cubicBezTo>
                      <a:pt x="200" y="792"/>
                      <a:pt x="200" y="792"/>
                      <a:pt x="200" y="792"/>
                    </a:cubicBezTo>
                    <a:cubicBezTo>
                      <a:pt x="198" y="792"/>
                      <a:pt x="198" y="792"/>
                      <a:pt x="198" y="792"/>
                    </a:cubicBezTo>
                    <a:cubicBezTo>
                      <a:pt x="198" y="792"/>
                      <a:pt x="195" y="797"/>
                      <a:pt x="194" y="801"/>
                    </a:cubicBezTo>
                    <a:cubicBezTo>
                      <a:pt x="193" y="804"/>
                      <a:pt x="194" y="807"/>
                      <a:pt x="193" y="808"/>
                    </a:cubicBezTo>
                    <a:cubicBezTo>
                      <a:pt x="193" y="810"/>
                      <a:pt x="190" y="812"/>
                      <a:pt x="190" y="816"/>
                    </a:cubicBezTo>
                    <a:cubicBezTo>
                      <a:pt x="190" y="821"/>
                      <a:pt x="190" y="821"/>
                      <a:pt x="190" y="821"/>
                    </a:cubicBezTo>
                    <a:cubicBezTo>
                      <a:pt x="193" y="823"/>
                      <a:pt x="193" y="823"/>
                      <a:pt x="193" y="823"/>
                    </a:cubicBezTo>
                    <a:cubicBezTo>
                      <a:pt x="192" y="836"/>
                      <a:pt x="192" y="836"/>
                      <a:pt x="192" y="836"/>
                    </a:cubicBezTo>
                    <a:cubicBezTo>
                      <a:pt x="192" y="836"/>
                      <a:pt x="196" y="833"/>
                      <a:pt x="197" y="830"/>
                    </a:cubicBezTo>
                    <a:cubicBezTo>
                      <a:pt x="198" y="825"/>
                      <a:pt x="197" y="824"/>
                      <a:pt x="197" y="822"/>
                    </a:cubicBezTo>
                    <a:cubicBezTo>
                      <a:pt x="197" y="820"/>
                      <a:pt x="199" y="817"/>
                      <a:pt x="200" y="815"/>
                    </a:cubicBezTo>
                    <a:cubicBezTo>
                      <a:pt x="201" y="813"/>
                      <a:pt x="200" y="807"/>
                      <a:pt x="200" y="807"/>
                    </a:cubicBezTo>
                    <a:cubicBezTo>
                      <a:pt x="204" y="796"/>
                      <a:pt x="204" y="796"/>
                      <a:pt x="204" y="796"/>
                    </a:cubicBezTo>
                    <a:cubicBezTo>
                      <a:pt x="206" y="796"/>
                      <a:pt x="206" y="796"/>
                      <a:pt x="206" y="796"/>
                    </a:cubicBezTo>
                    <a:cubicBezTo>
                      <a:pt x="208" y="788"/>
                      <a:pt x="208" y="788"/>
                      <a:pt x="208" y="788"/>
                    </a:cubicBezTo>
                    <a:cubicBezTo>
                      <a:pt x="207" y="785"/>
                      <a:pt x="207" y="785"/>
                      <a:pt x="207" y="785"/>
                    </a:cubicBezTo>
                    <a:cubicBezTo>
                      <a:pt x="209" y="783"/>
                      <a:pt x="209" y="783"/>
                      <a:pt x="209" y="783"/>
                    </a:cubicBezTo>
                    <a:cubicBezTo>
                      <a:pt x="208" y="782"/>
                      <a:pt x="208" y="782"/>
                      <a:pt x="208" y="782"/>
                    </a:cubicBezTo>
                    <a:cubicBezTo>
                      <a:pt x="210" y="779"/>
                      <a:pt x="210" y="779"/>
                      <a:pt x="210" y="779"/>
                    </a:cubicBezTo>
                    <a:cubicBezTo>
                      <a:pt x="209" y="777"/>
                      <a:pt x="209" y="777"/>
                      <a:pt x="209" y="777"/>
                    </a:cubicBezTo>
                    <a:cubicBezTo>
                      <a:pt x="212" y="772"/>
                      <a:pt x="212" y="772"/>
                      <a:pt x="212" y="772"/>
                    </a:cubicBezTo>
                    <a:cubicBezTo>
                      <a:pt x="211" y="766"/>
                      <a:pt x="211" y="766"/>
                      <a:pt x="211" y="766"/>
                    </a:cubicBezTo>
                    <a:cubicBezTo>
                      <a:pt x="214" y="763"/>
                      <a:pt x="214" y="763"/>
                      <a:pt x="214" y="763"/>
                    </a:cubicBezTo>
                    <a:lnTo>
                      <a:pt x="211" y="760"/>
                    </a:lnTo>
                    <a:close/>
                    <a:moveTo>
                      <a:pt x="277" y="731"/>
                    </a:moveTo>
                    <a:cubicBezTo>
                      <a:pt x="281" y="724"/>
                      <a:pt x="281" y="724"/>
                      <a:pt x="281" y="724"/>
                    </a:cubicBezTo>
                    <a:cubicBezTo>
                      <a:pt x="278" y="718"/>
                      <a:pt x="278" y="718"/>
                      <a:pt x="278" y="718"/>
                    </a:cubicBezTo>
                    <a:cubicBezTo>
                      <a:pt x="272" y="719"/>
                      <a:pt x="272" y="719"/>
                      <a:pt x="272" y="719"/>
                    </a:cubicBezTo>
                    <a:cubicBezTo>
                      <a:pt x="270" y="724"/>
                      <a:pt x="270" y="724"/>
                      <a:pt x="270" y="724"/>
                    </a:cubicBezTo>
                    <a:cubicBezTo>
                      <a:pt x="270" y="719"/>
                      <a:pt x="270" y="719"/>
                      <a:pt x="270" y="719"/>
                    </a:cubicBezTo>
                    <a:cubicBezTo>
                      <a:pt x="270" y="719"/>
                      <a:pt x="267" y="719"/>
                      <a:pt x="266" y="720"/>
                    </a:cubicBezTo>
                    <a:cubicBezTo>
                      <a:pt x="264" y="721"/>
                      <a:pt x="263" y="724"/>
                      <a:pt x="263" y="724"/>
                    </a:cubicBezTo>
                    <a:cubicBezTo>
                      <a:pt x="263" y="724"/>
                      <a:pt x="262" y="723"/>
                      <a:pt x="259" y="726"/>
                    </a:cubicBezTo>
                    <a:cubicBezTo>
                      <a:pt x="257" y="729"/>
                      <a:pt x="253" y="739"/>
                      <a:pt x="253" y="739"/>
                    </a:cubicBezTo>
                    <a:cubicBezTo>
                      <a:pt x="253" y="739"/>
                      <a:pt x="248" y="741"/>
                      <a:pt x="248" y="746"/>
                    </a:cubicBezTo>
                    <a:cubicBezTo>
                      <a:pt x="247" y="753"/>
                      <a:pt x="253" y="753"/>
                      <a:pt x="253" y="757"/>
                    </a:cubicBezTo>
                    <a:cubicBezTo>
                      <a:pt x="251" y="762"/>
                      <a:pt x="249" y="763"/>
                      <a:pt x="249" y="763"/>
                    </a:cubicBezTo>
                    <a:cubicBezTo>
                      <a:pt x="251" y="765"/>
                      <a:pt x="251" y="765"/>
                      <a:pt x="251" y="765"/>
                    </a:cubicBezTo>
                    <a:cubicBezTo>
                      <a:pt x="251" y="772"/>
                      <a:pt x="251" y="772"/>
                      <a:pt x="251" y="772"/>
                    </a:cubicBezTo>
                    <a:cubicBezTo>
                      <a:pt x="254" y="773"/>
                      <a:pt x="254" y="773"/>
                      <a:pt x="254" y="773"/>
                    </a:cubicBezTo>
                    <a:cubicBezTo>
                      <a:pt x="254" y="776"/>
                      <a:pt x="254" y="776"/>
                      <a:pt x="254" y="776"/>
                    </a:cubicBezTo>
                    <a:cubicBezTo>
                      <a:pt x="254" y="776"/>
                      <a:pt x="257" y="775"/>
                      <a:pt x="257" y="776"/>
                    </a:cubicBezTo>
                    <a:cubicBezTo>
                      <a:pt x="257" y="777"/>
                      <a:pt x="255" y="778"/>
                      <a:pt x="255" y="778"/>
                    </a:cubicBezTo>
                    <a:cubicBezTo>
                      <a:pt x="255" y="782"/>
                      <a:pt x="255" y="782"/>
                      <a:pt x="255" y="782"/>
                    </a:cubicBezTo>
                    <a:cubicBezTo>
                      <a:pt x="255" y="783"/>
                      <a:pt x="253" y="787"/>
                      <a:pt x="253" y="787"/>
                    </a:cubicBezTo>
                    <a:cubicBezTo>
                      <a:pt x="258" y="785"/>
                      <a:pt x="258" y="785"/>
                      <a:pt x="258" y="785"/>
                    </a:cubicBezTo>
                    <a:cubicBezTo>
                      <a:pt x="261" y="779"/>
                      <a:pt x="261" y="779"/>
                      <a:pt x="261" y="779"/>
                    </a:cubicBezTo>
                    <a:cubicBezTo>
                      <a:pt x="260" y="779"/>
                      <a:pt x="260" y="779"/>
                      <a:pt x="260" y="779"/>
                    </a:cubicBezTo>
                    <a:cubicBezTo>
                      <a:pt x="261" y="774"/>
                      <a:pt x="261" y="774"/>
                      <a:pt x="261" y="774"/>
                    </a:cubicBezTo>
                    <a:cubicBezTo>
                      <a:pt x="262" y="772"/>
                      <a:pt x="262" y="772"/>
                      <a:pt x="262" y="772"/>
                    </a:cubicBezTo>
                    <a:cubicBezTo>
                      <a:pt x="261" y="772"/>
                      <a:pt x="261" y="772"/>
                      <a:pt x="261" y="772"/>
                    </a:cubicBezTo>
                    <a:cubicBezTo>
                      <a:pt x="266" y="766"/>
                      <a:pt x="266" y="766"/>
                      <a:pt x="266" y="766"/>
                    </a:cubicBezTo>
                    <a:cubicBezTo>
                      <a:pt x="271" y="763"/>
                      <a:pt x="271" y="763"/>
                      <a:pt x="271" y="763"/>
                    </a:cubicBezTo>
                    <a:cubicBezTo>
                      <a:pt x="271" y="758"/>
                      <a:pt x="271" y="758"/>
                      <a:pt x="271" y="758"/>
                    </a:cubicBezTo>
                    <a:cubicBezTo>
                      <a:pt x="277" y="750"/>
                      <a:pt x="277" y="750"/>
                      <a:pt x="277" y="750"/>
                    </a:cubicBezTo>
                    <a:cubicBezTo>
                      <a:pt x="274" y="750"/>
                      <a:pt x="274" y="750"/>
                      <a:pt x="274" y="750"/>
                    </a:cubicBezTo>
                    <a:cubicBezTo>
                      <a:pt x="271" y="746"/>
                      <a:pt x="271" y="746"/>
                      <a:pt x="271" y="746"/>
                    </a:cubicBezTo>
                    <a:cubicBezTo>
                      <a:pt x="271" y="746"/>
                      <a:pt x="273" y="743"/>
                      <a:pt x="274" y="740"/>
                    </a:cubicBezTo>
                    <a:cubicBezTo>
                      <a:pt x="274" y="738"/>
                      <a:pt x="271" y="735"/>
                      <a:pt x="271" y="735"/>
                    </a:cubicBezTo>
                    <a:cubicBezTo>
                      <a:pt x="272" y="730"/>
                      <a:pt x="272" y="730"/>
                      <a:pt x="272" y="730"/>
                    </a:cubicBezTo>
                    <a:lnTo>
                      <a:pt x="277" y="731"/>
                    </a:lnTo>
                    <a:close/>
                    <a:moveTo>
                      <a:pt x="280" y="719"/>
                    </a:moveTo>
                    <a:cubicBezTo>
                      <a:pt x="282" y="721"/>
                      <a:pt x="282" y="721"/>
                      <a:pt x="282" y="721"/>
                    </a:cubicBezTo>
                    <a:cubicBezTo>
                      <a:pt x="286" y="711"/>
                      <a:pt x="286" y="711"/>
                      <a:pt x="286" y="711"/>
                    </a:cubicBezTo>
                    <a:cubicBezTo>
                      <a:pt x="281" y="712"/>
                      <a:pt x="281" y="712"/>
                      <a:pt x="281" y="712"/>
                    </a:cubicBezTo>
                    <a:lnTo>
                      <a:pt x="280" y="719"/>
                    </a:lnTo>
                    <a:close/>
                    <a:moveTo>
                      <a:pt x="286" y="715"/>
                    </a:moveTo>
                    <a:cubicBezTo>
                      <a:pt x="290" y="715"/>
                      <a:pt x="290" y="715"/>
                      <a:pt x="290" y="715"/>
                    </a:cubicBezTo>
                    <a:cubicBezTo>
                      <a:pt x="291" y="712"/>
                      <a:pt x="291" y="712"/>
                      <a:pt x="291" y="712"/>
                    </a:cubicBezTo>
                    <a:cubicBezTo>
                      <a:pt x="288" y="712"/>
                      <a:pt x="288" y="712"/>
                      <a:pt x="288" y="712"/>
                    </a:cubicBezTo>
                    <a:lnTo>
                      <a:pt x="286" y="715"/>
                    </a:lnTo>
                    <a:close/>
                    <a:moveTo>
                      <a:pt x="282" y="691"/>
                    </a:moveTo>
                    <a:cubicBezTo>
                      <a:pt x="287" y="688"/>
                      <a:pt x="287" y="688"/>
                      <a:pt x="287" y="688"/>
                    </a:cubicBezTo>
                    <a:cubicBezTo>
                      <a:pt x="280" y="684"/>
                      <a:pt x="280" y="684"/>
                      <a:pt x="280" y="684"/>
                    </a:cubicBezTo>
                    <a:cubicBezTo>
                      <a:pt x="281" y="689"/>
                      <a:pt x="281" y="689"/>
                      <a:pt x="281" y="689"/>
                    </a:cubicBezTo>
                    <a:lnTo>
                      <a:pt x="282" y="691"/>
                    </a:lnTo>
                    <a:close/>
                    <a:moveTo>
                      <a:pt x="243" y="630"/>
                    </a:moveTo>
                    <a:cubicBezTo>
                      <a:pt x="255" y="631"/>
                      <a:pt x="255" y="631"/>
                      <a:pt x="255" y="631"/>
                    </a:cubicBezTo>
                    <a:cubicBezTo>
                      <a:pt x="256" y="630"/>
                      <a:pt x="256" y="630"/>
                      <a:pt x="256" y="630"/>
                    </a:cubicBezTo>
                    <a:cubicBezTo>
                      <a:pt x="254" y="626"/>
                      <a:pt x="254" y="626"/>
                      <a:pt x="254" y="626"/>
                    </a:cubicBezTo>
                    <a:cubicBezTo>
                      <a:pt x="251" y="625"/>
                      <a:pt x="251" y="625"/>
                      <a:pt x="251" y="625"/>
                    </a:cubicBezTo>
                    <a:cubicBezTo>
                      <a:pt x="248" y="626"/>
                      <a:pt x="248" y="626"/>
                      <a:pt x="248" y="626"/>
                    </a:cubicBezTo>
                    <a:cubicBezTo>
                      <a:pt x="249" y="628"/>
                      <a:pt x="249" y="628"/>
                      <a:pt x="249" y="628"/>
                    </a:cubicBezTo>
                    <a:cubicBezTo>
                      <a:pt x="243" y="628"/>
                      <a:pt x="243" y="628"/>
                      <a:pt x="243" y="628"/>
                    </a:cubicBezTo>
                    <a:lnTo>
                      <a:pt x="243" y="630"/>
                    </a:lnTo>
                    <a:close/>
                    <a:moveTo>
                      <a:pt x="254" y="615"/>
                    </a:moveTo>
                    <a:cubicBezTo>
                      <a:pt x="253" y="620"/>
                      <a:pt x="253" y="620"/>
                      <a:pt x="253" y="620"/>
                    </a:cubicBezTo>
                    <a:cubicBezTo>
                      <a:pt x="258" y="617"/>
                      <a:pt x="258" y="617"/>
                      <a:pt x="258" y="617"/>
                    </a:cubicBezTo>
                    <a:lnTo>
                      <a:pt x="254" y="615"/>
                    </a:lnTo>
                    <a:close/>
                    <a:moveTo>
                      <a:pt x="266" y="610"/>
                    </a:moveTo>
                    <a:cubicBezTo>
                      <a:pt x="265" y="607"/>
                      <a:pt x="265" y="607"/>
                      <a:pt x="265" y="607"/>
                    </a:cubicBezTo>
                    <a:cubicBezTo>
                      <a:pt x="259" y="610"/>
                      <a:pt x="259" y="610"/>
                      <a:pt x="259" y="610"/>
                    </a:cubicBezTo>
                    <a:cubicBezTo>
                      <a:pt x="262" y="612"/>
                      <a:pt x="262" y="612"/>
                      <a:pt x="262" y="612"/>
                    </a:cubicBezTo>
                    <a:lnTo>
                      <a:pt x="266" y="610"/>
                    </a:lnTo>
                    <a:close/>
                    <a:moveTo>
                      <a:pt x="258" y="630"/>
                    </a:moveTo>
                    <a:cubicBezTo>
                      <a:pt x="261" y="629"/>
                      <a:pt x="261" y="629"/>
                      <a:pt x="261" y="629"/>
                    </a:cubicBezTo>
                    <a:cubicBezTo>
                      <a:pt x="258" y="626"/>
                      <a:pt x="258" y="626"/>
                      <a:pt x="258" y="626"/>
                    </a:cubicBezTo>
                    <a:lnTo>
                      <a:pt x="258" y="630"/>
                    </a:lnTo>
                    <a:close/>
                    <a:moveTo>
                      <a:pt x="249" y="651"/>
                    </a:moveTo>
                    <a:cubicBezTo>
                      <a:pt x="253" y="644"/>
                      <a:pt x="253" y="644"/>
                      <a:pt x="253" y="644"/>
                    </a:cubicBezTo>
                    <a:cubicBezTo>
                      <a:pt x="250" y="643"/>
                      <a:pt x="250" y="643"/>
                      <a:pt x="250" y="643"/>
                    </a:cubicBezTo>
                    <a:cubicBezTo>
                      <a:pt x="246" y="649"/>
                      <a:pt x="246" y="649"/>
                      <a:pt x="246" y="649"/>
                    </a:cubicBezTo>
                    <a:lnTo>
                      <a:pt x="249" y="651"/>
                    </a:lnTo>
                    <a:close/>
                    <a:moveTo>
                      <a:pt x="245" y="653"/>
                    </a:moveTo>
                    <a:cubicBezTo>
                      <a:pt x="244" y="656"/>
                      <a:pt x="245" y="658"/>
                      <a:pt x="247" y="656"/>
                    </a:cubicBezTo>
                    <a:cubicBezTo>
                      <a:pt x="249" y="653"/>
                      <a:pt x="246" y="651"/>
                      <a:pt x="245" y="653"/>
                    </a:cubicBezTo>
                    <a:close/>
                    <a:moveTo>
                      <a:pt x="238" y="652"/>
                    </a:moveTo>
                    <a:cubicBezTo>
                      <a:pt x="241" y="653"/>
                      <a:pt x="241" y="653"/>
                      <a:pt x="241" y="653"/>
                    </a:cubicBezTo>
                    <a:cubicBezTo>
                      <a:pt x="243" y="649"/>
                      <a:pt x="243" y="649"/>
                      <a:pt x="243" y="649"/>
                    </a:cubicBezTo>
                    <a:cubicBezTo>
                      <a:pt x="242" y="649"/>
                      <a:pt x="242" y="649"/>
                      <a:pt x="242" y="649"/>
                    </a:cubicBezTo>
                    <a:lnTo>
                      <a:pt x="238" y="652"/>
                    </a:lnTo>
                    <a:close/>
                    <a:moveTo>
                      <a:pt x="251" y="632"/>
                    </a:moveTo>
                    <a:cubicBezTo>
                      <a:pt x="249" y="633"/>
                      <a:pt x="249" y="633"/>
                      <a:pt x="249" y="633"/>
                    </a:cubicBezTo>
                    <a:cubicBezTo>
                      <a:pt x="246" y="635"/>
                      <a:pt x="246" y="635"/>
                      <a:pt x="246" y="635"/>
                    </a:cubicBezTo>
                    <a:cubicBezTo>
                      <a:pt x="251" y="636"/>
                      <a:pt x="251" y="636"/>
                      <a:pt x="251" y="636"/>
                    </a:cubicBezTo>
                    <a:lnTo>
                      <a:pt x="251" y="632"/>
                    </a:lnTo>
                    <a:close/>
                    <a:moveTo>
                      <a:pt x="229" y="662"/>
                    </a:moveTo>
                    <a:cubicBezTo>
                      <a:pt x="229" y="664"/>
                      <a:pt x="229" y="664"/>
                      <a:pt x="229" y="664"/>
                    </a:cubicBezTo>
                    <a:cubicBezTo>
                      <a:pt x="232" y="666"/>
                      <a:pt x="232" y="666"/>
                      <a:pt x="232" y="666"/>
                    </a:cubicBezTo>
                    <a:cubicBezTo>
                      <a:pt x="231" y="661"/>
                      <a:pt x="231" y="661"/>
                      <a:pt x="231" y="661"/>
                    </a:cubicBezTo>
                    <a:lnTo>
                      <a:pt x="229" y="662"/>
                    </a:lnTo>
                    <a:close/>
                    <a:moveTo>
                      <a:pt x="246" y="562"/>
                    </a:moveTo>
                    <a:cubicBezTo>
                      <a:pt x="244" y="562"/>
                      <a:pt x="244" y="562"/>
                      <a:pt x="244" y="562"/>
                    </a:cubicBezTo>
                    <a:cubicBezTo>
                      <a:pt x="243" y="558"/>
                      <a:pt x="243" y="558"/>
                      <a:pt x="243" y="558"/>
                    </a:cubicBezTo>
                    <a:cubicBezTo>
                      <a:pt x="241" y="554"/>
                      <a:pt x="241" y="554"/>
                      <a:pt x="241" y="554"/>
                    </a:cubicBezTo>
                    <a:cubicBezTo>
                      <a:pt x="240" y="554"/>
                      <a:pt x="240" y="554"/>
                      <a:pt x="240" y="554"/>
                    </a:cubicBezTo>
                    <a:cubicBezTo>
                      <a:pt x="241" y="560"/>
                      <a:pt x="241" y="560"/>
                      <a:pt x="241" y="560"/>
                    </a:cubicBezTo>
                    <a:cubicBezTo>
                      <a:pt x="246" y="567"/>
                      <a:pt x="246" y="567"/>
                      <a:pt x="246" y="567"/>
                    </a:cubicBezTo>
                    <a:lnTo>
                      <a:pt x="246" y="562"/>
                    </a:lnTo>
                    <a:close/>
                    <a:moveTo>
                      <a:pt x="245" y="571"/>
                    </a:moveTo>
                    <a:cubicBezTo>
                      <a:pt x="248" y="572"/>
                      <a:pt x="249" y="569"/>
                      <a:pt x="246" y="569"/>
                    </a:cubicBezTo>
                    <a:cubicBezTo>
                      <a:pt x="243" y="569"/>
                      <a:pt x="243" y="571"/>
                      <a:pt x="245" y="571"/>
                    </a:cubicBezTo>
                    <a:close/>
                    <a:moveTo>
                      <a:pt x="253" y="571"/>
                    </a:moveTo>
                    <a:cubicBezTo>
                      <a:pt x="250" y="571"/>
                      <a:pt x="250" y="574"/>
                      <a:pt x="253" y="576"/>
                    </a:cubicBezTo>
                    <a:cubicBezTo>
                      <a:pt x="255" y="577"/>
                      <a:pt x="256" y="576"/>
                      <a:pt x="256" y="573"/>
                    </a:cubicBezTo>
                    <a:cubicBezTo>
                      <a:pt x="255" y="571"/>
                      <a:pt x="254" y="571"/>
                      <a:pt x="253" y="571"/>
                    </a:cubicBezTo>
                    <a:close/>
                    <a:moveTo>
                      <a:pt x="200" y="696"/>
                    </a:moveTo>
                    <a:cubicBezTo>
                      <a:pt x="199" y="693"/>
                      <a:pt x="199" y="693"/>
                      <a:pt x="199" y="693"/>
                    </a:cubicBezTo>
                    <a:cubicBezTo>
                      <a:pt x="198" y="693"/>
                      <a:pt x="198" y="693"/>
                      <a:pt x="198" y="693"/>
                    </a:cubicBezTo>
                    <a:cubicBezTo>
                      <a:pt x="198" y="699"/>
                      <a:pt x="198" y="699"/>
                      <a:pt x="198" y="699"/>
                    </a:cubicBezTo>
                    <a:cubicBezTo>
                      <a:pt x="202" y="698"/>
                      <a:pt x="202" y="698"/>
                      <a:pt x="202" y="698"/>
                    </a:cubicBezTo>
                    <a:lnTo>
                      <a:pt x="200" y="696"/>
                    </a:lnTo>
                    <a:close/>
                    <a:moveTo>
                      <a:pt x="198" y="739"/>
                    </a:moveTo>
                    <a:cubicBezTo>
                      <a:pt x="195" y="736"/>
                      <a:pt x="195" y="736"/>
                      <a:pt x="195" y="736"/>
                    </a:cubicBezTo>
                    <a:cubicBezTo>
                      <a:pt x="195" y="740"/>
                      <a:pt x="195" y="740"/>
                      <a:pt x="195" y="740"/>
                    </a:cubicBezTo>
                    <a:lnTo>
                      <a:pt x="198" y="739"/>
                    </a:lnTo>
                    <a:close/>
                    <a:moveTo>
                      <a:pt x="266" y="598"/>
                    </a:moveTo>
                    <a:cubicBezTo>
                      <a:pt x="263" y="596"/>
                      <a:pt x="263" y="596"/>
                      <a:pt x="263" y="596"/>
                    </a:cubicBezTo>
                    <a:cubicBezTo>
                      <a:pt x="261" y="598"/>
                      <a:pt x="261" y="598"/>
                      <a:pt x="261" y="598"/>
                    </a:cubicBezTo>
                    <a:lnTo>
                      <a:pt x="266" y="598"/>
                    </a:lnTo>
                    <a:close/>
                    <a:moveTo>
                      <a:pt x="205" y="485"/>
                    </a:moveTo>
                    <a:cubicBezTo>
                      <a:pt x="206" y="482"/>
                      <a:pt x="206" y="482"/>
                      <a:pt x="206" y="482"/>
                    </a:cubicBezTo>
                    <a:cubicBezTo>
                      <a:pt x="202" y="479"/>
                      <a:pt x="202" y="479"/>
                      <a:pt x="202" y="479"/>
                    </a:cubicBezTo>
                    <a:cubicBezTo>
                      <a:pt x="200" y="482"/>
                      <a:pt x="200" y="482"/>
                      <a:pt x="200" y="482"/>
                    </a:cubicBezTo>
                    <a:lnTo>
                      <a:pt x="205" y="485"/>
                    </a:lnTo>
                    <a:close/>
                    <a:moveTo>
                      <a:pt x="199" y="439"/>
                    </a:moveTo>
                    <a:cubicBezTo>
                      <a:pt x="201" y="439"/>
                      <a:pt x="201" y="439"/>
                      <a:pt x="201" y="439"/>
                    </a:cubicBezTo>
                    <a:cubicBezTo>
                      <a:pt x="200" y="432"/>
                      <a:pt x="200" y="432"/>
                      <a:pt x="200" y="432"/>
                    </a:cubicBezTo>
                    <a:cubicBezTo>
                      <a:pt x="198" y="431"/>
                      <a:pt x="198" y="431"/>
                      <a:pt x="198" y="431"/>
                    </a:cubicBezTo>
                    <a:lnTo>
                      <a:pt x="199" y="439"/>
                    </a:lnTo>
                    <a:close/>
                    <a:moveTo>
                      <a:pt x="217" y="421"/>
                    </a:moveTo>
                    <a:cubicBezTo>
                      <a:pt x="216" y="419"/>
                      <a:pt x="216" y="419"/>
                      <a:pt x="216" y="419"/>
                    </a:cubicBezTo>
                    <a:cubicBezTo>
                      <a:pt x="214" y="419"/>
                      <a:pt x="214" y="419"/>
                      <a:pt x="214" y="419"/>
                    </a:cubicBezTo>
                    <a:cubicBezTo>
                      <a:pt x="214" y="421"/>
                      <a:pt x="214" y="421"/>
                      <a:pt x="214" y="421"/>
                    </a:cubicBezTo>
                    <a:cubicBezTo>
                      <a:pt x="214" y="425"/>
                      <a:pt x="214" y="425"/>
                      <a:pt x="214" y="425"/>
                    </a:cubicBezTo>
                    <a:lnTo>
                      <a:pt x="217" y="421"/>
                    </a:lnTo>
                    <a:close/>
                    <a:moveTo>
                      <a:pt x="220" y="411"/>
                    </a:moveTo>
                    <a:cubicBezTo>
                      <a:pt x="215" y="412"/>
                      <a:pt x="214" y="415"/>
                      <a:pt x="216" y="416"/>
                    </a:cubicBezTo>
                    <a:cubicBezTo>
                      <a:pt x="220" y="418"/>
                      <a:pt x="223" y="411"/>
                      <a:pt x="220" y="411"/>
                    </a:cubicBezTo>
                    <a:close/>
                    <a:moveTo>
                      <a:pt x="234" y="392"/>
                    </a:moveTo>
                    <a:cubicBezTo>
                      <a:pt x="232" y="384"/>
                      <a:pt x="232" y="384"/>
                      <a:pt x="232" y="384"/>
                    </a:cubicBezTo>
                    <a:cubicBezTo>
                      <a:pt x="231" y="393"/>
                      <a:pt x="231" y="393"/>
                      <a:pt x="231" y="393"/>
                    </a:cubicBezTo>
                    <a:lnTo>
                      <a:pt x="234" y="392"/>
                    </a:lnTo>
                    <a:close/>
                    <a:moveTo>
                      <a:pt x="294" y="340"/>
                    </a:moveTo>
                    <a:cubicBezTo>
                      <a:pt x="294" y="343"/>
                      <a:pt x="294" y="343"/>
                      <a:pt x="294" y="343"/>
                    </a:cubicBezTo>
                    <a:cubicBezTo>
                      <a:pt x="297" y="342"/>
                      <a:pt x="297" y="342"/>
                      <a:pt x="297" y="342"/>
                    </a:cubicBezTo>
                    <a:cubicBezTo>
                      <a:pt x="296" y="336"/>
                      <a:pt x="296" y="336"/>
                      <a:pt x="296" y="336"/>
                    </a:cubicBezTo>
                    <a:lnTo>
                      <a:pt x="294" y="340"/>
                    </a:lnTo>
                    <a:close/>
                    <a:moveTo>
                      <a:pt x="293" y="335"/>
                    </a:moveTo>
                    <a:cubicBezTo>
                      <a:pt x="290" y="340"/>
                      <a:pt x="294" y="336"/>
                      <a:pt x="294" y="336"/>
                    </a:cubicBezTo>
                    <a:cubicBezTo>
                      <a:pt x="296" y="333"/>
                      <a:pt x="295" y="331"/>
                      <a:pt x="293" y="335"/>
                    </a:cubicBezTo>
                    <a:close/>
                    <a:moveTo>
                      <a:pt x="298" y="236"/>
                    </a:moveTo>
                    <a:cubicBezTo>
                      <a:pt x="300" y="240"/>
                      <a:pt x="300" y="240"/>
                      <a:pt x="300" y="240"/>
                    </a:cubicBezTo>
                    <a:cubicBezTo>
                      <a:pt x="306" y="242"/>
                      <a:pt x="306" y="242"/>
                      <a:pt x="306" y="242"/>
                    </a:cubicBezTo>
                    <a:cubicBezTo>
                      <a:pt x="307" y="241"/>
                      <a:pt x="307" y="241"/>
                      <a:pt x="307" y="241"/>
                    </a:cubicBezTo>
                    <a:cubicBezTo>
                      <a:pt x="304" y="239"/>
                      <a:pt x="304" y="239"/>
                      <a:pt x="304" y="239"/>
                    </a:cubicBezTo>
                    <a:cubicBezTo>
                      <a:pt x="305" y="236"/>
                      <a:pt x="305" y="236"/>
                      <a:pt x="305" y="236"/>
                    </a:cubicBezTo>
                    <a:cubicBezTo>
                      <a:pt x="303" y="235"/>
                      <a:pt x="303" y="235"/>
                      <a:pt x="303" y="235"/>
                    </a:cubicBezTo>
                    <a:cubicBezTo>
                      <a:pt x="302" y="237"/>
                      <a:pt x="302" y="237"/>
                      <a:pt x="302" y="237"/>
                    </a:cubicBezTo>
                    <a:cubicBezTo>
                      <a:pt x="302" y="235"/>
                      <a:pt x="302" y="235"/>
                      <a:pt x="302" y="235"/>
                    </a:cubicBezTo>
                    <a:lnTo>
                      <a:pt x="298" y="236"/>
                    </a:lnTo>
                    <a:close/>
                    <a:moveTo>
                      <a:pt x="312" y="222"/>
                    </a:moveTo>
                    <a:cubicBezTo>
                      <a:pt x="315" y="226"/>
                      <a:pt x="315" y="226"/>
                      <a:pt x="315" y="226"/>
                    </a:cubicBezTo>
                    <a:cubicBezTo>
                      <a:pt x="314" y="221"/>
                      <a:pt x="314" y="221"/>
                      <a:pt x="314" y="221"/>
                    </a:cubicBezTo>
                    <a:lnTo>
                      <a:pt x="312" y="222"/>
                    </a:lnTo>
                    <a:close/>
                    <a:moveTo>
                      <a:pt x="320" y="227"/>
                    </a:moveTo>
                    <a:cubicBezTo>
                      <a:pt x="322" y="224"/>
                      <a:pt x="322" y="224"/>
                      <a:pt x="322" y="224"/>
                    </a:cubicBezTo>
                    <a:cubicBezTo>
                      <a:pt x="317" y="225"/>
                      <a:pt x="317" y="225"/>
                      <a:pt x="317" y="225"/>
                    </a:cubicBezTo>
                    <a:lnTo>
                      <a:pt x="320" y="227"/>
                    </a:lnTo>
                    <a:close/>
                    <a:moveTo>
                      <a:pt x="322" y="222"/>
                    </a:moveTo>
                    <a:cubicBezTo>
                      <a:pt x="326" y="222"/>
                      <a:pt x="326" y="222"/>
                      <a:pt x="326" y="222"/>
                    </a:cubicBezTo>
                    <a:cubicBezTo>
                      <a:pt x="326" y="221"/>
                      <a:pt x="326" y="221"/>
                      <a:pt x="326" y="221"/>
                    </a:cubicBezTo>
                    <a:cubicBezTo>
                      <a:pt x="322" y="220"/>
                      <a:pt x="322" y="220"/>
                      <a:pt x="322" y="220"/>
                    </a:cubicBezTo>
                    <a:lnTo>
                      <a:pt x="322" y="222"/>
                    </a:lnTo>
                    <a:close/>
                    <a:moveTo>
                      <a:pt x="325" y="217"/>
                    </a:moveTo>
                    <a:cubicBezTo>
                      <a:pt x="326" y="213"/>
                      <a:pt x="326" y="213"/>
                      <a:pt x="326" y="213"/>
                    </a:cubicBezTo>
                    <a:cubicBezTo>
                      <a:pt x="322" y="215"/>
                      <a:pt x="322" y="215"/>
                      <a:pt x="322" y="215"/>
                    </a:cubicBezTo>
                    <a:lnTo>
                      <a:pt x="325" y="217"/>
                    </a:lnTo>
                    <a:close/>
                    <a:moveTo>
                      <a:pt x="319" y="219"/>
                    </a:moveTo>
                    <a:cubicBezTo>
                      <a:pt x="317" y="218"/>
                      <a:pt x="315" y="219"/>
                      <a:pt x="315" y="219"/>
                    </a:cubicBezTo>
                    <a:cubicBezTo>
                      <a:pt x="315" y="219"/>
                      <a:pt x="314" y="220"/>
                      <a:pt x="316" y="221"/>
                    </a:cubicBezTo>
                    <a:cubicBezTo>
                      <a:pt x="319" y="221"/>
                      <a:pt x="320" y="220"/>
                      <a:pt x="319" y="219"/>
                    </a:cubicBezTo>
                    <a:close/>
                    <a:moveTo>
                      <a:pt x="354" y="202"/>
                    </a:moveTo>
                    <a:cubicBezTo>
                      <a:pt x="356" y="202"/>
                      <a:pt x="356" y="202"/>
                      <a:pt x="356" y="202"/>
                    </a:cubicBezTo>
                    <a:cubicBezTo>
                      <a:pt x="356" y="200"/>
                      <a:pt x="356" y="200"/>
                      <a:pt x="356" y="200"/>
                    </a:cubicBezTo>
                    <a:cubicBezTo>
                      <a:pt x="354" y="200"/>
                      <a:pt x="354" y="200"/>
                      <a:pt x="354" y="200"/>
                    </a:cubicBezTo>
                    <a:lnTo>
                      <a:pt x="354" y="202"/>
                    </a:ln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31" name="Spain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2852738" y="4773613"/>
                <a:ext cx="1344612" cy="1111250"/>
              </a:xfrm>
              <a:custGeom>
                <a:avLst/>
                <a:gdLst/>
                <a:ahLst/>
                <a:cxnLst>
                  <a:cxn ang="0">
                    <a:pos x="482" y="410"/>
                  </a:cxn>
                  <a:cxn ang="0">
                    <a:pos x="472" y="381"/>
                  </a:cxn>
                  <a:cxn ang="0">
                    <a:pos x="474" y="395"/>
                  </a:cxn>
                  <a:cxn ang="0">
                    <a:pos x="484" y="379"/>
                  </a:cxn>
                  <a:cxn ang="0">
                    <a:pos x="576" y="333"/>
                  </a:cxn>
                  <a:cxn ang="0">
                    <a:pos x="530" y="360"/>
                  </a:cxn>
                  <a:cxn ang="0">
                    <a:pos x="560" y="372"/>
                  </a:cxn>
                  <a:cxn ang="0">
                    <a:pos x="584" y="358"/>
                  </a:cxn>
                  <a:cxn ang="0">
                    <a:pos x="575" y="348"/>
                  </a:cxn>
                  <a:cxn ang="0">
                    <a:pos x="506" y="163"/>
                  </a:cxn>
                  <a:cxn ang="0">
                    <a:pos x="494" y="147"/>
                  </a:cxn>
                  <a:cxn ang="0">
                    <a:pos x="456" y="138"/>
                  </a:cxn>
                  <a:cxn ang="0">
                    <a:pos x="417" y="128"/>
                  </a:cxn>
                  <a:cxn ang="0">
                    <a:pos x="406" y="115"/>
                  </a:cxn>
                  <a:cxn ang="0">
                    <a:pos x="369" y="104"/>
                  </a:cxn>
                  <a:cxn ang="0">
                    <a:pos x="364" y="86"/>
                  </a:cxn>
                  <a:cxn ang="0">
                    <a:pos x="297" y="75"/>
                  </a:cxn>
                  <a:cxn ang="0">
                    <a:pos x="262" y="62"/>
                  </a:cxn>
                  <a:cxn ang="0">
                    <a:pos x="178" y="37"/>
                  </a:cxn>
                  <a:cxn ang="0">
                    <a:pos x="115" y="21"/>
                  </a:cxn>
                  <a:cxn ang="0">
                    <a:pos x="89" y="10"/>
                  </a:cxn>
                  <a:cxn ang="0">
                    <a:pos x="69" y="1"/>
                  </a:cxn>
                  <a:cxn ang="0">
                    <a:pos x="62" y="17"/>
                  </a:cxn>
                  <a:cxn ang="0">
                    <a:pos x="16" y="19"/>
                  </a:cxn>
                  <a:cxn ang="0">
                    <a:pos x="5" y="37"/>
                  </a:cxn>
                  <a:cxn ang="0">
                    <a:pos x="3" y="58"/>
                  </a:cxn>
                  <a:cxn ang="0">
                    <a:pos x="14" y="69"/>
                  </a:cxn>
                  <a:cxn ang="0">
                    <a:pos x="7" y="78"/>
                  </a:cxn>
                  <a:cxn ang="0">
                    <a:pos x="11" y="87"/>
                  </a:cxn>
                  <a:cxn ang="0">
                    <a:pos x="16" y="98"/>
                  </a:cxn>
                  <a:cxn ang="0">
                    <a:pos x="41" y="107"/>
                  </a:cxn>
                  <a:cxn ang="0">
                    <a:pos x="63" y="126"/>
                  </a:cxn>
                  <a:cxn ang="0">
                    <a:pos x="100" y="128"/>
                  </a:cxn>
                  <a:cxn ang="0">
                    <a:pos x="112" y="150"/>
                  </a:cxn>
                  <a:cxn ang="0">
                    <a:pos x="90" y="185"/>
                  </a:cxn>
                  <a:cxn ang="0">
                    <a:pos x="74" y="235"/>
                  </a:cxn>
                  <a:cxn ang="0">
                    <a:pos x="59" y="270"/>
                  </a:cxn>
                  <a:cxn ang="0">
                    <a:pos x="46" y="306"/>
                  </a:cxn>
                  <a:cxn ang="0">
                    <a:pos x="34" y="364"/>
                  </a:cxn>
                  <a:cxn ang="0">
                    <a:pos x="21" y="384"/>
                  </a:cxn>
                  <a:cxn ang="0">
                    <a:pos x="23" y="428"/>
                  </a:cxn>
                  <a:cxn ang="0">
                    <a:pos x="32" y="433"/>
                  </a:cxn>
                  <a:cxn ang="0">
                    <a:pos x="50" y="466"/>
                  </a:cxn>
                  <a:cxn ang="0">
                    <a:pos x="60" y="483"/>
                  </a:cxn>
                  <a:cxn ang="0">
                    <a:pos x="72" y="507"/>
                  </a:cxn>
                  <a:cxn ang="0">
                    <a:pos x="95" y="520"/>
                  </a:cxn>
                  <a:cxn ang="0">
                    <a:pos x="141" y="498"/>
                  </a:cxn>
                  <a:cxn ang="0">
                    <a:pos x="217" y="498"/>
                  </a:cxn>
                  <a:cxn ang="0">
                    <a:pos x="284" y="500"/>
                  </a:cxn>
                  <a:cxn ang="0">
                    <a:pos x="324" y="462"/>
                  </a:cxn>
                  <a:cxn ang="0">
                    <a:pos x="359" y="455"/>
                  </a:cxn>
                  <a:cxn ang="0">
                    <a:pos x="367" y="428"/>
                  </a:cxn>
                  <a:cxn ang="0">
                    <a:pos x="404" y="403"/>
                  </a:cxn>
                  <a:cxn ang="0">
                    <a:pos x="415" y="317"/>
                  </a:cxn>
                  <a:cxn ang="0">
                    <a:pos x="453" y="277"/>
                  </a:cxn>
                  <a:cxn ang="0">
                    <a:pos x="457" y="277"/>
                  </a:cxn>
                  <a:cxn ang="0">
                    <a:pos x="484" y="248"/>
                  </a:cxn>
                  <a:cxn ang="0">
                    <a:pos x="589" y="199"/>
                  </a:cxn>
                  <a:cxn ang="0">
                    <a:pos x="590" y="174"/>
                  </a:cxn>
                  <a:cxn ang="0">
                    <a:pos x="551" y="171"/>
                  </a:cxn>
                  <a:cxn ang="0">
                    <a:pos x="519" y="161"/>
                  </a:cxn>
                  <a:cxn ang="0">
                    <a:pos x="617" y="340"/>
                  </a:cxn>
                </a:cxnLst>
                <a:rect l="0" t="0" r="r" b="b"/>
                <a:pathLst>
                  <a:path w="631" h="522">
                    <a:moveTo>
                      <a:pt x="476" y="401"/>
                    </a:moveTo>
                    <a:cubicBezTo>
                      <a:pt x="474" y="405"/>
                      <a:pt x="474" y="405"/>
                      <a:pt x="474" y="405"/>
                    </a:cubicBezTo>
                    <a:cubicBezTo>
                      <a:pt x="475" y="410"/>
                      <a:pt x="475" y="410"/>
                      <a:pt x="475" y="410"/>
                    </a:cubicBezTo>
                    <a:cubicBezTo>
                      <a:pt x="478" y="407"/>
                      <a:pt x="478" y="407"/>
                      <a:pt x="478" y="407"/>
                    </a:cubicBezTo>
                    <a:cubicBezTo>
                      <a:pt x="482" y="410"/>
                      <a:pt x="482" y="410"/>
                      <a:pt x="482" y="410"/>
                    </a:cubicBezTo>
                    <a:cubicBezTo>
                      <a:pt x="484" y="408"/>
                      <a:pt x="484" y="408"/>
                      <a:pt x="484" y="408"/>
                    </a:cubicBezTo>
                    <a:cubicBezTo>
                      <a:pt x="480" y="406"/>
                      <a:pt x="480" y="406"/>
                      <a:pt x="480" y="406"/>
                    </a:cubicBezTo>
                    <a:lnTo>
                      <a:pt x="476" y="401"/>
                    </a:lnTo>
                    <a:close/>
                    <a:moveTo>
                      <a:pt x="484" y="379"/>
                    </a:moveTo>
                    <a:cubicBezTo>
                      <a:pt x="480" y="379"/>
                      <a:pt x="472" y="381"/>
                      <a:pt x="472" y="381"/>
                    </a:cubicBezTo>
                    <a:cubicBezTo>
                      <a:pt x="473" y="387"/>
                      <a:pt x="473" y="387"/>
                      <a:pt x="473" y="387"/>
                    </a:cubicBezTo>
                    <a:cubicBezTo>
                      <a:pt x="468" y="388"/>
                      <a:pt x="468" y="388"/>
                      <a:pt x="468" y="388"/>
                    </a:cubicBezTo>
                    <a:cubicBezTo>
                      <a:pt x="467" y="393"/>
                      <a:pt x="467" y="393"/>
                      <a:pt x="467" y="393"/>
                    </a:cubicBezTo>
                    <a:cubicBezTo>
                      <a:pt x="472" y="396"/>
                      <a:pt x="472" y="396"/>
                      <a:pt x="472" y="396"/>
                    </a:cubicBezTo>
                    <a:cubicBezTo>
                      <a:pt x="474" y="395"/>
                      <a:pt x="474" y="395"/>
                      <a:pt x="474" y="395"/>
                    </a:cubicBezTo>
                    <a:cubicBezTo>
                      <a:pt x="475" y="397"/>
                      <a:pt x="475" y="397"/>
                      <a:pt x="475" y="397"/>
                    </a:cubicBezTo>
                    <a:cubicBezTo>
                      <a:pt x="477" y="392"/>
                      <a:pt x="477" y="392"/>
                      <a:pt x="477" y="392"/>
                    </a:cubicBezTo>
                    <a:cubicBezTo>
                      <a:pt x="480" y="392"/>
                      <a:pt x="480" y="392"/>
                      <a:pt x="480" y="392"/>
                    </a:cubicBezTo>
                    <a:cubicBezTo>
                      <a:pt x="488" y="387"/>
                      <a:pt x="488" y="387"/>
                      <a:pt x="488" y="387"/>
                    </a:cubicBezTo>
                    <a:cubicBezTo>
                      <a:pt x="488" y="387"/>
                      <a:pt x="490" y="379"/>
                      <a:pt x="484" y="379"/>
                    </a:cubicBezTo>
                    <a:close/>
                    <a:moveTo>
                      <a:pt x="575" y="348"/>
                    </a:moveTo>
                    <a:cubicBezTo>
                      <a:pt x="572" y="347"/>
                      <a:pt x="571" y="342"/>
                      <a:pt x="571" y="342"/>
                    </a:cubicBezTo>
                    <a:cubicBezTo>
                      <a:pt x="575" y="338"/>
                      <a:pt x="575" y="338"/>
                      <a:pt x="575" y="338"/>
                    </a:cubicBezTo>
                    <a:cubicBezTo>
                      <a:pt x="572" y="338"/>
                      <a:pt x="572" y="338"/>
                      <a:pt x="572" y="338"/>
                    </a:cubicBezTo>
                    <a:cubicBezTo>
                      <a:pt x="576" y="333"/>
                      <a:pt x="576" y="333"/>
                      <a:pt x="576" y="333"/>
                    </a:cubicBezTo>
                    <a:cubicBezTo>
                      <a:pt x="576" y="333"/>
                      <a:pt x="565" y="333"/>
                      <a:pt x="555" y="337"/>
                    </a:cubicBezTo>
                    <a:cubicBezTo>
                      <a:pt x="545" y="341"/>
                      <a:pt x="541" y="348"/>
                      <a:pt x="541" y="348"/>
                    </a:cubicBezTo>
                    <a:cubicBezTo>
                      <a:pt x="538" y="347"/>
                      <a:pt x="538" y="347"/>
                      <a:pt x="538" y="347"/>
                    </a:cubicBezTo>
                    <a:cubicBezTo>
                      <a:pt x="530" y="352"/>
                      <a:pt x="530" y="352"/>
                      <a:pt x="530" y="352"/>
                    </a:cubicBezTo>
                    <a:cubicBezTo>
                      <a:pt x="530" y="360"/>
                      <a:pt x="530" y="360"/>
                      <a:pt x="530" y="360"/>
                    </a:cubicBezTo>
                    <a:cubicBezTo>
                      <a:pt x="534" y="358"/>
                      <a:pt x="534" y="358"/>
                      <a:pt x="534" y="358"/>
                    </a:cubicBezTo>
                    <a:cubicBezTo>
                      <a:pt x="534" y="358"/>
                      <a:pt x="537" y="363"/>
                      <a:pt x="538" y="363"/>
                    </a:cubicBezTo>
                    <a:cubicBezTo>
                      <a:pt x="540" y="363"/>
                      <a:pt x="541" y="358"/>
                      <a:pt x="545" y="358"/>
                    </a:cubicBezTo>
                    <a:cubicBezTo>
                      <a:pt x="550" y="359"/>
                      <a:pt x="547" y="363"/>
                      <a:pt x="550" y="369"/>
                    </a:cubicBezTo>
                    <a:cubicBezTo>
                      <a:pt x="555" y="374"/>
                      <a:pt x="560" y="372"/>
                      <a:pt x="560" y="372"/>
                    </a:cubicBezTo>
                    <a:cubicBezTo>
                      <a:pt x="563" y="378"/>
                      <a:pt x="563" y="378"/>
                      <a:pt x="563" y="378"/>
                    </a:cubicBezTo>
                    <a:cubicBezTo>
                      <a:pt x="568" y="376"/>
                      <a:pt x="568" y="376"/>
                      <a:pt x="568" y="376"/>
                    </a:cubicBezTo>
                    <a:cubicBezTo>
                      <a:pt x="568" y="376"/>
                      <a:pt x="571" y="375"/>
                      <a:pt x="574" y="373"/>
                    </a:cubicBezTo>
                    <a:cubicBezTo>
                      <a:pt x="577" y="371"/>
                      <a:pt x="577" y="365"/>
                      <a:pt x="577" y="365"/>
                    </a:cubicBezTo>
                    <a:cubicBezTo>
                      <a:pt x="584" y="358"/>
                      <a:pt x="584" y="358"/>
                      <a:pt x="584" y="358"/>
                    </a:cubicBezTo>
                    <a:cubicBezTo>
                      <a:pt x="583" y="357"/>
                      <a:pt x="583" y="357"/>
                      <a:pt x="583" y="357"/>
                    </a:cubicBezTo>
                    <a:cubicBezTo>
                      <a:pt x="586" y="357"/>
                      <a:pt x="586" y="357"/>
                      <a:pt x="586" y="357"/>
                    </a:cubicBezTo>
                    <a:cubicBezTo>
                      <a:pt x="589" y="349"/>
                      <a:pt x="589" y="349"/>
                      <a:pt x="589" y="349"/>
                    </a:cubicBezTo>
                    <a:cubicBezTo>
                      <a:pt x="582" y="344"/>
                      <a:pt x="582" y="344"/>
                      <a:pt x="582" y="344"/>
                    </a:cubicBezTo>
                    <a:cubicBezTo>
                      <a:pt x="582" y="344"/>
                      <a:pt x="579" y="348"/>
                      <a:pt x="575" y="348"/>
                    </a:cubicBezTo>
                    <a:close/>
                    <a:moveTo>
                      <a:pt x="520" y="161"/>
                    </a:moveTo>
                    <a:cubicBezTo>
                      <a:pt x="520" y="161"/>
                      <a:pt x="516" y="165"/>
                      <a:pt x="515" y="165"/>
                    </a:cubicBezTo>
                    <a:cubicBezTo>
                      <a:pt x="514" y="165"/>
                      <a:pt x="513" y="164"/>
                      <a:pt x="513" y="164"/>
                    </a:cubicBezTo>
                    <a:cubicBezTo>
                      <a:pt x="509" y="167"/>
                      <a:pt x="509" y="167"/>
                      <a:pt x="509" y="167"/>
                    </a:cubicBezTo>
                    <a:cubicBezTo>
                      <a:pt x="506" y="163"/>
                      <a:pt x="506" y="163"/>
                      <a:pt x="506" y="163"/>
                    </a:cubicBezTo>
                    <a:cubicBezTo>
                      <a:pt x="503" y="160"/>
                      <a:pt x="503" y="160"/>
                      <a:pt x="503" y="160"/>
                    </a:cubicBezTo>
                    <a:cubicBezTo>
                      <a:pt x="506" y="156"/>
                      <a:pt x="506" y="156"/>
                      <a:pt x="506" y="156"/>
                    </a:cubicBezTo>
                    <a:cubicBezTo>
                      <a:pt x="508" y="152"/>
                      <a:pt x="508" y="152"/>
                      <a:pt x="508" y="152"/>
                    </a:cubicBezTo>
                    <a:cubicBezTo>
                      <a:pt x="508" y="152"/>
                      <a:pt x="507" y="148"/>
                      <a:pt x="504" y="145"/>
                    </a:cubicBezTo>
                    <a:cubicBezTo>
                      <a:pt x="501" y="144"/>
                      <a:pt x="494" y="147"/>
                      <a:pt x="494" y="147"/>
                    </a:cubicBezTo>
                    <a:cubicBezTo>
                      <a:pt x="494" y="147"/>
                      <a:pt x="489" y="140"/>
                      <a:pt x="488" y="139"/>
                    </a:cubicBezTo>
                    <a:cubicBezTo>
                      <a:pt x="486" y="137"/>
                      <a:pt x="481" y="138"/>
                      <a:pt x="481" y="138"/>
                    </a:cubicBezTo>
                    <a:cubicBezTo>
                      <a:pt x="481" y="138"/>
                      <a:pt x="477" y="134"/>
                      <a:pt x="472" y="134"/>
                    </a:cubicBezTo>
                    <a:cubicBezTo>
                      <a:pt x="466" y="134"/>
                      <a:pt x="472" y="141"/>
                      <a:pt x="467" y="143"/>
                    </a:cubicBezTo>
                    <a:cubicBezTo>
                      <a:pt x="462" y="147"/>
                      <a:pt x="456" y="138"/>
                      <a:pt x="456" y="138"/>
                    </a:cubicBezTo>
                    <a:cubicBezTo>
                      <a:pt x="456" y="138"/>
                      <a:pt x="455" y="142"/>
                      <a:pt x="452" y="142"/>
                    </a:cubicBezTo>
                    <a:cubicBezTo>
                      <a:pt x="451" y="142"/>
                      <a:pt x="451" y="139"/>
                      <a:pt x="448" y="137"/>
                    </a:cubicBezTo>
                    <a:cubicBezTo>
                      <a:pt x="446" y="135"/>
                      <a:pt x="435" y="139"/>
                      <a:pt x="435" y="139"/>
                    </a:cubicBezTo>
                    <a:cubicBezTo>
                      <a:pt x="425" y="127"/>
                      <a:pt x="425" y="127"/>
                      <a:pt x="425" y="127"/>
                    </a:cubicBezTo>
                    <a:cubicBezTo>
                      <a:pt x="417" y="128"/>
                      <a:pt x="417" y="128"/>
                      <a:pt x="417" y="128"/>
                    </a:cubicBezTo>
                    <a:cubicBezTo>
                      <a:pt x="416" y="127"/>
                      <a:pt x="416" y="127"/>
                      <a:pt x="416" y="127"/>
                    </a:cubicBezTo>
                    <a:cubicBezTo>
                      <a:pt x="412" y="131"/>
                      <a:pt x="412" y="131"/>
                      <a:pt x="412" y="131"/>
                    </a:cubicBezTo>
                    <a:cubicBezTo>
                      <a:pt x="406" y="122"/>
                      <a:pt x="406" y="122"/>
                      <a:pt x="406" y="122"/>
                    </a:cubicBezTo>
                    <a:cubicBezTo>
                      <a:pt x="408" y="116"/>
                      <a:pt x="408" y="116"/>
                      <a:pt x="408" y="116"/>
                    </a:cubicBezTo>
                    <a:cubicBezTo>
                      <a:pt x="406" y="115"/>
                      <a:pt x="406" y="115"/>
                      <a:pt x="406" y="115"/>
                    </a:cubicBezTo>
                    <a:cubicBezTo>
                      <a:pt x="397" y="117"/>
                      <a:pt x="397" y="117"/>
                      <a:pt x="397" y="117"/>
                    </a:cubicBezTo>
                    <a:cubicBezTo>
                      <a:pt x="380" y="106"/>
                      <a:pt x="380" y="106"/>
                      <a:pt x="380" y="106"/>
                    </a:cubicBezTo>
                    <a:cubicBezTo>
                      <a:pt x="380" y="102"/>
                      <a:pt x="380" y="102"/>
                      <a:pt x="380" y="102"/>
                    </a:cubicBezTo>
                    <a:cubicBezTo>
                      <a:pt x="375" y="108"/>
                      <a:pt x="375" y="108"/>
                      <a:pt x="375" y="108"/>
                    </a:cubicBezTo>
                    <a:cubicBezTo>
                      <a:pt x="375" y="108"/>
                      <a:pt x="371" y="107"/>
                      <a:pt x="369" y="104"/>
                    </a:cubicBezTo>
                    <a:cubicBezTo>
                      <a:pt x="367" y="102"/>
                      <a:pt x="370" y="101"/>
                      <a:pt x="374" y="100"/>
                    </a:cubicBezTo>
                    <a:cubicBezTo>
                      <a:pt x="377" y="100"/>
                      <a:pt x="376" y="91"/>
                      <a:pt x="376" y="91"/>
                    </a:cubicBezTo>
                    <a:cubicBezTo>
                      <a:pt x="370" y="89"/>
                      <a:pt x="370" y="89"/>
                      <a:pt x="370" y="89"/>
                    </a:cubicBezTo>
                    <a:cubicBezTo>
                      <a:pt x="370" y="89"/>
                      <a:pt x="367" y="91"/>
                      <a:pt x="365" y="90"/>
                    </a:cubicBezTo>
                    <a:cubicBezTo>
                      <a:pt x="363" y="89"/>
                      <a:pt x="364" y="86"/>
                      <a:pt x="364" y="86"/>
                    </a:cubicBezTo>
                    <a:cubicBezTo>
                      <a:pt x="360" y="86"/>
                      <a:pt x="360" y="86"/>
                      <a:pt x="360" y="86"/>
                    </a:cubicBezTo>
                    <a:cubicBezTo>
                      <a:pt x="360" y="86"/>
                      <a:pt x="357" y="81"/>
                      <a:pt x="358" y="81"/>
                    </a:cubicBezTo>
                    <a:cubicBezTo>
                      <a:pt x="335" y="84"/>
                      <a:pt x="335" y="84"/>
                      <a:pt x="335" y="84"/>
                    </a:cubicBezTo>
                    <a:cubicBezTo>
                      <a:pt x="335" y="84"/>
                      <a:pt x="314" y="70"/>
                      <a:pt x="306" y="70"/>
                    </a:cubicBezTo>
                    <a:cubicBezTo>
                      <a:pt x="300" y="71"/>
                      <a:pt x="297" y="75"/>
                      <a:pt x="297" y="75"/>
                    </a:cubicBezTo>
                    <a:cubicBezTo>
                      <a:pt x="286" y="66"/>
                      <a:pt x="286" y="66"/>
                      <a:pt x="286" y="66"/>
                    </a:cubicBezTo>
                    <a:cubicBezTo>
                      <a:pt x="280" y="66"/>
                      <a:pt x="280" y="66"/>
                      <a:pt x="280" y="66"/>
                    </a:cubicBezTo>
                    <a:cubicBezTo>
                      <a:pt x="281" y="62"/>
                      <a:pt x="281" y="62"/>
                      <a:pt x="281" y="62"/>
                    </a:cubicBezTo>
                    <a:cubicBezTo>
                      <a:pt x="276" y="59"/>
                      <a:pt x="276" y="59"/>
                      <a:pt x="276" y="59"/>
                    </a:cubicBezTo>
                    <a:cubicBezTo>
                      <a:pt x="262" y="62"/>
                      <a:pt x="262" y="62"/>
                      <a:pt x="262" y="62"/>
                    </a:cubicBezTo>
                    <a:cubicBezTo>
                      <a:pt x="265" y="59"/>
                      <a:pt x="265" y="59"/>
                      <a:pt x="265" y="59"/>
                    </a:cubicBezTo>
                    <a:cubicBezTo>
                      <a:pt x="262" y="57"/>
                      <a:pt x="262" y="57"/>
                      <a:pt x="262" y="57"/>
                    </a:cubicBezTo>
                    <a:cubicBezTo>
                      <a:pt x="231" y="59"/>
                      <a:pt x="231" y="59"/>
                      <a:pt x="231" y="59"/>
                    </a:cubicBezTo>
                    <a:cubicBezTo>
                      <a:pt x="197" y="42"/>
                      <a:pt x="197" y="42"/>
                      <a:pt x="197" y="42"/>
                    </a:cubicBezTo>
                    <a:cubicBezTo>
                      <a:pt x="178" y="37"/>
                      <a:pt x="178" y="37"/>
                      <a:pt x="178" y="37"/>
                    </a:cubicBezTo>
                    <a:cubicBezTo>
                      <a:pt x="178" y="37"/>
                      <a:pt x="177" y="29"/>
                      <a:pt x="171" y="28"/>
                    </a:cubicBezTo>
                    <a:cubicBezTo>
                      <a:pt x="166" y="27"/>
                      <a:pt x="161" y="31"/>
                      <a:pt x="161" y="31"/>
                    </a:cubicBezTo>
                    <a:cubicBezTo>
                      <a:pt x="152" y="26"/>
                      <a:pt x="152" y="26"/>
                      <a:pt x="152" y="26"/>
                    </a:cubicBezTo>
                    <a:cubicBezTo>
                      <a:pt x="136" y="27"/>
                      <a:pt x="136" y="27"/>
                      <a:pt x="136" y="27"/>
                    </a:cubicBezTo>
                    <a:cubicBezTo>
                      <a:pt x="115" y="21"/>
                      <a:pt x="115" y="21"/>
                      <a:pt x="115" y="21"/>
                    </a:cubicBezTo>
                    <a:cubicBezTo>
                      <a:pt x="111" y="26"/>
                      <a:pt x="111" y="26"/>
                      <a:pt x="111" y="26"/>
                    </a:cubicBezTo>
                    <a:cubicBezTo>
                      <a:pt x="112" y="22"/>
                      <a:pt x="112" y="22"/>
                      <a:pt x="112" y="22"/>
                    </a:cubicBezTo>
                    <a:cubicBezTo>
                      <a:pt x="103" y="18"/>
                      <a:pt x="103" y="18"/>
                      <a:pt x="103" y="18"/>
                    </a:cubicBezTo>
                    <a:cubicBezTo>
                      <a:pt x="103" y="18"/>
                      <a:pt x="99" y="8"/>
                      <a:pt x="96" y="7"/>
                    </a:cubicBezTo>
                    <a:cubicBezTo>
                      <a:pt x="92" y="6"/>
                      <a:pt x="89" y="10"/>
                      <a:pt x="89" y="10"/>
                    </a:cubicBezTo>
                    <a:cubicBezTo>
                      <a:pt x="88" y="5"/>
                      <a:pt x="88" y="5"/>
                      <a:pt x="88" y="5"/>
                    </a:cubicBezTo>
                    <a:cubicBezTo>
                      <a:pt x="83" y="2"/>
                      <a:pt x="83" y="2"/>
                      <a:pt x="83" y="2"/>
                    </a:cubicBezTo>
                    <a:cubicBezTo>
                      <a:pt x="75" y="5"/>
                      <a:pt x="75" y="5"/>
                      <a:pt x="75" y="5"/>
                    </a:cubicBezTo>
                    <a:cubicBezTo>
                      <a:pt x="79" y="0"/>
                      <a:pt x="79" y="0"/>
                      <a:pt x="79" y="0"/>
                    </a:cubicBezTo>
                    <a:cubicBezTo>
                      <a:pt x="69" y="1"/>
                      <a:pt x="69" y="1"/>
                      <a:pt x="69" y="1"/>
                    </a:cubicBezTo>
                    <a:cubicBezTo>
                      <a:pt x="68" y="5"/>
                      <a:pt x="68" y="5"/>
                      <a:pt x="68" y="5"/>
                    </a:cubicBezTo>
                    <a:cubicBezTo>
                      <a:pt x="68" y="5"/>
                      <a:pt x="63" y="5"/>
                      <a:pt x="57" y="8"/>
                    </a:cubicBezTo>
                    <a:cubicBezTo>
                      <a:pt x="53" y="11"/>
                      <a:pt x="55" y="14"/>
                      <a:pt x="55" y="14"/>
                    </a:cubicBezTo>
                    <a:cubicBezTo>
                      <a:pt x="54" y="17"/>
                      <a:pt x="54" y="17"/>
                      <a:pt x="54" y="17"/>
                    </a:cubicBezTo>
                    <a:cubicBezTo>
                      <a:pt x="62" y="17"/>
                      <a:pt x="62" y="17"/>
                      <a:pt x="62" y="17"/>
                    </a:cubicBezTo>
                    <a:cubicBezTo>
                      <a:pt x="55" y="24"/>
                      <a:pt x="55" y="24"/>
                      <a:pt x="55" y="24"/>
                    </a:cubicBezTo>
                    <a:cubicBezTo>
                      <a:pt x="52" y="18"/>
                      <a:pt x="52" y="18"/>
                      <a:pt x="52" y="18"/>
                    </a:cubicBezTo>
                    <a:cubicBezTo>
                      <a:pt x="33" y="19"/>
                      <a:pt x="33" y="19"/>
                      <a:pt x="33" y="19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16" y="19"/>
                      <a:pt x="16" y="19"/>
                      <a:pt x="16" y="19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8" y="25"/>
                      <a:pt x="8" y="25"/>
                      <a:pt x="8" y="25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5" y="37"/>
                      <a:pt x="5" y="37"/>
                      <a:pt x="5" y="37"/>
                    </a:cubicBezTo>
                    <a:cubicBezTo>
                      <a:pt x="5" y="48"/>
                      <a:pt x="5" y="48"/>
                      <a:pt x="5" y="48"/>
                    </a:cubicBezTo>
                    <a:cubicBezTo>
                      <a:pt x="16" y="45"/>
                      <a:pt x="16" y="45"/>
                      <a:pt x="16" y="45"/>
                    </a:cubicBezTo>
                    <a:cubicBezTo>
                      <a:pt x="15" y="50"/>
                      <a:pt x="15" y="50"/>
                      <a:pt x="15" y="50"/>
                    </a:cubicBezTo>
                    <a:cubicBezTo>
                      <a:pt x="8" y="52"/>
                      <a:pt x="8" y="52"/>
                      <a:pt x="8" y="52"/>
                    </a:cubicBezTo>
                    <a:cubicBezTo>
                      <a:pt x="3" y="58"/>
                      <a:pt x="3" y="58"/>
                      <a:pt x="3" y="58"/>
                    </a:cubicBezTo>
                    <a:cubicBezTo>
                      <a:pt x="6" y="63"/>
                      <a:pt x="6" y="63"/>
                      <a:pt x="6" y="63"/>
                    </a:cubicBezTo>
                    <a:cubicBezTo>
                      <a:pt x="22" y="56"/>
                      <a:pt x="22" y="56"/>
                      <a:pt x="22" y="56"/>
                    </a:cubicBezTo>
                    <a:cubicBezTo>
                      <a:pt x="17" y="62"/>
                      <a:pt x="17" y="62"/>
                      <a:pt x="17" y="62"/>
                    </a:cubicBezTo>
                    <a:cubicBezTo>
                      <a:pt x="13" y="63"/>
                      <a:pt x="13" y="63"/>
                      <a:pt x="13" y="63"/>
                    </a:cubicBezTo>
                    <a:cubicBezTo>
                      <a:pt x="14" y="69"/>
                      <a:pt x="14" y="69"/>
                      <a:pt x="14" y="69"/>
                    </a:cubicBezTo>
                    <a:cubicBezTo>
                      <a:pt x="8" y="68"/>
                      <a:pt x="8" y="68"/>
                      <a:pt x="8" y="68"/>
                    </a:cubicBezTo>
                    <a:cubicBezTo>
                      <a:pt x="11" y="75"/>
                      <a:pt x="11" y="75"/>
                      <a:pt x="11" y="75"/>
                    </a:cubicBezTo>
                    <a:cubicBezTo>
                      <a:pt x="19" y="75"/>
                      <a:pt x="19" y="75"/>
                      <a:pt x="19" y="75"/>
                    </a:cubicBezTo>
                    <a:cubicBezTo>
                      <a:pt x="15" y="78"/>
                      <a:pt x="15" y="78"/>
                      <a:pt x="15" y="78"/>
                    </a:cubicBezTo>
                    <a:cubicBezTo>
                      <a:pt x="7" y="78"/>
                      <a:pt x="7" y="78"/>
                      <a:pt x="7" y="78"/>
                    </a:cubicBezTo>
                    <a:cubicBezTo>
                      <a:pt x="8" y="82"/>
                      <a:pt x="8" y="82"/>
                      <a:pt x="8" y="82"/>
                    </a:cubicBezTo>
                    <a:cubicBezTo>
                      <a:pt x="17" y="82"/>
                      <a:pt x="17" y="82"/>
                      <a:pt x="17" y="82"/>
                    </a:cubicBezTo>
                    <a:cubicBezTo>
                      <a:pt x="19" y="80"/>
                      <a:pt x="19" y="80"/>
                      <a:pt x="19" y="80"/>
                    </a:cubicBezTo>
                    <a:cubicBezTo>
                      <a:pt x="20" y="81"/>
                      <a:pt x="20" y="81"/>
                      <a:pt x="20" y="81"/>
                    </a:cubicBezTo>
                    <a:cubicBezTo>
                      <a:pt x="11" y="87"/>
                      <a:pt x="11" y="87"/>
                      <a:pt x="11" y="87"/>
                    </a:cubicBezTo>
                    <a:cubicBezTo>
                      <a:pt x="5" y="92"/>
                      <a:pt x="5" y="92"/>
                      <a:pt x="5" y="92"/>
                    </a:cubicBezTo>
                    <a:cubicBezTo>
                      <a:pt x="2" y="107"/>
                      <a:pt x="2" y="107"/>
                      <a:pt x="2" y="107"/>
                    </a:cubicBezTo>
                    <a:cubicBezTo>
                      <a:pt x="4" y="107"/>
                      <a:pt x="4" y="107"/>
                      <a:pt x="4" y="107"/>
                    </a:cubicBezTo>
                    <a:cubicBezTo>
                      <a:pt x="11" y="103"/>
                      <a:pt x="11" y="103"/>
                      <a:pt x="11" y="103"/>
                    </a:cubicBezTo>
                    <a:cubicBezTo>
                      <a:pt x="16" y="98"/>
                      <a:pt x="16" y="98"/>
                      <a:pt x="16" y="98"/>
                    </a:cubicBezTo>
                    <a:cubicBezTo>
                      <a:pt x="30" y="101"/>
                      <a:pt x="30" y="101"/>
                      <a:pt x="30" y="101"/>
                    </a:cubicBezTo>
                    <a:cubicBezTo>
                      <a:pt x="39" y="97"/>
                      <a:pt x="39" y="97"/>
                      <a:pt x="39" y="97"/>
                    </a:cubicBezTo>
                    <a:cubicBezTo>
                      <a:pt x="37" y="103"/>
                      <a:pt x="37" y="103"/>
                      <a:pt x="37" y="103"/>
                    </a:cubicBezTo>
                    <a:cubicBezTo>
                      <a:pt x="41" y="104"/>
                      <a:pt x="41" y="104"/>
                      <a:pt x="41" y="104"/>
                    </a:cubicBezTo>
                    <a:cubicBezTo>
                      <a:pt x="41" y="107"/>
                      <a:pt x="41" y="107"/>
                      <a:pt x="41" y="107"/>
                    </a:cubicBezTo>
                    <a:cubicBezTo>
                      <a:pt x="41" y="107"/>
                      <a:pt x="26" y="113"/>
                      <a:pt x="34" y="120"/>
                    </a:cubicBezTo>
                    <a:cubicBezTo>
                      <a:pt x="42" y="127"/>
                      <a:pt x="46" y="118"/>
                      <a:pt x="46" y="118"/>
                    </a:cubicBezTo>
                    <a:cubicBezTo>
                      <a:pt x="49" y="122"/>
                      <a:pt x="49" y="122"/>
                      <a:pt x="49" y="122"/>
                    </a:cubicBezTo>
                    <a:cubicBezTo>
                      <a:pt x="56" y="120"/>
                      <a:pt x="56" y="120"/>
                      <a:pt x="56" y="120"/>
                    </a:cubicBezTo>
                    <a:cubicBezTo>
                      <a:pt x="63" y="126"/>
                      <a:pt x="63" y="126"/>
                      <a:pt x="63" y="126"/>
                    </a:cubicBezTo>
                    <a:cubicBezTo>
                      <a:pt x="68" y="124"/>
                      <a:pt x="68" y="124"/>
                      <a:pt x="68" y="124"/>
                    </a:cubicBezTo>
                    <a:cubicBezTo>
                      <a:pt x="68" y="124"/>
                      <a:pt x="72" y="131"/>
                      <a:pt x="78" y="128"/>
                    </a:cubicBezTo>
                    <a:cubicBezTo>
                      <a:pt x="84" y="127"/>
                      <a:pt x="82" y="121"/>
                      <a:pt x="85" y="121"/>
                    </a:cubicBezTo>
                    <a:cubicBezTo>
                      <a:pt x="89" y="121"/>
                      <a:pt x="90" y="125"/>
                      <a:pt x="90" y="125"/>
                    </a:cubicBezTo>
                    <a:cubicBezTo>
                      <a:pt x="100" y="128"/>
                      <a:pt x="100" y="128"/>
                      <a:pt x="100" y="128"/>
                    </a:cubicBezTo>
                    <a:cubicBezTo>
                      <a:pt x="104" y="125"/>
                      <a:pt x="104" y="125"/>
                      <a:pt x="104" y="125"/>
                    </a:cubicBezTo>
                    <a:cubicBezTo>
                      <a:pt x="104" y="127"/>
                      <a:pt x="104" y="127"/>
                      <a:pt x="104" y="127"/>
                    </a:cubicBezTo>
                    <a:cubicBezTo>
                      <a:pt x="113" y="129"/>
                      <a:pt x="113" y="129"/>
                      <a:pt x="113" y="129"/>
                    </a:cubicBezTo>
                    <a:cubicBezTo>
                      <a:pt x="111" y="141"/>
                      <a:pt x="111" y="141"/>
                      <a:pt x="111" y="141"/>
                    </a:cubicBezTo>
                    <a:cubicBezTo>
                      <a:pt x="111" y="141"/>
                      <a:pt x="108" y="150"/>
                      <a:pt x="112" y="150"/>
                    </a:cubicBezTo>
                    <a:cubicBezTo>
                      <a:pt x="116" y="150"/>
                      <a:pt x="124" y="150"/>
                      <a:pt x="124" y="154"/>
                    </a:cubicBezTo>
                    <a:cubicBezTo>
                      <a:pt x="123" y="159"/>
                      <a:pt x="116" y="168"/>
                      <a:pt x="116" y="168"/>
                    </a:cubicBezTo>
                    <a:cubicBezTo>
                      <a:pt x="116" y="168"/>
                      <a:pt x="106" y="175"/>
                      <a:pt x="104" y="175"/>
                    </a:cubicBezTo>
                    <a:cubicBezTo>
                      <a:pt x="98" y="175"/>
                      <a:pt x="98" y="175"/>
                      <a:pt x="98" y="175"/>
                    </a:cubicBezTo>
                    <a:cubicBezTo>
                      <a:pt x="90" y="185"/>
                      <a:pt x="90" y="185"/>
                      <a:pt x="90" y="185"/>
                    </a:cubicBezTo>
                    <a:cubicBezTo>
                      <a:pt x="83" y="185"/>
                      <a:pt x="83" y="185"/>
                      <a:pt x="83" y="185"/>
                    </a:cubicBezTo>
                    <a:cubicBezTo>
                      <a:pt x="86" y="197"/>
                      <a:pt x="86" y="197"/>
                      <a:pt x="86" y="197"/>
                    </a:cubicBezTo>
                    <a:cubicBezTo>
                      <a:pt x="78" y="222"/>
                      <a:pt x="78" y="222"/>
                      <a:pt x="78" y="222"/>
                    </a:cubicBezTo>
                    <a:cubicBezTo>
                      <a:pt x="80" y="230"/>
                      <a:pt x="80" y="230"/>
                      <a:pt x="80" y="230"/>
                    </a:cubicBezTo>
                    <a:cubicBezTo>
                      <a:pt x="74" y="235"/>
                      <a:pt x="74" y="235"/>
                      <a:pt x="74" y="235"/>
                    </a:cubicBezTo>
                    <a:cubicBezTo>
                      <a:pt x="74" y="235"/>
                      <a:pt x="67" y="234"/>
                      <a:pt x="67" y="239"/>
                    </a:cubicBezTo>
                    <a:cubicBezTo>
                      <a:pt x="67" y="244"/>
                      <a:pt x="71" y="251"/>
                      <a:pt x="71" y="251"/>
                    </a:cubicBezTo>
                    <a:cubicBezTo>
                      <a:pt x="66" y="262"/>
                      <a:pt x="66" y="262"/>
                      <a:pt x="66" y="262"/>
                    </a:cubicBezTo>
                    <a:cubicBezTo>
                      <a:pt x="63" y="262"/>
                      <a:pt x="63" y="262"/>
                      <a:pt x="63" y="262"/>
                    </a:cubicBezTo>
                    <a:cubicBezTo>
                      <a:pt x="59" y="270"/>
                      <a:pt x="59" y="270"/>
                      <a:pt x="59" y="270"/>
                    </a:cubicBezTo>
                    <a:cubicBezTo>
                      <a:pt x="32" y="265"/>
                      <a:pt x="32" y="265"/>
                      <a:pt x="32" y="265"/>
                    </a:cubicBezTo>
                    <a:cubicBezTo>
                      <a:pt x="38" y="280"/>
                      <a:pt x="38" y="280"/>
                      <a:pt x="38" y="280"/>
                    </a:cubicBezTo>
                    <a:cubicBezTo>
                      <a:pt x="38" y="280"/>
                      <a:pt x="42" y="278"/>
                      <a:pt x="42" y="280"/>
                    </a:cubicBezTo>
                    <a:cubicBezTo>
                      <a:pt x="42" y="283"/>
                      <a:pt x="39" y="287"/>
                      <a:pt x="39" y="287"/>
                    </a:cubicBezTo>
                    <a:cubicBezTo>
                      <a:pt x="46" y="306"/>
                      <a:pt x="46" y="306"/>
                      <a:pt x="46" y="306"/>
                    </a:cubicBezTo>
                    <a:cubicBezTo>
                      <a:pt x="46" y="306"/>
                      <a:pt x="56" y="304"/>
                      <a:pt x="54" y="310"/>
                    </a:cubicBezTo>
                    <a:cubicBezTo>
                      <a:pt x="52" y="316"/>
                      <a:pt x="44" y="325"/>
                      <a:pt x="44" y="325"/>
                    </a:cubicBezTo>
                    <a:cubicBezTo>
                      <a:pt x="34" y="328"/>
                      <a:pt x="34" y="328"/>
                      <a:pt x="34" y="328"/>
                    </a:cubicBezTo>
                    <a:cubicBezTo>
                      <a:pt x="25" y="345"/>
                      <a:pt x="25" y="345"/>
                      <a:pt x="25" y="345"/>
                    </a:cubicBezTo>
                    <a:cubicBezTo>
                      <a:pt x="34" y="364"/>
                      <a:pt x="34" y="364"/>
                      <a:pt x="34" y="364"/>
                    </a:cubicBezTo>
                    <a:cubicBezTo>
                      <a:pt x="43" y="364"/>
                      <a:pt x="43" y="364"/>
                      <a:pt x="43" y="364"/>
                    </a:cubicBezTo>
                    <a:cubicBezTo>
                      <a:pt x="41" y="368"/>
                      <a:pt x="41" y="368"/>
                      <a:pt x="41" y="368"/>
                    </a:cubicBezTo>
                    <a:cubicBezTo>
                      <a:pt x="38" y="375"/>
                      <a:pt x="38" y="375"/>
                      <a:pt x="38" y="375"/>
                    </a:cubicBezTo>
                    <a:cubicBezTo>
                      <a:pt x="23" y="376"/>
                      <a:pt x="23" y="376"/>
                      <a:pt x="23" y="376"/>
                    </a:cubicBezTo>
                    <a:cubicBezTo>
                      <a:pt x="21" y="384"/>
                      <a:pt x="21" y="384"/>
                      <a:pt x="21" y="384"/>
                    </a:cubicBezTo>
                    <a:cubicBezTo>
                      <a:pt x="21" y="384"/>
                      <a:pt x="14" y="386"/>
                      <a:pt x="10" y="392"/>
                    </a:cubicBezTo>
                    <a:cubicBezTo>
                      <a:pt x="6" y="397"/>
                      <a:pt x="4" y="401"/>
                      <a:pt x="4" y="401"/>
                    </a:cubicBezTo>
                    <a:cubicBezTo>
                      <a:pt x="6" y="408"/>
                      <a:pt x="6" y="408"/>
                      <a:pt x="6" y="408"/>
                    </a:cubicBezTo>
                    <a:cubicBezTo>
                      <a:pt x="6" y="425"/>
                      <a:pt x="6" y="425"/>
                      <a:pt x="6" y="425"/>
                    </a:cubicBezTo>
                    <a:cubicBezTo>
                      <a:pt x="23" y="428"/>
                      <a:pt x="23" y="428"/>
                      <a:pt x="23" y="428"/>
                    </a:cubicBezTo>
                    <a:cubicBezTo>
                      <a:pt x="26" y="432"/>
                      <a:pt x="26" y="432"/>
                      <a:pt x="26" y="432"/>
                    </a:cubicBezTo>
                    <a:cubicBezTo>
                      <a:pt x="29" y="428"/>
                      <a:pt x="29" y="428"/>
                      <a:pt x="29" y="428"/>
                    </a:cubicBezTo>
                    <a:cubicBezTo>
                      <a:pt x="36" y="425"/>
                      <a:pt x="36" y="425"/>
                      <a:pt x="36" y="425"/>
                    </a:cubicBezTo>
                    <a:cubicBezTo>
                      <a:pt x="33" y="429"/>
                      <a:pt x="33" y="429"/>
                      <a:pt x="33" y="429"/>
                    </a:cubicBezTo>
                    <a:cubicBezTo>
                      <a:pt x="32" y="433"/>
                      <a:pt x="32" y="433"/>
                      <a:pt x="32" y="433"/>
                    </a:cubicBezTo>
                    <a:cubicBezTo>
                      <a:pt x="32" y="433"/>
                      <a:pt x="38" y="439"/>
                      <a:pt x="43" y="443"/>
                    </a:cubicBezTo>
                    <a:cubicBezTo>
                      <a:pt x="50" y="449"/>
                      <a:pt x="54" y="462"/>
                      <a:pt x="54" y="462"/>
                    </a:cubicBezTo>
                    <a:cubicBezTo>
                      <a:pt x="55" y="458"/>
                      <a:pt x="55" y="458"/>
                      <a:pt x="55" y="458"/>
                    </a:cubicBezTo>
                    <a:cubicBezTo>
                      <a:pt x="55" y="458"/>
                      <a:pt x="57" y="463"/>
                      <a:pt x="55" y="465"/>
                    </a:cubicBezTo>
                    <a:cubicBezTo>
                      <a:pt x="53" y="466"/>
                      <a:pt x="50" y="466"/>
                      <a:pt x="50" y="466"/>
                    </a:cubicBezTo>
                    <a:cubicBezTo>
                      <a:pt x="51" y="473"/>
                      <a:pt x="51" y="473"/>
                      <a:pt x="51" y="473"/>
                    </a:cubicBezTo>
                    <a:cubicBezTo>
                      <a:pt x="55" y="473"/>
                      <a:pt x="55" y="473"/>
                      <a:pt x="55" y="473"/>
                    </a:cubicBezTo>
                    <a:cubicBezTo>
                      <a:pt x="55" y="478"/>
                      <a:pt x="55" y="478"/>
                      <a:pt x="55" y="478"/>
                    </a:cubicBezTo>
                    <a:cubicBezTo>
                      <a:pt x="58" y="478"/>
                      <a:pt x="58" y="478"/>
                      <a:pt x="58" y="478"/>
                    </a:cubicBezTo>
                    <a:cubicBezTo>
                      <a:pt x="60" y="483"/>
                      <a:pt x="60" y="483"/>
                      <a:pt x="60" y="483"/>
                    </a:cubicBezTo>
                    <a:cubicBezTo>
                      <a:pt x="58" y="485"/>
                      <a:pt x="58" y="485"/>
                      <a:pt x="58" y="485"/>
                    </a:cubicBezTo>
                    <a:cubicBezTo>
                      <a:pt x="56" y="481"/>
                      <a:pt x="56" y="481"/>
                      <a:pt x="56" y="481"/>
                    </a:cubicBezTo>
                    <a:cubicBezTo>
                      <a:pt x="54" y="481"/>
                      <a:pt x="54" y="481"/>
                      <a:pt x="54" y="481"/>
                    </a:cubicBezTo>
                    <a:cubicBezTo>
                      <a:pt x="63" y="505"/>
                      <a:pt x="63" y="505"/>
                      <a:pt x="63" y="505"/>
                    </a:cubicBezTo>
                    <a:cubicBezTo>
                      <a:pt x="72" y="507"/>
                      <a:pt x="72" y="507"/>
                      <a:pt x="72" y="507"/>
                    </a:cubicBezTo>
                    <a:cubicBezTo>
                      <a:pt x="75" y="515"/>
                      <a:pt x="75" y="515"/>
                      <a:pt x="75" y="515"/>
                    </a:cubicBezTo>
                    <a:cubicBezTo>
                      <a:pt x="83" y="519"/>
                      <a:pt x="83" y="519"/>
                      <a:pt x="83" y="519"/>
                    </a:cubicBezTo>
                    <a:cubicBezTo>
                      <a:pt x="84" y="522"/>
                      <a:pt x="84" y="522"/>
                      <a:pt x="84" y="522"/>
                    </a:cubicBezTo>
                    <a:cubicBezTo>
                      <a:pt x="89" y="519"/>
                      <a:pt x="89" y="519"/>
                      <a:pt x="89" y="519"/>
                    </a:cubicBezTo>
                    <a:cubicBezTo>
                      <a:pt x="95" y="520"/>
                      <a:pt x="95" y="520"/>
                      <a:pt x="95" y="520"/>
                    </a:cubicBezTo>
                    <a:cubicBezTo>
                      <a:pt x="95" y="520"/>
                      <a:pt x="95" y="516"/>
                      <a:pt x="96" y="515"/>
                    </a:cubicBezTo>
                    <a:cubicBezTo>
                      <a:pt x="98" y="513"/>
                      <a:pt x="101" y="517"/>
                      <a:pt x="101" y="517"/>
                    </a:cubicBezTo>
                    <a:cubicBezTo>
                      <a:pt x="113" y="502"/>
                      <a:pt x="113" y="502"/>
                      <a:pt x="113" y="502"/>
                    </a:cubicBezTo>
                    <a:cubicBezTo>
                      <a:pt x="129" y="499"/>
                      <a:pt x="129" y="499"/>
                      <a:pt x="129" y="499"/>
                    </a:cubicBezTo>
                    <a:cubicBezTo>
                      <a:pt x="129" y="499"/>
                      <a:pt x="133" y="502"/>
                      <a:pt x="141" y="498"/>
                    </a:cubicBezTo>
                    <a:cubicBezTo>
                      <a:pt x="150" y="494"/>
                      <a:pt x="154" y="490"/>
                      <a:pt x="154" y="490"/>
                    </a:cubicBezTo>
                    <a:cubicBezTo>
                      <a:pt x="165" y="491"/>
                      <a:pt x="165" y="491"/>
                      <a:pt x="165" y="491"/>
                    </a:cubicBezTo>
                    <a:cubicBezTo>
                      <a:pt x="191" y="493"/>
                      <a:pt x="191" y="493"/>
                      <a:pt x="191" y="493"/>
                    </a:cubicBezTo>
                    <a:cubicBezTo>
                      <a:pt x="206" y="499"/>
                      <a:pt x="206" y="499"/>
                      <a:pt x="206" y="499"/>
                    </a:cubicBezTo>
                    <a:cubicBezTo>
                      <a:pt x="217" y="498"/>
                      <a:pt x="217" y="498"/>
                      <a:pt x="217" y="498"/>
                    </a:cubicBezTo>
                    <a:cubicBezTo>
                      <a:pt x="243" y="505"/>
                      <a:pt x="243" y="505"/>
                      <a:pt x="243" y="505"/>
                    </a:cubicBezTo>
                    <a:cubicBezTo>
                      <a:pt x="249" y="505"/>
                      <a:pt x="249" y="505"/>
                      <a:pt x="249" y="505"/>
                    </a:cubicBezTo>
                    <a:cubicBezTo>
                      <a:pt x="249" y="505"/>
                      <a:pt x="252" y="497"/>
                      <a:pt x="262" y="498"/>
                    </a:cubicBezTo>
                    <a:cubicBezTo>
                      <a:pt x="272" y="499"/>
                      <a:pt x="273" y="509"/>
                      <a:pt x="273" y="509"/>
                    </a:cubicBezTo>
                    <a:cubicBezTo>
                      <a:pt x="284" y="500"/>
                      <a:pt x="284" y="500"/>
                      <a:pt x="284" y="500"/>
                    </a:cubicBezTo>
                    <a:cubicBezTo>
                      <a:pt x="291" y="497"/>
                      <a:pt x="291" y="497"/>
                      <a:pt x="291" y="497"/>
                    </a:cubicBezTo>
                    <a:cubicBezTo>
                      <a:pt x="297" y="480"/>
                      <a:pt x="297" y="480"/>
                      <a:pt x="297" y="480"/>
                    </a:cubicBezTo>
                    <a:cubicBezTo>
                      <a:pt x="312" y="469"/>
                      <a:pt x="312" y="469"/>
                      <a:pt x="312" y="469"/>
                    </a:cubicBezTo>
                    <a:cubicBezTo>
                      <a:pt x="316" y="469"/>
                      <a:pt x="316" y="469"/>
                      <a:pt x="316" y="469"/>
                    </a:cubicBezTo>
                    <a:cubicBezTo>
                      <a:pt x="316" y="469"/>
                      <a:pt x="319" y="462"/>
                      <a:pt x="324" y="462"/>
                    </a:cubicBezTo>
                    <a:cubicBezTo>
                      <a:pt x="329" y="460"/>
                      <a:pt x="334" y="466"/>
                      <a:pt x="334" y="466"/>
                    </a:cubicBezTo>
                    <a:cubicBezTo>
                      <a:pt x="334" y="466"/>
                      <a:pt x="340" y="463"/>
                      <a:pt x="341" y="463"/>
                    </a:cubicBezTo>
                    <a:cubicBezTo>
                      <a:pt x="343" y="463"/>
                      <a:pt x="345" y="465"/>
                      <a:pt x="345" y="465"/>
                    </a:cubicBezTo>
                    <a:cubicBezTo>
                      <a:pt x="360" y="463"/>
                      <a:pt x="360" y="463"/>
                      <a:pt x="360" y="463"/>
                    </a:cubicBezTo>
                    <a:cubicBezTo>
                      <a:pt x="359" y="455"/>
                      <a:pt x="359" y="455"/>
                      <a:pt x="359" y="455"/>
                    </a:cubicBezTo>
                    <a:cubicBezTo>
                      <a:pt x="355" y="459"/>
                      <a:pt x="355" y="459"/>
                      <a:pt x="355" y="459"/>
                    </a:cubicBezTo>
                    <a:cubicBezTo>
                      <a:pt x="351" y="454"/>
                      <a:pt x="351" y="454"/>
                      <a:pt x="351" y="454"/>
                    </a:cubicBezTo>
                    <a:cubicBezTo>
                      <a:pt x="358" y="440"/>
                      <a:pt x="358" y="440"/>
                      <a:pt x="358" y="440"/>
                    </a:cubicBezTo>
                    <a:cubicBezTo>
                      <a:pt x="363" y="439"/>
                      <a:pt x="363" y="439"/>
                      <a:pt x="363" y="439"/>
                    </a:cubicBezTo>
                    <a:cubicBezTo>
                      <a:pt x="363" y="439"/>
                      <a:pt x="365" y="432"/>
                      <a:pt x="367" y="428"/>
                    </a:cubicBezTo>
                    <a:cubicBezTo>
                      <a:pt x="369" y="425"/>
                      <a:pt x="373" y="426"/>
                      <a:pt x="373" y="426"/>
                    </a:cubicBezTo>
                    <a:cubicBezTo>
                      <a:pt x="375" y="418"/>
                      <a:pt x="375" y="418"/>
                      <a:pt x="375" y="418"/>
                    </a:cubicBezTo>
                    <a:cubicBezTo>
                      <a:pt x="379" y="419"/>
                      <a:pt x="379" y="419"/>
                      <a:pt x="379" y="419"/>
                    </a:cubicBezTo>
                    <a:cubicBezTo>
                      <a:pt x="389" y="408"/>
                      <a:pt x="389" y="408"/>
                      <a:pt x="389" y="408"/>
                    </a:cubicBezTo>
                    <a:cubicBezTo>
                      <a:pt x="404" y="403"/>
                      <a:pt x="404" y="403"/>
                      <a:pt x="404" y="403"/>
                    </a:cubicBezTo>
                    <a:cubicBezTo>
                      <a:pt x="413" y="395"/>
                      <a:pt x="413" y="395"/>
                      <a:pt x="413" y="395"/>
                    </a:cubicBezTo>
                    <a:cubicBezTo>
                      <a:pt x="413" y="389"/>
                      <a:pt x="413" y="389"/>
                      <a:pt x="413" y="389"/>
                    </a:cubicBezTo>
                    <a:cubicBezTo>
                      <a:pt x="413" y="389"/>
                      <a:pt x="407" y="389"/>
                      <a:pt x="402" y="385"/>
                    </a:cubicBezTo>
                    <a:cubicBezTo>
                      <a:pt x="398" y="381"/>
                      <a:pt x="392" y="347"/>
                      <a:pt x="392" y="347"/>
                    </a:cubicBezTo>
                    <a:cubicBezTo>
                      <a:pt x="415" y="317"/>
                      <a:pt x="415" y="317"/>
                      <a:pt x="415" y="317"/>
                    </a:cubicBezTo>
                    <a:cubicBezTo>
                      <a:pt x="416" y="309"/>
                      <a:pt x="416" y="309"/>
                      <a:pt x="416" y="309"/>
                    </a:cubicBezTo>
                    <a:cubicBezTo>
                      <a:pt x="420" y="310"/>
                      <a:pt x="420" y="310"/>
                      <a:pt x="420" y="310"/>
                    </a:cubicBezTo>
                    <a:cubicBezTo>
                      <a:pt x="436" y="293"/>
                      <a:pt x="436" y="293"/>
                      <a:pt x="436" y="293"/>
                    </a:cubicBezTo>
                    <a:cubicBezTo>
                      <a:pt x="436" y="293"/>
                      <a:pt x="444" y="281"/>
                      <a:pt x="447" y="279"/>
                    </a:cubicBezTo>
                    <a:cubicBezTo>
                      <a:pt x="450" y="276"/>
                      <a:pt x="453" y="277"/>
                      <a:pt x="453" y="277"/>
                    </a:cubicBezTo>
                    <a:cubicBezTo>
                      <a:pt x="452" y="279"/>
                      <a:pt x="452" y="279"/>
                      <a:pt x="452" y="279"/>
                    </a:cubicBezTo>
                    <a:cubicBezTo>
                      <a:pt x="449" y="279"/>
                      <a:pt x="449" y="279"/>
                      <a:pt x="449" y="279"/>
                    </a:cubicBezTo>
                    <a:cubicBezTo>
                      <a:pt x="449" y="281"/>
                      <a:pt x="449" y="281"/>
                      <a:pt x="449" y="281"/>
                    </a:cubicBezTo>
                    <a:cubicBezTo>
                      <a:pt x="452" y="282"/>
                      <a:pt x="452" y="282"/>
                      <a:pt x="452" y="282"/>
                    </a:cubicBezTo>
                    <a:cubicBezTo>
                      <a:pt x="457" y="277"/>
                      <a:pt x="457" y="277"/>
                      <a:pt x="457" y="277"/>
                    </a:cubicBezTo>
                    <a:cubicBezTo>
                      <a:pt x="457" y="277"/>
                      <a:pt x="462" y="276"/>
                      <a:pt x="464" y="274"/>
                    </a:cubicBezTo>
                    <a:cubicBezTo>
                      <a:pt x="465" y="273"/>
                      <a:pt x="457" y="266"/>
                      <a:pt x="457" y="266"/>
                    </a:cubicBezTo>
                    <a:cubicBezTo>
                      <a:pt x="472" y="251"/>
                      <a:pt x="472" y="251"/>
                      <a:pt x="472" y="251"/>
                    </a:cubicBezTo>
                    <a:cubicBezTo>
                      <a:pt x="481" y="251"/>
                      <a:pt x="481" y="251"/>
                      <a:pt x="481" y="251"/>
                    </a:cubicBezTo>
                    <a:cubicBezTo>
                      <a:pt x="484" y="248"/>
                      <a:pt x="484" y="248"/>
                      <a:pt x="484" y="248"/>
                    </a:cubicBezTo>
                    <a:cubicBezTo>
                      <a:pt x="484" y="248"/>
                      <a:pt x="499" y="245"/>
                      <a:pt x="506" y="245"/>
                    </a:cubicBezTo>
                    <a:cubicBezTo>
                      <a:pt x="511" y="245"/>
                      <a:pt x="524" y="245"/>
                      <a:pt x="530" y="242"/>
                    </a:cubicBezTo>
                    <a:cubicBezTo>
                      <a:pt x="537" y="238"/>
                      <a:pt x="533" y="236"/>
                      <a:pt x="541" y="232"/>
                    </a:cubicBezTo>
                    <a:cubicBezTo>
                      <a:pt x="549" y="227"/>
                      <a:pt x="575" y="221"/>
                      <a:pt x="581" y="216"/>
                    </a:cubicBezTo>
                    <a:cubicBezTo>
                      <a:pt x="588" y="211"/>
                      <a:pt x="590" y="202"/>
                      <a:pt x="589" y="199"/>
                    </a:cubicBezTo>
                    <a:cubicBezTo>
                      <a:pt x="589" y="196"/>
                      <a:pt x="586" y="192"/>
                      <a:pt x="587" y="189"/>
                    </a:cubicBezTo>
                    <a:cubicBezTo>
                      <a:pt x="588" y="186"/>
                      <a:pt x="592" y="189"/>
                      <a:pt x="594" y="187"/>
                    </a:cubicBezTo>
                    <a:cubicBezTo>
                      <a:pt x="597" y="186"/>
                      <a:pt x="597" y="182"/>
                      <a:pt x="597" y="182"/>
                    </a:cubicBezTo>
                    <a:cubicBezTo>
                      <a:pt x="591" y="179"/>
                      <a:pt x="591" y="179"/>
                      <a:pt x="591" y="179"/>
                    </a:cubicBezTo>
                    <a:cubicBezTo>
                      <a:pt x="590" y="174"/>
                      <a:pt x="590" y="174"/>
                      <a:pt x="590" y="174"/>
                    </a:cubicBezTo>
                    <a:cubicBezTo>
                      <a:pt x="583" y="174"/>
                      <a:pt x="583" y="174"/>
                      <a:pt x="583" y="174"/>
                    </a:cubicBezTo>
                    <a:cubicBezTo>
                      <a:pt x="583" y="174"/>
                      <a:pt x="582" y="171"/>
                      <a:pt x="576" y="169"/>
                    </a:cubicBezTo>
                    <a:cubicBezTo>
                      <a:pt x="568" y="168"/>
                      <a:pt x="565" y="178"/>
                      <a:pt x="563" y="178"/>
                    </a:cubicBezTo>
                    <a:cubicBezTo>
                      <a:pt x="558" y="178"/>
                      <a:pt x="558" y="178"/>
                      <a:pt x="558" y="178"/>
                    </a:cubicBezTo>
                    <a:cubicBezTo>
                      <a:pt x="558" y="178"/>
                      <a:pt x="555" y="175"/>
                      <a:pt x="551" y="171"/>
                    </a:cubicBezTo>
                    <a:cubicBezTo>
                      <a:pt x="547" y="167"/>
                      <a:pt x="540" y="174"/>
                      <a:pt x="535" y="174"/>
                    </a:cubicBezTo>
                    <a:cubicBezTo>
                      <a:pt x="531" y="174"/>
                      <a:pt x="530" y="170"/>
                      <a:pt x="530" y="170"/>
                    </a:cubicBezTo>
                    <a:cubicBezTo>
                      <a:pt x="530" y="170"/>
                      <a:pt x="532" y="164"/>
                      <a:pt x="532" y="163"/>
                    </a:cubicBezTo>
                    <a:cubicBezTo>
                      <a:pt x="532" y="161"/>
                      <a:pt x="526" y="166"/>
                      <a:pt x="526" y="166"/>
                    </a:cubicBezTo>
                    <a:cubicBezTo>
                      <a:pt x="519" y="161"/>
                      <a:pt x="519" y="161"/>
                      <a:pt x="519" y="161"/>
                    </a:cubicBezTo>
                    <a:lnTo>
                      <a:pt x="520" y="161"/>
                    </a:lnTo>
                    <a:close/>
                    <a:moveTo>
                      <a:pt x="622" y="329"/>
                    </a:moveTo>
                    <a:cubicBezTo>
                      <a:pt x="616" y="328"/>
                      <a:pt x="607" y="333"/>
                      <a:pt x="607" y="333"/>
                    </a:cubicBezTo>
                    <a:cubicBezTo>
                      <a:pt x="608" y="339"/>
                      <a:pt x="608" y="339"/>
                      <a:pt x="608" y="339"/>
                    </a:cubicBezTo>
                    <a:cubicBezTo>
                      <a:pt x="608" y="339"/>
                      <a:pt x="613" y="339"/>
                      <a:pt x="617" y="340"/>
                    </a:cubicBezTo>
                    <a:cubicBezTo>
                      <a:pt x="621" y="340"/>
                      <a:pt x="624" y="345"/>
                      <a:pt x="624" y="345"/>
                    </a:cubicBezTo>
                    <a:cubicBezTo>
                      <a:pt x="630" y="347"/>
                      <a:pt x="630" y="347"/>
                      <a:pt x="630" y="347"/>
                    </a:cubicBezTo>
                    <a:cubicBezTo>
                      <a:pt x="631" y="341"/>
                      <a:pt x="631" y="341"/>
                      <a:pt x="631" y="341"/>
                    </a:cubicBezTo>
                    <a:cubicBezTo>
                      <a:pt x="631" y="341"/>
                      <a:pt x="627" y="331"/>
                      <a:pt x="622" y="329"/>
                    </a:cubicBez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32" name="Slovenia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165725" y="4545013"/>
                <a:ext cx="307975" cy="217487"/>
              </a:xfrm>
              <a:custGeom>
                <a:avLst/>
                <a:gdLst/>
                <a:ahLst/>
                <a:cxnLst>
                  <a:cxn ang="0">
                    <a:pos x="119" y="13"/>
                  </a:cxn>
                  <a:cxn ang="0">
                    <a:pos x="108" y="13"/>
                  </a:cxn>
                  <a:cxn ang="0">
                    <a:pos x="96" y="20"/>
                  </a:cxn>
                  <a:cxn ang="0">
                    <a:pos x="83" y="20"/>
                  </a:cxn>
                  <a:cxn ang="0">
                    <a:pos x="68" y="22"/>
                  </a:cxn>
                  <a:cxn ang="0">
                    <a:pos x="59" y="30"/>
                  </a:cxn>
                  <a:cxn ang="0">
                    <a:pos x="46" y="34"/>
                  </a:cxn>
                  <a:cxn ang="0">
                    <a:pos x="33" y="33"/>
                  </a:cxn>
                  <a:cxn ang="0">
                    <a:pos x="18" y="31"/>
                  </a:cxn>
                  <a:cxn ang="0">
                    <a:pos x="15" y="36"/>
                  </a:cxn>
                  <a:cxn ang="0">
                    <a:pos x="0" y="45"/>
                  </a:cxn>
                  <a:cxn ang="0">
                    <a:pos x="14" y="53"/>
                  </a:cxn>
                  <a:cxn ang="0">
                    <a:pos x="5" y="68"/>
                  </a:cxn>
                  <a:cxn ang="0">
                    <a:pos x="11" y="78"/>
                  </a:cxn>
                  <a:cxn ang="0">
                    <a:pos x="18" y="91"/>
                  </a:cxn>
                  <a:cxn ang="0">
                    <a:pos x="7" y="99"/>
                  </a:cxn>
                  <a:cxn ang="0">
                    <a:pos x="19" y="98"/>
                  </a:cxn>
                  <a:cxn ang="0">
                    <a:pos x="32" y="97"/>
                  </a:cxn>
                  <a:cxn ang="0">
                    <a:pos x="52" y="93"/>
                  </a:cxn>
                  <a:cxn ang="0">
                    <a:pos x="55" y="88"/>
                  </a:cxn>
                  <a:cxn ang="0">
                    <a:pos x="58" y="88"/>
                  </a:cxn>
                  <a:cxn ang="0">
                    <a:pos x="72" y="97"/>
                  </a:cxn>
                  <a:cxn ang="0">
                    <a:pos x="80" y="96"/>
                  </a:cxn>
                  <a:cxn ang="0">
                    <a:pos x="94" y="94"/>
                  </a:cxn>
                  <a:cxn ang="0">
                    <a:pos x="95" y="83"/>
                  </a:cxn>
                  <a:cxn ang="0">
                    <a:pos x="85" y="80"/>
                  </a:cxn>
                  <a:cxn ang="0">
                    <a:pos x="107" y="71"/>
                  </a:cxn>
                  <a:cxn ang="0">
                    <a:pos x="102" y="50"/>
                  </a:cxn>
                  <a:cxn ang="0">
                    <a:pos x="124" y="31"/>
                  </a:cxn>
                  <a:cxn ang="0">
                    <a:pos x="132" y="23"/>
                  </a:cxn>
                  <a:cxn ang="0">
                    <a:pos x="145" y="20"/>
                  </a:cxn>
                  <a:cxn ang="0">
                    <a:pos x="137" y="11"/>
                  </a:cxn>
                  <a:cxn ang="0">
                    <a:pos x="133" y="3"/>
                  </a:cxn>
                  <a:cxn ang="0">
                    <a:pos x="121" y="3"/>
                  </a:cxn>
                </a:cxnLst>
                <a:rect l="0" t="0" r="r" b="b"/>
                <a:pathLst>
                  <a:path w="145" h="102">
                    <a:moveTo>
                      <a:pt x="117" y="6"/>
                    </a:moveTo>
                    <a:cubicBezTo>
                      <a:pt x="115" y="10"/>
                      <a:pt x="119" y="13"/>
                      <a:pt x="119" y="13"/>
                    </a:cubicBezTo>
                    <a:cubicBezTo>
                      <a:pt x="116" y="15"/>
                      <a:pt x="116" y="15"/>
                      <a:pt x="116" y="15"/>
                    </a:cubicBezTo>
                    <a:cubicBezTo>
                      <a:pt x="116" y="15"/>
                      <a:pt x="114" y="12"/>
                      <a:pt x="108" y="13"/>
                    </a:cubicBezTo>
                    <a:cubicBezTo>
                      <a:pt x="100" y="13"/>
                      <a:pt x="100" y="15"/>
                      <a:pt x="100" y="15"/>
                    </a:cubicBezTo>
                    <a:cubicBezTo>
                      <a:pt x="96" y="20"/>
                      <a:pt x="96" y="20"/>
                      <a:pt x="96" y="20"/>
                    </a:cubicBezTo>
                    <a:cubicBezTo>
                      <a:pt x="96" y="20"/>
                      <a:pt x="94" y="18"/>
                      <a:pt x="91" y="18"/>
                    </a:cubicBezTo>
                    <a:cubicBezTo>
                      <a:pt x="88" y="17"/>
                      <a:pt x="83" y="20"/>
                      <a:pt x="83" y="20"/>
                    </a:cubicBezTo>
                    <a:cubicBezTo>
                      <a:pt x="77" y="19"/>
                      <a:pt x="77" y="19"/>
                      <a:pt x="77" y="19"/>
                    </a:cubicBezTo>
                    <a:cubicBezTo>
                      <a:pt x="77" y="19"/>
                      <a:pt x="72" y="21"/>
                      <a:pt x="68" y="22"/>
                    </a:cubicBezTo>
                    <a:cubicBezTo>
                      <a:pt x="65" y="22"/>
                      <a:pt x="66" y="28"/>
                      <a:pt x="64" y="29"/>
                    </a:cubicBezTo>
                    <a:cubicBezTo>
                      <a:pt x="62" y="30"/>
                      <a:pt x="59" y="30"/>
                      <a:pt x="59" y="30"/>
                    </a:cubicBezTo>
                    <a:cubicBezTo>
                      <a:pt x="53" y="37"/>
                      <a:pt x="53" y="37"/>
                      <a:pt x="53" y="37"/>
                    </a:cubicBezTo>
                    <a:cubicBezTo>
                      <a:pt x="46" y="34"/>
                      <a:pt x="46" y="34"/>
                      <a:pt x="46" y="34"/>
                    </a:cubicBezTo>
                    <a:cubicBezTo>
                      <a:pt x="35" y="36"/>
                      <a:pt x="35" y="36"/>
                      <a:pt x="35" y="36"/>
                    </a:cubicBezTo>
                    <a:cubicBezTo>
                      <a:pt x="33" y="33"/>
                      <a:pt x="33" y="33"/>
                      <a:pt x="33" y="33"/>
                    </a:cubicBezTo>
                    <a:cubicBezTo>
                      <a:pt x="23" y="30"/>
                      <a:pt x="23" y="30"/>
                      <a:pt x="23" y="30"/>
                    </a:cubicBezTo>
                    <a:cubicBezTo>
                      <a:pt x="18" y="31"/>
                      <a:pt x="18" y="31"/>
                      <a:pt x="18" y="31"/>
                    </a:cubicBezTo>
                    <a:cubicBezTo>
                      <a:pt x="14" y="30"/>
                      <a:pt x="14" y="30"/>
                      <a:pt x="14" y="30"/>
                    </a:cubicBezTo>
                    <a:cubicBezTo>
                      <a:pt x="15" y="31"/>
                      <a:pt x="16" y="35"/>
                      <a:pt x="15" y="36"/>
                    </a:cubicBezTo>
                    <a:cubicBezTo>
                      <a:pt x="10" y="36"/>
                      <a:pt x="10" y="36"/>
                      <a:pt x="10" y="36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3" y="51"/>
                      <a:pt x="3" y="51"/>
                      <a:pt x="3" y="51"/>
                    </a:cubicBezTo>
                    <a:cubicBezTo>
                      <a:pt x="3" y="51"/>
                      <a:pt x="13" y="47"/>
                      <a:pt x="14" y="53"/>
                    </a:cubicBezTo>
                    <a:cubicBezTo>
                      <a:pt x="14" y="57"/>
                      <a:pt x="4" y="62"/>
                      <a:pt x="4" y="62"/>
                    </a:cubicBezTo>
                    <a:cubicBezTo>
                      <a:pt x="5" y="68"/>
                      <a:pt x="5" y="68"/>
                      <a:pt x="5" y="68"/>
                    </a:cubicBezTo>
                    <a:cubicBezTo>
                      <a:pt x="5" y="68"/>
                      <a:pt x="13" y="62"/>
                      <a:pt x="14" y="65"/>
                    </a:cubicBezTo>
                    <a:cubicBezTo>
                      <a:pt x="15" y="67"/>
                      <a:pt x="11" y="78"/>
                      <a:pt x="11" y="78"/>
                    </a:cubicBezTo>
                    <a:cubicBezTo>
                      <a:pt x="11" y="78"/>
                      <a:pt x="23" y="78"/>
                      <a:pt x="23" y="84"/>
                    </a:cubicBezTo>
                    <a:cubicBezTo>
                      <a:pt x="23" y="88"/>
                      <a:pt x="18" y="91"/>
                      <a:pt x="18" y="91"/>
                    </a:cubicBezTo>
                    <a:cubicBezTo>
                      <a:pt x="11" y="94"/>
                      <a:pt x="11" y="94"/>
                      <a:pt x="11" y="94"/>
                    </a:cubicBezTo>
                    <a:cubicBezTo>
                      <a:pt x="7" y="99"/>
                      <a:pt x="7" y="99"/>
                      <a:pt x="7" y="99"/>
                    </a:cubicBezTo>
                    <a:cubicBezTo>
                      <a:pt x="7" y="99"/>
                      <a:pt x="12" y="102"/>
                      <a:pt x="14" y="102"/>
                    </a:cubicBezTo>
                    <a:cubicBezTo>
                      <a:pt x="15" y="102"/>
                      <a:pt x="19" y="98"/>
                      <a:pt x="19" y="98"/>
                    </a:cubicBezTo>
                    <a:cubicBezTo>
                      <a:pt x="25" y="102"/>
                      <a:pt x="25" y="102"/>
                      <a:pt x="25" y="102"/>
                    </a:cubicBezTo>
                    <a:cubicBezTo>
                      <a:pt x="32" y="97"/>
                      <a:pt x="32" y="97"/>
                      <a:pt x="32" y="97"/>
                    </a:cubicBezTo>
                    <a:cubicBezTo>
                      <a:pt x="35" y="99"/>
                      <a:pt x="35" y="99"/>
                      <a:pt x="35" y="99"/>
                    </a:cubicBezTo>
                    <a:cubicBezTo>
                      <a:pt x="52" y="93"/>
                      <a:pt x="52" y="93"/>
                      <a:pt x="52" y="93"/>
                    </a:cubicBezTo>
                    <a:cubicBezTo>
                      <a:pt x="53" y="89"/>
                      <a:pt x="53" y="89"/>
                      <a:pt x="53" y="89"/>
                    </a:cubicBezTo>
                    <a:cubicBezTo>
                      <a:pt x="55" y="88"/>
                      <a:pt x="55" y="88"/>
                      <a:pt x="55" y="88"/>
                    </a:cubicBezTo>
                    <a:cubicBezTo>
                      <a:pt x="55" y="88"/>
                      <a:pt x="54" y="85"/>
                      <a:pt x="55" y="84"/>
                    </a:cubicBezTo>
                    <a:cubicBezTo>
                      <a:pt x="58" y="84"/>
                      <a:pt x="58" y="88"/>
                      <a:pt x="58" y="88"/>
                    </a:cubicBezTo>
                    <a:cubicBezTo>
                      <a:pt x="62" y="93"/>
                      <a:pt x="62" y="93"/>
                      <a:pt x="62" y="93"/>
                    </a:cubicBezTo>
                    <a:cubicBezTo>
                      <a:pt x="72" y="97"/>
                      <a:pt x="72" y="97"/>
                      <a:pt x="72" y="97"/>
                    </a:cubicBezTo>
                    <a:cubicBezTo>
                      <a:pt x="72" y="97"/>
                      <a:pt x="71" y="92"/>
                      <a:pt x="72" y="92"/>
                    </a:cubicBezTo>
                    <a:cubicBezTo>
                      <a:pt x="75" y="92"/>
                      <a:pt x="80" y="96"/>
                      <a:pt x="80" y="96"/>
                    </a:cubicBezTo>
                    <a:cubicBezTo>
                      <a:pt x="80" y="96"/>
                      <a:pt x="78" y="99"/>
                      <a:pt x="84" y="99"/>
                    </a:cubicBezTo>
                    <a:cubicBezTo>
                      <a:pt x="91" y="99"/>
                      <a:pt x="94" y="94"/>
                      <a:pt x="94" y="94"/>
                    </a:cubicBezTo>
                    <a:cubicBezTo>
                      <a:pt x="94" y="94"/>
                      <a:pt x="88" y="90"/>
                      <a:pt x="91" y="88"/>
                    </a:cubicBezTo>
                    <a:cubicBezTo>
                      <a:pt x="93" y="86"/>
                      <a:pt x="95" y="83"/>
                      <a:pt x="95" y="83"/>
                    </a:cubicBezTo>
                    <a:cubicBezTo>
                      <a:pt x="93" y="80"/>
                      <a:pt x="93" y="80"/>
                      <a:pt x="93" y="80"/>
                    </a:cubicBezTo>
                    <a:cubicBezTo>
                      <a:pt x="93" y="80"/>
                      <a:pt x="83" y="84"/>
                      <a:pt x="85" y="80"/>
                    </a:cubicBezTo>
                    <a:cubicBezTo>
                      <a:pt x="87" y="76"/>
                      <a:pt x="101" y="69"/>
                      <a:pt x="101" y="69"/>
                    </a:cubicBezTo>
                    <a:cubicBezTo>
                      <a:pt x="107" y="71"/>
                      <a:pt x="107" y="71"/>
                      <a:pt x="107" y="71"/>
                    </a:cubicBezTo>
                    <a:cubicBezTo>
                      <a:pt x="109" y="58"/>
                      <a:pt x="109" y="58"/>
                      <a:pt x="109" y="58"/>
                    </a:cubicBezTo>
                    <a:cubicBezTo>
                      <a:pt x="109" y="58"/>
                      <a:pt x="99" y="54"/>
                      <a:pt x="102" y="50"/>
                    </a:cubicBezTo>
                    <a:cubicBezTo>
                      <a:pt x="105" y="46"/>
                      <a:pt x="124" y="38"/>
                      <a:pt x="124" y="38"/>
                    </a:cubicBezTo>
                    <a:cubicBezTo>
                      <a:pt x="124" y="38"/>
                      <a:pt x="121" y="31"/>
                      <a:pt x="124" y="31"/>
                    </a:cubicBezTo>
                    <a:cubicBezTo>
                      <a:pt x="126" y="31"/>
                      <a:pt x="132" y="34"/>
                      <a:pt x="132" y="34"/>
                    </a:cubicBezTo>
                    <a:cubicBezTo>
                      <a:pt x="132" y="34"/>
                      <a:pt x="129" y="23"/>
                      <a:pt x="132" y="23"/>
                    </a:cubicBezTo>
                    <a:cubicBezTo>
                      <a:pt x="136" y="22"/>
                      <a:pt x="145" y="25"/>
                      <a:pt x="145" y="25"/>
                    </a:cubicBezTo>
                    <a:cubicBezTo>
                      <a:pt x="145" y="20"/>
                      <a:pt x="145" y="20"/>
                      <a:pt x="145" y="20"/>
                    </a:cubicBezTo>
                    <a:cubicBezTo>
                      <a:pt x="145" y="20"/>
                      <a:pt x="137" y="21"/>
                      <a:pt x="137" y="18"/>
                    </a:cubicBezTo>
                    <a:cubicBezTo>
                      <a:pt x="137" y="11"/>
                      <a:pt x="137" y="11"/>
                      <a:pt x="137" y="11"/>
                    </a:cubicBezTo>
                    <a:cubicBezTo>
                      <a:pt x="137" y="11"/>
                      <a:pt x="133" y="12"/>
                      <a:pt x="133" y="9"/>
                    </a:cubicBezTo>
                    <a:cubicBezTo>
                      <a:pt x="134" y="7"/>
                      <a:pt x="137" y="5"/>
                      <a:pt x="133" y="3"/>
                    </a:cubicBezTo>
                    <a:cubicBezTo>
                      <a:pt x="132" y="3"/>
                      <a:pt x="128" y="2"/>
                      <a:pt x="124" y="0"/>
                    </a:cubicBezTo>
                    <a:cubicBezTo>
                      <a:pt x="121" y="3"/>
                      <a:pt x="121" y="3"/>
                      <a:pt x="121" y="3"/>
                    </a:cubicBezTo>
                    <a:cubicBezTo>
                      <a:pt x="121" y="3"/>
                      <a:pt x="119" y="2"/>
                      <a:pt x="117" y="6"/>
                    </a:cubicBez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33" name="Slovakia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483225" y="4140200"/>
                <a:ext cx="523875" cy="277812"/>
              </a:xfrm>
              <a:custGeom>
                <a:avLst/>
                <a:gdLst/>
                <a:ahLst/>
                <a:cxnLst>
                  <a:cxn ang="0">
                    <a:pos x="221" y="7"/>
                  </a:cxn>
                  <a:cxn ang="0">
                    <a:pos x="202" y="1"/>
                  </a:cxn>
                  <a:cxn ang="0">
                    <a:pos x="179" y="7"/>
                  </a:cxn>
                  <a:cxn ang="0">
                    <a:pos x="165" y="9"/>
                  </a:cxn>
                  <a:cxn ang="0">
                    <a:pos x="141" y="16"/>
                  </a:cxn>
                  <a:cxn ang="0">
                    <a:pos x="130" y="23"/>
                  </a:cxn>
                  <a:cxn ang="0">
                    <a:pos x="125" y="19"/>
                  </a:cxn>
                  <a:cxn ang="0">
                    <a:pos x="116" y="14"/>
                  </a:cxn>
                  <a:cxn ang="0">
                    <a:pos x="113" y="11"/>
                  </a:cxn>
                  <a:cxn ang="0">
                    <a:pos x="102" y="9"/>
                  </a:cxn>
                  <a:cxn ang="0">
                    <a:pos x="96" y="16"/>
                  </a:cxn>
                  <a:cxn ang="0">
                    <a:pos x="86" y="10"/>
                  </a:cxn>
                  <a:cxn ang="0">
                    <a:pos x="76" y="13"/>
                  </a:cxn>
                  <a:cxn ang="0">
                    <a:pos x="64" y="23"/>
                  </a:cxn>
                  <a:cxn ang="0">
                    <a:pos x="51" y="43"/>
                  </a:cxn>
                  <a:cxn ang="0">
                    <a:pos x="43" y="53"/>
                  </a:cxn>
                  <a:cxn ang="0">
                    <a:pos x="14" y="59"/>
                  </a:cxn>
                  <a:cxn ang="0">
                    <a:pos x="4" y="73"/>
                  </a:cxn>
                  <a:cxn ang="0">
                    <a:pos x="0" y="90"/>
                  </a:cxn>
                  <a:cxn ang="0">
                    <a:pos x="9" y="105"/>
                  </a:cxn>
                  <a:cxn ang="0">
                    <a:pos x="14" y="117"/>
                  </a:cxn>
                  <a:cxn ang="0">
                    <a:pos x="37" y="126"/>
                  </a:cxn>
                  <a:cxn ang="0">
                    <a:pos x="56" y="129"/>
                  </a:cxn>
                  <a:cxn ang="0">
                    <a:pos x="76" y="126"/>
                  </a:cxn>
                  <a:cxn ang="0">
                    <a:pos x="93" y="118"/>
                  </a:cxn>
                  <a:cxn ang="0">
                    <a:pos x="102" y="104"/>
                  </a:cxn>
                  <a:cxn ang="0">
                    <a:pos x="123" y="89"/>
                  </a:cxn>
                  <a:cxn ang="0">
                    <a:pos x="155" y="83"/>
                  </a:cxn>
                  <a:cxn ang="0">
                    <a:pos x="185" y="63"/>
                  </a:cxn>
                  <a:cxn ang="0">
                    <a:pos x="210" y="63"/>
                  </a:cxn>
                  <a:cxn ang="0">
                    <a:pos x="225" y="67"/>
                  </a:cxn>
                  <a:cxn ang="0">
                    <a:pos x="232" y="55"/>
                  </a:cxn>
                  <a:cxn ang="0">
                    <a:pos x="241" y="30"/>
                  </a:cxn>
                  <a:cxn ang="0">
                    <a:pos x="222" y="14"/>
                  </a:cxn>
                </a:cxnLst>
                <a:rect l="0" t="0" r="r" b="b"/>
                <a:pathLst>
                  <a:path w="246" h="130">
                    <a:moveTo>
                      <a:pt x="222" y="14"/>
                    </a:moveTo>
                    <a:cubicBezTo>
                      <a:pt x="222" y="14"/>
                      <a:pt x="222" y="9"/>
                      <a:pt x="221" y="7"/>
                    </a:cubicBezTo>
                    <a:cubicBezTo>
                      <a:pt x="220" y="5"/>
                      <a:pt x="208" y="5"/>
                      <a:pt x="208" y="5"/>
                    </a:cubicBezTo>
                    <a:cubicBezTo>
                      <a:pt x="202" y="1"/>
                      <a:pt x="202" y="1"/>
                      <a:pt x="202" y="1"/>
                    </a:cubicBezTo>
                    <a:cubicBezTo>
                      <a:pt x="202" y="1"/>
                      <a:pt x="199" y="0"/>
                      <a:pt x="192" y="1"/>
                    </a:cubicBezTo>
                    <a:cubicBezTo>
                      <a:pt x="184" y="3"/>
                      <a:pt x="179" y="7"/>
                      <a:pt x="179" y="7"/>
                    </a:cubicBezTo>
                    <a:cubicBezTo>
                      <a:pt x="179" y="7"/>
                      <a:pt x="178" y="13"/>
                      <a:pt x="173" y="14"/>
                    </a:cubicBezTo>
                    <a:cubicBezTo>
                      <a:pt x="166" y="15"/>
                      <a:pt x="165" y="9"/>
                      <a:pt x="165" y="9"/>
                    </a:cubicBezTo>
                    <a:cubicBezTo>
                      <a:pt x="153" y="9"/>
                      <a:pt x="153" y="9"/>
                      <a:pt x="153" y="9"/>
                    </a:cubicBezTo>
                    <a:cubicBezTo>
                      <a:pt x="146" y="10"/>
                      <a:pt x="141" y="16"/>
                      <a:pt x="141" y="16"/>
                    </a:cubicBezTo>
                    <a:cubicBezTo>
                      <a:pt x="138" y="26"/>
                      <a:pt x="138" y="26"/>
                      <a:pt x="138" y="26"/>
                    </a:cubicBezTo>
                    <a:cubicBezTo>
                      <a:pt x="130" y="23"/>
                      <a:pt x="130" y="23"/>
                      <a:pt x="130" y="23"/>
                    </a:cubicBezTo>
                    <a:cubicBezTo>
                      <a:pt x="130" y="23"/>
                      <a:pt x="126" y="26"/>
                      <a:pt x="124" y="26"/>
                    </a:cubicBezTo>
                    <a:cubicBezTo>
                      <a:pt x="120" y="26"/>
                      <a:pt x="125" y="19"/>
                      <a:pt x="125" y="19"/>
                    </a:cubicBezTo>
                    <a:cubicBezTo>
                      <a:pt x="122" y="12"/>
                      <a:pt x="122" y="12"/>
                      <a:pt x="122" y="12"/>
                    </a:cubicBezTo>
                    <a:cubicBezTo>
                      <a:pt x="116" y="14"/>
                      <a:pt x="116" y="14"/>
                      <a:pt x="116" y="14"/>
                    </a:cubicBezTo>
                    <a:cubicBezTo>
                      <a:pt x="117" y="11"/>
                      <a:pt x="117" y="11"/>
                      <a:pt x="117" y="11"/>
                    </a:cubicBezTo>
                    <a:cubicBezTo>
                      <a:pt x="113" y="11"/>
                      <a:pt x="113" y="11"/>
                      <a:pt x="113" y="11"/>
                    </a:cubicBezTo>
                    <a:cubicBezTo>
                      <a:pt x="113" y="11"/>
                      <a:pt x="112" y="4"/>
                      <a:pt x="108" y="3"/>
                    </a:cubicBezTo>
                    <a:cubicBezTo>
                      <a:pt x="103" y="3"/>
                      <a:pt x="102" y="9"/>
                      <a:pt x="102" y="9"/>
                    </a:cubicBezTo>
                    <a:cubicBezTo>
                      <a:pt x="99" y="9"/>
                      <a:pt x="99" y="9"/>
                      <a:pt x="99" y="9"/>
                    </a:cubicBezTo>
                    <a:cubicBezTo>
                      <a:pt x="96" y="16"/>
                      <a:pt x="96" y="16"/>
                      <a:pt x="96" y="16"/>
                    </a:cubicBezTo>
                    <a:cubicBezTo>
                      <a:pt x="86" y="18"/>
                      <a:pt x="86" y="18"/>
                      <a:pt x="86" y="18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3" y="10"/>
                      <a:pt x="83" y="10"/>
                      <a:pt x="83" y="10"/>
                    </a:cubicBezTo>
                    <a:cubicBezTo>
                      <a:pt x="76" y="13"/>
                      <a:pt x="76" y="13"/>
                      <a:pt x="76" y="13"/>
                    </a:cubicBezTo>
                    <a:cubicBezTo>
                      <a:pt x="69" y="12"/>
                      <a:pt x="69" y="12"/>
                      <a:pt x="69" y="12"/>
                    </a:cubicBezTo>
                    <a:cubicBezTo>
                      <a:pt x="69" y="12"/>
                      <a:pt x="68" y="20"/>
                      <a:pt x="64" y="23"/>
                    </a:cubicBezTo>
                    <a:cubicBezTo>
                      <a:pt x="60" y="26"/>
                      <a:pt x="58" y="24"/>
                      <a:pt x="54" y="27"/>
                    </a:cubicBezTo>
                    <a:cubicBezTo>
                      <a:pt x="52" y="31"/>
                      <a:pt x="54" y="39"/>
                      <a:pt x="51" y="43"/>
                    </a:cubicBezTo>
                    <a:cubicBezTo>
                      <a:pt x="49" y="47"/>
                      <a:pt x="47" y="43"/>
                      <a:pt x="44" y="46"/>
                    </a:cubicBezTo>
                    <a:cubicBezTo>
                      <a:pt x="41" y="50"/>
                      <a:pt x="43" y="53"/>
                      <a:pt x="43" y="53"/>
                    </a:cubicBezTo>
                    <a:cubicBezTo>
                      <a:pt x="30" y="61"/>
                      <a:pt x="30" y="61"/>
                      <a:pt x="30" y="61"/>
                    </a:cubicBezTo>
                    <a:cubicBezTo>
                      <a:pt x="30" y="61"/>
                      <a:pt x="18" y="57"/>
                      <a:pt x="14" y="59"/>
                    </a:cubicBezTo>
                    <a:cubicBezTo>
                      <a:pt x="10" y="61"/>
                      <a:pt x="5" y="69"/>
                      <a:pt x="4" y="72"/>
                    </a:cubicBezTo>
                    <a:cubicBezTo>
                      <a:pt x="4" y="73"/>
                      <a:pt x="4" y="73"/>
                      <a:pt x="4" y="73"/>
                    </a:cubicBezTo>
                    <a:cubicBezTo>
                      <a:pt x="4" y="83"/>
                      <a:pt x="4" y="83"/>
                      <a:pt x="4" y="83"/>
                    </a:cubicBezTo>
                    <a:cubicBezTo>
                      <a:pt x="4" y="83"/>
                      <a:pt x="1" y="85"/>
                      <a:pt x="0" y="90"/>
                    </a:cubicBezTo>
                    <a:cubicBezTo>
                      <a:pt x="0" y="95"/>
                      <a:pt x="7" y="99"/>
                      <a:pt x="7" y="99"/>
                    </a:cubicBezTo>
                    <a:cubicBezTo>
                      <a:pt x="9" y="105"/>
                      <a:pt x="9" y="105"/>
                      <a:pt x="9" y="105"/>
                    </a:cubicBezTo>
                    <a:cubicBezTo>
                      <a:pt x="9" y="105"/>
                      <a:pt x="12" y="109"/>
                      <a:pt x="14" y="113"/>
                    </a:cubicBezTo>
                    <a:cubicBezTo>
                      <a:pt x="14" y="114"/>
                      <a:pt x="15" y="116"/>
                      <a:pt x="14" y="117"/>
                    </a:cubicBezTo>
                    <a:cubicBezTo>
                      <a:pt x="18" y="116"/>
                      <a:pt x="22" y="116"/>
                      <a:pt x="25" y="117"/>
                    </a:cubicBezTo>
                    <a:cubicBezTo>
                      <a:pt x="30" y="118"/>
                      <a:pt x="37" y="126"/>
                      <a:pt x="37" y="126"/>
                    </a:cubicBezTo>
                    <a:cubicBezTo>
                      <a:pt x="37" y="126"/>
                      <a:pt x="41" y="130"/>
                      <a:pt x="46" y="130"/>
                    </a:cubicBezTo>
                    <a:cubicBezTo>
                      <a:pt x="50" y="130"/>
                      <a:pt x="56" y="129"/>
                      <a:pt x="56" y="129"/>
                    </a:cubicBezTo>
                    <a:cubicBezTo>
                      <a:pt x="63" y="129"/>
                      <a:pt x="63" y="129"/>
                      <a:pt x="63" y="129"/>
                    </a:cubicBezTo>
                    <a:cubicBezTo>
                      <a:pt x="76" y="126"/>
                      <a:pt x="76" y="126"/>
                      <a:pt x="76" y="126"/>
                    </a:cubicBezTo>
                    <a:cubicBezTo>
                      <a:pt x="86" y="125"/>
                      <a:pt x="86" y="125"/>
                      <a:pt x="86" y="125"/>
                    </a:cubicBezTo>
                    <a:cubicBezTo>
                      <a:pt x="93" y="118"/>
                      <a:pt x="93" y="118"/>
                      <a:pt x="93" y="118"/>
                    </a:cubicBezTo>
                    <a:cubicBezTo>
                      <a:pt x="93" y="118"/>
                      <a:pt x="86" y="113"/>
                      <a:pt x="90" y="106"/>
                    </a:cubicBezTo>
                    <a:cubicBezTo>
                      <a:pt x="93" y="101"/>
                      <a:pt x="102" y="104"/>
                      <a:pt x="102" y="104"/>
                    </a:cubicBezTo>
                    <a:cubicBezTo>
                      <a:pt x="119" y="98"/>
                      <a:pt x="119" y="98"/>
                      <a:pt x="119" y="98"/>
                    </a:cubicBezTo>
                    <a:cubicBezTo>
                      <a:pt x="119" y="98"/>
                      <a:pt x="118" y="90"/>
                      <a:pt x="123" y="89"/>
                    </a:cubicBezTo>
                    <a:cubicBezTo>
                      <a:pt x="127" y="88"/>
                      <a:pt x="138" y="94"/>
                      <a:pt x="138" y="94"/>
                    </a:cubicBezTo>
                    <a:cubicBezTo>
                      <a:pt x="138" y="94"/>
                      <a:pt x="150" y="87"/>
                      <a:pt x="155" y="83"/>
                    </a:cubicBezTo>
                    <a:cubicBezTo>
                      <a:pt x="159" y="79"/>
                      <a:pt x="158" y="69"/>
                      <a:pt x="163" y="66"/>
                    </a:cubicBezTo>
                    <a:cubicBezTo>
                      <a:pt x="168" y="62"/>
                      <a:pt x="176" y="61"/>
                      <a:pt x="185" y="63"/>
                    </a:cubicBezTo>
                    <a:cubicBezTo>
                      <a:pt x="194" y="67"/>
                      <a:pt x="201" y="58"/>
                      <a:pt x="201" y="58"/>
                    </a:cubicBezTo>
                    <a:cubicBezTo>
                      <a:pt x="210" y="63"/>
                      <a:pt x="210" y="63"/>
                      <a:pt x="210" y="63"/>
                    </a:cubicBezTo>
                    <a:cubicBezTo>
                      <a:pt x="210" y="63"/>
                      <a:pt x="211" y="71"/>
                      <a:pt x="216" y="72"/>
                    </a:cubicBezTo>
                    <a:cubicBezTo>
                      <a:pt x="222" y="73"/>
                      <a:pt x="222" y="69"/>
                      <a:pt x="225" y="67"/>
                    </a:cubicBezTo>
                    <a:cubicBezTo>
                      <a:pt x="228" y="64"/>
                      <a:pt x="234" y="66"/>
                      <a:pt x="234" y="66"/>
                    </a:cubicBezTo>
                    <a:cubicBezTo>
                      <a:pt x="234" y="66"/>
                      <a:pt x="232" y="59"/>
                      <a:pt x="232" y="55"/>
                    </a:cubicBezTo>
                    <a:cubicBezTo>
                      <a:pt x="232" y="51"/>
                      <a:pt x="240" y="43"/>
                      <a:pt x="240" y="43"/>
                    </a:cubicBezTo>
                    <a:cubicBezTo>
                      <a:pt x="241" y="30"/>
                      <a:pt x="241" y="30"/>
                      <a:pt x="241" y="30"/>
                    </a:cubicBezTo>
                    <a:cubicBezTo>
                      <a:pt x="246" y="18"/>
                      <a:pt x="246" y="18"/>
                      <a:pt x="246" y="18"/>
                    </a:cubicBezTo>
                    <a:lnTo>
                      <a:pt x="222" y="14"/>
                    </a:ln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34" name="Serbia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708650" y="4608513"/>
                <a:ext cx="463550" cy="525041"/>
              </a:xfrm>
              <a:custGeom>
                <a:avLst/>
                <a:gdLst/>
                <a:ahLst/>
                <a:cxnLst>
                  <a:cxn ang="0">
                    <a:pos x="137" y="108"/>
                  </a:cxn>
                  <a:cxn ang="0">
                    <a:pos x="136" y="89"/>
                  </a:cxn>
                  <a:cxn ang="0">
                    <a:pos x="134" y="77"/>
                  </a:cxn>
                  <a:cxn ang="0">
                    <a:pos x="135" y="65"/>
                  </a:cxn>
                  <a:cxn ang="0">
                    <a:pos x="128" y="58"/>
                  </a:cxn>
                  <a:cxn ang="0">
                    <a:pos x="105" y="65"/>
                  </a:cxn>
                  <a:cxn ang="0">
                    <a:pos x="96" y="56"/>
                  </a:cxn>
                  <a:cxn ang="0">
                    <a:pos x="94" y="41"/>
                  </a:cxn>
                  <a:cxn ang="0">
                    <a:pos x="77" y="38"/>
                  </a:cxn>
                  <a:cxn ang="0">
                    <a:pos x="65" y="24"/>
                  </a:cxn>
                  <a:cxn ang="0">
                    <a:pos x="57" y="11"/>
                  </a:cxn>
                  <a:cxn ang="0">
                    <a:pos x="50" y="9"/>
                  </a:cxn>
                  <a:cxn ang="0">
                    <a:pos x="31" y="5"/>
                  </a:cxn>
                  <a:cxn ang="0">
                    <a:pos x="11" y="14"/>
                  </a:cxn>
                  <a:cxn ang="0">
                    <a:pos x="0" y="19"/>
                  </a:cxn>
                  <a:cxn ang="0">
                    <a:pos x="8" y="33"/>
                  </a:cxn>
                  <a:cxn ang="0">
                    <a:pos x="14" y="48"/>
                  </a:cxn>
                  <a:cxn ang="0">
                    <a:pos x="14" y="50"/>
                  </a:cxn>
                  <a:cxn ang="0">
                    <a:pos x="24" y="64"/>
                  </a:cxn>
                  <a:cxn ang="0">
                    <a:pos x="15" y="82"/>
                  </a:cxn>
                  <a:cxn ang="0">
                    <a:pos x="24" y="92"/>
                  </a:cxn>
                  <a:cxn ang="0">
                    <a:pos x="21" y="106"/>
                  </a:cxn>
                  <a:cxn ang="0">
                    <a:pos x="24" y="124"/>
                  </a:cxn>
                  <a:cxn ang="0">
                    <a:pos x="31" y="132"/>
                  </a:cxn>
                  <a:cxn ang="0">
                    <a:pos x="47" y="143"/>
                  </a:cxn>
                  <a:cxn ang="0">
                    <a:pos x="64" y="155"/>
                  </a:cxn>
                  <a:cxn ang="0">
                    <a:pos x="65" y="158"/>
                  </a:cxn>
                  <a:cxn ang="0">
                    <a:pos x="73" y="154"/>
                  </a:cxn>
                  <a:cxn ang="0">
                    <a:pos x="77" y="145"/>
                  </a:cxn>
                  <a:cxn ang="0">
                    <a:pos x="78" y="138"/>
                  </a:cxn>
                  <a:cxn ang="0">
                    <a:pos x="83" y="134"/>
                  </a:cxn>
                  <a:cxn ang="0">
                    <a:pos x="83" y="140"/>
                  </a:cxn>
                  <a:cxn ang="0">
                    <a:pos x="88" y="141"/>
                  </a:cxn>
                  <a:cxn ang="0">
                    <a:pos x="90" y="143"/>
                  </a:cxn>
                  <a:cxn ang="0">
                    <a:pos x="98" y="146"/>
                  </a:cxn>
                  <a:cxn ang="0">
                    <a:pos x="102" y="150"/>
                  </a:cxn>
                  <a:cxn ang="0">
                    <a:pos x="107" y="154"/>
                  </a:cxn>
                  <a:cxn ang="0">
                    <a:pos x="112" y="156"/>
                  </a:cxn>
                  <a:cxn ang="0">
                    <a:pos x="118" y="161"/>
                  </a:cxn>
                  <a:cxn ang="0">
                    <a:pos x="116" y="170"/>
                  </a:cxn>
                  <a:cxn ang="0">
                    <a:pos x="114" y="176"/>
                  </a:cxn>
                  <a:cxn ang="0">
                    <a:pos x="125" y="172"/>
                  </a:cxn>
                  <a:cxn ang="0">
                    <a:pos x="140" y="170"/>
                  </a:cxn>
                  <a:cxn ang="0">
                    <a:pos x="143" y="150"/>
                  </a:cxn>
                  <a:cxn ang="0">
                    <a:pos x="150" y="142"/>
                  </a:cxn>
                  <a:cxn ang="0">
                    <a:pos x="150" y="119"/>
                  </a:cxn>
                </a:cxnLst>
                <a:rect l="0" t="0" r="r" b="b"/>
                <a:pathLst>
                  <a:path w="158" h="177">
                    <a:moveTo>
                      <a:pt x="150" y="119"/>
                    </a:moveTo>
                    <a:cubicBezTo>
                      <a:pt x="148" y="117"/>
                      <a:pt x="139" y="115"/>
                      <a:pt x="139" y="115"/>
                    </a:cubicBezTo>
                    <a:cubicBezTo>
                      <a:pt x="137" y="108"/>
                      <a:pt x="137" y="108"/>
                      <a:pt x="137" y="108"/>
                    </a:cubicBezTo>
                    <a:cubicBezTo>
                      <a:pt x="131" y="102"/>
                      <a:pt x="131" y="102"/>
                      <a:pt x="131" y="102"/>
                    </a:cubicBezTo>
                    <a:cubicBezTo>
                      <a:pt x="132" y="91"/>
                      <a:pt x="132" y="91"/>
                      <a:pt x="132" y="91"/>
                    </a:cubicBezTo>
                    <a:cubicBezTo>
                      <a:pt x="132" y="91"/>
                      <a:pt x="135" y="90"/>
                      <a:pt x="136" y="89"/>
                    </a:cubicBezTo>
                    <a:cubicBezTo>
                      <a:pt x="137" y="87"/>
                      <a:pt x="137" y="83"/>
                      <a:pt x="137" y="83"/>
                    </a:cubicBezTo>
                    <a:cubicBezTo>
                      <a:pt x="137" y="83"/>
                      <a:pt x="140" y="80"/>
                      <a:pt x="139" y="77"/>
                    </a:cubicBezTo>
                    <a:cubicBezTo>
                      <a:pt x="138" y="74"/>
                      <a:pt x="134" y="77"/>
                      <a:pt x="134" y="77"/>
                    </a:cubicBezTo>
                    <a:cubicBezTo>
                      <a:pt x="132" y="69"/>
                      <a:pt x="132" y="69"/>
                      <a:pt x="132" y="69"/>
                    </a:cubicBezTo>
                    <a:cubicBezTo>
                      <a:pt x="134" y="69"/>
                      <a:pt x="134" y="69"/>
                      <a:pt x="134" y="69"/>
                    </a:cubicBezTo>
                    <a:cubicBezTo>
                      <a:pt x="135" y="65"/>
                      <a:pt x="135" y="65"/>
                      <a:pt x="135" y="65"/>
                    </a:cubicBezTo>
                    <a:cubicBezTo>
                      <a:pt x="138" y="66"/>
                      <a:pt x="138" y="66"/>
                      <a:pt x="138" y="66"/>
                    </a:cubicBezTo>
                    <a:cubicBezTo>
                      <a:pt x="139" y="63"/>
                      <a:pt x="139" y="63"/>
                      <a:pt x="139" y="63"/>
                    </a:cubicBezTo>
                    <a:cubicBezTo>
                      <a:pt x="139" y="63"/>
                      <a:pt x="135" y="60"/>
                      <a:pt x="128" y="58"/>
                    </a:cubicBezTo>
                    <a:cubicBezTo>
                      <a:pt x="123" y="58"/>
                      <a:pt x="122" y="71"/>
                      <a:pt x="119" y="71"/>
                    </a:cubicBezTo>
                    <a:cubicBezTo>
                      <a:pt x="116" y="72"/>
                      <a:pt x="116" y="65"/>
                      <a:pt x="113" y="64"/>
                    </a:cubicBezTo>
                    <a:cubicBezTo>
                      <a:pt x="111" y="62"/>
                      <a:pt x="108" y="67"/>
                      <a:pt x="105" y="65"/>
                    </a:cubicBezTo>
                    <a:cubicBezTo>
                      <a:pt x="102" y="65"/>
                      <a:pt x="100" y="61"/>
                      <a:pt x="99" y="60"/>
                    </a:cubicBezTo>
                    <a:cubicBezTo>
                      <a:pt x="97" y="60"/>
                      <a:pt x="90" y="58"/>
                      <a:pt x="90" y="58"/>
                    </a:cubicBezTo>
                    <a:cubicBezTo>
                      <a:pt x="96" y="56"/>
                      <a:pt x="96" y="56"/>
                      <a:pt x="96" y="56"/>
                    </a:cubicBezTo>
                    <a:cubicBezTo>
                      <a:pt x="97" y="53"/>
                      <a:pt x="97" y="53"/>
                      <a:pt x="97" y="53"/>
                    </a:cubicBezTo>
                    <a:cubicBezTo>
                      <a:pt x="90" y="52"/>
                      <a:pt x="90" y="52"/>
                      <a:pt x="90" y="52"/>
                    </a:cubicBezTo>
                    <a:cubicBezTo>
                      <a:pt x="90" y="52"/>
                      <a:pt x="94" y="46"/>
                      <a:pt x="94" y="41"/>
                    </a:cubicBezTo>
                    <a:cubicBezTo>
                      <a:pt x="93" y="35"/>
                      <a:pt x="84" y="39"/>
                      <a:pt x="84" y="39"/>
                    </a:cubicBezTo>
                    <a:cubicBezTo>
                      <a:pt x="81" y="36"/>
                      <a:pt x="81" y="36"/>
                      <a:pt x="81" y="36"/>
                    </a:cubicBezTo>
                    <a:cubicBezTo>
                      <a:pt x="77" y="38"/>
                      <a:pt x="77" y="38"/>
                      <a:pt x="77" y="38"/>
                    </a:cubicBezTo>
                    <a:cubicBezTo>
                      <a:pt x="66" y="30"/>
                      <a:pt x="66" y="30"/>
                      <a:pt x="66" y="30"/>
                    </a:cubicBezTo>
                    <a:cubicBezTo>
                      <a:pt x="69" y="27"/>
                      <a:pt x="69" y="27"/>
                      <a:pt x="69" y="27"/>
                    </a:cubicBezTo>
                    <a:cubicBezTo>
                      <a:pt x="65" y="24"/>
                      <a:pt x="65" y="24"/>
                      <a:pt x="65" y="24"/>
                    </a:cubicBezTo>
                    <a:cubicBezTo>
                      <a:pt x="67" y="16"/>
                      <a:pt x="67" y="16"/>
                      <a:pt x="67" y="16"/>
                    </a:cubicBezTo>
                    <a:cubicBezTo>
                      <a:pt x="67" y="16"/>
                      <a:pt x="63" y="19"/>
                      <a:pt x="61" y="19"/>
                    </a:cubicBezTo>
                    <a:cubicBezTo>
                      <a:pt x="58" y="19"/>
                      <a:pt x="57" y="11"/>
                      <a:pt x="57" y="11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3" y="8"/>
                      <a:pt x="53" y="8"/>
                      <a:pt x="53" y="8"/>
                    </a:cubicBezTo>
                    <a:cubicBezTo>
                      <a:pt x="50" y="9"/>
                      <a:pt x="50" y="9"/>
                      <a:pt x="50" y="9"/>
                    </a:cubicBezTo>
                    <a:cubicBezTo>
                      <a:pt x="45" y="1"/>
                      <a:pt x="45" y="1"/>
                      <a:pt x="45" y="1"/>
                    </a:cubicBezTo>
                    <a:cubicBezTo>
                      <a:pt x="39" y="1"/>
                      <a:pt x="39" y="1"/>
                      <a:pt x="39" y="1"/>
                    </a:cubicBezTo>
                    <a:cubicBezTo>
                      <a:pt x="32" y="0"/>
                      <a:pt x="31" y="5"/>
                      <a:pt x="31" y="5"/>
                    </a:cubicBezTo>
                    <a:cubicBezTo>
                      <a:pt x="31" y="5"/>
                      <a:pt x="28" y="3"/>
                      <a:pt x="26" y="3"/>
                    </a:cubicBezTo>
                    <a:cubicBezTo>
                      <a:pt x="24" y="3"/>
                      <a:pt x="21" y="6"/>
                      <a:pt x="19" y="8"/>
                    </a:cubicBezTo>
                    <a:cubicBezTo>
                      <a:pt x="17" y="11"/>
                      <a:pt x="11" y="14"/>
                      <a:pt x="11" y="14"/>
                    </a:cubicBezTo>
                    <a:cubicBezTo>
                      <a:pt x="7" y="13"/>
                      <a:pt x="7" y="13"/>
                      <a:pt x="7" y="13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2" y="21"/>
                      <a:pt x="4" y="24"/>
                      <a:pt x="4" y="24"/>
                    </a:cubicBezTo>
                    <a:cubicBezTo>
                      <a:pt x="4" y="28"/>
                      <a:pt x="0" y="32"/>
                      <a:pt x="2" y="33"/>
                    </a:cubicBezTo>
                    <a:cubicBezTo>
                      <a:pt x="5" y="37"/>
                      <a:pt x="5" y="33"/>
                      <a:pt x="8" y="33"/>
                    </a:cubicBezTo>
                    <a:cubicBezTo>
                      <a:pt x="12" y="33"/>
                      <a:pt x="11" y="37"/>
                      <a:pt x="6" y="39"/>
                    </a:cubicBezTo>
                    <a:cubicBezTo>
                      <a:pt x="2" y="40"/>
                      <a:pt x="6" y="43"/>
                      <a:pt x="6" y="43"/>
                    </a:cubicBezTo>
                    <a:cubicBezTo>
                      <a:pt x="14" y="48"/>
                      <a:pt x="14" y="48"/>
                      <a:pt x="14" y="48"/>
                    </a:cubicBezTo>
                    <a:cubicBezTo>
                      <a:pt x="22" y="48"/>
                      <a:pt x="22" y="48"/>
                      <a:pt x="22" y="48"/>
                    </a:cubicBezTo>
                    <a:cubicBezTo>
                      <a:pt x="22" y="50"/>
                      <a:pt x="22" y="50"/>
                      <a:pt x="22" y="50"/>
                    </a:cubicBezTo>
                    <a:cubicBezTo>
                      <a:pt x="14" y="50"/>
                      <a:pt x="14" y="50"/>
                      <a:pt x="14" y="50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3" y="62"/>
                      <a:pt x="13" y="62"/>
                      <a:pt x="13" y="62"/>
                    </a:cubicBezTo>
                    <a:cubicBezTo>
                      <a:pt x="24" y="64"/>
                      <a:pt x="24" y="64"/>
                      <a:pt x="24" y="64"/>
                    </a:cubicBezTo>
                    <a:cubicBezTo>
                      <a:pt x="21" y="66"/>
                      <a:pt x="21" y="66"/>
                      <a:pt x="21" y="66"/>
                    </a:cubicBezTo>
                    <a:cubicBezTo>
                      <a:pt x="21" y="66"/>
                      <a:pt x="21" y="73"/>
                      <a:pt x="19" y="75"/>
                    </a:cubicBezTo>
                    <a:cubicBezTo>
                      <a:pt x="18" y="78"/>
                      <a:pt x="15" y="82"/>
                      <a:pt x="15" y="82"/>
                    </a:cubicBezTo>
                    <a:cubicBezTo>
                      <a:pt x="16" y="85"/>
                      <a:pt x="16" y="85"/>
                      <a:pt x="16" y="85"/>
                    </a:cubicBezTo>
                    <a:cubicBezTo>
                      <a:pt x="16" y="85"/>
                      <a:pt x="13" y="90"/>
                      <a:pt x="15" y="91"/>
                    </a:cubicBezTo>
                    <a:cubicBezTo>
                      <a:pt x="18" y="92"/>
                      <a:pt x="24" y="92"/>
                      <a:pt x="24" y="92"/>
                    </a:cubicBezTo>
                    <a:cubicBezTo>
                      <a:pt x="34" y="101"/>
                      <a:pt x="34" y="101"/>
                      <a:pt x="34" y="101"/>
                    </a:cubicBezTo>
                    <a:cubicBezTo>
                      <a:pt x="34" y="101"/>
                      <a:pt x="34" y="106"/>
                      <a:pt x="31" y="106"/>
                    </a:cubicBezTo>
                    <a:cubicBezTo>
                      <a:pt x="27" y="106"/>
                      <a:pt x="21" y="106"/>
                      <a:pt x="21" y="106"/>
                    </a:cubicBezTo>
                    <a:cubicBezTo>
                      <a:pt x="27" y="114"/>
                      <a:pt x="27" y="114"/>
                      <a:pt x="27" y="114"/>
                    </a:cubicBezTo>
                    <a:cubicBezTo>
                      <a:pt x="27" y="114"/>
                      <a:pt x="37" y="122"/>
                      <a:pt x="32" y="124"/>
                    </a:cubicBezTo>
                    <a:cubicBezTo>
                      <a:pt x="28" y="128"/>
                      <a:pt x="24" y="124"/>
                      <a:pt x="24" y="124"/>
                    </a:cubicBezTo>
                    <a:cubicBezTo>
                      <a:pt x="24" y="125"/>
                      <a:pt x="24" y="125"/>
                      <a:pt x="24" y="125"/>
                    </a:cubicBezTo>
                    <a:cubicBezTo>
                      <a:pt x="26" y="129"/>
                      <a:pt x="26" y="129"/>
                      <a:pt x="26" y="129"/>
                    </a:cubicBezTo>
                    <a:cubicBezTo>
                      <a:pt x="31" y="132"/>
                      <a:pt x="31" y="132"/>
                      <a:pt x="31" y="132"/>
                    </a:cubicBezTo>
                    <a:cubicBezTo>
                      <a:pt x="37" y="136"/>
                      <a:pt x="37" y="136"/>
                      <a:pt x="37" y="136"/>
                    </a:cubicBezTo>
                    <a:cubicBezTo>
                      <a:pt x="43" y="141"/>
                      <a:pt x="43" y="141"/>
                      <a:pt x="43" y="141"/>
                    </a:cubicBezTo>
                    <a:cubicBezTo>
                      <a:pt x="47" y="143"/>
                      <a:pt x="47" y="143"/>
                      <a:pt x="47" y="143"/>
                    </a:cubicBezTo>
                    <a:cubicBezTo>
                      <a:pt x="60" y="149"/>
                      <a:pt x="60" y="149"/>
                      <a:pt x="60" y="149"/>
                    </a:cubicBezTo>
                    <a:cubicBezTo>
                      <a:pt x="64" y="150"/>
                      <a:pt x="64" y="150"/>
                      <a:pt x="64" y="150"/>
                    </a:cubicBezTo>
                    <a:cubicBezTo>
                      <a:pt x="64" y="155"/>
                      <a:pt x="64" y="155"/>
                      <a:pt x="64" y="155"/>
                    </a:cubicBezTo>
                    <a:cubicBezTo>
                      <a:pt x="61" y="156"/>
                      <a:pt x="61" y="156"/>
                      <a:pt x="61" y="156"/>
                    </a:cubicBezTo>
                    <a:cubicBezTo>
                      <a:pt x="61" y="157"/>
                      <a:pt x="61" y="157"/>
                      <a:pt x="61" y="158"/>
                    </a:cubicBezTo>
                    <a:cubicBezTo>
                      <a:pt x="65" y="158"/>
                      <a:pt x="65" y="158"/>
                      <a:pt x="65" y="158"/>
                    </a:cubicBezTo>
                    <a:cubicBezTo>
                      <a:pt x="69" y="158"/>
                      <a:pt x="69" y="158"/>
                      <a:pt x="69" y="158"/>
                    </a:cubicBezTo>
                    <a:cubicBezTo>
                      <a:pt x="69" y="158"/>
                      <a:pt x="71" y="157"/>
                      <a:pt x="71" y="157"/>
                    </a:cubicBezTo>
                    <a:cubicBezTo>
                      <a:pt x="72" y="156"/>
                      <a:pt x="72" y="155"/>
                      <a:pt x="73" y="154"/>
                    </a:cubicBezTo>
                    <a:cubicBezTo>
                      <a:pt x="73" y="154"/>
                      <a:pt x="72" y="153"/>
                      <a:pt x="73" y="152"/>
                    </a:cubicBezTo>
                    <a:cubicBezTo>
                      <a:pt x="74" y="151"/>
                      <a:pt x="76" y="149"/>
                      <a:pt x="76" y="149"/>
                    </a:cubicBezTo>
                    <a:cubicBezTo>
                      <a:pt x="76" y="149"/>
                      <a:pt x="77" y="145"/>
                      <a:pt x="77" y="145"/>
                    </a:cubicBezTo>
                    <a:cubicBezTo>
                      <a:pt x="76" y="144"/>
                      <a:pt x="76" y="143"/>
                      <a:pt x="75" y="143"/>
                    </a:cubicBezTo>
                    <a:cubicBezTo>
                      <a:pt x="75" y="142"/>
                      <a:pt x="76" y="139"/>
                      <a:pt x="76" y="139"/>
                    </a:cubicBezTo>
                    <a:cubicBezTo>
                      <a:pt x="76" y="139"/>
                      <a:pt x="77" y="138"/>
                      <a:pt x="78" y="138"/>
                    </a:cubicBezTo>
                    <a:cubicBezTo>
                      <a:pt x="79" y="137"/>
                      <a:pt x="80" y="138"/>
                      <a:pt x="81" y="138"/>
                    </a:cubicBezTo>
                    <a:cubicBezTo>
                      <a:pt x="81" y="138"/>
                      <a:pt x="82" y="135"/>
                      <a:pt x="82" y="135"/>
                    </a:cubicBezTo>
                    <a:cubicBezTo>
                      <a:pt x="82" y="136"/>
                      <a:pt x="82" y="134"/>
                      <a:pt x="83" y="134"/>
                    </a:cubicBezTo>
                    <a:cubicBezTo>
                      <a:pt x="84" y="134"/>
                      <a:pt x="84" y="136"/>
                      <a:pt x="84" y="136"/>
                    </a:cubicBezTo>
                    <a:cubicBezTo>
                      <a:pt x="84" y="136"/>
                      <a:pt x="85" y="137"/>
                      <a:pt x="85" y="138"/>
                    </a:cubicBezTo>
                    <a:cubicBezTo>
                      <a:pt x="84" y="139"/>
                      <a:pt x="83" y="140"/>
                      <a:pt x="83" y="140"/>
                    </a:cubicBezTo>
                    <a:cubicBezTo>
                      <a:pt x="83" y="140"/>
                      <a:pt x="84" y="141"/>
                      <a:pt x="84" y="141"/>
                    </a:cubicBezTo>
                    <a:cubicBezTo>
                      <a:pt x="85" y="141"/>
                      <a:pt x="85" y="141"/>
                      <a:pt x="85" y="141"/>
                    </a:cubicBezTo>
                    <a:cubicBezTo>
                      <a:pt x="88" y="141"/>
                      <a:pt x="88" y="141"/>
                      <a:pt x="88" y="141"/>
                    </a:cubicBezTo>
                    <a:cubicBezTo>
                      <a:pt x="88" y="141"/>
                      <a:pt x="88" y="142"/>
                      <a:pt x="88" y="142"/>
                    </a:cubicBezTo>
                    <a:cubicBezTo>
                      <a:pt x="89" y="142"/>
                      <a:pt x="89" y="142"/>
                      <a:pt x="90" y="143"/>
                    </a:cubicBezTo>
                    <a:cubicBezTo>
                      <a:pt x="90" y="143"/>
                      <a:pt x="90" y="143"/>
                      <a:pt x="90" y="143"/>
                    </a:cubicBezTo>
                    <a:cubicBezTo>
                      <a:pt x="91" y="144"/>
                      <a:pt x="93" y="143"/>
                      <a:pt x="94" y="143"/>
                    </a:cubicBezTo>
                    <a:cubicBezTo>
                      <a:pt x="95" y="143"/>
                      <a:pt x="95" y="145"/>
                      <a:pt x="95" y="145"/>
                    </a:cubicBezTo>
                    <a:cubicBezTo>
                      <a:pt x="95" y="145"/>
                      <a:pt x="97" y="145"/>
                      <a:pt x="98" y="146"/>
                    </a:cubicBezTo>
                    <a:cubicBezTo>
                      <a:pt x="98" y="146"/>
                      <a:pt x="98" y="149"/>
                      <a:pt x="98" y="149"/>
                    </a:cubicBezTo>
                    <a:cubicBezTo>
                      <a:pt x="98" y="149"/>
                      <a:pt x="99" y="150"/>
                      <a:pt x="100" y="150"/>
                    </a:cubicBezTo>
                    <a:cubicBezTo>
                      <a:pt x="101" y="150"/>
                      <a:pt x="102" y="150"/>
                      <a:pt x="102" y="150"/>
                    </a:cubicBezTo>
                    <a:cubicBezTo>
                      <a:pt x="102" y="150"/>
                      <a:pt x="103" y="152"/>
                      <a:pt x="103" y="152"/>
                    </a:cubicBezTo>
                    <a:cubicBezTo>
                      <a:pt x="105" y="153"/>
                      <a:pt x="105" y="153"/>
                      <a:pt x="105" y="153"/>
                    </a:cubicBezTo>
                    <a:cubicBezTo>
                      <a:pt x="107" y="154"/>
                      <a:pt x="107" y="154"/>
                      <a:pt x="107" y="154"/>
                    </a:cubicBezTo>
                    <a:cubicBezTo>
                      <a:pt x="110" y="155"/>
                      <a:pt x="110" y="155"/>
                      <a:pt x="110" y="155"/>
                    </a:cubicBezTo>
                    <a:cubicBezTo>
                      <a:pt x="111" y="155"/>
                      <a:pt x="111" y="155"/>
                      <a:pt x="111" y="155"/>
                    </a:cubicBezTo>
                    <a:cubicBezTo>
                      <a:pt x="112" y="156"/>
                      <a:pt x="112" y="156"/>
                      <a:pt x="112" y="156"/>
                    </a:cubicBezTo>
                    <a:cubicBezTo>
                      <a:pt x="114" y="157"/>
                      <a:pt x="114" y="157"/>
                      <a:pt x="114" y="157"/>
                    </a:cubicBezTo>
                    <a:cubicBezTo>
                      <a:pt x="114" y="157"/>
                      <a:pt x="116" y="157"/>
                      <a:pt x="117" y="158"/>
                    </a:cubicBezTo>
                    <a:cubicBezTo>
                      <a:pt x="117" y="158"/>
                      <a:pt x="118" y="161"/>
                      <a:pt x="118" y="161"/>
                    </a:cubicBezTo>
                    <a:cubicBezTo>
                      <a:pt x="118" y="161"/>
                      <a:pt x="119" y="163"/>
                      <a:pt x="119" y="163"/>
                    </a:cubicBezTo>
                    <a:cubicBezTo>
                      <a:pt x="119" y="164"/>
                      <a:pt x="118" y="166"/>
                      <a:pt x="118" y="166"/>
                    </a:cubicBezTo>
                    <a:cubicBezTo>
                      <a:pt x="116" y="170"/>
                      <a:pt x="116" y="170"/>
                      <a:pt x="116" y="170"/>
                    </a:cubicBezTo>
                    <a:cubicBezTo>
                      <a:pt x="116" y="170"/>
                      <a:pt x="115" y="172"/>
                      <a:pt x="115" y="172"/>
                    </a:cubicBezTo>
                    <a:cubicBezTo>
                      <a:pt x="115" y="173"/>
                      <a:pt x="114" y="174"/>
                      <a:pt x="114" y="174"/>
                    </a:cubicBezTo>
                    <a:cubicBezTo>
                      <a:pt x="114" y="174"/>
                      <a:pt x="114" y="175"/>
                      <a:pt x="114" y="176"/>
                    </a:cubicBezTo>
                    <a:cubicBezTo>
                      <a:pt x="114" y="176"/>
                      <a:pt x="113" y="176"/>
                      <a:pt x="112" y="177"/>
                    </a:cubicBezTo>
                    <a:cubicBezTo>
                      <a:pt x="114" y="177"/>
                      <a:pt x="115" y="177"/>
                      <a:pt x="116" y="177"/>
                    </a:cubicBezTo>
                    <a:cubicBezTo>
                      <a:pt x="120" y="177"/>
                      <a:pt x="125" y="172"/>
                      <a:pt x="125" y="172"/>
                    </a:cubicBezTo>
                    <a:cubicBezTo>
                      <a:pt x="132" y="173"/>
                      <a:pt x="132" y="173"/>
                      <a:pt x="132" y="173"/>
                    </a:cubicBezTo>
                    <a:cubicBezTo>
                      <a:pt x="137" y="168"/>
                      <a:pt x="137" y="168"/>
                      <a:pt x="137" y="168"/>
                    </a:cubicBezTo>
                    <a:cubicBezTo>
                      <a:pt x="140" y="170"/>
                      <a:pt x="140" y="170"/>
                      <a:pt x="140" y="170"/>
                    </a:cubicBezTo>
                    <a:cubicBezTo>
                      <a:pt x="146" y="162"/>
                      <a:pt x="146" y="162"/>
                      <a:pt x="146" y="162"/>
                    </a:cubicBezTo>
                    <a:cubicBezTo>
                      <a:pt x="140" y="156"/>
                      <a:pt x="140" y="156"/>
                      <a:pt x="140" y="156"/>
                    </a:cubicBezTo>
                    <a:cubicBezTo>
                      <a:pt x="143" y="150"/>
                      <a:pt x="143" y="150"/>
                      <a:pt x="143" y="150"/>
                    </a:cubicBezTo>
                    <a:cubicBezTo>
                      <a:pt x="139" y="148"/>
                      <a:pt x="139" y="148"/>
                      <a:pt x="139" y="148"/>
                    </a:cubicBezTo>
                    <a:cubicBezTo>
                      <a:pt x="139" y="148"/>
                      <a:pt x="139" y="146"/>
                      <a:pt x="142" y="144"/>
                    </a:cubicBezTo>
                    <a:cubicBezTo>
                      <a:pt x="145" y="141"/>
                      <a:pt x="148" y="143"/>
                      <a:pt x="150" y="142"/>
                    </a:cubicBezTo>
                    <a:cubicBezTo>
                      <a:pt x="151" y="141"/>
                      <a:pt x="152" y="139"/>
                      <a:pt x="152" y="139"/>
                    </a:cubicBezTo>
                    <a:cubicBezTo>
                      <a:pt x="158" y="128"/>
                      <a:pt x="158" y="128"/>
                      <a:pt x="158" y="128"/>
                    </a:cubicBezTo>
                    <a:cubicBezTo>
                      <a:pt x="158" y="128"/>
                      <a:pt x="155" y="121"/>
                      <a:pt x="150" y="119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35" name="Russia" descr="© INSCALE GmbH, 05.05.2010&#10;http://www.presentationload.com/"/>
              <p:cNvSpPr>
                <a:spLocks noChangeAspect="1"/>
              </p:cNvSpPr>
              <p:nvPr/>
            </p:nvSpPr>
            <p:spPr bwMode="auto">
              <a:xfrm>
                <a:off x="5670550" y="3346450"/>
                <a:ext cx="249237" cy="136525"/>
              </a:xfrm>
              <a:custGeom>
                <a:avLst/>
                <a:gdLst/>
                <a:ahLst/>
                <a:cxnLst>
                  <a:cxn ang="0">
                    <a:pos x="73" y="18"/>
                  </a:cxn>
                  <a:cxn ang="0">
                    <a:pos x="75" y="13"/>
                  </a:cxn>
                  <a:cxn ang="0">
                    <a:pos x="67" y="7"/>
                  </a:cxn>
                  <a:cxn ang="0">
                    <a:pos x="60" y="7"/>
                  </a:cxn>
                  <a:cxn ang="0">
                    <a:pos x="53" y="9"/>
                  </a:cxn>
                  <a:cxn ang="0">
                    <a:pos x="53" y="7"/>
                  </a:cxn>
                  <a:cxn ang="0">
                    <a:pos x="46" y="6"/>
                  </a:cxn>
                  <a:cxn ang="0">
                    <a:pos x="41" y="4"/>
                  </a:cxn>
                  <a:cxn ang="0">
                    <a:pos x="37" y="5"/>
                  </a:cxn>
                  <a:cxn ang="0">
                    <a:pos x="34" y="2"/>
                  </a:cxn>
                  <a:cxn ang="0">
                    <a:pos x="33" y="5"/>
                  </a:cxn>
                  <a:cxn ang="0">
                    <a:pos x="30" y="5"/>
                  </a:cxn>
                  <a:cxn ang="0">
                    <a:pos x="34" y="16"/>
                  </a:cxn>
                  <a:cxn ang="0">
                    <a:pos x="29" y="19"/>
                  </a:cxn>
                  <a:cxn ang="0">
                    <a:pos x="24" y="19"/>
                  </a:cxn>
                  <a:cxn ang="0">
                    <a:pos x="21" y="18"/>
                  </a:cxn>
                  <a:cxn ang="0">
                    <a:pos x="16" y="19"/>
                  </a:cxn>
                  <a:cxn ang="0">
                    <a:pos x="24" y="7"/>
                  </a:cxn>
                  <a:cxn ang="0">
                    <a:pos x="24" y="5"/>
                  </a:cxn>
                  <a:cxn ang="0">
                    <a:pos x="27" y="1"/>
                  </a:cxn>
                  <a:cxn ang="0">
                    <a:pos x="26" y="0"/>
                  </a:cxn>
                  <a:cxn ang="0">
                    <a:pos x="24" y="1"/>
                  </a:cxn>
                  <a:cxn ang="0">
                    <a:pos x="21" y="7"/>
                  </a:cxn>
                  <a:cxn ang="0">
                    <a:pos x="15" y="16"/>
                  </a:cxn>
                  <a:cxn ang="0">
                    <a:pos x="13" y="18"/>
                  </a:cxn>
                  <a:cxn ang="0">
                    <a:pos x="1" y="20"/>
                  </a:cxn>
                  <a:cxn ang="0">
                    <a:pos x="0" y="24"/>
                  </a:cxn>
                  <a:cxn ang="0">
                    <a:pos x="2" y="26"/>
                  </a:cxn>
                  <a:cxn ang="0">
                    <a:pos x="0" y="34"/>
                  </a:cxn>
                  <a:cxn ang="0">
                    <a:pos x="2" y="34"/>
                  </a:cxn>
                  <a:cxn ang="0">
                    <a:pos x="2" y="32"/>
                  </a:cxn>
                  <a:cxn ang="0">
                    <a:pos x="4" y="31"/>
                  </a:cxn>
                  <a:cxn ang="0">
                    <a:pos x="5" y="33"/>
                  </a:cxn>
                  <a:cxn ang="0">
                    <a:pos x="8" y="30"/>
                  </a:cxn>
                  <a:cxn ang="0">
                    <a:pos x="14" y="31"/>
                  </a:cxn>
                  <a:cxn ang="0">
                    <a:pos x="10" y="32"/>
                  </a:cxn>
                  <a:cxn ang="0">
                    <a:pos x="10" y="34"/>
                  </a:cxn>
                  <a:cxn ang="0">
                    <a:pos x="5" y="37"/>
                  </a:cxn>
                  <a:cxn ang="0">
                    <a:pos x="4" y="36"/>
                  </a:cxn>
                  <a:cxn ang="0">
                    <a:pos x="2" y="42"/>
                  </a:cxn>
                  <a:cxn ang="0">
                    <a:pos x="39" y="42"/>
                  </a:cxn>
                  <a:cxn ang="0">
                    <a:pos x="75" y="36"/>
                  </a:cxn>
                  <a:cxn ang="0">
                    <a:pos x="72" y="25"/>
                  </a:cxn>
                  <a:cxn ang="0">
                    <a:pos x="73" y="18"/>
                  </a:cxn>
                </a:cxnLst>
                <a:rect l="0" t="0" r="r" b="b"/>
                <a:pathLst>
                  <a:path w="78" h="43">
                    <a:moveTo>
                      <a:pt x="73" y="18"/>
                    </a:moveTo>
                    <a:cubicBezTo>
                      <a:pt x="73" y="18"/>
                      <a:pt x="78" y="15"/>
                      <a:pt x="75" y="13"/>
                    </a:cubicBezTo>
                    <a:cubicBezTo>
                      <a:pt x="73" y="11"/>
                      <a:pt x="67" y="7"/>
                      <a:pt x="67" y="7"/>
                    </a:cubicBezTo>
                    <a:cubicBezTo>
                      <a:pt x="60" y="7"/>
                      <a:pt x="60" y="7"/>
                      <a:pt x="60" y="7"/>
                    </a:cubicBezTo>
                    <a:cubicBezTo>
                      <a:pt x="53" y="9"/>
                      <a:pt x="53" y="9"/>
                      <a:pt x="53" y="9"/>
                    </a:cubicBezTo>
                    <a:cubicBezTo>
                      <a:pt x="53" y="7"/>
                      <a:pt x="53" y="7"/>
                      <a:pt x="53" y="7"/>
                    </a:cubicBezTo>
                    <a:cubicBezTo>
                      <a:pt x="53" y="7"/>
                      <a:pt x="49" y="8"/>
                      <a:pt x="46" y="6"/>
                    </a:cubicBezTo>
                    <a:cubicBezTo>
                      <a:pt x="43" y="5"/>
                      <a:pt x="41" y="4"/>
                      <a:pt x="41" y="4"/>
                    </a:cubicBezTo>
                    <a:cubicBezTo>
                      <a:pt x="37" y="5"/>
                      <a:pt x="37" y="5"/>
                      <a:pt x="37" y="5"/>
                    </a:cubicBezTo>
                    <a:cubicBezTo>
                      <a:pt x="34" y="2"/>
                      <a:pt x="34" y="2"/>
                      <a:pt x="34" y="2"/>
                    </a:cubicBezTo>
                    <a:cubicBezTo>
                      <a:pt x="33" y="5"/>
                      <a:pt x="33" y="5"/>
                      <a:pt x="33" y="5"/>
                    </a:cubicBezTo>
                    <a:cubicBezTo>
                      <a:pt x="30" y="5"/>
                      <a:pt x="30" y="5"/>
                      <a:pt x="30" y="5"/>
                    </a:cubicBezTo>
                    <a:cubicBezTo>
                      <a:pt x="34" y="16"/>
                      <a:pt x="34" y="16"/>
                      <a:pt x="34" y="16"/>
                    </a:cubicBezTo>
                    <a:cubicBezTo>
                      <a:pt x="29" y="19"/>
                      <a:pt x="29" y="19"/>
                      <a:pt x="29" y="19"/>
                    </a:cubicBezTo>
                    <a:cubicBezTo>
                      <a:pt x="24" y="19"/>
                      <a:pt x="24" y="19"/>
                      <a:pt x="24" y="19"/>
                    </a:cubicBezTo>
                    <a:cubicBezTo>
                      <a:pt x="24" y="19"/>
                      <a:pt x="22" y="18"/>
                      <a:pt x="21" y="18"/>
                    </a:cubicBezTo>
                    <a:cubicBezTo>
                      <a:pt x="20" y="18"/>
                      <a:pt x="16" y="19"/>
                      <a:pt x="16" y="19"/>
                    </a:cubicBezTo>
                    <a:cubicBezTo>
                      <a:pt x="24" y="7"/>
                      <a:pt x="24" y="7"/>
                      <a:pt x="24" y="7"/>
                    </a:cubicBezTo>
                    <a:cubicBezTo>
                      <a:pt x="24" y="5"/>
                      <a:pt x="24" y="5"/>
                      <a:pt x="24" y="5"/>
                    </a:cubicBezTo>
                    <a:cubicBezTo>
                      <a:pt x="27" y="1"/>
                      <a:pt x="27" y="1"/>
                      <a:pt x="27" y="1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21" y="7"/>
                      <a:pt x="21" y="7"/>
                      <a:pt x="21" y="7"/>
                    </a:cubicBezTo>
                    <a:cubicBezTo>
                      <a:pt x="15" y="16"/>
                      <a:pt x="15" y="16"/>
                      <a:pt x="15" y="16"/>
                    </a:cubicBezTo>
                    <a:cubicBezTo>
                      <a:pt x="13" y="18"/>
                      <a:pt x="13" y="18"/>
                      <a:pt x="13" y="18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2" y="26"/>
                      <a:pt x="2" y="26"/>
                      <a:pt x="2" y="26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2" y="34"/>
                      <a:pt x="2" y="34"/>
                      <a:pt x="2" y="34"/>
                    </a:cubicBezTo>
                    <a:cubicBezTo>
                      <a:pt x="2" y="32"/>
                      <a:pt x="2" y="32"/>
                      <a:pt x="2" y="32"/>
                    </a:cubicBezTo>
                    <a:cubicBezTo>
                      <a:pt x="4" y="31"/>
                      <a:pt x="4" y="31"/>
                      <a:pt x="4" y="31"/>
                    </a:cubicBezTo>
                    <a:cubicBezTo>
                      <a:pt x="5" y="33"/>
                      <a:pt x="5" y="33"/>
                      <a:pt x="5" y="33"/>
                    </a:cubicBezTo>
                    <a:cubicBezTo>
                      <a:pt x="8" y="30"/>
                      <a:pt x="8" y="30"/>
                      <a:pt x="8" y="30"/>
                    </a:cubicBezTo>
                    <a:cubicBezTo>
                      <a:pt x="14" y="31"/>
                      <a:pt x="14" y="31"/>
                      <a:pt x="14" y="31"/>
                    </a:cubicBezTo>
                    <a:cubicBezTo>
                      <a:pt x="10" y="32"/>
                      <a:pt x="10" y="32"/>
                      <a:pt x="10" y="32"/>
                    </a:cubicBezTo>
                    <a:cubicBezTo>
                      <a:pt x="10" y="34"/>
                      <a:pt x="10" y="34"/>
                      <a:pt x="10" y="34"/>
                    </a:cubicBezTo>
                    <a:cubicBezTo>
                      <a:pt x="5" y="37"/>
                      <a:pt x="5" y="37"/>
                      <a:pt x="5" y="37"/>
                    </a:cubicBezTo>
                    <a:cubicBezTo>
                      <a:pt x="4" y="36"/>
                      <a:pt x="4" y="36"/>
                      <a:pt x="4" y="36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7" y="42"/>
                      <a:pt x="30" y="43"/>
                      <a:pt x="39" y="42"/>
                    </a:cubicBezTo>
                    <a:cubicBezTo>
                      <a:pt x="49" y="42"/>
                      <a:pt x="75" y="36"/>
                      <a:pt x="75" y="36"/>
                    </a:cubicBezTo>
                    <a:cubicBezTo>
                      <a:pt x="75" y="36"/>
                      <a:pt x="71" y="31"/>
                      <a:pt x="72" y="25"/>
                    </a:cubicBezTo>
                    <a:cubicBezTo>
                      <a:pt x="72" y="21"/>
                      <a:pt x="73" y="18"/>
                      <a:pt x="73" y="18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36" name="Romania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5838825" y="4219575"/>
                <a:ext cx="955675" cy="679450"/>
              </a:xfrm>
              <a:custGeom>
                <a:avLst/>
                <a:gdLst/>
                <a:ahLst/>
                <a:cxnLst>
                  <a:cxn ang="0">
                    <a:pos x="428" y="156"/>
                  </a:cxn>
                  <a:cxn ang="0">
                    <a:pos x="402" y="170"/>
                  </a:cxn>
                  <a:cxn ang="0">
                    <a:pos x="387" y="175"/>
                  </a:cxn>
                  <a:cxn ang="0">
                    <a:pos x="365" y="162"/>
                  </a:cxn>
                  <a:cxn ang="0">
                    <a:pos x="361" y="136"/>
                  </a:cxn>
                  <a:cxn ang="0">
                    <a:pos x="361" y="116"/>
                  </a:cxn>
                  <a:cxn ang="0">
                    <a:pos x="350" y="83"/>
                  </a:cxn>
                  <a:cxn ang="0">
                    <a:pos x="332" y="65"/>
                  </a:cxn>
                  <a:cxn ang="0">
                    <a:pos x="291" y="18"/>
                  </a:cxn>
                  <a:cxn ang="0">
                    <a:pos x="247" y="24"/>
                  </a:cxn>
                  <a:cxn ang="0">
                    <a:pos x="202" y="51"/>
                  </a:cxn>
                  <a:cxn ang="0">
                    <a:pos x="164" y="44"/>
                  </a:cxn>
                  <a:cxn ang="0">
                    <a:pos x="115" y="37"/>
                  </a:cxn>
                  <a:cxn ang="0">
                    <a:pos x="107" y="47"/>
                  </a:cxn>
                  <a:cxn ang="0">
                    <a:pos x="93" y="67"/>
                  </a:cxn>
                  <a:cxn ang="0">
                    <a:pos x="81" y="70"/>
                  </a:cxn>
                  <a:cxn ang="0">
                    <a:pos x="71" y="94"/>
                  </a:cxn>
                  <a:cxn ang="0">
                    <a:pos x="65" y="108"/>
                  </a:cxn>
                  <a:cxn ang="0">
                    <a:pos x="59" y="125"/>
                  </a:cxn>
                  <a:cxn ang="0">
                    <a:pos x="55" y="140"/>
                  </a:cxn>
                  <a:cxn ang="0">
                    <a:pos x="45" y="148"/>
                  </a:cxn>
                  <a:cxn ang="0">
                    <a:pos x="43" y="164"/>
                  </a:cxn>
                  <a:cxn ang="0">
                    <a:pos x="27" y="174"/>
                  </a:cxn>
                  <a:cxn ang="0">
                    <a:pos x="12" y="181"/>
                  </a:cxn>
                  <a:cxn ang="0">
                    <a:pos x="0" y="184"/>
                  </a:cxn>
                  <a:cxn ang="0">
                    <a:pos x="12" y="194"/>
                  </a:cxn>
                  <a:cxn ang="0">
                    <a:pos x="17" y="197"/>
                  </a:cxn>
                  <a:cxn ang="0">
                    <a:pos x="31" y="205"/>
                  </a:cxn>
                  <a:cxn ang="0">
                    <a:pos x="33" y="219"/>
                  </a:cxn>
                  <a:cxn ang="0">
                    <a:pos x="45" y="235"/>
                  </a:cxn>
                  <a:cxn ang="0">
                    <a:pos x="55" y="237"/>
                  </a:cxn>
                  <a:cxn ang="0">
                    <a:pos x="63" y="254"/>
                  </a:cxn>
                  <a:cxn ang="0">
                    <a:pos x="71" y="260"/>
                  </a:cxn>
                  <a:cxn ang="0">
                    <a:pos x="75" y="266"/>
                  </a:cxn>
                  <a:cxn ang="0">
                    <a:pos x="95" y="271"/>
                  </a:cxn>
                  <a:cxn ang="0">
                    <a:pos x="115" y="263"/>
                  </a:cxn>
                  <a:cxn ang="0">
                    <a:pos x="129" y="274"/>
                  </a:cxn>
                  <a:cxn ang="0">
                    <a:pos x="123" y="278"/>
                  </a:cxn>
                  <a:cxn ang="0">
                    <a:pos x="123" y="290"/>
                  </a:cxn>
                  <a:cxn ang="0">
                    <a:pos x="129" y="294"/>
                  </a:cxn>
                  <a:cxn ang="0">
                    <a:pos x="148" y="302"/>
                  </a:cxn>
                  <a:cxn ang="0">
                    <a:pos x="151" y="318"/>
                  </a:cxn>
                  <a:cxn ang="0">
                    <a:pos x="179" y="314"/>
                  </a:cxn>
                  <a:cxn ang="0">
                    <a:pos x="206" y="318"/>
                  </a:cxn>
                  <a:cxn ang="0">
                    <a:pos x="229" y="310"/>
                  </a:cxn>
                  <a:cxn ang="0">
                    <a:pos x="250" y="310"/>
                  </a:cxn>
                  <a:cxn ang="0">
                    <a:pos x="271" y="309"/>
                  </a:cxn>
                  <a:cxn ang="0">
                    <a:pos x="308" y="275"/>
                  </a:cxn>
                  <a:cxn ang="0">
                    <a:pos x="355" y="268"/>
                  </a:cxn>
                  <a:cxn ang="0">
                    <a:pos x="372" y="268"/>
                  </a:cxn>
                  <a:cxn ang="0">
                    <a:pos x="385" y="272"/>
                  </a:cxn>
                  <a:cxn ang="0">
                    <a:pos x="413" y="273"/>
                  </a:cxn>
                  <a:cxn ang="0">
                    <a:pos x="408" y="239"/>
                  </a:cxn>
                  <a:cxn ang="0">
                    <a:pos x="411" y="221"/>
                  </a:cxn>
                  <a:cxn ang="0">
                    <a:pos x="407" y="207"/>
                  </a:cxn>
                  <a:cxn ang="0">
                    <a:pos x="413" y="191"/>
                  </a:cxn>
                  <a:cxn ang="0">
                    <a:pos x="420" y="193"/>
                  </a:cxn>
                  <a:cxn ang="0">
                    <a:pos x="424" y="195"/>
                  </a:cxn>
                  <a:cxn ang="0">
                    <a:pos x="419" y="204"/>
                  </a:cxn>
                  <a:cxn ang="0">
                    <a:pos x="431" y="199"/>
                  </a:cxn>
                  <a:cxn ang="0">
                    <a:pos x="443" y="167"/>
                  </a:cxn>
                  <a:cxn ang="0">
                    <a:pos x="418" y="212"/>
                  </a:cxn>
                  <a:cxn ang="0">
                    <a:pos x="418" y="207"/>
                  </a:cxn>
                </a:cxnLst>
                <a:rect l="0" t="0" r="r" b="b"/>
                <a:pathLst>
                  <a:path w="448" h="319">
                    <a:moveTo>
                      <a:pt x="443" y="167"/>
                    </a:moveTo>
                    <a:cubicBezTo>
                      <a:pt x="443" y="167"/>
                      <a:pt x="439" y="158"/>
                      <a:pt x="428" y="156"/>
                    </a:cubicBezTo>
                    <a:cubicBezTo>
                      <a:pt x="419" y="155"/>
                      <a:pt x="407" y="170"/>
                      <a:pt x="407" y="170"/>
                    </a:cubicBezTo>
                    <a:cubicBezTo>
                      <a:pt x="402" y="170"/>
                      <a:pt x="402" y="170"/>
                      <a:pt x="402" y="170"/>
                    </a:cubicBezTo>
                    <a:cubicBezTo>
                      <a:pt x="402" y="177"/>
                      <a:pt x="402" y="177"/>
                      <a:pt x="402" y="177"/>
                    </a:cubicBezTo>
                    <a:cubicBezTo>
                      <a:pt x="402" y="177"/>
                      <a:pt x="399" y="178"/>
                      <a:pt x="387" y="175"/>
                    </a:cubicBezTo>
                    <a:cubicBezTo>
                      <a:pt x="376" y="173"/>
                      <a:pt x="377" y="167"/>
                      <a:pt x="377" y="167"/>
                    </a:cubicBezTo>
                    <a:cubicBezTo>
                      <a:pt x="365" y="162"/>
                      <a:pt x="365" y="162"/>
                      <a:pt x="365" y="162"/>
                    </a:cubicBezTo>
                    <a:cubicBezTo>
                      <a:pt x="368" y="156"/>
                      <a:pt x="368" y="156"/>
                      <a:pt x="368" y="156"/>
                    </a:cubicBezTo>
                    <a:cubicBezTo>
                      <a:pt x="361" y="136"/>
                      <a:pt x="361" y="136"/>
                      <a:pt x="361" y="136"/>
                    </a:cubicBezTo>
                    <a:cubicBezTo>
                      <a:pt x="357" y="119"/>
                      <a:pt x="357" y="119"/>
                      <a:pt x="357" y="119"/>
                    </a:cubicBezTo>
                    <a:cubicBezTo>
                      <a:pt x="361" y="116"/>
                      <a:pt x="361" y="116"/>
                      <a:pt x="361" y="116"/>
                    </a:cubicBezTo>
                    <a:cubicBezTo>
                      <a:pt x="361" y="116"/>
                      <a:pt x="361" y="102"/>
                      <a:pt x="360" y="94"/>
                    </a:cubicBezTo>
                    <a:cubicBezTo>
                      <a:pt x="358" y="85"/>
                      <a:pt x="350" y="83"/>
                      <a:pt x="350" y="83"/>
                    </a:cubicBezTo>
                    <a:cubicBezTo>
                      <a:pt x="350" y="83"/>
                      <a:pt x="349" y="76"/>
                      <a:pt x="346" y="71"/>
                    </a:cubicBezTo>
                    <a:cubicBezTo>
                      <a:pt x="345" y="67"/>
                      <a:pt x="332" y="65"/>
                      <a:pt x="332" y="65"/>
                    </a:cubicBezTo>
                    <a:cubicBezTo>
                      <a:pt x="332" y="65"/>
                      <a:pt x="316" y="46"/>
                      <a:pt x="310" y="40"/>
                    </a:cubicBezTo>
                    <a:cubicBezTo>
                      <a:pt x="304" y="36"/>
                      <a:pt x="299" y="33"/>
                      <a:pt x="291" y="18"/>
                    </a:cubicBezTo>
                    <a:cubicBezTo>
                      <a:pt x="285" y="4"/>
                      <a:pt x="270" y="2"/>
                      <a:pt x="270" y="2"/>
                    </a:cubicBezTo>
                    <a:cubicBezTo>
                      <a:pt x="252" y="0"/>
                      <a:pt x="247" y="24"/>
                      <a:pt x="247" y="24"/>
                    </a:cubicBezTo>
                    <a:cubicBezTo>
                      <a:pt x="247" y="24"/>
                      <a:pt x="230" y="33"/>
                      <a:pt x="215" y="37"/>
                    </a:cubicBezTo>
                    <a:cubicBezTo>
                      <a:pt x="199" y="41"/>
                      <a:pt x="211" y="48"/>
                      <a:pt x="202" y="51"/>
                    </a:cubicBezTo>
                    <a:cubicBezTo>
                      <a:pt x="192" y="53"/>
                      <a:pt x="182" y="40"/>
                      <a:pt x="178" y="39"/>
                    </a:cubicBezTo>
                    <a:cubicBezTo>
                      <a:pt x="173" y="37"/>
                      <a:pt x="164" y="44"/>
                      <a:pt x="164" y="44"/>
                    </a:cubicBezTo>
                    <a:cubicBezTo>
                      <a:pt x="164" y="44"/>
                      <a:pt x="141" y="45"/>
                      <a:pt x="129" y="46"/>
                    </a:cubicBezTo>
                    <a:cubicBezTo>
                      <a:pt x="116" y="47"/>
                      <a:pt x="122" y="37"/>
                      <a:pt x="115" y="37"/>
                    </a:cubicBezTo>
                    <a:cubicBezTo>
                      <a:pt x="110" y="37"/>
                      <a:pt x="111" y="48"/>
                      <a:pt x="111" y="48"/>
                    </a:cubicBezTo>
                    <a:cubicBezTo>
                      <a:pt x="107" y="47"/>
                      <a:pt x="107" y="47"/>
                      <a:pt x="107" y="47"/>
                    </a:cubicBezTo>
                    <a:cubicBezTo>
                      <a:pt x="105" y="52"/>
                      <a:pt x="105" y="52"/>
                      <a:pt x="105" y="52"/>
                    </a:cubicBezTo>
                    <a:cubicBezTo>
                      <a:pt x="93" y="67"/>
                      <a:pt x="93" y="67"/>
                      <a:pt x="93" y="67"/>
                    </a:cubicBezTo>
                    <a:cubicBezTo>
                      <a:pt x="84" y="67"/>
                      <a:pt x="84" y="67"/>
                      <a:pt x="84" y="67"/>
                    </a:cubicBezTo>
                    <a:cubicBezTo>
                      <a:pt x="81" y="70"/>
                      <a:pt x="81" y="70"/>
                      <a:pt x="81" y="70"/>
                    </a:cubicBezTo>
                    <a:cubicBezTo>
                      <a:pt x="70" y="87"/>
                      <a:pt x="70" y="87"/>
                      <a:pt x="70" y="87"/>
                    </a:cubicBezTo>
                    <a:cubicBezTo>
                      <a:pt x="71" y="94"/>
                      <a:pt x="71" y="94"/>
                      <a:pt x="71" y="94"/>
                    </a:cubicBezTo>
                    <a:cubicBezTo>
                      <a:pt x="67" y="97"/>
                      <a:pt x="67" y="97"/>
                      <a:pt x="67" y="97"/>
                    </a:cubicBezTo>
                    <a:cubicBezTo>
                      <a:pt x="65" y="108"/>
                      <a:pt x="65" y="108"/>
                      <a:pt x="65" y="108"/>
                    </a:cubicBezTo>
                    <a:cubicBezTo>
                      <a:pt x="58" y="119"/>
                      <a:pt x="58" y="119"/>
                      <a:pt x="58" y="119"/>
                    </a:cubicBezTo>
                    <a:cubicBezTo>
                      <a:pt x="59" y="125"/>
                      <a:pt x="59" y="125"/>
                      <a:pt x="59" y="125"/>
                    </a:cubicBezTo>
                    <a:cubicBezTo>
                      <a:pt x="53" y="135"/>
                      <a:pt x="53" y="135"/>
                      <a:pt x="53" y="135"/>
                    </a:cubicBezTo>
                    <a:cubicBezTo>
                      <a:pt x="55" y="140"/>
                      <a:pt x="55" y="140"/>
                      <a:pt x="55" y="140"/>
                    </a:cubicBezTo>
                    <a:cubicBezTo>
                      <a:pt x="49" y="148"/>
                      <a:pt x="49" y="148"/>
                      <a:pt x="49" y="148"/>
                    </a:cubicBezTo>
                    <a:cubicBezTo>
                      <a:pt x="45" y="148"/>
                      <a:pt x="45" y="148"/>
                      <a:pt x="45" y="148"/>
                    </a:cubicBezTo>
                    <a:cubicBezTo>
                      <a:pt x="47" y="161"/>
                      <a:pt x="47" y="161"/>
                      <a:pt x="47" y="161"/>
                    </a:cubicBezTo>
                    <a:cubicBezTo>
                      <a:pt x="43" y="164"/>
                      <a:pt x="43" y="164"/>
                      <a:pt x="43" y="164"/>
                    </a:cubicBezTo>
                    <a:cubicBezTo>
                      <a:pt x="43" y="164"/>
                      <a:pt x="45" y="170"/>
                      <a:pt x="42" y="173"/>
                    </a:cubicBezTo>
                    <a:cubicBezTo>
                      <a:pt x="39" y="177"/>
                      <a:pt x="33" y="173"/>
                      <a:pt x="27" y="174"/>
                    </a:cubicBezTo>
                    <a:cubicBezTo>
                      <a:pt x="22" y="175"/>
                      <a:pt x="24" y="182"/>
                      <a:pt x="21" y="183"/>
                    </a:cubicBezTo>
                    <a:cubicBezTo>
                      <a:pt x="17" y="184"/>
                      <a:pt x="12" y="181"/>
                      <a:pt x="12" y="181"/>
                    </a:cubicBezTo>
                    <a:cubicBezTo>
                      <a:pt x="10" y="184"/>
                      <a:pt x="10" y="184"/>
                      <a:pt x="10" y="184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7" y="195"/>
                      <a:pt x="7" y="195"/>
                      <a:pt x="7" y="195"/>
                    </a:cubicBezTo>
                    <a:cubicBezTo>
                      <a:pt x="12" y="194"/>
                      <a:pt x="12" y="194"/>
                      <a:pt x="12" y="194"/>
                    </a:cubicBezTo>
                    <a:cubicBezTo>
                      <a:pt x="15" y="197"/>
                      <a:pt x="15" y="197"/>
                      <a:pt x="15" y="197"/>
                    </a:cubicBezTo>
                    <a:cubicBezTo>
                      <a:pt x="17" y="197"/>
                      <a:pt x="17" y="197"/>
                      <a:pt x="17" y="197"/>
                    </a:cubicBezTo>
                    <a:cubicBezTo>
                      <a:pt x="17" y="197"/>
                      <a:pt x="18" y="208"/>
                      <a:pt x="22" y="208"/>
                    </a:cubicBezTo>
                    <a:cubicBezTo>
                      <a:pt x="25" y="208"/>
                      <a:pt x="31" y="205"/>
                      <a:pt x="31" y="205"/>
                    </a:cubicBezTo>
                    <a:cubicBezTo>
                      <a:pt x="28" y="216"/>
                      <a:pt x="28" y="216"/>
                      <a:pt x="28" y="216"/>
                    </a:cubicBezTo>
                    <a:cubicBezTo>
                      <a:pt x="33" y="219"/>
                      <a:pt x="33" y="219"/>
                      <a:pt x="33" y="219"/>
                    </a:cubicBezTo>
                    <a:cubicBezTo>
                      <a:pt x="30" y="224"/>
                      <a:pt x="30" y="224"/>
                      <a:pt x="30" y="224"/>
                    </a:cubicBezTo>
                    <a:cubicBezTo>
                      <a:pt x="45" y="235"/>
                      <a:pt x="45" y="235"/>
                      <a:pt x="45" y="235"/>
                    </a:cubicBezTo>
                    <a:cubicBezTo>
                      <a:pt x="50" y="233"/>
                      <a:pt x="50" y="233"/>
                      <a:pt x="50" y="233"/>
                    </a:cubicBezTo>
                    <a:cubicBezTo>
                      <a:pt x="55" y="237"/>
                      <a:pt x="55" y="237"/>
                      <a:pt x="55" y="237"/>
                    </a:cubicBezTo>
                    <a:cubicBezTo>
                      <a:pt x="55" y="237"/>
                      <a:pt x="67" y="231"/>
                      <a:pt x="68" y="239"/>
                    </a:cubicBezTo>
                    <a:cubicBezTo>
                      <a:pt x="68" y="247"/>
                      <a:pt x="63" y="254"/>
                      <a:pt x="63" y="254"/>
                    </a:cubicBezTo>
                    <a:cubicBezTo>
                      <a:pt x="72" y="256"/>
                      <a:pt x="72" y="256"/>
                      <a:pt x="72" y="256"/>
                    </a:cubicBezTo>
                    <a:cubicBezTo>
                      <a:pt x="71" y="260"/>
                      <a:pt x="71" y="260"/>
                      <a:pt x="71" y="260"/>
                    </a:cubicBezTo>
                    <a:cubicBezTo>
                      <a:pt x="63" y="263"/>
                      <a:pt x="63" y="263"/>
                      <a:pt x="63" y="263"/>
                    </a:cubicBezTo>
                    <a:cubicBezTo>
                      <a:pt x="63" y="263"/>
                      <a:pt x="72" y="265"/>
                      <a:pt x="75" y="266"/>
                    </a:cubicBezTo>
                    <a:cubicBezTo>
                      <a:pt x="77" y="267"/>
                      <a:pt x="79" y="272"/>
                      <a:pt x="83" y="273"/>
                    </a:cubicBezTo>
                    <a:cubicBezTo>
                      <a:pt x="88" y="275"/>
                      <a:pt x="92" y="268"/>
                      <a:pt x="95" y="271"/>
                    </a:cubicBezTo>
                    <a:cubicBezTo>
                      <a:pt x="99" y="273"/>
                      <a:pt x="99" y="282"/>
                      <a:pt x="103" y="281"/>
                    </a:cubicBezTo>
                    <a:cubicBezTo>
                      <a:pt x="107" y="281"/>
                      <a:pt x="108" y="263"/>
                      <a:pt x="115" y="263"/>
                    </a:cubicBezTo>
                    <a:cubicBezTo>
                      <a:pt x="124" y="265"/>
                      <a:pt x="130" y="270"/>
                      <a:pt x="130" y="270"/>
                    </a:cubicBezTo>
                    <a:cubicBezTo>
                      <a:pt x="129" y="274"/>
                      <a:pt x="129" y="274"/>
                      <a:pt x="129" y="274"/>
                    </a:cubicBezTo>
                    <a:cubicBezTo>
                      <a:pt x="125" y="272"/>
                      <a:pt x="125" y="272"/>
                      <a:pt x="125" y="272"/>
                    </a:cubicBezTo>
                    <a:cubicBezTo>
                      <a:pt x="123" y="278"/>
                      <a:pt x="123" y="278"/>
                      <a:pt x="123" y="278"/>
                    </a:cubicBezTo>
                    <a:cubicBezTo>
                      <a:pt x="120" y="278"/>
                      <a:pt x="120" y="278"/>
                      <a:pt x="120" y="278"/>
                    </a:cubicBezTo>
                    <a:cubicBezTo>
                      <a:pt x="123" y="290"/>
                      <a:pt x="123" y="290"/>
                      <a:pt x="123" y="290"/>
                    </a:cubicBezTo>
                    <a:cubicBezTo>
                      <a:pt x="123" y="290"/>
                      <a:pt x="129" y="286"/>
                      <a:pt x="130" y="290"/>
                    </a:cubicBezTo>
                    <a:cubicBezTo>
                      <a:pt x="131" y="291"/>
                      <a:pt x="130" y="293"/>
                      <a:pt x="129" y="294"/>
                    </a:cubicBezTo>
                    <a:cubicBezTo>
                      <a:pt x="133" y="296"/>
                      <a:pt x="139" y="299"/>
                      <a:pt x="141" y="299"/>
                    </a:cubicBezTo>
                    <a:cubicBezTo>
                      <a:pt x="145" y="300"/>
                      <a:pt x="148" y="298"/>
                      <a:pt x="148" y="302"/>
                    </a:cubicBezTo>
                    <a:cubicBezTo>
                      <a:pt x="149" y="307"/>
                      <a:pt x="142" y="306"/>
                      <a:pt x="141" y="312"/>
                    </a:cubicBezTo>
                    <a:cubicBezTo>
                      <a:pt x="141" y="317"/>
                      <a:pt x="145" y="318"/>
                      <a:pt x="151" y="318"/>
                    </a:cubicBezTo>
                    <a:cubicBezTo>
                      <a:pt x="156" y="319"/>
                      <a:pt x="166" y="310"/>
                      <a:pt x="170" y="310"/>
                    </a:cubicBezTo>
                    <a:cubicBezTo>
                      <a:pt x="173" y="310"/>
                      <a:pt x="179" y="314"/>
                      <a:pt x="179" y="314"/>
                    </a:cubicBezTo>
                    <a:cubicBezTo>
                      <a:pt x="187" y="314"/>
                      <a:pt x="187" y="314"/>
                      <a:pt x="187" y="314"/>
                    </a:cubicBezTo>
                    <a:cubicBezTo>
                      <a:pt x="187" y="314"/>
                      <a:pt x="196" y="319"/>
                      <a:pt x="206" y="318"/>
                    </a:cubicBezTo>
                    <a:cubicBezTo>
                      <a:pt x="217" y="317"/>
                      <a:pt x="218" y="312"/>
                      <a:pt x="221" y="309"/>
                    </a:cubicBezTo>
                    <a:cubicBezTo>
                      <a:pt x="225" y="308"/>
                      <a:pt x="226" y="310"/>
                      <a:pt x="229" y="310"/>
                    </a:cubicBezTo>
                    <a:cubicBezTo>
                      <a:pt x="234" y="312"/>
                      <a:pt x="243" y="307"/>
                      <a:pt x="243" y="307"/>
                    </a:cubicBezTo>
                    <a:cubicBezTo>
                      <a:pt x="250" y="310"/>
                      <a:pt x="250" y="310"/>
                      <a:pt x="250" y="310"/>
                    </a:cubicBezTo>
                    <a:cubicBezTo>
                      <a:pt x="256" y="307"/>
                      <a:pt x="256" y="307"/>
                      <a:pt x="256" y="307"/>
                    </a:cubicBezTo>
                    <a:cubicBezTo>
                      <a:pt x="256" y="307"/>
                      <a:pt x="258" y="312"/>
                      <a:pt x="271" y="309"/>
                    </a:cubicBezTo>
                    <a:cubicBezTo>
                      <a:pt x="283" y="306"/>
                      <a:pt x="286" y="298"/>
                      <a:pt x="290" y="292"/>
                    </a:cubicBezTo>
                    <a:cubicBezTo>
                      <a:pt x="294" y="286"/>
                      <a:pt x="302" y="276"/>
                      <a:pt x="308" y="275"/>
                    </a:cubicBezTo>
                    <a:cubicBezTo>
                      <a:pt x="313" y="274"/>
                      <a:pt x="328" y="265"/>
                      <a:pt x="337" y="262"/>
                    </a:cubicBezTo>
                    <a:cubicBezTo>
                      <a:pt x="345" y="259"/>
                      <a:pt x="351" y="267"/>
                      <a:pt x="355" y="268"/>
                    </a:cubicBezTo>
                    <a:cubicBezTo>
                      <a:pt x="359" y="269"/>
                      <a:pt x="365" y="262"/>
                      <a:pt x="367" y="262"/>
                    </a:cubicBezTo>
                    <a:cubicBezTo>
                      <a:pt x="369" y="262"/>
                      <a:pt x="369" y="267"/>
                      <a:pt x="372" y="268"/>
                    </a:cubicBezTo>
                    <a:cubicBezTo>
                      <a:pt x="375" y="269"/>
                      <a:pt x="381" y="262"/>
                      <a:pt x="381" y="262"/>
                    </a:cubicBezTo>
                    <a:cubicBezTo>
                      <a:pt x="385" y="272"/>
                      <a:pt x="385" y="272"/>
                      <a:pt x="385" y="272"/>
                    </a:cubicBezTo>
                    <a:cubicBezTo>
                      <a:pt x="385" y="272"/>
                      <a:pt x="393" y="274"/>
                      <a:pt x="397" y="274"/>
                    </a:cubicBezTo>
                    <a:cubicBezTo>
                      <a:pt x="401" y="275"/>
                      <a:pt x="413" y="273"/>
                      <a:pt x="413" y="273"/>
                    </a:cubicBezTo>
                    <a:cubicBezTo>
                      <a:pt x="413" y="273"/>
                      <a:pt x="415" y="265"/>
                      <a:pt x="414" y="257"/>
                    </a:cubicBezTo>
                    <a:cubicBezTo>
                      <a:pt x="414" y="249"/>
                      <a:pt x="408" y="239"/>
                      <a:pt x="408" y="239"/>
                    </a:cubicBezTo>
                    <a:cubicBezTo>
                      <a:pt x="419" y="214"/>
                      <a:pt x="419" y="214"/>
                      <a:pt x="419" y="214"/>
                    </a:cubicBezTo>
                    <a:cubicBezTo>
                      <a:pt x="411" y="221"/>
                      <a:pt x="411" y="221"/>
                      <a:pt x="411" y="221"/>
                    </a:cubicBezTo>
                    <a:cubicBezTo>
                      <a:pt x="411" y="209"/>
                      <a:pt x="411" y="209"/>
                      <a:pt x="411" y="209"/>
                    </a:cubicBezTo>
                    <a:cubicBezTo>
                      <a:pt x="407" y="207"/>
                      <a:pt x="407" y="207"/>
                      <a:pt x="407" y="207"/>
                    </a:cubicBezTo>
                    <a:cubicBezTo>
                      <a:pt x="415" y="203"/>
                      <a:pt x="415" y="203"/>
                      <a:pt x="415" y="203"/>
                    </a:cubicBezTo>
                    <a:cubicBezTo>
                      <a:pt x="415" y="203"/>
                      <a:pt x="411" y="197"/>
                      <a:pt x="413" y="191"/>
                    </a:cubicBezTo>
                    <a:cubicBezTo>
                      <a:pt x="414" y="184"/>
                      <a:pt x="421" y="189"/>
                      <a:pt x="421" y="189"/>
                    </a:cubicBezTo>
                    <a:cubicBezTo>
                      <a:pt x="420" y="193"/>
                      <a:pt x="420" y="193"/>
                      <a:pt x="420" y="193"/>
                    </a:cubicBezTo>
                    <a:cubicBezTo>
                      <a:pt x="422" y="198"/>
                      <a:pt x="422" y="198"/>
                      <a:pt x="422" y="198"/>
                    </a:cubicBezTo>
                    <a:cubicBezTo>
                      <a:pt x="424" y="195"/>
                      <a:pt x="424" y="195"/>
                      <a:pt x="424" y="195"/>
                    </a:cubicBezTo>
                    <a:cubicBezTo>
                      <a:pt x="426" y="198"/>
                      <a:pt x="426" y="198"/>
                      <a:pt x="426" y="198"/>
                    </a:cubicBezTo>
                    <a:cubicBezTo>
                      <a:pt x="419" y="204"/>
                      <a:pt x="419" y="204"/>
                      <a:pt x="419" y="204"/>
                    </a:cubicBezTo>
                    <a:cubicBezTo>
                      <a:pt x="423" y="207"/>
                      <a:pt x="423" y="207"/>
                      <a:pt x="423" y="207"/>
                    </a:cubicBezTo>
                    <a:cubicBezTo>
                      <a:pt x="423" y="207"/>
                      <a:pt x="428" y="202"/>
                      <a:pt x="431" y="199"/>
                    </a:cubicBezTo>
                    <a:cubicBezTo>
                      <a:pt x="434" y="198"/>
                      <a:pt x="439" y="198"/>
                      <a:pt x="443" y="192"/>
                    </a:cubicBezTo>
                    <a:cubicBezTo>
                      <a:pt x="448" y="187"/>
                      <a:pt x="443" y="167"/>
                      <a:pt x="443" y="167"/>
                    </a:cubicBezTo>
                    <a:close/>
                    <a:moveTo>
                      <a:pt x="415" y="211"/>
                    </a:moveTo>
                    <a:cubicBezTo>
                      <a:pt x="418" y="212"/>
                      <a:pt x="418" y="212"/>
                      <a:pt x="418" y="212"/>
                    </a:cubicBezTo>
                    <a:cubicBezTo>
                      <a:pt x="420" y="209"/>
                      <a:pt x="420" y="209"/>
                      <a:pt x="420" y="209"/>
                    </a:cubicBezTo>
                    <a:cubicBezTo>
                      <a:pt x="418" y="207"/>
                      <a:pt x="418" y="207"/>
                      <a:pt x="418" y="207"/>
                    </a:cubicBezTo>
                    <a:lnTo>
                      <a:pt x="415" y="211"/>
                    </a:ln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37" name="Portugal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2684463" y="4979988"/>
                <a:ext cx="431800" cy="715962"/>
              </a:xfrm>
              <a:custGeom>
                <a:avLst/>
                <a:gdLst/>
                <a:ahLst/>
                <a:cxnLst>
                  <a:cxn ang="0">
                    <a:pos x="89" y="295"/>
                  </a:cxn>
                  <a:cxn ang="0">
                    <a:pos x="102" y="279"/>
                  </a:cxn>
                  <a:cxn ang="0">
                    <a:pos x="120" y="271"/>
                  </a:cxn>
                  <a:cxn ang="0">
                    <a:pos x="113" y="267"/>
                  </a:cxn>
                  <a:cxn ang="0">
                    <a:pos x="113" y="231"/>
                  </a:cxn>
                  <a:cxn ang="0">
                    <a:pos x="133" y="213"/>
                  </a:cxn>
                  <a:cxn ang="0">
                    <a:pos x="118" y="190"/>
                  </a:cxn>
                  <a:cxn ang="0">
                    <a:pos x="117" y="183"/>
                  </a:cxn>
                  <a:cxn ang="0">
                    <a:pos x="138" y="173"/>
                  </a:cxn>
                  <a:cxn ang="0">
                    <a:pos x="145" y="165"/>
                  </a:cxn>
                  <a:cxn ang="0">
                    <a:pos x="146" y="142"/>
                  </a:cxn>
                  <a:cxn ang="0">
                    <a:pos x="159" y="133"/>
                  </a:cxn>
                  <a:cxn ang="0">
                    <a:pos x="165" y="100"/>
                  </a:cxn>
                  <a:cxn ang="0">
                    <a:pos x="169" y="88"/>
                  </a:cxn>
                  <a:cxn ang="0">
                    <a:pos x="183" y="78"/>
                  </a:cxn>
                  <a:cxn ang="0">
                    <a:pos x="203" y="57"/>
                  </a:cxn>
                  <a:cxn ang="0">
                    <a:pos x="190" y="44"/>
                  </a:cxn>
                  <a:cxn ang="0">
                    <a:pos x="183" y="30"/>
                  </a:cxn>
                  <a:cxn ang="0">
                    <a:pos x="179" y="31"/>
                  </a:cxn>
                  <a:cxn ang="0">
                    <a:pos x="164" y="24"/>
                  </a:cxn>
                  <a:cxn ang="0">
                    <a:pos x="147" y="27"/>
                  </a:cxn>
                  <a:cxn ang="0">
                    <a:pos x="135" y="23"/>
                  </a:cxn>
                  <a:cxn ang="0">
                    <a:pos x="125" y="21"/>
                  </a:cxn>
                  <a:cxn ang="0">
                    <a:pos x="120" y="10"/>
                  </a:cxn>
                  <a:cxn ang="0">
                    <a:pos x="116" y="6"/>
                  </a:cxn>
                  <a:cxn ang="0">
                    <a:pos x="109" y="4"/>
                  </a:cxn>
                  <a:cxn ang="0">
                    <a:pos x="90" y="6"/>
                  </a:cxn>
                  <a:cxn ang="0">
                    <a:pos x="78" y="14"/>
                  </a:cxn>
                  <a:cxn ang="0">
                    <a:pos x="82" y="21"/>
                  </a:cxn>
                  <a:cxn ang="0">
                    <a:pos x="79" y="30"/>
                  </a:cxn>
                  <a:cxn ang="0">
                    <a:pos x="79" y="67"/>
                  </a:cxn>
                  <a:cxn ang="0">
                    <a:pos x="70" y="89"/>
                  </a:cxn>
                  <a:cxn ang="0">
                    <a:pos x="77" y="81"/>
                  </a:cxn>
                  <a:cxn ang="0">
                    <a:pos x="77" y="90"/>
                  </a:cxn>
                  <a:cxn ang="0">
                    <a:pos x="53" y="115"/>
                  </a:cxn>
                  <a:cxn ang="0">
                    <a:pos x="39" y="147"/>
                  </a:cxn>
                  <a:cxn ang="0">
                    <a:pos x="35" y="155"/>
                  </a:cxn>
                  <a:cxn ang="0">
                    <a:pos x="28" y="164"/>
                  </a:cxn>
                  <a:cxn ang="0">
                    <a:pos x="17" y="165"/>
                  </a:cxn>
                  <a:cxn ang="0">
                    <a:pos x="10" y="181"/>
                  </a:cxn>
                  <a:cxn ang="0">
                    <a:pos x="2" y="197"/>
                  </a:cxn>
                  <a:cxn ang="0">
                    <a:pos x="17" y="209"/>
                  </a:cxn>
                  <a:cxn ang="0">
                    <a:pos x="30" y="207"/>
                  </a:cxn>
                  <a:cxn ang="0">
                    <a:pos x="20" y="216"/>
                  </a:cxn>
                  <a:cxn ang="0">
                    <a:pos x="12" y="213"/>
                  </a:cxn>
                  <a:cxn ang="0">
                    <a:pos x="11" y="226"/>
                  </a:cxn>
                  <a:cxn ang="0">
                    <a:pos x="29" y="225"/>
                  </a:cxn>
                  <a:cxn ang="0">
                    <a:pos x="36" y="224"/>
                  </a:cxn>
                  <a:cxn ang="0">
                    <a:pos x="40" y="233"/>
                  </a:cxn>
                  <a:cxn ang="0">
                    <a:pos x="30" y="228"/>
                  </a:cxn>
                  <a:cxn ang="0">
                    <a:pos x="19" y="260"/>
                  </a:cxn>
                  <a:cxn ang="0">
                    <a:pos x="21" y="275"/>
                  </a:cxn>
                  <a:cxn ang="0">
                    <a:pos x="16" y="297"/>
                  </a:cxn>
                  <a:cxn ang="0">
                    <a:pos x="10" y="308"/>
                  </a:cxn>
                  <a:cxn ang="0">
                    <a:pos x="0" y="322"/>
                  </a:cxn>
                  <a:cxn ang="0">
                    <a:pos x="51" y="334"/>
                  </a:cxn>
                  <a:cxn ang="0">
                    <a:pos x="73" y="328"/>
                  </a:cxn>
                  <a:cxn ang="0">
                    <a:pos x="85" y="311"/>
                  </a:cxn>
                </a:cxnLst>
                <a:rect l="0" t="0" r="r" b="b"/>
                <a:pathLst>
                  <a:path w="203" h="336">
                    <a:moveTo>
                      <a:pt x="83" y="304"/>
                    </a:moveTo>
                    <a:cubicBezTo>
                      <a:pt x="83" y="304"/>
                      <a:pt x="85" y="300"/>
                      <a:pt x="89" y="295"/>
                    </a:cubicBezTo>
                    <a:cubicBezTo>
                      <a:pt x="93" y="289"/>
                      <a:pt x="100" y="287"/>
                      <a:pt x="100" y="287"/>
                    </a:cubicBezTo>
                    <a:cubicBezTo>
                      <a:pt x="102" y="279"/>
                      <a:pt x="102" y="279"/>
                      <a:pt x="102" y="279"/>
                    </a:cubicBezTo>
                    <a:cubicBezTo>
                      <a:pt x="117" y="278"/>
                      <a:pt x="117" y="278"/>
                      <a:pt x="117" y="278"/>
                    </a:cubicBezTo>
                    <a:cubicBezTo>
                      <a:pt x="120" y="271"/>
                      <a:pt x="120" y="271"/>
                      <a:pt x="120" y="271"/>
                    </a:cubicBezTo>
                    <a:cubicBezTo>
                      <a:pt x="122" y="267"/>
                      <a:pt x="122" y="267"/>
                      <a:pt x="122" y="267"/>
                    </a:cubicBezTo>
                    <a:cubicBezTo>
                      <a:pt x="113" y="267"/>
                      <a:pt x="113" y="267"/>
                      <a:pt x="113" y="267"/>
                    </a:cubicBezTo>
                    <a:cubicBezTo>
                      <a:pt x="104" y="248"/>
                      <a:pt x="104" y="248"/>
                      <a:pt x="104" y="248"/>
                    </a:cubicBezTo>
                    <a:cubicBezTo>
                      <a:pt x="113" y="231"/>
                      <a:pt x="113" y="231"/>
                      <a:pt x="113" y="231"/>
                    </a:cubicBezTo>
                    <a:cubicBezTo>
                      <a:pt x="123" y="228"/>
                      <a:pt x="123" y="228"/>
                      <a:pt x="123" y="228"/>
                    </a:cubicBezTo>
                    <a:cubicBezTo>
                      <a:pt x="123" y="228"/>
                      <a:pt x="131" y="219"/>
                      <a:pt x="133" y="213"/>
                    </a:cubicBezTo>
                    <a:cubicBezTo>
                      <a:pt x="135" y="207"/>
                      <a:pt x="125" y="209"/>
                      <a:pt x="125" y="209"/>
                    </a:cubicBezTo>
                    <a:cubicBezTo>
                      <a:pt x="118" y="190"/>
                      <a:pt x="118" y="190"/>
                      <a:pt x="118" y="190"/>
                    </a:cubicBezTo>
                    <a:cubicBezTo>
                      <a:pt x="118" y="190"/>
                      <a:pt x="121" y="186"/>
                      <a:pt x="121" y="183"/>
                    </a:cubicBezTo>
                    <a:cubicBezTo>
                      <a:pt x="121" y="181"/>
                      <a:pt x="117" y="183"/>
                      <a:pt x="117" y="183"/>
                    </a:cubicBezTo>
                    <a:cubicBezTo>
                      <a:pt x="111" y="168"/>
                      <a:pt x="111" y="168"/>
                      <a:pt x="111" y="168"/>
                    </a:cubicBezTo>
                    <a:cubicBezTo>
                      <a:pt x="138" y="173"/>
                      <a:pt x="138" y="173"/>
                      <a:pt x="138" y="173"/>
                    </a:cubicBezTo>
                    <a:cubicBezTo>
                      <a:pt x="142" y="165"/>
                      <a:pt x="142" y="165"/>
                      <a:pt x="142" y="165"/>
                    </a:cubicBezTo>
                    <a:cubicBezTo>
                      <a:pt x="145" y="165"/>
                      <a:pt x="145" y="165"/>
                      <a:pt x="145" y="165"/>
                    </a:cubicBezTo>
                    <a:cubicBezTo>
                      <a:pt x="150" y="154"/>
                      <a:pt x="150" y="154"/>
                      <a:pt x="150" y="154"/>
                    </a:cubicBezTo>
                    <a:cubicBezTo>
                      <a:pt x="150" y="154"/>
                      <a:pt x="146" y="147"/>
                      <a:pt x="146" y="142"/>
                    </a:cubicBezTo>
                    <a:cubicBezTo>
                      <a:pt x="146" y="137"/>
                      <a:pt x="153" y="138"/>
                      <a:pt x="153" y="138"/>
                    </a:cubicBezTo>
                    <a:cubicBezTo>
                      <a:pt x="159" y="133"/>
                      <a:pt x="159" y="133"/>
                      <a:pt x="159" y="133"/>
                    </a:cubicBezTo>
                    <a:cubicBezTo>
                      <a:pt x="157" y="125"/>
                      <a:pt x="157" y="125"/>
                      <a:pt x="157" y="125"/>
                    </a:cubicBezTo>
                    <a:cubicBezTo>
                      <a:pt x="165" y="100"/>
                      <a:pt x="165" y="100"/>
                      <a:pt x="165" y="100"/>
                    </a:cubicBezTo>
                    <a:cubicBezTo>
                      <a:pt x="162" y="88"/>
                      <a:pt x="162" y="88"/>
                      <a:pt x="162" y="88"/>
                    </a:cubicBezTo>
                    <a:cubicBezTo>
                      <a:pt x="169" y="88"/>
                      <a:pt x="169" y="88"/>
                      <a:pt x="169" y="88"/>
                    </a:cubicBezTo>
                    <a:cubicBezTo>
                      <a:pt x="177" y="78"/>
                      <a:pt x="177" y="78"/>
                      <a:pt x="177" y="78"/>
                    </a:cubicBezTo>
                    <a:cubicBezTo>
                      <a:pt x="183" y="78"/>
                      <a:pt x="183" y="78"/>
                      <a:pt x="183" y="78"/>
                    </a:cubicBezTo>
                    <a:cubicBezTo>
                      <a:pt x="185" y="78"/>
                      <a:pt x="195" y="71"/>
                      <a:pt x="195" y="71"/>
                    </a:cubicBezTo>
                    <a:cubicBezTo>
                      <a:pt x="195" y="71"/>
                      <a:pt x="202" y="62"/>
                      <a:pt x="203" y="57"/>
                    </a:cubicBezTo>
                    <a:cubicBezTo>
                      <a:pt x="203" y="53"/>
                      <a:pt x="195" y="53"/>
                      <a:pt x="191" y="53"/>
                    </a:cubicBezTo>
                    <a:cubicBezTo>
                      <a:pt x="187" y="53"/>
                      <a:pt x="190" y="44"/>
                      <a:pt x="190" y="44"/>
                    </a:cubicBezTo>
                    <a:cubicBezTo>
                      <a:pt x="192" y="32"/>
                      <a:pt x="192" y="32"/>
                      <a:pt x="192" y="32"/>
                    </a:cubicBezTo>
                    <a:cubicBezTo>
                      <a:pt x="183" y="30"/>
                      <a:pt x="183" y="30"/>
                      <a:pt x="183" y="30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79" y="31"/>
                      <a:pt x="179" y="31"/>
                      <a:pt x="179" y="31"/>
                    </a:cubicBezTo>
                    <a:cubicBezTo>
                      <a:pt x="169" y="28"/>
                      <a:pt x="169" y="28"/>
                      <a:pt x="169" y="28"/>
                    </a:cubicBezTo>
                    <a:cubicBezTo>
                      <a:pt x="169" y="28"/>
                      <a:pt x="168" y="24"/>
                      <a:pt x="164" y="24"/>
                    </a:cubicBezTo>
                    <a:cubicBezTo>
                      <a:pt x="161" y="24"/>
                      <a:pt x="163" y="30"/>
                      <a:pt x="157" y="31"/>
                    </a:cubicBezTo>
                    <a:cubicBezTo>
                      <a:pt x="151" y="34"/>
                      <a:pt x="147" y="27"/>
                      <a:pt x="147" y="27"/>
                    </a:cubicBezTo>
                    <a:cubicBezTo>
                      <a:pt x="142" y="29"/>
                      <a:pt x="142" y="29"/>
                      <a:pt x="142" y="29"/>
                    </a:cubicBezTo>
                    <a:cubicBezTo>
                      <a:pt x="135" y="23"/>
                      <a:pt x="135" y="23"/>
                      <a:pt x="135" y="23"/>
                    </a:cubicBezTo>
                    <a:cubicBezTo>
                      <a:pt x="128" y="25"/>
                      <a:pt x="128" y="25"/>
                      <a:pt x="128" y="25"/>
                    </a:cubicBezTo>
                    <a:cubicBezTo>
                      <a:pt x="125" y="21"/>
                      <a:pt x="125" y="21"/>
                      <a:pt x="125" y="21"/>
                    </a:cubicBezTo>
                    <a:cubicBezTo>
                      <a:pt x="125" y="21"/>
                      <a:pt x="121" y="30"/>
                      <a:pt x="113" y="23"/>
                    </a:cubicBezTo>
                    <a:cubicBezTo>
                      <a:pt x="105" y="16"/>
                      <a:pt x="120" y="10"/>
                      <a:pt x="120" y="10"/>
                    </a:cubicBezTo>
                    <a:cubicBezTo>
                      <a:pt x="120" y="7"/>
                      <a:pt x="120" y="7"/>
                      <a:pt x="120" y="7"/>
                    </a:cubicBezTo>
                    <a:cubicBezTo>
                      <a:pt x="116" y="6"/>
                      <a:pt x="116" y="6"/>
                      <a:pt x="116" y="6"/>
                    </a:cubicBezTo>
                    <a:cubicBezTo>
                      <a:pt x="118" y="0"/>
                      <a:pt x="118" y="0"/>
                      <a:pt x="118" y="0"/>
                    </a:cubicBezTo>
                    <a:cubicBezTo>
                      <a:pt x="109" y="4"/>
                      <a:pt x="109" y="4"/>
                      <a:pt x="109" y="4"/>
                    </a:cubicBezTo>
                    <a:cubicBezTo>
                      <a:pt x="95" y="1"/>
                      <a:pt x="95" y="1"/>
                      <a:pt x="95" y="1"/>
                    </a:cubicBezTo>
                    <a:cubicBezTo>
                      <a:pt x="90" y="6"/>
                      <a:pt x="90" y="6"/>
                      <a:pt x="90" y="6"/>
                    </a:cubicBezTo>
                    <a:cubicBezTo>
                      <a:pt x="83" y="10"/>
                      <a:pt x="83" y="10"/>
                      <a:pt x="83" y="10"/>
                    </a:cubicBezTo>
                    <a:cubicBezTo>
                      <a:pt x="78" y="14"/>
                      <a:pt x="78" y="14"/>
                      <a:pt x="78" y="14"/>
                    </a:cubicBezTo>
                    <a:cubicBezTo>
                      <a:pt x="77" y="21"/>
                      <a:pt x="77" y="21"/>
                      <a:pt x="77" y="21"/>
                    </a:cubicBezTo>
                    <a:cubicBezTo>
                      <a:pt x="82" y="21"/>
                      <a:pt x="82" y="21"/>
                      <a:pt x="82" y="21"/>
                    </a:cubicBezTo>
                    <a:cubicBezTo>
                      <a:pt x="79" y="24"/>
                      <a:pt x="79" y="24"/>
                      <a:pt x="79" y="24"/>
                    </a:cubicBezTo>
                    <a:cubicBezTo>
                      <a:pt x="79" y="30"/>
                      <a:pt x="79" y="30"/>
                      <a:pt x="79" y="30"/>
                    </a:cubicBezTo>
                    <a:cubicBezTo>
                      <a:pt x="78" y="39"/>
                      <a:pt x="78" y="39"/>
                      <a:pt x="78" y="39"/>
                    </a:cubicBezTo>
                    <a:cubicBezTo>
                      <a:pt x="79" y="67"/>
                      <a:pt x="79" y="67"/>
                      <a:pt x="79" y="67"/>
                    </a:cubicBezTo>
                    <a:cubicBezTo>
                      <a:pt x="69" y="86"/>
                      <a:pt x="69" y="86"/>
                      <a:pt x="69" y="86"/>
                    </a:cubicBezTo>
                    <a:cubicBezTo>
                      <a:pt x="70" y="89"/>
                      <a:pt x="70" y="89"/>
                      <a:pt x="70" y="89"/>
                    </a:cubicBezTo>
                    <a:cubicBezTo>
                      <a:pt x="75" y="81"/>
                      <a:pt x="75" y="81"/>
                      <a:pt x="75" y="81"/>
                    </a:cubicBezTo>
                    <a:cubicBezTo>
                      <a:pt x="77" y="81"/>
                      <a:pt x="77" y="81"/>
                      <a:pt x="77" y="81"/>
                    </a:cubicBezTo>
                    <a:cubicBezTo>
                      <a:pt x="75" y="86"/>
                      <a:pt x="75" y="86"/>
                      <a:pt x="75" y="86"/>
                    </a:cubicBezTo>
                    <a:cubicBezTo>
                      <a:pt x="77" y="90"/>
                      <a:pt x="77" y="90"/>
                      <a:pt x="77" y="90"/>
                    </a:cubicBezTo>
                    <a:cubicBezTo>
                      <a:pt x="68" y="91"/>
                      <a:pt x="68" y="91"/>
                      <a:pt x="68" y="91"/>
                    </a:cubicBezTo>
                    <a:cubicBezTo>
                      <a:pt x="53" y="115"/>
                      <a:pt x="53" y="115"/>
                      <a:pt x="53" y="115"/>
                    </a:cubicBezTo>
                    <a:cubicBezTo>
                      <a:pt x="54" y="119"/>
                      <a:pt x="54" y="119"/>
                      <a:pt x="54" y="119"/>
                    </a:cubicBezTo>
                    <a:cubicBezTo>
                      <a:pt x="39" y="147"/>
                      <a:pt x="39" y="147"/>
                      <a:pt x="39" y="147"/>
                    </a:cubicBezTo>
                    <a:cubicBezTo>
                      <a:pt x="34" y="152"/>
                      <a:pt x="34" y="152"/>
                      <a:pt x="34" y="152"/>
                    </a:cubicBezTo>
                    <a:cubicBezTo>
                      <a:pt x="35" y="155"/>
                      <a:pt x="35" y="155"/>
                      <a:pt x="35" y="155"/>
                    </a:cubicBezTo>
                    <a:cubicBezTo>
                      <a:pt x="28" y="160"/>
                      <a:pt x="28" y="160"/>
                      <a:pt x="28" y="160"/>
                    </a:cubicBezTo>
                    <a:cubicBezTo>
                      <a:pt x="28" y="164"/>
                      <a:pt x="28" y="164"/>
                      <a:pt x="28" y="164"/>
                    </a:cubicBezTo>
                    <a:cubicBezTo>
                      <a:pt x="26" y="163"/>
                      <a:pt x="26" y="163"/>
                      <a:pt x="26" y="163"/>
                    </a:cubicBezTo>
                    <a:cubicBezTo>
                      <a:pt x="17" y="165"/>
                      <a:pt x="17" y="165"/>
                      <a:pt x="17" y="165"/>
                    </a:cubicBezTo>
                    <a:cubicBezTo>
                      <a:pt x="17" y="172"/>
                      <a:pt x="17" y="172"/>
                      <a:pt x="17" y="172"/>
                    </a:cubicBezTo>
                    <a:cubicBezTo>
                      <a:pt x="10" y="181"/>
                      <a:pt x="10" y="181"/>
                      <a:pt x="10" y="181"/>
                    </a:cubicBezTo>
                    <a:cubicBezTo>
                      <a:pt x="10" y="189"/>
                      <a:pt x="10" y="189"/>
                      <a:pt x="10" y="189"/>
                    </a:cubicBezTo>
                    <a:cubicBezTo>
                      <a:pt x="2" y="197"/>
                      <a:pt x="2" y="197"/>
                      <a:pt x="2" y="197"/>
                    </a:cubicBezTo>
                    <a:cubicBezTo>
                      <a:pt x="2" y="204"/>
                      <a:pt x="2" y="204"/>
                      <a:pt x="2" y="204"/>
                    </a:cubicBezTo>
                    <a:cubicBezTo>
                      <a:pt x="17" y="209"/>
                      <a:pt x="17" y="209"/>
                      <a:pt x="17" y="209"/>
                    </a:cubicBezTo>
                    <a:cubicBezTo>
                      <a:pt x="29" y="197"/>
                      <a:pt x="29" y="197"/>
                      <a:pt x="29" y="197"/>
                    </a:cubicBezTo>
                    <a:cubicBezTo>
                      <a:pt x="30" y="207"/>
                      <a:pt x="30" y="207"/>
                      <a:pt x="30" y="207"/>
                    </a:cubicBezTo>
                    <a:cubicBezTo>
                      <a:pt x="23" y="211"/>
                      <a:pt x="23" y="211"/>
                      <a:pt x="23" y="211"/>
                    </a:cubicBezTo>
                    <a:cubicBezTo>
                      <a:pt x="20" y="216"/>
                      <a:pt x="20" y="216"/>
                      <a:pt x="20" y="216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2" y="213"/>
                      <a:pt x="12" y="213"/>
                      <a:pt x="12" y="213"/>
                    </a:cubicBezTo>
                    <a:cubicBezTo>
                      <a:pt x="12" y="218"/>
                      <a:pt x="12" y="218"/>
                      <a:pt x="12" y="218"/>
                    </a:cubicBezTo>
                    <a:cubicBezTo>
                      <a:pt x="11" y="220"/>
                      <a:pt x="11" y="226"/>
                      <a:pt x="11" y="226"/>
                    </a:cubicBezTo>
                    <a:cubicBezTo>
                      <a:pt x="11" y="226"/>
                      <a:pt x="18" y="229"/>
                      <a:pt x="20" y="228"/>
                    </a:cubicBezTo>
                    <a:cubicBezTo>
                      <a:pt x="22" y="227"/>
                      <a:pt x="29" y="225"/>
                      <a:pt x="29" y="225"/>
                    </a:cubicBezTo>
                    <a:cubicBezTo>
                      <a:pt x="33" y="227"/>
                      <a:pt x="33" y="227"/>
                      <a:pt x="33" y="227"/>
                    </a:cubicBezTo>
                    <a:cubicBezTo>
                      <a:pt x="36" y="224"/>
                      <a:pt x="36" y="224"/>
                      <a:pt x="36" y="224"/>
                    </a:cubicBezTo>
                    <a:cubicBezTo>
                      <a:pt x="35" y="229"/>
                      <a:pt x="35" y="229"/>
                      <a:pt x="35" y="229"/>
                    </a:cubicBezTo>
                    <a:cubicBezTo>
                      <a:pt x="40" y="233"/>
                      <a:pt x="40" y="233"/>
                      <a:pt x="40" y="233"/>
                    </a:cubicBezTo>
                    <a:cubicBezTo>
                      <a:pt x="36" y="233"/>
                      <a:pt x="36" y="233"/>
                      <a:pt x="36" y="233"/>
                    </a:cubicBezTo>
                    <a:cubicBezTo>
                      <a:pt x="30" y="228"/>
                      <a:pt x="30" y="228"/>
                      <a:pt x="30" y="228"/>
                    </a:cubicBezTo>
                    <a:cubicBezTo>
                      <a:pt x="30" y="228"/>
                      <a:pt x="32" y="239"/>
                      <a:pt x="30" y="244"/>
                    </a:cubicBezTo>
                    <a:cubicBezTo>
                      <a:pt x="27" y="250"/>
                      <a:pt x="19" y="260"/>
                      <a:pt x="19" y="260"/>
                    </a:cubicBezTo>
                    <a:cubicBezTo>
                      <a:pt x="23" y="264"/>
                      <a:pt x="23" y="264"/>
                      <a:pt x="23" y="264"/>
                    </a:cubicBezTo>
                    <a:cubicBezTo>
                      <a:pt x="21" y="275"/>
                      <a:pt x="21" y="275"/>
                      <a:pt x="21" y="275"/>
                    </a:cubicBezTo>
                    <a:cubicBezTo>
                      <a:pt x="21" y="275"/>
                      <a:pt x="17" y="282"/>
                      <a:pt x="17" y="286"/>
                    </a:cubicBezTo>
                    <a:cubicBezTo>
                      <a:pt x="17" y="289"/>
                      <a:pt x="18" y="295"/>
                      <a:pt x="16" y="297"/>
                    </a:cubicBezTo>
                    <a:cubicBezTo>
                      <a:pt x="13" y="300"/>
                      <a:pt x="10" y="304"/>
                      <a:pt x="10" y="304"/>
                    </a:cubicBezTo>
                    <a:cubicBezTo>
                      <a:pt x="10" y="308"/>
                      <a:pt x="10" y="308"/>
                      <a:pt x="10" y="308"/>
                    </a:cubicBezTo>
                    <a:cubicBezTo>
                      <a:pt x="0" y="318"/>
                      <a:pt x="0" y="318"/>
                      <a:pt x="0" y="318"/>
                    </a:cubicBezTo>
                    <a:cubicBezTo>
                      <a:pt x="0" y="322"/>
                      <a:pt x="0" y="322"/>
                      <a:pt x="0" y="322"/>
                    </a:cubicBezTo>
                    <a:cubicBezTo>
                      <a:pt x="0" y="322"/>
                      <a:pt x="12" y="319"/>
                      <a:pt x="19" y="318"/>
                    </a:cubicBezTo>
                    <a:cubicBezTo>
                      <a:pt x="27" y="318"/>
                      <a:pt x="51" y="334"/>
                      <a:pt x="51" y="334"/>
                    </a:cubicBezTo>
                    <a:cubicBezTo>
                      <a:pt x="51" y="334"/>
                      <a:pt x="57" y="336"/>
                      <a:pt x="63" y="334"/>
                    </a:cubicBezTo>
                    <a:cubicBezTo>
                      <a:pt x="68" y="332"/>
                      <a:pt x="73" y="328"/>
                      <a:pt x="73" y="328"/>
                    </a:cubicBezTo>
                    <a:cubicBezTo>
                      <a:pt x="85" y="328"/>
                      <a:pt x="85" y="328"/>
                      <a:pt x="85" y="328"/>
                    </a:cubicBezTo>
                    <a:cubicBezTo>
                      <a:pt x="85" y="311"/>
                      <a:pt x="85" y="311"/>
                      <a:pt x="85" y="311"/>
                    </a:cubicBezTo>
                    <a:lnTo>
                      <a:pt x="83" y="304"/>
                    </a:ln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38" name="Poland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195888" y="3438525"/>
                <a:ext cx="917575" cy="757237"/>
              </a:xfrm>
              <a:custGeom>
                <a:avLst/>
                <a:gdLst/>
                <a:ahLst/>
                <a:cxnLst>
                  <a:cxn ang="0">
                    <a:pos x="430" y="225"/>
                  </a:cxn>
                  <a:cxn ang="0">
                    <a:pos x="402" y="196"/>
                  </a:cxn>
                  <a:cxn ang="0">
                    <a:pos x="398" y="168"/>
                  </a:cxn>
                  <a:cxn ang="0">
                    <a:pos x="390" y="146"/>
                  </a:cxn>
                  <a:cxn ang="0">
                    <a:pos x="398" y="112"/>
                  </a:cxn>
                  <a:cxn ang="0">
                    <a:pos x="393" y="84"/>
                  </a:cxn>
                  <a:cxn ang="0">
                    <a:pos x="376" y="44"/>
                  </a:cxn>
                  <a:cxn ang="0">
                    <a:pos x="364" y="17"/>
                  </a:cxn>
                  <a:cxn ang="0">
                    <a:pos x="337" y="9"/>
                  </a:cxn>
                  <a:cxn ang="0">
                    <a:pos x="224" y="18"/>
                  </a:cxn>
                  <a:cxn ang="0">
                    <a:pos x="216" y="26"/>
                  </a:cxn>
                  <a:cxn ang="0">
                    <a:pos x="204" y="33"/>
                  </a:cxn>
                  <a:cxn ang="0">
                    <a:pos x="212" y="23"/>
                  </a:cxn>
                  <a:cxn ang="0">
                    <a:pos x="211" y="22"/>
                  </a:cxn>
                  <a:cxn ang="0">
                    <a:pos x="173" y="8"/>
                  </a:cxn>
                  <a:cxn ang="0">
                    <a:pos x="175" y="5"/>
                  </a:cxn>
                  <a:cxn ang="0">
                    <a:pos x="123" y="9"/>
                  </a:cxn>
                  <a:cxn ang="0">
                    <a:pos x="88" y="30"/>
                  </a:cxn>
                  <a:cxn ang="0">
                    <a:pos x="38" y="46"/>
                  </a:cxn>
                  <a:cxn ang="0">
                    <a:pos x="6" y="60"/>
                  </a:cxn>
                  <a:cxn ang="0">
                    <a:pos x="16" y="63"/>
                  </a:cxn>
                  <a:cxn ang="0">
                    <a:pos x="24" y="58"/>
                  </a:cxn>
                  <a:cxn ang="0">
                    <a:pos x="19" y="80"/>
                  </a:cxn>
                  <a:cxn ang="0">
                    <a:pos x="22" y="88"/>
                  </a:cxn>
                  <a:cxn ang="0">
                    <a:pos x="6" y="83"/>
                  </a:cxn>
                  <a:cxn ang="0">
                    <a:pos x="2" y="124"/>
                  </a:cxn>
                  <a:cxn ang="0">
                    <a:pos x="19" y="163"/>
                  </a:cxn>
                  <a:cxn ang="0">
                    <a:pos x="24" y="195"/>
                  </a:cxn>
                  <a:cxn ang="0">
                    <a:pos x="39" y="226"/>
                  </a:cxn>
                  <a:cxn ang="0">
                    <a:pos x="36" y="261"/>
                  </a:cxn>
                  <a:cxn ang="0">
                    <a:pos x="44" y="258"/>
                  </a:cxn>
                  <a:cxn ang="0">
                    <a:pos x="58" y="264"/>
                  </a:cxn>
                  <a:cxn ang="0">
                    <a:pos x="88" y="275"/>
                  </a:cxn>
                  <a:cxn ang="0">
                    <a:pos x="109" y="280"/>
                  </a:cxn>
                  <a:cxn ang="0">
                    <a:pos x="114" y="308"/>
                  </a:cxn>
                  <a:cxn ang="0">
                    <a:pos x="134" y="302"/>
                  </a:cxn>
                  <a:cxn ang="0">
                    <a:pos x="127" y="287"/>
                  </a:cxn>
                  <a:cxn ang="0">
                    <a:pos x="162" y="293"/>
                  </a:cxn>
                  <a:cxn ang="0">
                    <a:pos x="166" y="308"/>
                  </a:cxn>
                  <a:cxn ang="0">
                    <a:pos x="176" y="309"/>
                  </a:cxn>
                  <a:cxn ang="0">
                    <a:pos x="205" y="329"/>
                  </a:cxn>
                  <a:cxn ang="0">
                    <a:pos x="221" y="340"/>
                  </a:cxn>
                  <a:cxn ang="0">
                    <a:pos x="234" y="339"/>
                  </a:cxn>
                  <a:cxn ang="0">
                    <a:pos x="248" y="341"/>
                  </a:cxn>
                  <a:cxn ang="0">
                    <a:pos x="257" y="342"/>
                  </a:cxn>
                  <a:cxn ang="0">
                    <a:pos x="265" y="353"/>
                  </a:cxn>
                  <a:cxn ang="0">
                    <a:pos x="288" y="339"/>
                  </a:cxn>
                  <a:cxn ang="0">
                    <a:pos x="314" y="337"/>
                  </a:cxn>
                  <a:cxn ang="0">
                    <a:pos x="343" y="335"/>
                  </a:cxn>
                  <a:cxn ang="0">
                    <a:pos x="381" y="348"/>
                  </a:cxn>
                  <a:cxn ang="0">
                    <a:pos x="386" y="341"/>
                  </a:cxn>
                  <a:cxn ang="0">
                    <a:pos x="392" y="301"/>
                  </a:cxn>
                  <a:cxn ang="0">
                    <a:pos x="428" y="254"/>
                  </a:cxn>
                </a:cxnLst>
                <a:rect l="0" t="0" r="r" b="b"/>
                <a:pathLst>
                  <a:path w="431" h="356">
                    <a:moveTo>
                      <a:pt x="422" y="231"/>
                    </a:moveTo>
                    <a:cubicBezTo>
                      <a:pt x="423" y="229"/>
                      <a:pt x="427" y="228"/>
                      <a:pt x="427" y="228"/>
                    </a:cubicBezTo>
                    <a:cubicBezTo>
                      <a:pt x="430" y="225"/>
                      <a:pt x="430" y="225"/>
                      <a:pt x="430" y="225"/>
                    </a:cubicBezTo>
                    <a:cubicBezTo>
                      <a:pt x="430" y="225"/>
                      <a:pt x="422" y="222"/>
                      <a:pt x="419" y="218"/>
                    </a:cubicBezTo>
                    <a:cubicBezTo>
                      <a:pt x="417" y="215"/>
                      <a:pt x="415" y="210"/>
                      <a:pt x="411" y="207"/>
                    </a:cubicBezTo>
                    <a:cubicBezTo>
                      <a:pt x="407" y="203"/>
                      <a:pt x="402" y="202"/>
                      <a:pt x="402" y="196"/>
                    </a:cubicBezTo>
                    <a:cubicBezTo>
                      <a:pt x="402" y="189"/>
                      <a:pt x="398" y="185"/>
                      <a:pt x="396" y="181"/>
                    </a:cubicBezTo>
                    <a:cubicBezTo>
                      <a:pt x="394" y="178"/>
                      <a:pt x="394" y="172"/>
                      <a:pt x="394" y="172"/>
                    </a:cubicBezTo>
                    <a:cubicBezTo>
                      <a:pt x="398" y="168"/>
                      <a:pt x="398" y="168"/>
                      <a:pt x="398" y="168"/>
                    </a:cubicBezTo>
                    <a:cubicBezTo>
                      <a:pt x="395" y="162"/>
                      <a:pt x="395" y="162"/>
                      <a:pt x="395" y="162"/>
                    </a:cubicBezTo>
                    <a:cubicBezTo>
                      <a:pt x="397" y="154"/>
                      <a:pt x="397" y="154"/>
                      <a:pt x="397" y="154"/>
                    </a:cubicBezTo>
                    <a:cubicBezTo>
                      <a:pt x="397" y="154"/>
                      <a:pt x="399" y="149"/>
                      <a:pt x="390" y="146"/>
                    </a:cubicBezTo>
                    <a:cubicBezTo>
                      <a:pt x="380" y="141"/>
                      <a:pt x="373" y="141"/>
                      <a:pt x="373" y="141"/>
                    </a:cubicBezTo>
                    <a:cubicBezTo>
                      <a:pt x="373" y="141"/>
                      <a:pt x="374" y="126"/>
                      <a:pt x="380" y="120"/>
                    </a:cubicBezTo>
                    <a:cubicBezTo>
                      <a:pt x="386" y="115"/>
                      <a:pt x="398" y="112"/>
                      <a:pt x="398" y="112"/>
                    </a:cubicBezTo>
                    <a:cubicBezTo>
                      <a:pt x="396" y="93"/>
                      <a:pt x="396" y="93"/>
                      <a:pt x="396" y="93"/>
                    </a:cubicBezTo>
                    <a:cubicBezTo>
                      <a:pt x="398" y="92"/>
                      <a:pt x="398" y="92"/>
                      <a:pt x="398" y="92"/>
                    </a:cubicBezTo>
                    <a:cubicBezTo>
                      <a:pt x="393" y="84"/>
                      <a:pt x="393" y="84"/>
                      <a:pt x="393" y="84"/>
                    </a:cubicBezTo>
                    <a:cubicBezTo>
                      <a:pt x="395" y="80"/>
                      <a:pt x="395" y="80"/>
                      <a:pt x="395" y="80"/>
                    </a:cubicBezTo>
                    <a:cubicBezTo>
                      <a:pt x="395" y="80"/>
                      <a:pt x="380" y="62"/>
                      <a:pt x="379" y="56"/>
                    </a:cubicBezTo>
                    <a:cubicBezTo>
                      <a:pt x="377" y="50"/>
                      <a:pt x="376" y="44"/>
                      <a:pt x="376" y="44"/>
                    </a:cubicBezTo>
                    <a:cubicBezTo>
                      <a:pt x="368" y="31"/>
                      <a:pt x="368" y="31"/>
                      <a:pt x="368" y="31"/>
                    </a:cubicBezTo>
                    <a:cubicBezTo>
                      <a:pt x="365" y="28"/>
                      <a:pt x="365" y="28"/>
                      <a:pt x="365" y="28"/>
                    </a:cubicBezTo>
                    <a:cubicBezTo>
                      <a:pt x="365" y="28"/>
                      <a:pt x="368" y="25"/>
                      <a:pt x="364" y="17"/>
                    </a:cubicBezTo>
                    <a:cubicBezTo>
                      <a:pt x="359" y="9"/>
                      <a:pt x="351" y="11"/>
                      <a:pt x="347" y="11"/>
                    </a:cubicBezTo>
                    <a:cubicBezTo>
                      <a:pt x="343" y="10"/>
                      <a:pt x="344" y="6"/>
                      <a:pt x="341" y="5"/>
                    </a:cubicBezTo>
                    <a:cubicBezTo>
                      <a:pt x="338" y="4"/>
                      <a:pt x="337" y="9"/>
                      <a:pt x="337" y="9"/>
                    </a:cubicBezTo>
                    <a:cubicBezTo>
                      <a:pt x="335" y="9"/>
                      <a:pt x="335" y="9"/>
                      <a:pt x="335" y="9"/>
                    </a:cubicBezTo>
                    <a:cubicBezTo>
                      <a:pt x="334" y="9"/>
                      <a:pt x="296" y="19"/>
                      <a:pt x="280" y="19"/>
                    </a:cubicBezTo>
                    <a:cubicBezTo>
                      <a:pt x="265" y="20"/>
                      <a:pt x="224" y="18"/>
                      <a:pt x="224" y="18"/>
                    </a:cubicBezTo>
                    <a:cubicBezTo>
                      <a:pt x="221" y="21"/>
                      <a:pt x="221" y="21"/>
                      <a:pt x="221" y="21"/>
                    </a:cubicBezTo>
                    <a:cubicBezTo>
                      <a:pt x="217" y="21"/>
                      <a:pt x="217" y="21"/>
                      <a:pt x="217" y="21"/>
                    </a:cubicBezTo>
                    <a:cubicBezTo>
                      <a:pt x="216" y="26"/>
                      <a:pt x="216" y="26"/>
                      <a:pt x="216" y="26"/>
                    </a:cubicBezTo>
                    <a:cubicBezTo>
                      <a:pt x="216" y="26"/>
                      <a:pt x="212" y="27"/>
                      <a:pt x="210" y="29"/>
                    </a:cubicBezTo>
                    <a:cubicBezTo>
                      <a:pt x="209" y="30"/>
                      <a:pt x="208" y="35"/>
                      <a:pt x="208" y="35"/>
                    </a:cubicBezTo>
                    <a:cubicBezTo>
                      <a:pt x="204" y="33"/>
                      <a:pt x="204" y="33"/>
                      <a:pt x="204" y="33"/>
                    </a:cubicBezTo>
                    <a:cubicBezTo>
                      <a:pt x="200" y="33"/>
                      <a:pt x="200" y="33"/>
                      <a:pt x="200" y="33"/>
                    </a:cubicBezTo>
                    <a:cubicBezTo>
                      <a:pt x="202" y="29"/>
                      <a:pt x="202" y="29"/>
                      <a:pt x="202" y="29"/>
                    </a:cubicBezTo>
                    <a:cubicBezTo>
                      <a:pt x="202" y="29"/>
                      <a:pt x="209" y="25"/>
                      <a:pt x="212" y="23"/>
                    </a:cubicBezTo>
                    <a:cubicBezTo>
                      <a:pt x="216" y="21"/>
                      <a:pt x="224" y="9"/>
                      <a:pt x="224" y="9"/>
                    </a:cubicBezTo>
                    <a:cubicBezTo>
                      <a:pt x="222" y="7"/>
                      <a:pt x="222" y="7"/>
                      <a:pt x="222" y="7"/>
                    </a:cubicBezTo>
                    <a:cubicBezTo>
                      <a:pt x="222" y="7"/>
                      <a:pt x="214" y="21"/>
                      <a:pt x="211" y="22"/>
                    </a:cubicBezTo>
                    <a:cubicBezTo>
                      <a:pt x="209" y="22"/>
                      <a:pt x="191" y="36"/>
                      <a:pt x="180" y="27"/>
                    </a:cubicBezTo>
                    <a:cubicBezTo>
                      <a:pt x="168" y="19"/>
                      <a:pt x="166" y="6"/>
                      <a:pt x="166" y="6"/>
                    </a:cubicBezTo>
                    <a:cubicBezTo>
                      <a:pt x="166" y="6"/>
                      <a:pt x="171" y="7"/>
                      <a:pt x="173" y="8"/>
                    </a:cubicBezTo>
                    <a:cubicBezTo>
                      <a:pt x="176" y="9"/>
                      <a:pt x="181" y="14"/>
                      <a:pt x="181" y="14"/>
                    </a:cubicBezTo>
                    <a:cubicBezTo>
                      <a:pt x="182" y="12"/>
                      <a:pt x="182" y="12"/>
                      <a:pt x="182" y="12"/>
                    </a:cubicBezTo>
                    <a:cubicBezTo>
                      <a:pt x="182" y="12"/>
                      <a:pt x="178" y="7"/>
                      <a:pt x="175" y="5"/>
                    </a:cubicBezTo>
                    <a:cubicBezTo>
                      <a:pt x="171" y="4"/>
                      <a:pt x="164" y="0"/>
                      <a:pt x="160" y="0"/>
                    </a:cubicBezTo>
                    <a:cubicBezTo>
                      <a:pt x="156" y="0"/>
                      <a:pt x="140" y="6"/>
                      <a:pt x="136" y="7"/>
                    </a:cubicBezTo>
                    <a:cubicBezTo>
                      <a:pt x="132" y="7"/>
                      <a:pt x="128" y="9"/>
                      <a:pt x="123" y="9"/>
                    </a:cubicBezTo>
                    <a:cubicBezTo>
                      <a:pt x="119" y="10"/>
                      <a:pt x="111" y="18"/>
                      <a:pt x="107" y="20"/>
                    </a:cubicBezTo>
                    <a:cubicBezTo>
                      <a:pt x="103" y="22"/>
                      <a:pt x="98" y="21"/>
                      <a:pt x="95" y="24"/>
                    </a:cubicBezTo>
                    <a:cubicBezTo>
                      <a:pt x="92" y="26"/>
                      <a:pt x="92" y="26"/>
                      <a:pt x="88" y="30"/>
                    </a:cubicBezTo>
                    <a:cubicBezTo>
                      <a:pt x="85" y="34"/>
                      <a:pt x="82" y="37"/>
                      <a:pt x="82" y="37"/>
                    </a:cubicBezTo>
                    <a:cubicBezTo>
                      <a:pt x="60" y="43"/>
                      <a:pt x="42" y="43"/>
                      <a:pt x="42" y="43"/>
                    </a:cubicBezTo>
                    <a:cubicBezTo>
                      <a:pt x="38" y="46"/>
                      <a:pt x="38" y="46"/>
                      <a:pt x="38" y="46"/>
                    </a:cubicBezTo>
                    <a:cubicBezTo>
                      <a:pt x="24" y="51"/>
                      <a:pt x="24" y="51"/>
                      <a:pt x="24" y="51"/>
                    </a:cubicBezTo>
                    <a:cubicBezTo>
                      <a:pt x="20" y="52"/>
                      <a:pt x="20" y="52"/>
                      <a:pt x="20" y="52"/>
                    </a:cubicBezTo>
                    <a:cubicBezTo>
                      <a:pt x="6" y="60"/>
                      <a:pt x="6" y="60"/>
                      <a:pt x="6" y="60"/>
                    </a:cubicBezTo>
                    <a:cubicBezTo>
                      <a:pt x="7" y="62"/>
                      <a:pt x="7" y="62"/>
                      <a:pt x="7" y="62"/>
                    </a:cubicBezTo>
                    <a:cubicBezTo>
                      <a:pt x="11" y="61"/>
                      <a:pt x="11" y="61"/>
                      <a:pt x="11" y="61"/>
                    </a:cubicBezTo>
                    <a:cubicBezTo>
                      <a:pt x="16" y="63"/>
                      <a:pt x="16" y="63"/>
                      <a:pt x="16" y="63"/>
                    </a:cubicBezTo>
                    <a:cubicBezTo>
                      <a:pt x="20" y="55"/>
                      <a:pt x="20" y="55"/>
                      <a:pt x="20" y="55"/>
                    </a:cubicBezTo>
                    <a:cubicBezTo>
                      <a:pt x="25" y="53"/>
                      <a:pt x="25" y="53"/>
                      <a:pt x="25" y="53"/>
                    </a:cubicBezTo>
                    <a:cubicBezTo>
                      <a:pt x="24" y="58"/>
                      <a:pt x="24" y="58"/>
                      <a:pt x="24" y="58"/>
                    </a:cubicBezTo>
                    <a:cubicBezTo>
                      <a:pt x="24" y="58"/>
                      <a:pt x="19" y="60"/>
                      <a:pt x="19" y="63"/>
                    </a:cubicBezTo>
                    <a:cubicBezTo>
                      <a:pt x="20" y="66"/>
                      <a:pt x="22" y="72"/>
                      <a:pt x="22" y="73"/>
                    </a:cubicBezTo>
                    <a:cubicBezTo>
                      <a:pt x="22" y="74"/>
                      <a:pt x="18" y="77"/>
                      <a:pt x="19" y="80"/>
                    </a:cubicBezTo>
                    <a:cubicBezTo>
                      <a:pt x="21" y="81"/>
                      <a:pt x="30" y="94"/>
                      <a:pt x="26" y="96"/>
                    </a:cubicBezTo>
                    <a:cubicBezTo>
                      <a:pt x="24" y="98"/>
                      <a:pt x="19" y="97"/>
                      <a:pt x="20" y="94"/>
                    </a:cubicBezTo>
                    <a:cubicBezTo>
                      <a:pt x="21" y="91"/>
                      <a:pt x="22" y="88"/>
                      <a:pt x="22" y="88"/>
                    </a:cubicBezTo>
                    <a:cubicBezTo>
                      <a:pt x="19" y="82"/>
                      <a:pt x="19" y="82"/>
                      <a:pt x="19" y="82"/>
                    </a:cubicBezTo>
                    <a:cubicBezTo>
                      <a:pt x="19" y="82"/>
                      <a:pt x="12" y="81"/>
                      <a:pt x="9" y="81"/>
                    </a:cubicBezTo>
                    <a:cubicBezTo>
                      <a:pt x="8" y="81"/>
                      <a:pt x="7" y="82"/>
                      <a:pt x="6" y="83"/>
                    </a:cubicBezTo>
                    <a:cubicBezTo>
                      <a:pt x="7" y="87"/>
                      <a:pt x="7" y="94"/>
                      <a:pt x="9" y="98"/>
                    </a:cubicBezTo>
                    <a:cubicBezTo>
                      <a:pt x="13" y="104"/>
                      <a:pt x="11" y="110"/>
                      <a:pt x="9" y="117"/>
                    </a:cubicBezTo>
                    <a:cubicBezTo>
                      <a:pt x="8" y="121"/>
                      <a:pt x="4" y="121"/>
                      <a:pt x="2" y="124"/>
                    </a:cubicBezTo>
                    <a:cubicBezTo>
                      <a:pt x="1" y="125"/>
                      <a:pt x="1" y="131"/>
                      <a:pt x="0" y="133"/>
                    </a:cubicBezTo>
                    <a:cubicBezTo>
                      <a:pt x="9" y="134"/>
                      <a:pt x="22" y="148"/>
                      <a:pt x="22" y="155"/>
                    </a:cubicBezTo>
                    <a:cubicBezTo>
                      <a:pt x="22" y="159"/>
                      <a:pt x="18" y="157"/>
                      <a:pt x="19" y="163"/>
                    </a:cubicBezTo>
                    <a:cubicBezTo>
                      <a:pt x="20" y="167"/>
                      <a:pt x="20" y="168"/>
                      <a:pt x="24" y="170"/>
                    </a:cubicBezTo>
                    <a:cubicBezTo>
                      <a:pt x="28" y="171"/>
                      <a:pt x="24" y="181"/>
                      <a:pt x="25" y="181"/>
                    </a:cubicBezTo>
                    <a:cubicBezTo>
                      <a:pt x="31" y="182"/>
                      <a:pt x="26" y="192"/>
                      <a:pt x="24" y="195"/>
                    </a:cubicBezTo>
                    <a:cubicBezTo>
                      <a:pt x="20" y="200"/>
                      <a:pt x="28" y="204"/>
                      <a:pt x="30" y="210"/>
                    </a:cubicBezTo>
                    <a:cubicBezTo>
                      <a:pt x="32" y="212"/>
                      <a:pt x="26" y="216"/>
                      <a:pt x="30" y="218"/>
                    </a:cubicBezTo>
                    <a:cubicBezTo>
                      <a:pt x="34" y="220"/>
                      <a:pt x="39" y="219"/>
                      <a:pt x="39" y="226"/>
                    </a:cubicBezTo>
                    <a:cubicBezTo>
                      <a:pt x="39" y="232"/>
                      <a:pt x="45" y="235"/>
                      <a:pt x="42" y="242"/>
                    </a:cubicBezTo>
                    <a:cubicBezTo>
                      <a:pt x="42" y="246"/>
                      <a:pt x="40" y="257"/>
                      <a:pt x="37" y="259"/>
                    </a:cubicBezTo>
                    <a:cubicBezTo>
                      <a:pt x="37" y="260"/>
                      <a:pt x="37" y="260"/>
                      <a:pt x="36" y="261"/>
                    </a:cubicBezTo>
                    <a:cubicBezTo>
                      <a:pt x="44" y="263"/>
                      <a:pt x="44" y="263"/>
                      <a:pt x="44" y="263"/>
                    </a:cubicBezTo>
                    <a:cubicBezTo>
                      <a:pt x="46" y="261"/>
                      <a:pt x="46" y="261"/>
                      <a:pt x="46" y="261"/>
                    </a:cubicBezTo>
                    <a:cubicBezTo>
                      <a:pt x="44" y="258"/>
                      <a:pt x="44" y="258"/>
                      <a:pt x="44" y="258"/>
                    </a:cubicBezTo>
                    <a:cubicBezTo>
                      <a:pt x="46" y="255"/>
                      <a:pt x="46" y="255"/>
                      <a:pt x="46" y="255"/>
                    </a:cubicBezTo>
                    <a:cubicBezTo>
                      <a:pt x="60" y="257"/>
                      <a:pt x="60" y="257"/>
                      <a:pt x="60" y="257"/>
                    </a:cubicBezTo>
                    <a:cubicBezTo>
                      <a:pt x="58" y="264"/>
                      <a:pt x="58" y="264"/>
                      <a:pt x="58" y="264"/>
                    </a:cubicBezTo>
                    <a:cubicBezTo>
                      <a:pt x="66" y="272"/>
                      <a:pt x="66" y="272"/>
                      <a:pt x="66" y="272"/>
                    </a:cubicBezTo>
                    <a:cubicBezTo>
                      <a:pt x="66" y="267"/>
                      <a:pt x="66" y="267"/>
                      <a:pt x="66" y="267"/>
                    </a:cubicBezTo>
                    <a:cubicBezTo>
                      <a:pt x="88" y="275"/>
                      <a:pt x="88" y="275"/>
                      <a:pt x="88" y="275"/>
                    </a:cubicBezTo>
                    <a:cubicBezTo>
                      <a:pt x="89" y="281"/>
                      <a:pt x="89" y="281"/>
                      <a:pt x="89" y="281"/>
                    </a:cubicBezTo>
                    <a:cubicBezTo>
                      <a:pt x="102" y="275"/>
                      <a:pt x="102" y="275"/>
                      <a:pt x="102" y="275"/>
                    </a:cubicBezTo>
                    <a:cubicBezTo>
                      <a:pt x="109" y="280"/>
                      <a:pt x="109" y="280"/>
                      <a:pt x="109" y="280"/>
                    </a:cubicBezTo>
                    <a:cubicBezTo>
                      <a:pt x="109" y="280"/>
                      <a:pt x="96" y="288"/>
                      <a:pt x="98" y="291"/>
                    </a:cubicBezTo>
                    <a:cubicBezTo>
                      <a:pt x="100" y="293"/>
                      <a:pt x="109" y="292"/>
                      <a:pt x="110" y="295"/>
                    </a:cubicBezTo>
                    <a:cubicBezTo>
                      <a:pt x="112" y="298"/>
                      <a:pt x="111" y="306"/>
                      <a:pt x="114" y="308"/>
                    </a:cubicBezTo>
                    <a:cubicBezTo>
                      <a:pt x="117" y="310"/>
                      <a:pt x="123" y="308"/>
                      <a:pt x="124" y="306"/>
                    </a:cubicBezTo>
                    <a:cubicBezTo>
                      <a:pt x="124" y="304"/>
                      <a:pt x="130" y="301"/>
                      <a:pt x="130" y="301"/>
                    </a:cubicBezTo>
                    <a:cubicBezTo>
                      <a:pt x="134" y="302"/>
                      <a:pt x="134" y="302"/>
                      <a:pt x="134" y="302"/>
                    </a:cubicBezTo>
                    <a:cubicBezTo>
                      <a:pt x="134" y="302"/>
                      <a:pt x="136" y="296"/>
                      <a:pt x="134" y="296"/>
                    </a:cubicBezTo>
                    <a:cubicBezTo>
                      <a:pt x="132" y="296"/>
                      <a:pt x="128" y="293"/>
                      <a:pt x="128" y="293"/>
                    </a:cubicBezTo>
                    <a:cubicBezTo>
                      <a:pt x="127" y="287"/>
                      <a:pt x="127" y="287"/>
                      <a:pt x="127" y="287"/>
                    </a:cubicBezTo>
                    <a:cubicBezTo>
                      <a:pt x="127" y="287"/>
                      <a:pt x="134" y="289"/>
                      <a:pt x="140" y="291"/>
                    </a:cubicBezTo>
                    <a:cubicBezTo>
                      <a:pt x="146" y="293"/>
                      <a:pt x="150" y="298"/>
                      <a:pt x="150" y="298"/>
                    </a:cubicBezTo>
                    <a:cubicBezTo>
                      <a:pt x="162" y="293"/>
                      <a:pt x="162" y="293"/>
                      <a:pt x="162" y="293"/>
                    </a:cubicBezTo>
                    <a:cubicBezTo>
                      <a:pt x="166" y="298"/>
                      <a:pt x="166" y="298"/>
                      <a:pt x="166" y="298"/>
                    </a:cubicBezTo>
                    <a:cubicBezTo>
                      <a:pt x="162" y="303"/>
                      <a:pt x="162" y="303"/>
                      <a:pt x="162" y="303"/>
                    </a:cubicBezTo>
                    <a:cubicBezTo>
                      <a:pt x="162" y="303"/>
                      <a:pt x="165" y="307"/>
                      <a:pt x="166" y="308"/>
                    </a:cubicBezTo>
                    <a:cubicBezTo>
                      <a:pt x="168" y="309"/>
                      <a:pt x="170" y="315"/>
                      <a:pt x="170" y="315"/>
                    </a:cubicBezTo>
                    <a:cubicBezTo>
                      <a:pt x="175" y="313"/>
                      <a:pt x="175" y="313"/>
                      <a:pt x="175" y="313"/>
                    </a:cubicBezTo>
                    <a:cubicBezTo>
                      <a:pt x="176" y="309"/>
                      <a:pt x="176" y="309"/>
                      <a:pt x="176" y="309"/>
                    </a:cubicBezTo>
                    <a:cubicBezTo>
                      <a:pt x="192" y="314"/>
                      <a:pt x="192" y="314"/>
                      <a:pt x="192" y="314"/>
                    </a:cubicBezTo>
                    <a:cubicBezTo>
                      <a:pt x="202" y="317"/>
                      <a:pt x="202" y="317"/>
                      <a:pt x="202" y="317"/>
                    </a:cubicBezTo>
                    <a:cubicBezTo>
                      <a:pt x="205" y="329"/>
                      <a:pt x="205" y="329"/>
                      <a:pt x="205" y="329"/>
                    </a:cubicBezTo>
                    <a:cubicBezTo>
                      <a:pt x="214" y="329"/>
                      <a:pt x="214" y="329"/>
                      <a:pt x="214" y="329"/>
                    </a:cubicBezTo>
                    <a:cubicBezTo>
                      <a:pt x="218" y="340"/>
                      <a:pt x="218" y="340"/>
                      <a:pt x="218" y="340"/>
                    </a:cubicBezTo>
                    <a:cubicBezTo>
                      <a:pt x="221" y="340"/>
                      <a:pt x="221" y="340"/>
                      <a:pt x="221" y="340"/>
                    </a:cubicBezTo>
                    <a:cubicBezTo>
                      <a:pt x="221" y="348"/>
                      <a:pt x="221" y="348"/>
                      <a:pt x="221" y="348"/>
                    </a:cubicBezTo>
                    <a:cubicBezTo>
                      <a:pt x="231" y="346"/>
                      <a:pt x="231" y="346"/>
                      <a:pt x="231" y="346"/>
                    </a:cubicBezTo>
                    <a:cubicBezTo>
                      <a:pt x="234" y="339"/>
                      <a:pt x="234" y="339"/>
                      <a:pt x="234" y="339"/>
                    </a:cubicBezTo>
                    <a:cubicBezTo>
                      <a:pt x="237" y="339"/>
                      <a:pt x="237" y="339"/>
                      <a:pt x="237" y="339"/>
                    </a:cubicBezTo>
                    <a:cubicBezTo>
                      <a:pt x="237" y="339"/>
                      <a:pt x="238" y="333"/>
                      <a:pt x="243" y="333"/>
                    </a:cubicBezTo>
                    <a:cubicBezTo>
                      <a:pt x="247" y="334"/>
                      <a:pt x="248" y="341"/>
                      <a:pt x="248" y="341"/>
                    </a:cubicBezTo>
                    <a:cubicBezTo>
                      <a:pt x="252" y="341"/>
                      <a:pt x="252" y="341"/>
                      <a:pt x="252" y="341"/>
                    </a:cubicBezTo>
                    <a:cubicBezTo>
                      <a:pt x="251" y="344"/>
                      <a:pt x="251" y="344"/>
                      <a:pt x="251" y="344"/>
                    </a:cubicBezTo>
                    <a:cubicBezTo>
                      <a:pt x="257" y="342"/>
                      <a:pt x="257" y="342"/>
                      <a:pt x="257" y="342"/>
                    </a:cubicBezTo>
                    <a:cubicBezTo>
                      <a:pt x="260" y="349"/>
                      <a:pt x="260" y="349"/>
                      <a:pt x="260" y="349"/>
                    </a:cubicBezTo>
                    <a:cubicBezTo>
                      <a:pt x="260" y="349"/>
                      <a:pt x="255" y="356"/>
                      <a:pt x="259" y="356"/>
                    </a:cubicBezTo>
                    <a:cubicBezTo>
                      <a:pt x="261" y="356"/>
                      <a:pt x="265" y="353"/>
                      <a:pt x="265" y="353"/>
                    </a:cubicBezTo>
                    <a:cubicBezTo>
                      <a:pt x="273" y="356"/>
                      <a:pt x="273" y="356"/>
                      <a:pt x="273" y="356"/>
                    </a:cubicBezTo>
                    <a:cubicBezTo>
                      <a:pt x="276" y="346"/>
                      <a:pt x="276" y="346"/>
                      <a:pt x="276" y="346"/>
                    </a:cubicBezTo>
                    <a:cubicBezTo>
                      <a:pt x="276" y="346"/>
                      <a:pt x="281" y="340"/>
                      <a:pt x="288" y="339"/>
                    </a:cubicBezTo>
                    <a:cubicBezTo>
                      <a:pt x="300" y="339"/>
                      <a:pt x="300" y="339"/>
                      <a:pt x="300" y="339"/>
                    </a:cubicBezTo>
                    <a:cubicBezTo>
                      <a:pt x="300" y="339"/>
                      <a:pt x="301" y="345"/>
                      <a:pt x="308" y="344"/>
                    </a:cubicBezTo>
                    <a:cubicBezTo>
                      <a:pt x="313" y="343"/>
                      <a:pt x="314" y="337"/>
                      <a:pt x="314" y="337"/>
                    </a:cubicBezTo>
                    <a:cubicBezTo>
                      <a:pt x="314" y="337"/>
                      <a:pt x="319" y="333"/>
                      <a:pt x="327" y="331"/>
                    </a:cubicBezTo>
                    <a:cubicBezTo>
                      <a:pt x="334" y="330"/>
                      <a:pt x="337" y="331"/>
                      <a:pt x="337" y="331"/>
                    </a:cubicBezTo>
                    <a:cubicBezTo>
                      <a:pt x="343" y="335"/>
                      <a:pt x="343" y="335"/>
                      <a:pt x="343" y="335"/>
                    </a:cubicBezTo>
                    <a:cubicBezTo>
                      <a:pt x="343" y="335"/>
                      <a:pt x="355" y="335"/>
                      <a:pt x="356" y="337"/>
                    </a:cubicBezTo>
                    <a:cubicBezTo>
                      <a:pt x="357" y="339"/>
                      <a:pt x="357" y="344"/>
                      <a:pt x="357" y="344"/>
                    </a:cubicBezTo>
                    <a:cubicBezTo>
                      <a:pt x="381" y="348"/>
                      <a:pt x="381" y="348"/>
                      <a:pt x="381" y="348"/>
                    </a:cubicBezTo>
                    <a:cubicBezTo>
                      <a:pt x="395" y="352"/>
                      <a:pt x="395" y="352"/>
                      <a:pt x="395" y="352"/>
                    </a:cubicBezTo>
                    <a:cubicBezTo>
                      <a:pt x="396" y="346"/>
                      <a:pt x="396" y="346"/>
                      <a:pt x="396" y="346"/>
                    </a:cubicBezTo>
                    <a:cubicBezTo>
                      <a:pt x="396" y="346"/>
                      <a:pt x="388" y="344"/>
                      <a:pt x="386" y="341"/>
                    </a:cubicBezTo>
                    <a:cubicBezTo>
                      <a:pt x="385" y="338"/>
                      <a:pt x="386" y="335"/>
                      <a:pt x="385" y="330"/>
                    </a:cubicBezTo>
                    <a:cubicBezTo>
                      <a:pt x="385" y="325"/>
                      <a:pt x="379" y="318"/>
                      <a:pt x="379" y="318"/>
                    </a:cubicBezTo>
                    <a:cubicBezTo>
                      <a:pt x="379" y="318"/>
                      <a:pt x="389" y="308"/>
                      <a:pt x="392" y="301"/>
                    </a:cubicBezTo>
                    <a:cubicBezTo>
                      <a:pt x="396" y="294"/>
                      <a:pt x="397" y="283"/>
                      <a:pt x="400" y="279"/>
                    </a:cubicBezTo>
                    <a:cubicBezTo>
                      <a:pt x="404" y="276"/>
                      <a:pt x="414" y="258"/>
                      <a:pt x="414" y="258"/>
                    </a:cubicBezTo>
                    <a:cubicBezTo>
                      <a:pt x="414" y="258"/>
                      <a:pt x="425" y="261"/>
                      <a:pt x="428" y="254"/>
                    </a:cubicBezTo>
                    <a:cubicBezTo>
                      <a:pt x="431" y="246"/>
                      <a:pt x="431" y="238"/>
                      <a:pt x="428" y="235"/>
                    </a:cubicBezTo>
                    <a:cubicBezTo>
                      <a:pt x="425" y="234"/>
                      <a:pt x="421" y="233"/>
                      <a:pt x="422" y="231"/>
                    </a:cubicBezTo>
                    <a:close/>
                  </a:path>
                </a:pathLst>
              </a:custGeom>
              <a:solidFill>
                <a:srgbClr val="FDC795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39" name="Norway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4508500" y="1143000"/>
                <a:ext cx="1471612" cy="1873250"/>
              </a:xfrm>
              <a:custGeom>
                <a:avLst/>
                <a:gdLst/>
                <a:ahLst/>
                <a:cxnLst>
                  <a:cxn ang="0">
                    <a:pos x="626" y="61"/>
                  </a:cxn>
                  <a:cxn ang="0">
                    <a:pos x="605" y="40"/>
                  </a:cxn>
                  <a:cxn ang="0">
                    <a:pos x="586" y="22"/>
                  </a:cxn>
                  <a:cxn ang="0">
                    <a:pos x="547" y="55"/>
                  </a:cxn>
                  <a:cxn ang="0">
                    <a:pos x="532" y="46"/>
                  </a:cxn>
                  <a:cxn ang="0">
                    <a:pos x="465" y="77"/>
                  </a:cxn>
                  <a:cxn ang="0">
                    <a:pos x="445" y="116"/>
                  </a:cxn>
                  <a:cxn ang="0">
                    <a:pos x="410" y="132"/>
                  </a:cxn>
                  <a:cxn ang="0">
                    <a:pos x="380" y="181"/>
                  </a:cxn>
                  <a:cxn ang="0">
                    <a:pos x="374" y="209"/>
                  </a:cxn>
                  <a:cxn ang="0">
                    <a:pos x="330" y="227"/>
                  </a:cxn>
                  <a:cxn ang="0">
                    <a:pos x="331" y="254"/>
                  </a:cxn>
                  <a:cxn ang="0">
                    <a:pos x="331" y="290"/>
                  </a:cxn>
                  <a:cxn ang="0">
                    <a:pos x="275" y="339"/>
                  </a:cxn>
                  <a:cxn ang="0">
                    <a:pos x="261" y="381"/>
                  </a:cxn>
                  <a:cxn ang="0">
                    <a:pos x="252" y="428"/>
                  </a:cxn>
                  <a:cxn ang="0">
                    <a:pos x="198" y="471"/>
                  </a:cxn>
                  <a:cxn ang="0">
                    <a:pos x="224" y="509"/>
                  </a:cxn>
                  <a:cxn ang="0">
                    <a:pos x="141" y="534"/>
                  </a:cxn>
                  <a:cxn ang="0">
                    <a:pos x="122" y="571"/>
                  </a:cxn>
                  <a:cxn ang="0">
                    <a:pos x="96" y="584"/>
                  </a:cxn>
                  <a:cxn ang="0">
                    <a:pos x="69" y="595"/>
                  </a:cxn>
                  <a:cxn ang="0">
                    <a:pos x="26" y="611"/>
                  </a:cxn>
                  <a:cxn ang="0">
                    <a:pos x="23" y="650"/>
                  </a:cxn>
                  <a:cxn ang="0">
                    <a:pos x="83" y="675"/>
                  </a:cxn>
                  <a:cxn ang="0">
                    <a:pos x="74" y="678"/>
                  </a:cxn>
                  <a:cxn ang="0">
                    <a:pos x="38" y="704"/>
                  </a:cxn>
                  <a:cxn ang="0">
                    <a:pos x="55" y="723"/>
                  </a:cxn>
                  <a:cxn ang="0">
                    <a:pos x="42" y="766"/>
                  </a:cxn>
                  <a:cxn ang="0">
                    <a:pos x="26" y="785"/>
                  </a:cxn>
                  <a:cxn ang="0">
                    <a:pos x="34" y="813"/>
                  </a:cxn>
                  <a:cxn ang="0">
                    <a:pos x="65" y="873"/>
                  </a:cxn>
                  <a:cxn ang="0">
                    <a:pos x="182" y="789"/>
                  </a:cxn>
                  <a:cxn ang="0">
                    <a:pos x="230" y="815"/>
                  </a:cxn>
                  <a:cxn ang="0">
                    <a:pos x="305" y="482"/>
                  </a:cxn>
                  <a:cxn ang="0">
                    <a:pos x="443" y="205"/>
                  </a:cxn>
                  <a:cxn ang="0">
                    <a:pos x="595" y="78"/>
                  </a:cxn>
                  <a:cxn ang="0">
                    <a:pos x="18" y="803"/>
                  </a:cxn>
                  <a:cxn ang="0">
                    <a:pos x="10" y="767"/>
                  </a:cxn>
                  <a:cxn ang="0">
                    <a:pos x="14" y="743"/>
                  </a:cxn>
                  <a:cxn ang="0">
                    <a:pos x="10" y="711"/>
                  </a:cxn>
                  <a:cxn ang="0">
                    <a:pos x="8" y="699"/>
                  </a:cxn>
                  <a:cxn ang="0">
                    <a:pos x="7" y="680"/>
                  </a:cxn>
                  <a:cxn ang="0">
                    <a:pos x="15" y="632"/>
                  </a:cxn>
                  <a:cxn ang="0">
                    <a:pos x="44" y="600"/>
                  </a:cxn>
                  <a:cxn ang="0">
                    <a:pos x="58" y="582"/>
                  </a:cxn>
                  <a:cxn ang="0">
                    <a:pos x="106" y="551"/>
                  </a:cxn>
                  <a:cxn ang="0">
                    <a:pos x="123" y="537"/>
                  </a:cxn>
                  <a:cxn ang="0">
                    <a:pos x="162" y="515"/>
                  </a:cxn>
                  <a:cxn ang="0">
                    <a:pos x="259" y="367"/>
                  </a:cxn>
                  <a:cxn ang="0">
                    <a:pos x="264" y="359"/>
                  </a:cxn>
                  <a:cxn ang="0">
                    <a:pos x="301" y="294"/>
                  </a:cxn>
                  <a:cxn ang="0">
                    <a:pos x="351" y="208"/>
                  </a:cxn>
                  <a:cxn ang="0">
                    <a:pos x="296" y="220"/>
                  </a:cxn>
                  <a:cxn ang="0">
                    <a:pos x="362" y="187"/>
                  </a:cxn>
                  <a:cxn ang="0">
                    <a:pos x="322" y="218"/>
                  </a:cxn>
                  <a:cxn ang="0">
                    <a:pos x="320" y="183"/>
                  </a:cxn>
                  <a:cxn ang="0">
                    <a:pos x="367" y="152"/>
                  </a:cxn>
                  <a:cxn ang="0">
                    <a:pos x="411" y="97"/>
                  </a:cxn>
                  <a:cxn ang="0">
                    <a:pos x="407" y="97"/>
                  </a:cxn>
                  <a:cxn ang="0">
                    <a:pos x="492" y="40"/>
                  </a:cxn>
                  <a:cxn ang="0">
                    <a:pos x="514" y="56"/>
                  </a:cxn>
                  <a:cxn ang="0">
                    <a:pos x="538" y="19"/>
                  </a:cxn>
                </a:cxnLst>
                <a:rect l="0" t="0" r="r" b="b"/>
                <a:pathLst>
                  <a:path w="690" h="880">
                    <a:moveTo>
                      <a:pt x="685" y="71"/>
                    </a:moveTo>
                    <a:cubicBezTo>
                      <a:pt x="685" y="68"/>
                      <a:pt x="685" y="68"/>
                      <a:pt x="685" y="68"/>
                    </a:cubicBezTo>
                    <a:cubicBezTo>
                      <a:pt x="681" y="68"/>
                      <a:pt x="681" y="68"/>
                      <a:pt x="681" y="68"/>
                    </a:cubicBezTo>
                    <a:cubicBezTo>
                      <a:pt x="681" y="68"/>
                      <a:pt x="681" y="66"/>
                      <a:pt x="678" y="66"/>
                    </a:cubicBezTo>
                    <a:cubicBezTo>
                      <a:pt x="673" y="66"/>
                      <a:pt x="673" y="66"/>
                      <a:pt x="673" y="66"/>
                    </a:cubicBezTo>
                    <a:cubicBezTo>
                      <a:pt x="675" y="75"/>
                      <a:pt x="675" y="75"/>
                      <a:pt x="675" y="75"/>
                    </a:cubicBezTo>
                    <a:cubicBezTo>
                      <a:pt x="673" y="76"/>
                      <a:pt x="673" y="76"/>
                      <a:pt x="673" y="76"/>
                    </a:cubicBezTo>
                    <a:cubicBezTo>
                      <a:pt x="673" y="72"/>
                      <a:pt x="673" y="72"/>
                      <a:pt x="673" y="72"/>
                    </a:cubicBezTo>
                    <a:cubicBezTo>
                      <a:pt x="668" y="64"/>
                      <a:pt x="668" y="64"/>
                      <a:pt x="668" y="64"/>
                    </a:cubicBezTo>
                    <a:cubicBezTo>
                      <a:pt x="666" y="64"/>
                      <a:pt x="666" y="64"/>
                      <a:pt x="666" y="64"/>
                    </a:cubicBezTo>
                    <a:cubicBezTo>
                      <a:pt x="668" y="72"/>
                      <a:pt x="668" y="72"/>
                      <a:pt x="668" y="72"/>
                    </a:cubicBezTo>
                    <a:cubicBezTo>
                      <a:pt x="666" y="76"/>
                      <a:pt x="666" y="76"/>
                      <a:pt x="666" y="76"/>
                    </a:cubicBezTo>
                    <a:cubicBezTo>
                      <a:pt x="664" y="73"/>
                      <a:pt x="664" y="73"/>
                      <a:pt x="664" y="73"/>
                    </a:cubicBezTo>
                    <a:cubicBezTo>
                      <a:pt x="662" y="76"/>
                      <a:pt x="662" y="76"/>
                      <a:pt x="662" y="76"/>
                    </a:cubicBezTo>
                    <a:cubicBezTo>
                      <a:pt x="659" y="77"/>
                      <a:pt x="659" y="77"/>
                      <a:pt x="659" y="77"/>
                    </a:cubicBezTo>
                    <a:cubicBezTo>
                      <a:pt x="659" y="77"/>
                      <a:pt x="656" y="81"/>
                      <a:pt x="655" y="81"/>
                    </a:cubicBezTo>
                    <a:cubicBezTo>
                      <a:pt x="654" y="80"/>
                      <a:pt x="655" y="77"/>
                      <a:pt x="656" y="75"/>
                    </a:cubicBezTo>
                    <a:cubicBezTo>
                      <a:pt x="657" y="74"/>
                      <a:pt x="657" y="67"/>
                      <a:pt x="654" y="66"/>
                    </a:cubicBezTo>
                    <a:cubicBezTo>
                      <a:pt x="652" y="64"/>
                      <a:pt x="649" y="71"/>
                      <a:pt x="649" y="71"/>
                    </a:cubicBezTo>
                    <a:cubicBezTo>
                      <a:pt x="647" y="71"/>
                      <a:pt x="647" y="71"/>
                      <a:pt x="647" y="71"/>
                    </a:cubicBezTo>
                    <a:cubicBezTo>
                      <a:pt x="647" y="71"/>
                      <a:pt x="653" y="64"/>
                      <a:pt x="649" y="62"/>
                    </a:cubicBezTo>
                    <a:cubicBezTo>
                      <a:pt x="645" y="59"/>
                      <a:pt x="641" y="62"/>
                      <a:pt x="641" y="62"/>
                    </a:cubicBezTo>
                    <a:cubicBezTo>
                      <a:pt x="637" y="59"/>
                      <a:pt x="637" y="59"/>
                      <a:pt x="637" y="59"/>
                    </a:cubicBezTo>
                    <a:cubicBezTo>
                      <a:pt x="633" y="61"/>
                      <a:pt x="633" y="61"/>
                      <a:pt x="633" y="61"/>
                    </a:cubicBezTo>
                    <a:cubicBezTo>
                      <a:pt x="632" y="59"/>
                      <a:pt x="632" y="59"/>
                      <a:pt x="632" y="59"/>
                    </a:cubicBezTo>
                    <a:cubicBezTo>
                      <a:pt x="632" y="59"/>
                      <a:pt x="629" y="62"/>
                      <a:pt x="626" y="61"/>
                    </a:cubicBezTo>
                    <a:cubicBezTo>
                      <a:pt x="624" y="60"/>
                      <a:pt x="626" y="58"/>
                      <a:pt x="626" y="58"/>
                    </a:cubicBezTo>
                    <a:cubicBezTo>
                      <a:pt x="626" y="57"/>
                      <a:pt x="624" y="56"/>
                      <a:pt x="625" y="53"/>
                    </a:cubicBezTo>
                    <a:cubicBezTo>
                      <a:pt x="625" y="51"/>
                      <a:pt x="646" y="57"/>
                      <a:pt x="646" y="57"/>
                    </a:cubicBezTo>
                    <a:cubicBezTo>
                      <a:pt x="646" y="57"/>
                      <a:pt x="655" y="57"/>
                      <a:pt x="662" y="52"/>
                    </a:cubicBezTo>
                    <a:cubicBezTo>
                      <a:pt x="668" y="47"/>
                      <a:pt x="666" y="41"/>
                      <a:pt x="666" y="41"/>
                    </a:cubicBezTo>
                    <a:cubicBezTo>
                      <a:pt x="666" y="41"/>
                      <a:pt x="678" y="35"/>
                      <a:pt x="677" y="30"/>
                    </a:cubicBezTo>
                    <a:cubicBezTo>
                      <a:pt x="675" y="26"/>
                      <a:pt x="667" y="28"/>
                      <a:pt x="667" y="28"/>
                    </a:cubicBezTo>
                    <a:cubicBezTo>
                      <a:pt x="667" y="28"/>
                      <a:pt x="664" y="24"/>
                      <a:pt x="661" y="24"/>
                    </a:cubicBezTo>
                    <a:cubicBezTo>
                      <a:pt x="656" y="24"/>
                      <a:pt x="652" y="27"/>
                      <a:pt x="652" y="27"/>
                    </a:cubicBezTo>
                    <a:cubicBezTo>
                      <a:pt x="655" y="19"/>
                      <a:pt x="655" y="19"/>
                      <a:pt x="655" y="19"/>
                    </a:cubicBezTo>
                    <a:cubicBezTo>
                      <a:pt x="651" y="19"/>
                      <a:pt x="651" y="19"/>
                      <a:pt x="651" y="19"/>
                    </a:cubicBezTo>
                    <a:cubicBezTo>
                      <a:pt x="651" y="19"/>
                      <a:pt x="652" y="16"/>
                      <a:pt x="648" y="16"/>
                    </a:cubicBezTo>
                    <a:cubicBezTo>
                      <a:pt x="644" y="15"/>
                      <a:pt x="645" y="21"/>
                      <a:pt x="642" y="21"/>
                    </a:cubicBezTo>
                    <a:cubicBezTo>
                      <a:pt x="640" y="22"/>
                      <a:pt x="642" y="16"/>
                      <a:pt x="640" y="16"/>
                    </a:cubicBezTo>
                    <a:cubicBezTo>
                      <a:pt x="639" y="16"/>
                      <a:pt x="632" y="22"/>
                      <a:pt x="632" y="22"/>
                    </a:cubicBezTo>
                    <a:cubicBezTo>
                      <a:pt x="632" y="15"/>
                      <a:pt x="632" y="15"/>
                      <a:pt x="632" y="15"/>
                    </a:cubicBezTo>
                    <a:cubicBezTo>
                      <a:pt x="632" y="15"/>
                      <a:pt x="629" y="10"/>
                      <a:pt x="622" y="11"/>
                    </a:cubicBezTo>
                    <a:cubicBezTo>
                      <a:pt x="615" y="11"/>
                      <a:pt x="616" y="22"/>
                      <a:pt x="616" y="22"/>
                    </a:cubicBezTo>
                    <a:cubicBezTo>
                      <a:pt x="617" y="25"/>
                      <a:pt x="617" y="25"/>
                      <a:pt x="617" y="25"/>
                    </a:cubicBezTo>
                    <a:cubicBezTo>
                      <a:pt x="616" y="36"/>
                      <a:pt x="616" y="36"/>
                      <a:pt x="616" y="36"/>
                    </a:cubicBezTo>
                    <a:cubicBezTo>
                      <a:pt x="619" y="36"/>
                      <a:pt x="619" y="36"/>
                      <a:pt x="619" y="36"/>
                    </a:cubicBezTo>
                    <a:cubicBezTo>
                      <a:pt x="619" y="39"/>
                      <a:pt x="619" y="39"/>
                      <a:pt x="619" y="39"/>
                    </a:cubicBezTo>
                    <a:cubicBezTo>
                      <a:pt x="614" y="39"/>
                      <a:pt x="614" y="39"/>
                      <a:pt x="614" y="39"/>
                    </a:cubicBezTo>
                    <a:cubicBezTo>
                      <a:pt x="613" y="35"/>
                      <a:pt x="613" y="35"/>
                      <a:pt x="613" y="35"/>
                    </a:cubicBezTo>
                    <a:cubicBezTo>
                      <a:pt x="608" y="40"/>
                      <a:pt x="608" y="40"/>
                      <a:pt x="608" y="40"/>
                    </a:cubicBezTo>
                    <a:cubicBezTo>
                      <a:pt x="605" y="40"/>
                      <a:pt x="605" y="40"/>
                      <a:pt x="605" y="40"/>
                    </a:cubicBezTo>
                    <a:cubicBezTo>
                      <a:pt x="605" y="42"/>
                      <a:pt x="605" y="42"/>
                      <a:pt x="605" y="42"/>
                    </a:cubicBezTo>
                    <a:cubicBezTo>
                      <a:pt x="603" y="37"/>
                      <a:pt x="603" y="37"/>
                      <a:pt x="603" y="37"/>
                    </a:cubicBezTo>
                    <a:cubicBezTo>
                      <a:pt x="603" y="37"/>
                      <a:pt x="606" y="34"/>
                      <a:pt x="608" y="33"/>
                    </a:cubicBezTo>
                    <a:cubicBezTo>
                      <a:pt x="610" y="31"/>
                      <a:pt x="612" y="25"/>
                      <a:pt x="610" y="22"/>
                    </a:cubicBezTo>
                    <a:cubicBezTo>
                      <a:pt x="609" y="21"/>
                      <a:pt x="605" y="26"/>
                      <a:pt x="604" y="28"/>
                    </a:cubicBezTo>
                    <a:cubicBezTo>
                      <a:pt x="604" y="30"/>
                      <a:pt x="599" y="32"/>
                      <a:pt x="599" y="32"/>
                    </a:cubicBezTo>
                    <a:cubicBezTo>
                      <a:pt x="599" y="32"/>
                      <a:pt x="601" y="29"/>
                      <a:pt x="602" y="28"/>
                    </a:cubicBezTo>
                    <a:cubicBezTo>
                      <a:pt x="603" y="27"/>
                      <a:pt x="606" y="21"/>
                      <a:pt x="606" y="21"/>
                    </a:cubicBezTo>
                    <a:cubicBezTo>
                      <a:pt x="602" y="21"/>
                      <a:pt x="602" y="21"/>
                      <a:pt x="602" y="21"/>
                    </a:cubicBezTo>
                    <a:cubicBezTo>
                      <a:pt x="601" y="21"/>
                      <a:pt x="598" y="25"/>
                      <a:pt x="598" y="25"/>
                    </a:cubicBezTo>
                    <a:cubicBezTo>
                      <a:pt x="598" y="25"/>
                      <a:pt x="598" y="22"/>
                      <a:pt x="599" y="21"/>
                    </a:cubicBezTo>
                    <a:cubicBezTo>
                      <a:pt x="599" y="19"/>
                      <a:pt x="604" y="19"/>
                      <a:pt x="608" y="18"/>
                    </a:cubicBezTo>
                    <a:cubicBezTo>
                      <a:pt x="613" y="17"/>
                      <a:pt x="612" y="5"/>
                      <a:pt x="612" y="5"/>
                    </a:cubicBezTo>
                    <a:cubicBezTo>
                      <a:pt x="606" y="5"/>
                      <a:pt x="606" y="5"/>
                      <a:pt x="606" y="5"/>
                    </a:cubicBezTo>
                    <a:cubicBezTo>
                      <a:pt x="606" y="5"/>
                      <a:pt x="604" y="8"/>
                      <a:pt x="603" y="6"/>
                    </a:cubicBezTo>
                    <a:cubicBezTo>
                      <a:pt x="601" y="6"/>
                      <a:pt x="604" y="2"/>
                      <a:pt x="602" y="1"/>
                    </a:cubicBezTo>
                    <a:cubicBezTo>
                      <a:pt x="600" y="0"/>
                      <a:pt x="598" y="5"/>
                      <a:pt x="596" y="5"/>
                    </a:cubicBezTo>
                    <a:cubicBezTo>
                      <a:pt x="593" y="6"/>
                      <a:pt x="591" y="1"/>
                      <a:pt x="587" y="2"/>
                    </a:cubicBezTo>
                    <a:cubicBezTo>
                      <a:pt x="584" y="4"/>
                      <a:pt x="591" y="11"/>
                      <a:pt x="589" y="11"/>
                    </a:cubicBezTo>
                    <a:cubicBezTo>
                      <a:pt x="587" y="12"/>
                      <a:pt x="585" y="9"/>
                      <a:pt x="581" y="8"/>
                    </a:cubicBezTo>
                    <a:cubicBezTo>
                      <a:pt x="577" y="8"/>
                      <a:pt x="584" y="13"/>
                      <a:pt x="584" y="13"/>
                    </a:cubicBezTo>
                    <a:cubicBezTo>
                      <a:pt x="581" y="14"/>
                      <a:pt x="581" y="14"/>
                      <a:pt x="581" y="14"/>
                    </a:cubicBezTo>
                    <a:cubicBezTo>
                      <a:pt x="583" y="17"/>
                      <a:pt x="583" y="17"/>
                      <a:pt x="583" y="17"/>
                    </a:cubicBezTo>
                    <a:cubicBezTo>
                      <a:pt x="586" y="17"/>
                      <a:pt x="586" y="17"/>
                      <a:pt x="586" y="17"/>
                    </a:cubicBezTo>
                    <a:cubicBezTo>
                      <a:pt x="593" y="21"/>
                      <a:pt x="593" y="21"/>
                      <a:pt x="593" y="21"/>
                    </a:cubicBezTo>
                    <a:cubicBezTo>
                      <a:pt x="586" y="22"/>
                      <a:pt x="586" y="22"/>
                      <a:pt x="586" y="22"/>
                    </a:cubicBezTo>
                    <a:cubicBezTo>
                      <a:pt x="587" y="27"/>
                      <a:pt x="587" y="27"/>
                      <a:pt x="587" y="27"/>
                    </a:cubicBezTo>
                    <a:cubicBezTo>
                      <a:pt x="583" y="27"/>
                      <a:pt x="583" y="27"/>
                      <a:pt x="583" y="27"/>
                    </a:cubicBezTo>
                    <a:cubicBezTo>
                      <a:pt x="583" y="30"/>
                      <a:pt x="583" y="30"/>
                      <a:pt x="583" y="30"/>
                    </a:cubicBezTo>
                    <a:cubicBezTo>
                      <a:pt x="585" y="31"/>
                      <a:pt x="585" y="31"/>
                      <a:pt x="585" y="31"/>
                    </a:cubicBezTo>
                    <a:cubicBezTo>
                      <a:pt x="585" y="35"/>
                      <a:pt x="585" y="35"/>
                      <a:pt x="585" y="35"/>
                    </a:cubicBezTo>
                    <a:cubicBezTo>
                      <a:pt x="587" y="36"/>
                      <a:pt x="587" y="36"/>
                      <a:pt x="587" y="36"/>
                    </a:cubicBezTo>
                    <a:cubicBezTo>
                      <a:pt x="582" y="37"/>
                      <a:pt x="582" y="37"/>
                      <a:pt x="582" y="37"/>
                    </a:cubicBezTo>
                    <a:cubicBezTo>
                      <a:pt x="587" y="45"/>
                      <a:pt x="587" y="45"/>
                      <a:pt x="587" y="45"/>
                    </a:cubicBezTo>
                    <a:cubicBezTo>
                      <a:pt x="580" y="45"/>
                      <a:pt x="580" y="45"/>
                      <a:pt x="580" y="45"/>
                    </a:cubicBezTo>
                    <a:cubicBezTo>
                      <a:pt x="576" y="55"/>
                      <a:pt x="576" y="55"/>
                      <a:pt x="576" y="55"/>
                    </a:cubicBezTo>
                    <a:cubicBezTo>
                      <a:pt x="574" y="35"/>
                      <a:pt x="574" y="35"/>
                      <a:pt x="574" y="35"/>
                    </a:cubicBezTo>
                    <a:cubicBezTo>
                      <a:pt x="569" y="37"/>
                      <a:pt x="569" y="37"/>
                      <a:pt x="569" y="37"/>
                    </a:cubicBezTo>
                    <a:cubicBezTo>
                      <a:pt x="575" y="26"/>
                      <a:pt x="575" y="26"/>
                      <a:pt x="575" y="26"/>
                    </a:cubicBezTo>
                    <a:cubicBezTo>
                      <a:pt x="573" y="24"/>
                      <a:pt x="573" y="24"/>
                      <a:pt x="573" y="24"/>
                    </a:cubicBezTo>
                    <a:cubicBezTo>
                      <a:pt x="573" y="24"/>
                      <a:pt x="574" y="17"/>
                      <a:pt x="569" y="17"/>
                    </a:cubicBezTo>
                    <a:cubicBezTo>
                      <a:pt x="564" y="18"/>
                      <a:pt x="564" y="32"/>
                      <a:pt x="564" y="32"/>
                    </a:cubicBezTo>
                    <a:cubicBezTo>
                      <a:pt x="560" y="33"/>
                      <a:pt x="560" y="33"/>
                      <a:pt x="560" y="33"/>
                    </a:cubicBezTo>
                    <a:cubicBezTo>
                      <a:pt x="560" y="33"/>
                      <a:pt x="561" y="41"/>
                      <a:pt x="558" y="45"/>
                    </a:cubicBezTo>
                    <a:cubicBezTo>
                      <a:pt x="556" y="50"/>
                      <a:pt x="550" y="60"/>
                      <a:pt x="550" y="60"/>
                    </a:cubicBezTo>
                    <a:cubicBezTo>
                      <a:pt x="550" y="60"/>
                      <a:pt x="555" y="62"/>
                      <a:pt x="554" y="65"/>
                    </a:cubicBezTo>
                    <a:cubicBezTo>
                      <a:pt x="553" y="68"/>
                      <a:pt x="551" y="73"/>
                      <a:pt x="551" y="73"/>
                    </a:cubicBezTo>
                    <a:cubicBezTo>
                      <a:pt x="549" y="78"/>
                      <a:pt x="549" y="78"/>
                      <a:pt x="549" y="78"/>
                    </a:cubicBezTo>
                    <a:cubicBezTo>
                      <a:pt x="546" y="74"/>
                      <a:pt x="546" y="74"/>
                      <a:pt x="546" y="74"/>
                    </a:cubicBezTo>
                    <a:cubicBezTo>
                      <a:pt x="544" y="77"/>
                      <a:pt x="544" y="77"/>
                      <a:pt x="544" y="77"/>
                    </a:cubicBezTo>
                    <a:cubicBezTo>
                      <a:pt x="541" y="71"/>
                      <a:pt x="541" y="71"/>
                      <a:pt x="541" y="71"/>
                    </a:cubicBezTo>
                    <a:cubicBezTo>
                      <a:pt x="547" y="55"/>
                      <a:pt x="547" y="55"/>
                      <a:pt x="547" y="55"/>
                    </a:cubicBezTo>
                    <a:cubicBezTo>
                      <a:pt x="542" y="55"/>
                      <a:pt x="542" y="55"/>
                      <a:pt x="542" y="55"/>
                    </a:cubicBezTo>
                    <a:cubicBezTo>
                      <a:pt x="541" y="52"/>
                      <a:pt x="541" y="52"/>
                      <a:pt x="541" y="52"/>
                    </a:cubicBezTo>
                    <a:cubicBezTo>
                      <a:pt x="553" y="34"/>
                      <a:pt x="553" y="34"/>
                      <a:pt x="553" y="34"/>
                    </a:cubicBezTo>
                    <a:cubicBezTo>
                      <a:pt x="551" y="32"/>
                      <a:pt x="551" y="32"/>
                      <a:pt x="551" y="32"/>
                    </a:cubicBezTo>
                    <a:cubicBezTo>
                      <a:pt x="551" y="32"/>
                      <a:pt x="556" y="25"/>
                      <a:pt x="554" y="24"/>
                    </a:cubicBezTo>
                    <a:cubicBezTo>
                      <a:pt x="552" y="22"/>
                      <a:pt x="546" y="29"/>
                      <a:pt x="546" y="29"/>
                    </a:cubicBezTo>
                    <a:cubicBezTo>
                      <a:pt x="546" y="22"/>
                      <a:pt x="546" y="22"/>
                      <a:pt x="546" y="22"/>
                    </a:cubicBezTo>
                    <a:cubicBezTo>
                      <a:pt x="540" y="22"/>
                      <a:pt x="540" y="22"/>
                      <a:pt x="540" y="22"/>
                    </a:cubicBezTo>
                    <a:cubicBezTo>
                      <a:pt x="542" y="26"/>
                      <a:pt x="542" y="26"/>
                      <a:pt x="542" y="26"/>
                    </a:cubicBezTo>
                    <a:cubicBezTo>
                      <a:pt x="541" y="31"/>
                      <a:pt x="541" y="31"/>
                      <a:pt x="541" y="31"/>
                    </a:cubicBezTo>
                    <a:cubicBezTo>
                      <a:pt x="537" y="26"/>
                      <a:pt x="537" y="26"/>
                      <a:pt x="537" y="26"/>
                    </a:cubicBezTo>
                    <a:cubicBezTo>
                      <a:pt x="534" y="29"/>
                      <a:pt x="534" y="29"/>
                      <a:pt x="534" y="29"/>
                    </a:cubicBezTo>
                    <a:cubicBezTo>
                      <a:pt x="535" y="24"/>
                      <a:pt x="535" y="24"/>
                      <a:pt x="535" y="24"/>
                    </a:cubicBezTo>
                    <a:cubicBezTo>
                      <a:pt x="534" y="22"/>
                      <a:pt x="534" y="22"/>
                      <a:pt x="534" y="22"/>
                    </a:cubicBezTo>
                    <a:cubicBezTo>
                      <a:pt x="532" y="26"/>
                      <a:pt x="532" y="26"/>
                      <a:pt x="532" y="26"/>
                    </a:cubicBezTo>
                    <a:cubicBezTo>
                      <a:pt x="525" y="21"/>
                      <a:pt x="525" y="21"/>
                      <a:pt x="525" y="21"/>
                    </a:cubicBezTo>
                    <a:cubicBezTo>
                      <a:pt x="523" y="27"/>
                      <a:pt x="523" y="27"/>
                      <a:pt x="523" y="27"/>
                    </a:cubicBezTo>
                    <a:cubicBezTo>
                      <a:pt x="530" y="30"/>
                      <a:pt x="530" y="30"/>
                      <a:pt x="530" y="30"/>
                    </a:cubicBezTo>
                    <a:cubicBezTo>
                      <a:pt x="526" y="31"/>
                      <a:pt x="526" y="31"/>
                      <a:pt x="526" y="31"/>
                    </a:cubicBezTo>
                    <a:cubicBezTo>
                      <a:pt x="526" y="35"/>
                      <a:pt x="526" y="35"/>
                      <a:pt x="526" y="35"/>
                    </a:cubicBezTo>
                    <a:cubicBezTo>
                      <a:pt x="523" y="34"/>
                      <a:pt x="523" y="34"/>
                      <a:pt x="523" y="34"/>
                    </a:cubicBezTo>
                    <a:cubicBezTo>
                      <a:pt x="522" y="32"/>
                      <a:pt x="522" y="32"/>
                      <a:pt x="522" y="32"/>
                    </a:cubicBezTo>
                    <a:cubicBezTo>
                      <a:pt x="519" y="32"/>
                      <a:pt x="519" y="32"/>
                      <a:pt x="519" y="32"/>
                    </a:cubicBezTo>
                    <a:cubicBezTo>
                      <a:pt x="519" y="39"/>
                      <a:pt x="519" y="39"/>
                      <a:pt x="519" y="39"/>
                    </a:cubicBezTo>
                    <a:cubicBezTo>
                      <a:pt x="526" y="40"/>
                      <a:pt x="526" y="40"/>
                      <a:pt x="526" y="40"/>
                    </a:cubicBezTo>
                    <a:cubicBezTo>
                      <a:pt x="532" y="46"/>
                      <a:pt x="532" y="46"/>
                      <a:pt x="532" y="46"/>
                    </a:cubicBezTo>
                    <a:cubicBezTo>
                      <a:pt x="532" y="48"/>
                      <a:pt x="532" y="48"/>
                      <a:pt x="532" y="48"/>
                    </a:cubicBezTo>
                    <a:cubicBezTo>
                      <a:pt x="532" y="48"/>
                      <a:pt x="530" y="46"/>
                      <a:pt x="527" y="45"/>
                    </a:cubicBezTo>
                    <a:cubicBezTo>
                      <a:pt x="525" y="43"/>
                      <a:pt x="521" y="43"/>
                      <a:pt x="521" y="43"/>
                    </a:cubicBezTo>
                    <a:cubicBezTo>
                      <a:pt x="520" y="53"/>
                      <a:pt x="520" y="53"/>
                      <a:pt x="520" y="53"/>
                    </a:cubicBezTo>
                    <a:cubicBezTo>
                      <a:pt x="522" y="52"/>
                      <a:pt x="522" y="52"/>
                      <a:pt x="522" y="52"/>
                    </a:cubicBezTo>
                    <a:cubicBezTo>
                      <a:pt x="525" y="58"/>
                      <a:pt x="525" y="58"/>
                      <a:pt x="525" y="58"/>
                    </a:cubicBezTo>
                    <a:cubicBezTo>
                      <a:pt x="525" y="58"/>
                      <a:pt x="522" y="57"/>
                      <a:pt x="519" y="56"/>
                    </a:cubicBezTo>
                    <a:cubicBezTo>
                      <a:pt x="515" y="56"/>
                      <a:pt x="514" y="59"/>
                      <a:pt x="514" y="59"/>
                    </a:cubicBezTo>
                    <a:cubicBezTo>
                      <a:pt x="505" y="75"/>
                      <a:pt x="505" y="75"/>
                      <a:pt x="505" y="75"/>
                    </a:cubicBezTo>
                    <a:cubicBezTo>
                      <a:pt x="507" y="75"/>
                      <a:pt x="507" y="75"/>
                      <a:pt x="507" y="75"/>
                    </a:cubicBezTo>
                    <a:cubicBezTo>
                      <a:pt x="504" y="78"/>
                      <a:pt x="504" y="78"/>
                      <a:pt x="504" y="78"/>
                    </a:cubicBezTo>
                    <a:cubicBezTo>
                      <a:pt x="508" y="83"/>
                      <a:pt x="508" y="83"/>
                      <a:pt x="508" y="83"/>
                    </a:cubicBezTo>
                    <a:cubicBezTo>
                      <a:pt x="505" y="85"/>
                      <a:pt x="505" y="85"/>
                      <a:pt x="505" y="85"/>
                    </a:cubicBezTo>
                    <a:cubicBezTo>
                      <a:pt x="513" y="90"/>
                      <a:pt x="513" y="90"/>
                      <a:pt x="513" y="90"/>
                    </a:cubicBezTo>
                    <a:cubicBezTo>
                      <a:pt x="504" y="92"/>
                      <a:pt x="504" y="92"/>
                      <a:pt x="504" y="92"/>
                    </a:cubicBezTo>
                    <a:cubicBezTo>
                      <a:pt x="499" y="83"/>
                      <a:pt x="499" y="83"/>
                      <a:pt x="499" y="83"/>
                    </a:cubicBezTo>
                    <a:cubicBezTo>
                      <a:pt x="486" y="91"/>
                      <a:pt x="486" y="91"/>
                      <a:pt x="486" y="91"/>
                    </a:cubicBezTo>
                    <a:cubicBezTo>
                      <a:pt x="486" y="89"/>
                      <a:pt x="486" y="89"/>
                      <a:pt x="486" y="89"/>
                    </a:cubicBezTo>
                    <a:cubicBezTo>
                      <a:pt x="486" y="89"/>
                      <a:pt x="497" y="83"/>
                      <a:pt x="498" y="79"/>
                    </a:cubicBezTo>
                    <a:cubicBezTo>
                      <a:pt x="499" y="76"/>
                      <a:pt x="489" y="78"/>
                      <a:pt x="489" y="78"/>
                    </a:cubicBezTo>
                    <a:cubicBezTo>
                      <a:pt x="489" y="78"/>
                      <a:pt x="486" y="75"/>
                      <a:pt x="484" y="78"/>
                    </a:cubicBezTo>
                    <a:cubicBezTo>
                      <a:pt x="481" y="81"/>
                      <a:pt x="487" y="84"/>
                      <a:pt x="487" y="84"/>
                    </a:cubicBezTo>
                    <a:cubicBezTo>
                      <a:pt x="483" y="84"/>
                      <a:pt x="483" y="84"/>
                      <a:pt x="483" y="84"/>
                    </a:cubicBezTo>
                    <a:cubicBezTo>
                      <a:pt x="483" y="84"/>
                      <a:pt x="481" y="76"/>
                      <a:pt x="476" y="76"/>
                    </a:cubicBezTo>
                    <a:cubicBezTo>
                      <a:pt x="472" y="76"/>
                      <a:pt x="472" y="82"/>
                      <a:pt x="472" y="82"/>
                    </a:cubicBezTo>
                    <a:cubicBezTo>
                      <a:pt x="465" y="77"/>
                      <a:pt x="465" y="77"/>
                      <a:pt x="465" y="77"/>
                    </a:cubicBezTo>
                    <a:cubicBezTo>
                      <a:pt x="464" y="80"/>
                      <a:pt x="464" y="80"/>
                      <a:pt x="464" y="80"/>
                    </a:cubicBezTo>
                    <a:cubicBezTo>
                      <a:pt x="464" y="80"/>
                      <a:pt x="460" y="79"/>
                      <a:pt x="458" y="82"/>
                    </a:cubicBezTo>
                    <a:cubicBezTo>
                      <a:pt x="456" y="87"/>
                      <a:pt x="465" y="87"/>
                      <a:pt x="465" y="87"/>
                    </a:cubicBezTo>
                    <a:cubicBezTo>
                      <a:pt x="462" y="90"/>
                      <a:pt x="462" y="90"/>
                      <a:pt x="462" y="90"/>
                    </a:cubicBezTo>
                    <a:cubicBezTo>
                      <a:pt x="472" y="92"/>
                      <a:pt x="472" y="92"/>
                      <a:pt x="472" y="92"/>
                    </a:cubicBezTo>
                    <a:cubicBezTo>
                      <a:pt x="477" y="91"/>
                      <a:pt x="477" y="91"/>
                      <a:pt x="477" y="91"/>
                    </a:cubicBezTo>
                    <a:cubicBezTo>
                      <a:pt x="473" y="94"/>
                      <a:pt x="473" y="94"/>
                      <a:pt x="473" y="94"/>
                    </a:cubicBezTo>
                    <a:cubicBezTo>
                      <a:pt x="474" y="95"/>
                      <a:pt x="474" y="95"/>
                      <a:pt x="474" y="95"/>
                    </a:cubicBezTo>
                    <a:cubicBezTo>
                      <a:pt x="478" y="94"/>
                      <a:pt x="478" y="94"/>
                      <a:pt x="478" y="94"/>
                    </a:cubicBezTo>
                    <a:cubicBezTo>
                      <a:pt x="478" y="97"/>
                      <a:pt x="478" y="97"/>
                      <a:pt x="478" y="97"/>
                    </a:cubicBezTo>
                    <a:cubicBezTo>
                      <a:pt x="475" y="97"/>
                      <a:pt x="475" y="97"/>
                      <a:pt x="475" y="97"/>
                    </a:cubicBezTo>
                    <a:cubicBezTo>
                      <a:pt x="478" y="103"/>
                      <a:pt x="478" y="103"/>
                      <a:pt x="478" y="103"/>
                    </a:cubicBezTo>
                    <a:cubicBezTo>
                      <a:pt x="478" y="106"/>
                      <a:pt x="478" y="106"/>
                      <a:pt x="478" y="106"/>
                    </a:cubicBezTo>
                    <a:cubicBezTo>
                      <a:pt x="478" y="106"/>
                      <a:pt x="484" y="110"/>
                      <a:pt x="482" y="111"/>
                    </a:cubicBezTo>
                    <a:cubicBezTo>
                      <a:pt x="479" y="112"/>
                      <a:pt x="474" y="103"/>
                      <a:pt x="474" y="103"/>
                    </a:cubicBezTo>
                    <a:cubicBezTo>
                      <a:pt x="469" y="100"/>
                      <a:pt x="469" y="100"/>
                      <a:pt x="469" y="100"/>
                    </a:cubicBezTo>
                    <a:cubicBezTo>
                      <a:pt x="469" y="100"/>
                      <a:pt x="465" y="94"/>
                      <a:pt x="460" y="94"/>
                    </a:cubicBezTo>
                    <a:cubicBezTo>
                      <a:pt x="457" y="94"/>
                      <a:pt x="459" y="100"/>
                      <a:pt x="459" y="100"/>
                    </a:cubicBezTo>
                    <a:cubicBezTo>
                      <a:pt x="461" y="104"/>
                      <a:pt x="461" y="104"/>
                      <a:pt x="461" y="104"/>
                    </a:cubicBezTo>
                    <a:cubicBezTo>
                      <a:pt x="458" y="106"/>
                      <a:pt x="458" y="106"/>
                      <a:pt x="458" y="106"/>
                    </a:cubicBezTo>
                    <a:cubicBezTo>
                      <a:pt x="456" y="111"/>
                      <a:pt x="456" y="111"/>
                      <a:pt x="456" y="111"/>
                    </a:cubicBezTo>
                    <a:cubicBezTo>
                      <a:pt x="454" y="106"/>
                      <a:pt x="454" y="106"/>
                      <a:pt x="454" y="106"/>
                    </a:cubicBezTo>
                    <a:cubicBezTo>
                      <a:pt x="457" y="102"/>
                      <a:pt x="457" y="102"/>
                      <a:pt x="457" y="102"/>
                    </a:cubicBezTo>
                    <a:cubicBezTo>
                      <a:pt x="457" y="100"/>
                      <a:pt x="457" y="100"/>
                      <a:pt x="457" y="100"/>
                    </a:cubicBezTo>
                    <a:cubicBezTo>
                      <a:pt x="451" y="106"/>
                      <a:pt x="451" y="106"/>
                      <a:pt x="451" y="106"/>
                    </a:cubicBezTo>
                    <a:cubicBezTo>
                      <a:pt x="445" y="116"/>
                      <a:pt x="445" y="116"/>
                      <a:pt x="445" y="116"/>
                    </a:cubicBezTo>
                    <a:cubicBezTo>
                      <a:pt x="448" y="124"/>
                      <a:pt x="448" y="124"/>
                      <a:pt x="448" y="124"/>
                    </a:cubicBezTo>
                    <a:cubicBezTo>
                      <a:pt x="452" y="129"/>
                      <a:pt x="452" y="129"/>
                      <a:pt x="452" y="129"/>
                    </a:cubicBezTo>
                    <a:cubicBezTo>
                      <a:pt x="444" y="126"/>
                      <a:pt x="444" y="126"/>
                      <a:pt x="444" y="126"/>
                    </a:cubicBezTo>
                    <a:cubicBezTo>
                      <a:pt x="442" y="140"/>
                      <a:pt x="442" y="140"/>
                      <a:pt x="442" y="140"/>
                    </a:cubicBezTo>
                    <a:cubicBezTo>
                      <a:pt x="440" y="140"/>
                      <a:pt x="440" y="140"/>
                      <a:pt x="440" y="140"/>
                    </a:cubicBezTo>
                    <a:cubicBezTo>
                      <a:pt x="436" y="147"/>
                      <a:pt x="436" y="147"/>
                      <a:pt x="436" y="147"/>
                    </a:cubicBezTo>
                    <a:cubicBezTo>
                      <a:pt x="434" y="144"/>
                      <a:pt x="434" y="144"/>
                      <a:pt x="434" y="144"/>
                    </a:cubicBezTo>
                    <a:cubicBezTo>
                      <a:pt x="439" y="138"/>
                      <a:pt x="439" y="138"/>
                      <a:pt x="439" y="138"/>
                    </a:cubicBezTo>
                    <a:cubicBezTo>
                      <a:pt x="441" y="129"/>
                      <a:pt x="441" y="129"/>
                      <a:pt x="441" y="129"/>
                    </a:cubicBezTo>
                    <a:cubicBezTo>
                      <a:pt x="440" y="128"/>
                      <a:pt x="440" y="128"/>
                      <a:pt x="440" y="128"/>
                    </a:cubicBezTo>
                    <a:cubicBezTo>
                      <a:pt x="443" y="125"/>
                      <a:pt x="443" y="125"/>
                      <a:pt x="443" y="125"/>
                    </a:cubicBezTo>
                    <a:cubicBezTo>
                      <a:pt x="441" y="120"/>
                      <a:pt x="441" y="120"/>
                      <a:pt x="441" y="120"/>
                    </a:cubicBezTo>
                    <a:cubicBezTo>
                      <a:pt x="441" y="112"/>
                      <a:pt x="441" y="112"/>
                      <a:pt x="441" y="112"/>
                    </a:cubicBezTo>
                    <a:cubicBezTo>
                      <a:pt x="441" y="109"/>
                      <a:pt x="439" y="102"/>
                      <a:pt x="439" y="102"/>
                    </a:cubicBezTo>
                    <a:cubicBezTo>
                      <a:pt x="434" y="106"/>
                      <a:pt x="434" y="106"/>
                      <a:pt x="434" y="106"/>
                    </a:cubicBezTo>
                    <a:cubicBezTo>
                      <a:pt x="434" y="106"/>
                      <a:pt x="435" y="112"/>
                      <a:pt x="432" y="115"/>
                    </a:cubicBezTo>
                    <a:cubicBezTo>
                      <a:pt x="428" y="118"/>
                      <a:pt x="431" y="124"/>
                      <a:pt x="431" y="124"/>
                    </a:cubicBezTo>
                    <a:cubicBezTo>
                      <a:pt x="434" y="126"/>
                      <a:pt x="434" y="126"/>
                      <a:pt x="434" y="126"/>
                    </a:cubicBezTo>
                    <a:cubicBezTo>
                      <a:pt x="429" y="128"/>
                      <a:pt x="429" y="128"/>
                      <a:pt x="429" y="128"/>
                    </a:cubicBezTo>
                    <a:cubicBezTo>
                      <a:pt x="429" y="137"/>
                      <a:pt x="429" y="137"/>
                      <a:pt x="429" y="137"/>
                    </a:cubicBezTo>
                    <a:cubicBezTo>
                      <a:pt x="424" y="138"/>
                      <a:pt x="424" y="138"/>
                      <a:pt x="424" y="138"/>
                    </a:cubicBezTo>
                    <a:cubicBezTo>
                      <a:pt x="427" y="124"/>
                      <a:pt x="427" y="124"/>
                      <a:pt x="427" y="124"/>
                    </a:cubicBezTo>
                    <a:cubicBezTo>
                      <a:pt x="426" y="124"/>
                      <a:pt x="426" y="124"/>
                      <a:pt x="426" y="124"/>
                    </a:cubicBezTo>
                    <a:cubicBezTo>
                      <a:pt x="426" y="113"/>
                      <a:pt x="426" y="113"/>
                      <a:pt x="426" y="113"/>
                    </a:cubicBezTo>
                    <a:cubicBezTo>
                      <a:pt x="426" y="113"/>
                      <a:pt x="421" y="115"/>
                      <a:pt x="413" y="119"/>
                    </a:cubicBezTo>
                    <a:cubicBezTo>
                      <a:pt x="405" y="121"/>
                      <a:pt x="410" y="132"/>
                      <a:pt x="410" y="132"/>
                    </a:cubicBezTo>
                    <a:cubicBezTo>
                      <a:pt x="413" y="132"/>
                      <a:pt x="413" y="132"/>
                      <a:pt x="413" y="132"/>
                    </a:cubicBezTo>
                    <a:cubicBezTo>
                      <a:pt x="413" y="132"/>
                      <a:pt x="413" y="134"/>
                      <a:pt x="412" y="137"/>
                    </a:cubicBezTo>
                    <a:cubicBezTo>
                      <a:pt x="411" y="139"/>
                      <a:pt x="416" y="142"/>
                      <a:pt x="420" y="142"/>
                    </a:cubicBezTo>
                    <a:cubicBezTo>
                      <a:pt x="424" y="143"/>
                      <a:pt x="424" y="150"/>
                      <a:pt x="424" y="150"/>
                    </a:cubicBezTo>
                    <a:cubicBezTo>
                      <a:pt x="427" y="151"/>
                      <a:pt x="427" y="151"/>
                      <a:pt x="427" y="151"/>
                    </a:cubicBezTo>
                    <a:cubicBezTo>
                      <a:pt x="425" y="152"/>
                      <a:pt x="425" y="152"/>
                      <a:pt x="425" y="152"/>
                    </a:cubicBezTo>
                    <a:cubicBezTo>
                      <a:pt x="425" y="152"/>
                      <a:pt x="421" y="150"/>
                      <a:pt x="421" y="147"/>
                    </a:cubicBezTo>
                    <a:cubicBezTo>
                      <a:pt x="421" y="144"/>
                      <a:pt x="416" y="144"/>
                      <a:pt x="412" y="143"/>
                    </a:cubicBezTo>
                    <a:cubicBezTo>
                      <a:pt x="410" y="143"/>
                      <a:pt x="407" y="134"/>
                      <a:pt x="407" y="134"/>
                    </a:cubicBezTo>
                    <a:cubicBezTo>
                      <a:pt x="399" y="136"/>
                      <a:pt x="399" y="136"/>
                      <a:pt x="399" y="136"/>
                    </a:cubicBezTo>
                    <a:cubicBezTo>
                      <a:pt x="399" y="136"/>
                      <a:pt x="400" y="140"/>
                      <a:pt x="402" y="143"/>
                    </a:cubicBezTo>
                    <a:cubicBezTo>
                      <a:pt x="405" y="146"/>
                      <a:pt x="409" y="147"/>
                      <a:pt x="409" y="147"/>
                    </a:cubicBezTo>
                    <a:cubicBezTo>
                      <a:pt x="409" y="147"/>
                      <a:pt x="405" y="148"/>
                      <a:pt x="402" y="146"/>
                    </a:cubicBezTo>
                    <a:cubicBezTo>
                      <a:pt x="399" y="145"/>
                      <a:pt x="394" y="138"/>
                      <a:pt x="394" y="138"/>
                    </a:cubicBezTo>
                    <a:cubicBezTo>
                      <a:pt x="390" y="139"/>
                      <a:pt x="390" y="139"/>
                      <a:pt x="390" y="139"/>
                    </a:cubicBezTo>
                    <a:cubicBezTo>
                      <a:pt x="392" y="145"/>
                      <a:pt x="392" y="145"/>
                      <a:pt x="392" y="145"/>
                    </a:cubicBezTo>
                    <a:cubicBezTo>
                      <a:pt x="388" y="151"/>
                      <a:pt x="388" y="151"/>
                      <a:pt x="388" y="151"/>
                    </a:cubicBezTo>
                    <a:cubicBezTo>
                      <a:pt x="392" y="159"/>
                      <a:pt x="392" y="159"/>
                      <a:pt x="392" y="159"/>
                    </a:cubicBezTo>
                    <a:cubicBezTo>
                      <a:pt x="380" y="160"/>
                      <a:pt x="380" y="160"/>
                      <a:pt x="380" y="160"/>
                    </a:cubicBezTo>
                    <a:cubicBezTo>
                      <a:pt x="384" y="165"/>
                      <a:pt x="384" y="165"/>
                      <a:pt x="384" y="165"/>
                    </a:cubicBezTo>
                    <a:cubicBezTo>
                      <a:pt x="379" y="169"/>
                      <a:pt x="379" y="169"/>
                      <a:pt x="379" y="169"/>
                    </a:cubicBezTo>
                    <a:cubicBezTo>
                      <a:pt x="379" y="175"/>
                      <a:pt x="379" y="175"/>
                      <a:pt x="379" y="175"/>
                    </a:cubicBezTo>
                    <a:cubicBezTo>
                      <a:pt x="384" y="174"/>
                      <a:pt x="384" y="174"/>
                      <a:pt x="384" y="174"/>
                    </a:cubicBezTo>
                    <a:cubicBezTo>
                      <a:pt x="387" y="176"/>
                      <a:pt x="387" y="176"/>
                      <a:pt x="387" y="176"/>
                    </a:cubicBezTo>
                    <a:cubicBezTo>
                      <a:pt x="383" y="176"/>
                      <a:pt x="383" y="176"/>
                      <a:pt x="383" y="176"/>
                    </a:cubicBezTo>
                    <a:cubicBezTo>
                      <a:pt x="380" y="181"/>
                      <a:pt x="380" y="181"/>
                      <a:pt x="380" y="181"/>
                    </a:cubicBezTo>
                    <a:cubicBezTo>
                      <a:pt x="385" y="183"/>
                      <a:pt x="385" y="183"/>
                      <a:pt x="385" y="183"/>
                    </a:cubicBezTo>
                    <a:cubicBezTo>
                      <a:pt x="377" y="183"/>
                      <a:pt x="377" y="183"/>
                      <a:pt x="377" y="183"/>
                    </a:cubicBezTo>
                    <a:cubicBezTo>
                      <a:pt x="371" y="184"/>
                      <a:pt x="377" y="187"/>
                      <a:pt x="377" y="187"/>
                    </a:cubicBezTo>
                    <a:cubicBezTo>
                      <a:pt x="382" y="189"/>
                      <a:pt x="382" y="189"/>
                      <a:pt x="382" y="189"/>
                    </a:cubicBezTo>
                    <a:cubicBezTo>
                      <a:pt x="382" y="189"/>
                      <a:pt x="375" y="187"/>
                      <a:pt x="372" y="188"/>
                    </a:cubicBezTo>
                    <a:cubicBezTo>
                      <a:pt x="370" y="188"/>
                      <a:pt x="371" y="190"/>
                      <a:pt x="371" y="190"/>
                    </a:cubicBezTo>
                    <a:cubicBezTo>
                      <a:pt x="375" y="191"/>
                      <a:pt x="375" y="191"/>
                      <a:pt x="375" y="191"/>
                    </a:cubicBezTo>
                    <a:cubicBezTo>
                      <a:pt x="374" y="195"/>
                      <a:pt x="374" y="195"/>
                      <a:pt x="374" y="195"/>
                    </a:cubicBezTo>
                    <a:cubicBezTo>
                      <a:pt x="374" y="192"/>
                      <a:pt x="374" y="192"/>
                      <a:pt x="374" y="192"/>
                    </a:cubicBezTo>
                    <a:cubicBezTo>
                      <a:pt x="370" y="191"/>
                      <a:pt x="370" y="191"/>
                      <a:pt x="370" y="191"/>
                    </a:cubicBezTo>
                    <a:cubicBezTo>
                      <a:pt x="368" y="188"/>
                      <a:pt x="368" y="188"/>
                      <a:pt x="368" y="188"/>
                    </a:cubicBezTo>
                    <a:cubicBezTo>
                      <a:pt x="367" y="191"/>
                      <a:pt x="367" y="191"/>
                      <a:pt x="367" y="191"/>
                    </a:cubicBezTo>
                    <a:cubicBezTo>
                      <a:pt x="367" y="191"/>
                      <a:pt x="366" y="192"/>
                      <a:pt x="361" y="192"/>
                    </a:cubicBezTo>
                    <a:cubicBezTo>
                      <a:pt x="357" y="192"/>
                      <a:pt x="357" y="200"/>
                      <a:pt x="357" y="200"/>
                    </a:cubicBezTo>
                    <a:cubicBezTo>
                      <a:pt x="355" y="202"/>
                      <a:pt x="355" y="202"/>
                      <a:pt x="355" y="202"/>
                    </a:cubicBezTo>
                    <a:cubicBezTo>
                      <a:pt x="357" y="206"/>
                      <a:pt x="357" y="206"/>
                      <a:pt x="357" y="206"/>
                    </a:cubicBezTo>
                    <a:cubicBezTo>
                      <a:pt x="368" y="203"/>
                      <a:pt x="368" y="203"/>
                      <a:pt x="368" y="203"/>
                    </a:cubicBezTo>
                    <a:cubicBezTo>
                      <a:pt x="368" y="203"/>
                      <a:pt x="369" y="205"/>
                      <a:pt x="372" y="205"/>
                    </a:cubicBezTo>
                    <a:cubicBezTo>
                      <a:pt x="375" y="205"/>
                      <a:pt x="382" y="199"/>
                      <a:pt x="382" y="199"/>
                    </a:cubicBezTo>
                    <a:cubicBezTo>
                      <a:pt x="380" y="203"/>
                      <a:pt x="380" y="203"/>
                      <a:pt x="380" y="203"/>
                    </a:cubicBezTo>
                    <a:cubicBezTo>
                      <a:pt x="385" y="204"/>
                      <a:pt x="385" y="204"/>
                      <a:pt x="385" y="204"/>
                    </a:cubicBezTo>
                    <a:cubicBezTo>
                      <a:pt x="376" y="207"/>
                      <a:pt x="376" y="207"/>
                      <a:pt x="376" y="207"/>
                    </a:cubicBezTo>
                    <a:cubicBezTo>
                      <a:pt x="376" y="213"/>
                      <a:pt x="376" y="213"/>
                      <a:pt x="376" y="213"/>
                    </a:cubicBezTo>
                    <a:cubicBezTo>
                      <a:pt x="379" y="217"/>
                      <a:pt x="379" y="217"/>
                      <a:pt x="379" y="217"/>
                    </a:cubicBezTo>
                    <a:cubicBezTo>
                      <a:pt x="378" y="218"/>
                      <a:pt x="378" y="218"/>
                      <a:pt x="378" y="218"/>
                    </a:cubicBezTo>
                    <a:cubicBezTo>
                      <a:pt x="374" y="209"/>
                      <a:pt x="374" y="209"/>
                      <a:pt x="374" y="209"/>
                    </a:cubicBezTo>
                    <a:cubicBezTo>
                      <a:pt x="367" y="211"/>
                      <a:pt x="367" y="211"/>
                      <a:pt x="367" y="211"/>
                    </a:cubicBezTo>
                    <a:cubicBezTo>
                      <a:pt x="367" y="211"/>
                      <a:pt x="364" y="208"/>
                      <a:pt x="361" y="208"/>
                    </a:cubicBezTo>
                    <a:cubicBezTo>
                      <a:pt x="358" y="207"/>
                      <a:pt x="353" y="209"/>
                      <a:pt x="351" y="213"/>
                    </a:cubicBezTo>
                    <a:cubicBezTo>
                      <a:pt x="348" y="215"/>
                      <a:pt x="355" y="215"/>
                      <a:pt x="358" y="216"/>
                    </a:cubicBezTo>
                    <a:cubicBezTo>
                      <a:pt x="362" y="217"/>
                      <a:pt x="361" y="221"/>
                      <a:pt x="361" y="221"/>
                    </a:cubicBezTo>
                    <a:cubicBezTo>
                      <a:pt x="364" y="223"/>
                      <a:pt x="364" y="223"/>
                      <a:pt x="364" y="223"/>
                    </a:cubicBezTo>
                    <a:cubicBezTo>
                      <a:pt x="363" y="224"/>
                      <a:pt x="363" y="224"/>
                      <a:pt x="363" y="224"/>
                    </a:cubicBezTo>
                    <a:cubicBezTo>
                      <a:pt x="363" y="224"/>
                      <a:pt x="359" y="221"/>
                      <a:pt x="357" y="219"/>
                    </a:cubicBezTo>
                    <a:cubicBezTo>
                      <a:pt x="355" y="217"/>
                      <a:pt x="348" y="216"/>
                      <a:pt x="348" y="216"/>
                    </a:cubicBezTo>
                    <a:cubicBezTo>
                      <a:pt x="347" y="218"/>
                      <a:pt x="347" y="218"/>
                      <a:pt x="347" y="218"/>
                    </a:cubicBezTo>
                    <a:cubicBezTo>
                      <a:pt x="353" y="219"/>
                      <a:pt x="353" y="219"/>
                      <a:pt x="353" y="219"/>
                    </a:cubicBezTo>
                    <a:cubicBezTo>
                      <a:pt x="350" y="221"/>
                      <a:pt x="350" y="221"/>
                      <a:pt x="350" y="221"/>
                    </a:cubicBezTo>
                    <a:cubicBezTo>
                      <a:pt x="352" y="223"/>
                      <a:pt x="352" y="223"/>
                      <a:pt x="352" y="223"/>
                    </a:cubicBezTo>
                    <a:cubicBezTo>
                      <a:pt x="355" y="222"/>
                      <a:pt x="355" y="222"/>
                      <a:pt x="355" y="222"/>
                    </a:cubicBezTo>
                    <a:cubicBezTo>
                      <a:pt x="358" y="223"/>
                      <a:pt x="358" y="223"/>
                      <a:pt x="358" y="223"/>
                    </a:cubicBezTo>
                    <a:cubicBezTo>
                      <a:pt x="351" y="226"/>
                      <a:pt x="351" y="226"/>
                      <a:pt x="351" y="226"/>
                    </a:cubicBezTo>
                    <a:cubicBezTo>
                      <a:pt x="352" y="230"/>
                      <a:pt x="352" y="230"/>
                      <a:pt x="352" y="230"/>
                    </a:cubicBezTo>
                    <a:cubicBezTo>
                      <a:pt x="352" y="230"/>
                      <a:pt x="354" y="229"/>
                      <a:pt x="356" y="231"/>
                    </a:cubicBezTo>
                    <a:cubicBezTo>
                      <a:pt x="357" y="233"/>
                      <a:pt x="352" y="236"/>
                      <a:pt x="348" y="235"/>
                    </a:cubicBezTo>
                    <a:cubicBezTo>
                      <a:pt x="345" y="233"/>
                      <a:pt x="346" y="221"/>
                      <a:pt x="346" y="221"/>
                    </a:cubicBezTo>
                    <a:cubicBezTo>
                      <a:pt x="343" y="221"/>
                      <a:pt x="343" y="221"/>
                      <a:pt x="343" y="221"/>
                    </a:cubicBezTo>
                    <a:cubicBezTo>
                      <a:pt x="338" y="230"/>
                      <a:pt x="338" y="230"/>
                      <a:pt x="338" y="230"/>
                    </a:cubicBezTo>
                    <a:cubicBezTo>
                      <a:pt x="337" y="224"/>
                      <a:pt x="337" y="224"/>
                      <a:pt x="337" y="224"/>
                    </a:cubicBezTo>
                    <a:cubicBezTo>
                      <a:pt x="335" y="224"/>
                      <a:pt x="335" y="224"/>
                      <a:pt x="335" y="224"/>
                    </a:cubicBezTo>
                    <a:cubicBezTo>
                      <a:pt x="334" y="229"/>
                      <a:pt x="334" y="229"/>
                      <a:pt x="334" y="229"/>
                    </a:cubicBezTo>
                    <a:cubicBezTo>
                      <a:pt x="330" y="227"/>
                      <a:pt x="330" y="227"/>
                      <a:pt x="330" y="227"/>
                    </a:cubicBezTo>
                    <a:cubicBezTo>
                      <a:pt x="327" y="235"/>
                      <a:pt x="327" y="235"/>
                      <a:pt x="327" y="235"/>
                    </a:cubicBezTo>
                    <a:cubicBezTo>
                      <a:pt x="329" y="238"/>
                      <a:pt x="329" y="238"/>
                      <a:pt x="329" y="238"/>
                    </a:cubicBezTo>
                    <a:cubicBezTo>
                      <a:pt x="331" y="237"/>
                      <a:pt x="331" y="237"/>
                      <a:pt x="331" y="237"/>
                    </a:cubicBezTo>
                    <a:cubicBezTo>
                      <a:pt x="331" y="234"/>
                      <a:pt x="331" y="234"/>
                      <a:pt x="331" y="234"/>
                    </a:cubicBezTo>
                    <a:cubicBezTo>
                      <a:pt x="335" y="232"/>
                      <a:pt x="335" y="232"/>
                      <a:pt x="335" y="232"/>
                    </a:cubicBezTo>
                    <a:cubicBezTo>
                      <a:pt x="337" y="234"/>
                      <a:pt x="337" y="234"/>
                      <a:pt x="337" y="234"/>
                    </a:cubicBezTo>
                    <a:cubicBezTo>
                      <a:pt x="333" y="237"/>
                      <a:pt x="333" y="237"/>
                      <a:pt x="333" y="237"/>
                    </a:cubicBezTo>
                    <a:cubicBezTo>
                      <a:pt x="335" y="238"/>
                      <a:pt x="335" y="238"/>
                      <a:pt x="335" y="238"/>
                    </a:cubicBezTo>
                    <a:cubicBezTo>
                      <a:pt x="335" y="238"/>
                      <a:pt x="339" y="238"/>
                      <a:pt x="341" y="239"/>
                    </a:cubicBezTo>
                    <a:cubicBezTo>
                      <a:pt x="343" y="239"/>
                      <a:pt x="340" y="236"/>
                      <a:pt x="340" y="234"/>
                    </a:cubicBezTo>
                    <a:cubicBezTo>
                      <a:pt x="340" y="233"/>
                      <a:pt x="344" y="234"/>
                      <a:pt x="345" y="236"/>
                    </a:cubicBezTo>
                    <a:cubicBezTo>
                      <a:pt x="346" y="238"/>
                      <a:pt x="344" y="242"/>
                      <a:pt x="343" y="242"/>
                    </a:cubicBezTo>
                    <a:cubicBezTo>
                      <a:pt x="341" y="244"/>
                      <a:pt x="342" y="242"/>
                      <a:pt x="339" y="240"/>
                    </a:cubicBezTo>
                    <a:cubicBezTo>
                      <a:pt x="336" y="239"/>
                      <a:pt x="334" y="244"/>
                      <a:pt x="330" y="244"/>
                    </a:cubicBezTo>
                    <a:cubicBezTo>
                      <a:pt x="327" y="244"/>
                      <a:pt x="322" y="245"/>
                      <a:pt x="322" y="245"/>
                    </a:cubicBezTo>
                    <a:cubicBezTo>
                      <a:pt x="320" y="246"/>
                      <a:pt x="320" y="246"/>
                      <a:pt x="320" y="246"/>
                    </a:cubicBezTo>
                    <a:cubicBezTo>
                      <a:pt x="322" y="248"/>
                      <a:pt x="322" y="248"/>
                      <a:pt x="322" y="248"/>
                    </a:cubicBezTo>
                    <a:cubicBezTo>
                      <a:pt x="318" y="248"/>
                      <a:pt x="318" y="248"/>
                      <a:pt x="318" y="248"/>
                    </a:cubicBezTo>
                    <a:cubicBezTo>
                      <a:pt x="315" y="252"/>
                      <a:pt x="315" y="252"/>
                      <a:pt x="315" y="252"/>
                    </a:cubicBezTo>
                    <a:cubicBezTo>
                      <a:pt x="321" y="253"/>
                      <a:pt x="321" y="253"/>
                      <a:pt x="321" y="253"/>
                    </a:cubicBezTo>
                    <a:cubicBezTo>
                      <a:pt x="315" y="256"/>
                      <a:pt x="315" y="256"/>
                      <a:pt x="315" y="256"/>
                    </a:cubicBezTo>
                    <a:cubicBezTo>
                      <a:pt x="315" y="256"/>
                      <a:pt x="318" y="260"/>
                      <a:pt x="322" y="258"/>
                    </a:cubicBezTo>
                    <a:cubicBezTo>
                      <a:pt x="327" y="256"/>
                      <a:pt x="331" y="249"/>
                      <a:pt x="331" y="249"/>
                    </a:cubicBezTo>
                    <a:cubicBezTo>
                      <a:pt x="342" y="256"/>
                      <a:pt x="342" y="256"/>
                      <a:pt x="342" y="256"/>
                    </a:cubicBezTo>
                    <a:cubicBezTo>
                      <a:pt x="334" y="253"/>
                      <a:pt x="334" y="253"/>
                      <a:pt x="334" y="253"/>
                    </a:cubicBezTo>
                    <a:cubicBezTo>
                      <a:pt x="331" y="254"/>
                      <a:pt x="331" y="254"/>
                      <a:pt x="331" y="254"/>
                    </a:cubicBezTo>
                    <a:cubicBezTo>
                      <a:pt x="337" y="257"/>
                      <a:pt x="337" y="257"/>
                      <a:pt x="337" y="257"/>
                    </a:cubicBezTo>
                    <a:cubicBezTo>
                      <a:pt x="329" y="256"/>
                      <a:pt x="329" y="256"/>
                      <a:pt x="329" y="256"/>
                    </a:cubicBezTo>
                    <a:cubicBezTo>
                      <a:pt x="326" y="262"/>
                      <a:pt x="326" y="262"/>
                      <a:pt x="326" y="262"/>
                    </a:cubicBezTo>
                    <a:cubicBezTo>
                      <a:pt x="330" y="263"/>
                      <a:pt x="330" y="263"/>
                      <a:pt x="330" y="263"/>
                    </a:cubicBezTo>
                    <a:cubicBezTo>
                      <a:pt x="328" y="267"/>
                      <a:pt x="328" y="267"/>
                      <a:pt x="328" y="267"/>
                    </a:cubicBezTo>
                    <a:cubicBezTo>
                      <a:pt x="329" y="269"/>
                      <a:pt x="335" y="267"/>
                      <a:pt x="335" y="267"/>
                    </a:cubicBezTo>
                    <a:cubicBezTo>
                      <a:pt x="339" y="265"/>
                      <a:pt x="339" y="265"/>
                      <a:pt x="339" y="265"/>
                    </a:cubicBezTo>
                    <a:cubicBezTo>
                      <a:pt x="336" y="274"/>
                      <a:pt x="336" y="274"/>
                      <a:pt x="336" y="274"/>
                    </a:cubicBezTo>
                    <a:cubicBezTo>
                      <a:pt x="340" y="277"/>
                      <a:pt x="340" y="277"/>
                      <a:pt x="340" y="277"/>
                    </a:cubicBezTo>
                    <a:cubicBezTo>
                      <a:pt x="337" y="278"/>
                      <a:pt x="337" y="278"/>
                      <a:pt x="337" y="278"/>
                    </a:cubicBezTo>
                    <a:cubicBezTo>
                      <a:pt x="340" y="281"/>
                      <a:pt x="340" y="281"/>
                      <a:pt x="340" y="281"/>
                    </a:cubicBezTo>
                    <a:cubicBezTo>
                      <a:pt x="340" y="281"/>
                      <a:pt x="339" y="281"/>
                      <a:pt x="337" y="280"/>
                    </a:cubicBezTo>
                    <a:cubicBezTo>
                      <a:pt x="335" y="280"/>
                      <a:pt x="333" y="271"/>
                      <a:pt x="331" y="270"/>
                    </a:cubicBezTo>
                    <a:cubicBezTo>
                      <a:pt x="329" y="270"/>
                      <a:pt x="327" y="271"/>
                      <a:pt x="327" y="271"/>
                    </a:cubicBezTo>
                    <a:cubicBezTo>
                      <a:pt x="327" y="271"/>
                      <a:pt x="325" y="267"/>
                      <a:pt x="322" y="266"/>
                    </a:cubicBezTo>
                    <a:cubicBezTo>
                      <a:pt x="319" y="266"/>
                      <a:pt x="313" y="273"/>
                      <a:pt x="313" y="273"/>
                    </a:cubicBezTo>
                    <a:cubicBezTo>
                      <a:pt x="321" y="274"/>
                      <a:pt x="321" y="274"/>
                      <a:pt x="321" y="274"/>
                    </a:cubicBezTo>
                    <a:cubicBezTo>
                      <a:pt x="321" y="274"/>
                      <a:pt x="318" y="276"/>
                      <a:pt x="314" y="276"/>
                    </a:cubicBezTo>
                    <a:cubicBezTo>
                      <a:pt x="312" y="276"/>
                      <a:pt x="313" y="279"/>
                      <a:pt x="312" y="281"/>
                    </a:cubicBezTo>
                    <a:cubicBezTo>
                      <a:pt x="310" y="283"/>
                      <a:pt x="306" y="285"/>
                      <a:pt x="306" y="285"/>
                    </a:cubicBezTo>
                    <a:cubicBezTo>
                      <a:pt x="317" y="285"/>
                      <a:pt x="317" y="285"/>
                      <a:pt x="317" y="285"/>
                    </a:cubicBezTo>
                    <a:cubicBezTo>
                      <a:pt x="322" y="285"/>
                      <a:pt x="327" y="282"/>
                      <a:pt x="327" y="282"/>
                    </a:cubicBezTo>
                    <a:cubicBezTo>
                      <a:pt x="325" y="286"/>
                      <a:pt x="325" y="286"/>
                      <a:pt x="325" y="286"/>
                    </a:cubicBezTo>
                    <a:cubicBezTo>
                      <a:pt x="335" y="285"/>
                      <a:pt x="335" y="285"/>
                      <a:pt x="335" y="285"/>
                    </a:cubicBezTo>
                    <a:cubicBezTo>
                      <a:pt x="334" y="295"/>
                      <a:pt x="334" y="295"/>
                      <a:pt x="334" y="295"/>
                    </a:cubicBezTo>
                    <a:cubicBezTo>
                      <a:pt x="331" y="290"/>
                      <a:pt x="331" y="290"/>
                      <a:pt x="331" y="290"/>
                    </a:cubicBezTo>
                    <a:cubicBezTo>
                      <a:pt x="323" y="287"/>
                      <a:pt x="323" y="287"/>
                      <a:pt x="323" y="287"/>
                    </a:cubicBezTo>
                    <a:cubicBezTo>
                      <a:pt x="318" y="294"/>
                      <a:pt x="318" y="294"/>
                      <a:pt x="318" y="294"/>
                    </a:cubicBezTo>
                    <a:cubicBezTo>
                      <a:pt x="321" y="287"/>
                      <a:pt x="321" y="287"/>
                      <a:pt x="321" y="287"/>
                    </a:cubicBezTo>
                    <a:cubicBezTo>
                      <a:pt x="308" y="288"/>
                      <a:pt x="308" y="288"/>
                      <a:pt x="308" y="288"/>
                    </a:cubicBezTo>
                    <a:cubicBezTo>
                      <a:pt x="303" y="302"/>
                      <a:pt x="303" y="302"/>
                      <a:pt x="303" y="302"/>
                    </a:cubicBezTo>
                    <a:cubicBezTo>
                      <a:pt x="297" y="301"/>
                      <a:pt x="297" y="301"/>
                      <a:pt x="297" y="301"/>
                    </a:cubicBezTo>
                    <a:cubicBezTo>
                      <a:pt x="296" y="304"/>
                      <a:pt x="296" y="304"/>
                      <a:pt x="296" y="304"/>
                    </a:cubicBezTo>
                    <a:cubicBezTo>
                      <a:pt x="296" y="304"/>
                      <a:pt x="295" y="303"/>
                      <a:pt x="290" y="305"/>
                    </a:cubicBezTo>
                    <a:cubicBezTo>
                      <a:pt x="284" y="308"/>
                      <a:pt x="284" y="311"/>
                      <a:pt x="284" y="311"/>
                    </a:cubicBezTo>
                    <a:cubicBezTo>
                      <a:pt x="293" y="316"/>
                      <a:pt x="293" y="316"/>
                      <a:pt x="293" y="316"/>
                    </a:cubicBezTo>
                    <a:cubicBezTo>
                      <a:pt x="286" y="316"/>
                      <a:pt x="286" y="316"/>
                      <a:pt x="286" y="316"/>
                    </a:cubicBezTo>
                    <a:cubicBezTo>
                      <a:pt x="281" y="317"/>
                      <a:pt x="281" y="317"/>
                      <a:pt x="281" y="317"/>
                    </a:cubicBezTo>
                    <a:cubicBezTo>
                      <a:pt x="288" y="324"/>
                      <a:pt x="288" y="324"/>
                      <a:pt x="288" y="324"/>
                    </a:cubicBezTo>
                    <a:cubicBezTo>
                      <a:pt x="279" y="321"/>
                      <a:pt x="279" y="321"/>
                      <a:pt x="279" y="321"/>
                    </a:cubicBezTo>
                    <a:cubicBezTo>
                      <a:pt x="276" y="321"/>
                      <a:pt x="276" y="321"/>
                      <a:pt x="276" y="321"/>
                    </a:cubicBezTo>
                    <a:cubicBezTo>
                      <a:pt x="282" y="327"/>
                      <a:pt x="282" y="327"/>
                      <a:pt x="282" y="327"/>
                    </a:cubicBezTo>
                    <a:cubicBezTo>
                      <a:pt x="275" y="326"/>
                      <a:pt x="275" y="326"/>
                      <a:pt x="275" y="326"/>
                    </a:cubicBezTo>
                    <a:cubicBezTo>
                      <a:pt x="275" y="328"/>
                      <a:pt x="275" y="328"/>
                      <a:pt x="275" y="328"/>
                    </a:cubicBezTo>
                    <a:cubicBezTo>
                      <a:pt x="278" y="330"/>
                      <a:pt x="278" y="330"/>
                      <a:pt x="278" y="330"/>
                    </a:cubicBezTo>
                    <a:cubicBezTo>
                      <a:pt x="275" y="331"/>
                      <a:pt x="275" y="331"/>
                      <a:pt x="275" y="331"/>
                    </a:cubicBezTo>
                    <a:cubicBezTo>
                      <a:pt x="277" y="333"/>
                      <a:pt x="277" y="333"/>
                      <a:pt x="277" y="333"/>
                    </a:cubicBezTo>
                    <a:cubicBezTo>
                      <a:pt x="281" y="332"/>
                      <a:pt x="281" y="332"/>
                      <a:pt x="281" y="332"/>
                    </a:cubicBezTo>
                    <a:cubicBezTo>
                      <a:pt x="287" y="335"/>
                      <a:pt x="287" y="335"/>
                      <a:pt x="287" y="335"/>
                    </a:cubicBezTo>
                    <a:cubicBezTo>
                      <a:pt x="287" y="335"/>
                      <a:pt x="282" y="334"/>
                      <a:pt x="279" y="335"/>
                    </a:cubicBezTo>
                    <a:cubicBezTo>
                      <a:pt x="276" y="336"/>
                      <a:pt x="278" y="339"/>
                      <a:pt x="278" y="339"/>
                    </a:cubicBezTo>
                    <a:cubicBezTo>
                      <a:pt x="275" y="339"/>
                      <a:pt x="275" y="339"/>
                      <a:pt x="275" y="339"/>
                    </a:cubicBezTo>
                    <a:cubicBezTo>
                      <a:pt x="275" y="335"/>
                      <a:pt x="275" y="335"/>
                      <a:pt x="275" y="335"/>
                    </a:cubicBezTo>
                    <a:cubicBezTo>
                      <a:pt x="271" y="334"/>
                      <a:pt x="271" y="334"/>
                      <a:pt x="271" y="334"/>
                    </a:cubicBezTo>
                    <a:cubicBezTo>
                      <a:pt x="270" y="336"/>
                      <a:pt x="270" y="336"/>
                      <a:pt x="270" y="336"/>
                    </a:cubicBezTo>
                    <a:cubicBezTo>
                      <a:pt x="273" y="340"/>
                      <a:pt x="273" y="340"/>
                      <a:pt x="273" y="340"/>
                    </a:cubicBezTo>
                    <a:cubicBezTo>
                      <a:pt x="273" y="340"/>
                      <a:pt x="270" y="346"/>
                      <a:pt x="272" y="348"/>
                    </a:cubicBezTo>
                    <a:cubicBezTo>
                      <a:pt x="275" y="350"/>
                      <a:pt x="284" y="347"/>
                      <a:pt x="284" y="348"/>
                    </a:cubicBezTo>
                    <a:cubicBezTo>
                      <a:pt x="284" y="349"/>
                      <a:pt x="275" y="350"/>
                      <a:pt x="275" y="350"/>
                    </a:cubicBezTo>
                    <a:cubicBezTo>
                      <a:pt x="271" y="356"/>
                      <a:pt x="271" y="356"/>
                      <a:pt x="271" y="356"/>
                    </a:cubicBezTo>
                    <a:cubicBezTo>
                      <a:pt x="273" y="356"/>
                      <a:pt x="273" y="356"/>
                      <a:pt x="273" y="356"/>
                    </a:cubicBezTo>
                    <a:cubicBezTo>
                      <a:pt x="276" y="353"/>
                      <a:pt x="276" y="353"/>
                      <a:pt x="276" y="353"/>
                    </a:cubicBezTo>
                    <a:cubicBezTo>
                      <a:pt x="285" y="351"/>
                      <a:pt x="285" y="351"/>
                      <a:pt x="285" y="351"/>
                    </a:cubicBezTo>
                    <a:cubicBezTo>
                      <a:pt x="287" y="351"/>
                      <a:pt x="287" y="351"/>
                      <a:pt x="287" y="351"/>
                    </a:cubicBezTo>
                    <a:cubicBezTo>
                      <a:pt x="300" y="347"/>
                      <a:pt x="300" y="347"/>
                      <a:pt x="300" y="347"/>
                    </a:cubicBezTo>
                    <a:cubicBezTo>
                      <a:pt x="292" y="353"/>
                      <a:pt x="292" y="353"/>
                      <a:pt x="292" y="353"/>
                    </a:cubicBezTo>
                    <a:cubicBezTo>
                      <a:pt x="290" y="353"/>
                      <a:pt x="290" y="353"/>
                      <a:pt x="290" y="353"/>
                    </a:cubicBezTo>
                    <a:cubicBezTo>
                      <a:pt x="288" y="355"/>
                      <a:pt x="288" y="355"/>
                      <a:pt x="288" y="355"/>
                    </a:cubicBezTo>
                    <a:cubicBezTo>
                      <a:pt x="292" y="358"/>
                      <a:pt x="292" y="358"/>
                      <a:pt x="292" y="358"/>
                    </a:cubicBezTo>
                    <a:cubicBezTo>
                      <a:pt x="285" y="360"/>
                      <a:pt x="285" y="360"/>
                      <a:pt x="285" y="360"/>
                    </a:cubicBezTo>
                    <a:cubicBezTo>
                      <a:pt x="285" y="360"/>
                      <a:pt x="286" y="355"/>
                      <a:pt x="285" y="353"/>
                    </a:cubicBezTo>
                    <a:cubicBezTo>
                      <a:pt x="282" y="351"/>
                      <a:pt x="277" y="356"/>
                      <a:pt x="275" y="357"/>
                    </a:cubicBezTo>
                    <a:cubicBezTo>
                      <a:pt x="273" y="359"/>
                      <a:pt x="263" y="360"/>
                      <a:pt x="262" y="363"/>
                    </a:cubicBezTo>
                    <a:cubicBezTo>
                      <a:pt x="260" y="366"/>
                      <a:pt x="269" y="364"/>
                      <a:pt x="269" y="364"/>
                    </a:cubicBezTo>
                    <a:cubicBezTo>
                      <a:pt x="268" y="371"/>
                      <a:pt x="268" y="371"/>
                      <a:pt x="268" y="371"/>
                    </a:cubicBezTo>
                    <a:cubicBezTo>
                      <a:pt x="274" y="375"/>
                      <a:pt x="274" y="375"/>
                      <a:pt x="274" y="375"/>
                    </a:cubicBezTo>
                    <a:cubicBezTo>
                      <a:pt x="274" y="375"/>
                      <a:pt x="262" y="372"/>
                      <a:pt x="261" y="375"/>
                    </a:cubicBezTo>
                    <a:cubicBezTo>
                      <a:pt x="259" y="378"/>
                      <a:pt x="261" y="381"/>
                      <a:pt x="261" y="381"/>
                    </a:cubicBezTo>
                    <a:cubicBezTo>
                      <a:pt x="259" y="381"/>
                      <a:pt x="259" y="381"/>
                      <a:pt x="259" y="381"/>
                    </a:cubicBezTo>
                    <a:cubicBezTo>
                      <a:pt x="257" y="383"/>
                      <a:pt x="257" y="383"/>
                      <a:pt x="257" y="383"/>
                    </a:cubicBezTo>
                    <a:cubicBezTo>
                      <a:pt x="259" y="387"/>
                      <a:pt x="259" y="387"/>
                      <a:pt x="259" y="387"/>
                    </a:cubicBezTo>
                    <a:cubicBezTo>
                      <a:pt x="259" y="387"/>
                      <a:pt x="256" y="386"/>
                      <a:pt x="253" y="389"/>
                    </a:cubicBezTo>
                    <a:cubicBezTo>
                      <a:pt x="249" y="391"/>
                      <a:pt x="254" y="398"/>
                      <a:pt x="254" y="398"/>
                    </a:cubicBezTo>
                    <a:cubicBezTo>
                      <a:pt x="258" y="399"/>
                      <a:pt x="258" y="399"/>
                      <a:pt x="258" y="399"/>
                    </a:cubicBezTo>
                    <a:cubicBezTo>
                      <a:pt x="259" y="405"/>
                      <a:pt x="259" y="405"/>
                      <a:pt x="259" y="405"/>
                    </a:cubicBezTo>
                    <a:cubicBezTo>
                      <a:pt x="256" y="406"/>
                      <a:pt x="256" y="406"/>
                      <a:pt x="256" y="406"/>
                    </a:cubicBezTo>
                    <a:cubicBezTo>
                      <a:pt x="249" y="396"/>
                      <a:pt x="249" y="396"/>
                      <a:pt x="249" y="396"/>
                    </a:cubicBezTo>
                    <a:cubicBezTo>
                      <a:pt x="247" y="404"/>
                      <a:pt x="247" y="404"/>
                      <a:pt x="247" y="404"/>
                    </a:cubicBezTo>
                    <a:cubicBezTo>
                      <a:pt x="252" y="404"/>
                      <a:pt x="252" y="404"/>
                      <a:pt x="252" y="404"/>
                    </a:cubicBezTo>
                    <a:cubicBezTo>
                      <a:pt x="252" y="404"/>
                      <a:pt x="248" y="406"/>
                      <a:pt x="246" y="409"/>
                    </a:cubicBezTo>
                    <a:cubicBezTo>
                      <a:pt x="244" y="411"/>
                      <a:pt x="246" y="416"/>
                      <a:pt x="246" y="416"/>
                    </a:cubicBezTo>
                    <a:cubicBezTo>
                      <a:pt x="241" y="418"/>
                      <a:pt x="241" y="418"/>
                      <a:pt x="241" y="418"/>
                    </a:cubicBezTo>
                    <a:cubicBezTo>
                      <a:pt x="243" y="420"/>
                      <a:pt x="243" y="420"/>
                      <a:pt x="243" y="420"/>
                    </a:cubicBezTo>
                    <a:cubicBezTo>
                      <a:pt x="248" y="416"/>
                      <a:pt x="248" y="416"/>
                      <a:pt x="248" y="416"/>
                    </a:cubicBezTo>
                    <a:cubicBezTo>
                      <a:pt x="248" y="413"/>
                      <a:pt x="248" y="413"/>
                      <a:pt x="248" y="413"/>
                    </a:cubicBezTo>
                    <a:cubicBezTo>
                      <a:pt x="253" y="411"/>
                      <a:pt x="253" y="411"/>
                      <a:pt x="253" y="411"/>
                    </a:cubicBezTo>
                    <a:cubicBezTo>
                      <a:pt x="249" y="415"/>
                      <a:pt x="249" y="415"/>
                      <a:pt x="249" y="415"/>
                    </a:cubicBezTo>
                    <a:cubicBezTo>
                      <a:pt x="254" y="419"/>
                      <a:pt x="254" y="419"/>
                      <a:pt x="254" y="419"/>
                    </a:cubicBezTo>
                    <a:cubicBezTo>
                      <a:pt x="253" y="423"/>
                      <a:pt x="253" y="423"/>
                      <a:pt x="253" y="423"/>
                    </a:cubicBezTo>
                    <a:cubicBezTo>
                      <a:pt x="256" y="425"/>
                      <a:pt x="256" y="425"/>
                      <a:pt x="256" y="425"/>
                    </a:cubicBezTo>
                    <a:cubicBezTo>
                      <a:pt x="268" y="412"/>
                      <a:pt x="268" y="412"/>
                      <a:pt x="268" y="412"/>
                    </a:cubicBezTo>
                    <a:cubicBezTo>
                      <a:pt x="271" y="414"/>
                      <a:pt x="271" y="414"/>
                      <a:pt x="271" y="414"/>
                    </a:cubicBezTo>
                    <a:cubicBezTo>
                      <a:pt x="256" y="427"/>
                      <a:pt x="256" y="427"/>
                      <a:pt x="256" y="427"/>
                    </a:cubicBezTo>
                    <a:cubicBezTo>
                      <a:pt x="252" y="428"/>
                      <a:pt x="252" y="428"/>
                      <a:pt x="252" y="428"/>
                    </a:cubicBezTo>
                    <a:cubicBezTo>
                      <a:pt x="249" y="421"/>
                      <a:pt x="249" y="421"/>
                      <a:pt x="249" y="421"/>
                    </a:cubicBezTo>
                    <a:cubicBezTo>
                      <a:pt x="244" y="422"/>
                      <a:pt x="244" y="422"/>
                      <a:pt x="244" y="422"/>
                    </a:cubicBezTo>
                    <a:cubicBezTo>
                      <a:pt x="243" y="424"/>
                      <a:pt x="243" y="424"/>
                      <a:pt x="243" y="424"/>
                    </a:cubicBezTo>
                    <a:cubicBezTo>
                      <a:pt x="243" y="424"/>
                      <a:pt x="239" y="424"/>
                      <a:pt x="239" y="426"/>
                    </a:cubicBezTo>
                    <a:cubicBezTo>
                      <a:pt x="239" y="427"/>
                      <a:pt x="235" y="435"/>
                      <a:pt x="231" y="435"/>
                    </a:cubicBezTo>
                    <a:cubicBezTo>
                      <a:pt x="228" y="436"/>
                      <a:pt x="222" y="440"/>
                      <a:pt x="222" y="440"/>
                    </a:cubicBezTo>
                    <a:cubicBezTo>
                      <a:pt x="224" y="442"/>
                      <a:pt x="224" y="442"/>
                      <a:pt x="224" y="442"/>
                    </a:cubicBezTo>
                    <a:cubicBezTo>
                      <a:pt x="224" y="442"/>
                      <a:pt x="216" y="446"/>
                      <a:pt x="221" y="450"/>
                    </a:cubicBezTo>
                    <a:cubicBezTo>
                      <a:pt x="224" y="452"/>
                      <a:pt x="231" y="441"/>
                      <a:pt x="231" y="441"/>
                    </a:cubicBezTo>
                    <a:cubicBezTo>
                      <a:pt x="242" y="436"/>
                      <a:pt x="242" y="436"/>
                      <a:pt x="242" y="436"/>
                    </a:cubicBezTo>
                    <a:cubicBezTo>
                      <a:pt x="233" y="443"/>
                      <a:pt x="233" y="443"/>
                      <a:pt x="233" y="443"/>
                    </a:cubicBezTo>
                    <a:cubicBezTo>
                      <a:pt x="238" y="446"/>
                      <a:pt x="238" y="446"/>
                      <a:pt x="238" y="446"/>
                    </a:cubicBezTo>
                    <a:cubicBezTo>
                      <a:pt x="238" y="446"/>
                      <a:pt x="232" y="447"/>
                      <a:pt x="228" y="450"/>
                    </a:cubicBezTo>
                    <a:cubicBezTo>
                      <a:pt x="223" y="452"/>
                      <a:pt x="226" y="457"/>
                      <a:pt x="226" y="457"/>
                    </a:cubicBezTo>
                    <a:cubicBezTo>
                      <a:pt x="223" y="458"/>
                      <a:pt x="223" y="458"/>
                      <a:pt x="223" y="458"/>
                    </a:cubicBezTo>
                    <a:cubicBezTo>
                      <a:pt x="219" y="455"/>
                      <a:pt x="219" y="455"/>
                      <a:pt x="219" y="455"/>
                    </a:cubicBezTo>
                    <a:cubicBezTo>
                      <a:pt x="215" y="457"/>
                      <a:pt x="215" y="457"/>
                      <a:pt x="215" y="457"/>
                    </a:cubicBezTo>
                    <a:cubicBezTo>
                      <a:pt x="215" y="457"/>
                      <a:pt x="219" y="463"/>
                      <a:pt x="221" y="465"/>
                    </a:cubicBezTo>
                    <a:cubicBezTo>
                      <a:pt x="222" y="467"/>
                      <a:pt x="231" y="459"/>
                      <a:pt x="231" y="459"/>
                    </a:cubicBezTo>
                    <a:cubicBezTo>
                      <a:pt x="226" y="468"/>
                      <a:pt x="226" y="468"/>
                      <a:pt x="226" y="468"/>
                    </a:cubicBezTo>
                    <a:cubicBezTo>
                      <a:pt x="221" y="471"/>
                      <a:pt x="221" y="471"/>
                      <a:pt x="221" y="471"/>
                    </a:cubicBezTo>
                    <a:cubicBezTo>
                      <a:pt x="213" y="459"/>
                      <a:pt x="213" y="459"/>
                      <a:pt x="213" y="459"/>
                    </a:cubicBezTo>
                    <a:cubicBezTo>
                      <a:pt x="204" y="467"/>
                      <a:pt x="204" y="467"/>
                      <a:pt x="204" y="467"/>
                    </a:cubicBezTo>
                    <a:cubicBezTo>
                      <a:pt x="207" y="470"/>
                      <a:pt x="207" y="470"/>
                      <a:pt x="207" y="470"/>
                    </a:cubicBezTo>
                    <a:cubicBezTo>
                      <a:pt x="200" y="468"/>
                      <a:pt x="200" y="468"/>
                      <a:pt x="200" y="468"/>
                    </a:cubicBezTo>
                    <a:cubicBezTo>
                      <a:pt x="198" y="471"/>
                      <a:pt x="198" y="471"/>
                      <a:pt x="198" y="471"/>
                    </a:cubicBezTo>
                    <a:cubicBezTo>
                      <a:pt x="203" y="474"/>
                      <a:pt x="203" y="474"/>
                      <a:pt x="203" y="474"/>
                    </a:cubicBezTo>
                    <a:cubicBezTo>
                      <a:pt x="198" y="475"/>
                      <a:pt x="198" y="475"/>
                      <a:pt x="198" y="475"/>
                    </a:cubicBezTo>
                    <a:cubicBezTo>
                      <a:pt x="198" y="475"/>
                      <a:pt x="189" y="485"/>
                      <a:pt x="188" y="486"/>
                    </a:cubicBezTo>
                    <a:cubicBezTo>
                      <a:pt x="188" y="487"/>
                      <a:pt x="191" y="490"/>
                      <a:pt x="191" y="490"/>
                    </a:cubicBezTo>
                    <a:cubicBezTo>
                      <a:pt x="184" y="489"/>
                      <a:pt x="184" y="489"/>
                      <a:pt x="184" y="489"/>
                    </a:cubicBezTo>
                    <a:cubicBezTo>
                      <a:pt x="182" y="498"/>
                      <a:pt x="182" y="498"/>
                      <a:pt x="182" y="498"/>
                    </a:cubicBezTo>
                    <a:cubicBezTo>
                      <a:pt x="182" y="498"/>
                      <a:pt x="188" y="498"/>
                      <a:pt x="188" y="500"/>
                    </a:cubicBezTo>
                    <a:cubicBezTo>
                      <a:pt x="188" y="502"/>
                      <a:pt x="179" y="504"/>
                      <a:pt x="174" y="505"/>
                    </a:cubicBezTo>
                    <a:cubicBezTo>
                      <a:pt x="169" y="507"/>
                      <a:pt x="169" y="517"/>
                      <a:pt x="169" y="517"/>
                    </a:cubicBezTo>
                    <a:cubicBezTo>
                      <a:pt x="169" y="517"/>
                      <a:pt x="184" y="509"/>
                      <a:pt x="183" y="514"/>
                    </a:cubicBezTo>
                    <a:cubicBezTo>
                      <a:pt x="183" y="518"/>
                      <a:pt x="176" y="517"/>
                      <a:pt x="176" y="517"/>
                    </a:cubicBezTo>
                    <a:cubicBezTo>
                      <a:pt x="177" y="520"/>
                      <a:pt x="177" y="520"/>
                      <a:pt x="177" y="520"/>
                    </a:cubicBezTo>
                    <a:cubicBezTo>
                      <a:pt x="182" y="522"/>
                      <a:pt x="182" y="522"/>
                      <a:pt x="182" y="522"/>
                    </a:cubicBezTo>
                    <a:cubicBezTo>
                      <a:pt x="179" y="525"/>
                      <a:pt x="179" y="525"/>
                      <a:pt x="179" y="525"/>
                    </a:cubicBezTo>
                    <a:cubicBezTo>
                      <a:pt x="181" y="529"/>
                      <a:pt x="181" y="529"/>
                      <a:pt x="181" y="529"/>
                    </a:cubicBezTo>
                    <a:cubicBezTo>
                      <a:pt x="198" y="520"/>
                      <a:pt x="198" y="520"/>
                      <a:pt x="198" y="520"/>
                    </a:cubicBezTo>
                    <a:cubicBezTo>
                      <a:pt x="198" y="520"/>
                      <a:pt x="202" y="517"/>
                      <a:pt x="203" y="516"/>
                    </a:cubicBezTo>
                    <a:cubicBezTo>
                      <a:pt x="205" y="515"/>
                      <a:pt x="206" y="513"/>
                      <a:pt x="209" y="512"/>
                    </a:cubicBezTo>
                    <a:cubicBezTo>
                      <a:pt x="211" y="512"/>
                      <a:pt x="213" y="508"/>
                      <a:pt x="213" y="505"/>
                    </a:cubicBezTo>
                    <a:cubicBezTo>
                      <a:pt x="213" y="502"/>
                      <a:pt x="202" y="507"/>
                      <a:pt x="202" y="507"/>
                    </a:cubicBezTo>
                    <a:cubicBezTo>
                      <a:pt x="202" y="507"/>
                      <a:pt x="209" y="502"/>
                      <a:pt x="212" y="500"/>
                    </a:cubicBezTo>
                    <a:cubicBezTo>
                      <a:pt x="214" y="499"/>
                      <a:pt x="215" y="494"/>
                      <a:pt x="221" y="494"/>
                    </a:cubicBezTo>
                    <a:cubicBezTo>
                      <a:pt x="225" y="494"/>
                      <a:pt x="226" y="498"/>
                      <a:pt x="226" y="498"/>
                    </a:cubicBezTo>
                    <a:cubicBezTo>
                      <a:pt x="215" y="503"/>
                      <a:pt x="215" y="503"/>
                      <a:pt x="215" y="503"/>
                    </a:cubicBezTo>
                    <a:cubicBezTo>
                      <a:pt x="214" y="506"/>
                      <a:pt x="214" y="506"/>
                      <a:pt x="214" y="506"/>
                    </a:cubicBezTo>
                    <a:cubicBezTo>
                      <a:pt x="214" y="506"/>
                      <a:pt x="223" y="506"/>
                      <a:pt x="224" y="509"/>
                    </a:cubicBezTo>
                    <a:cubicBezTo>
                      <a:pt x="224" y="513"/>
                      <a:pt x="214" y="515"/>
                      <a:pt x="211" y="516"/>
                    </a:cubicBezTo>
                    <a:cubicBezTo>
                      <a:pt x="208" y="516"/>
                      <a:pt x="203" y="521"/>
                      <a:pt x="202" y="524"/>
                    </a:cubicBezTo>
                    <a:cubicBezTo>
                      <a:pt x="202" y="528"/>
                      <a:pt x="206" y="522"/>
                      <a:pt x="208" y="523"/>
                    </a:cubicBezTo>
                    <a:cubicBezTo>
                      <a:pt x="209" y="525"/>
                      <a:pt x="206" y="526"/>
                      <a:pt x="205" y="528"/>
                    </a:cubicBezTo>
                    <a:cubicBezTo>
                      <a:pt x="203" y="530"/>
                      <a:pt x="208" y="531"/>
                      <a:pt x="208" y="531"/>
                    </a:cubicBezTo>
                    <a:cubicBezTo>
                      <a:pt x="205" y="533"/>
                      <a:pt x="205" y="533"/>
                      <a:pt x="205" y="533"/>
                    </a:cubicBezTo>
                    <a:cubicBezTo>
                      <a:pt x="205" y="533"/>
                      <a:pt x="194" y="530"/>
                      <a:pt x="188" y="532"/>
                    </a:cubicBezTo>
                    <a:cubicBezTo>
                      <a:pt x="181" y="534"/>
                      <a:pt x="187" y="539"/>
                      <a:pt x="187" y="539"/>
                    </a:cubicBezTo>
                    <a:cubicBezTo>
                      <a:pt x="180" y="538"/>
                      <a:pt x="180" y="538"/>
                      <a:pt x="180" y="538"/>
                    </a:cubicBezTo>
                    <a:cubicBezTo>
                      <a:pt x="175" y="540"/>
                      <a:pt x="175" y="540"/>
                      <a:pt x="175" y="540"/>
                    </a:cubicBezTo>
                    <a:cubicBezTo>
                      <a:pt x="180" y="532"/>
                      <a:pt x="180" y="532"/>
                      <a:pt x="180" y="532"/>
                    </a:cubicBezTo>
                    <a:cubicBezTo>
                      <a:pt x="175" y="518"/>
                      <a:pt x="175" y="518"/>
                      <a:pt x="175" y="518"/>
                    </a:cubicBezTo>
                    <a:cubicBezTo>
                      <a:pt x="167" y="521"/>
                      <a:pt x="167" y="521"/>
                      <a:pt x="167" y="521"/>
                    </a:cubicBezTo>
                    <a:cubicBezTo>
                      <a:pt x="166" y="523"/>
                      <a:pt x="166" y="523"/>
                      <a:pt x="166" y="523"/>
                    </a:cubicBezTo>
                    <a:cubicBezTo>
                      <a:pt x="158" y="526"/>
                      <a:pt x="158" y="526"/>
                      <a:pt x="158" y="526"/>
                    </a:cubicBezTo>
                    <a:cubicBezTo>
                      <a:pt x="157" y="530"/>
                      <a:pt x="157" y="530"/>
                      <a:pt x="157" y="530"/>
                    </a:cubicBezTo>
                    <a:cubicBezTo>
                      <a:pt x="164" y="531"/>
                      <a:pt x="164" y="531"/>
                      <a:pt x="164" y="531"/>
                    </a:cubicBezTo>
                    <a:cubicBezTo>
                      <a:pt x="157" y="532"/>
                      <a:pt x="157" y="532"/>
                      <a:pt x="157" y="532"/>
                    </a:cubicBezTo>
                    <a:cubicBezTo>
                      <a:pt x="156" y="536"/>
                      <a:pt x="156" y="536"/>
                      <a:pt x="156" y="536"/>
                    </a:cubicBezTo>
                    <a:cubicBezTo>
                      <a:pt x="162" y="537"/>
                      <a:pt x="162" y="537"/>
                      <a:pt x="162" y="537"/>
                    </a:cubicBezTo>
                    <a:cubicBezTo>
                      <a:pt x="150" y="539"/>
                      <a:pt x="150" y="539"/>
                      <a:pt x="150" y="539"/>
                    </a:cubicBezTo>
                    <a:cubicBezTo>
                      <a:pt x="155" y="532"/>
                      <a:pt x="155" y="532"/>
                      <a:pt x="155" y="532"/>
                    </a:cubicBezTo>
                    <a:cubicBezTo>
                      <a:pt x="153" y="530"/>
                      <a:pt x="153" y="530"/>
                      <a:pt x="153" y="530"/>
                    </a:cubicBezTo>
                    <a:cubicBezTo>
                      <a:pt x="147" y="534"/>
                      <a:pt x="147" y="534"/>
                      <a:pt x="147" y="534"/>
                    </a:cubicBezTo>
                    <a:cubicBezTo>
                      <a:pt x="145" y="532"/>
                      <a:pt x="145" y="532"/>
                      <a:pt x="145" y="532"/>
                    </a:cubicBezTo>
                    <a:cubicBezTo>
                      <a:pt x="141" y="534"/>
                      <a:pt x="141" y="534"/>
                      <a:pt x="141" y="534"/>
                    </a:cubicBezTo>
                    <a:cubicBezTo>
                      <a:pt x="145" y="538"/>
                      <a:pt x="145" y="538"/>
                      <a:pt x="145" y="538"/>
                    </a:cubicBezTo>
                    <a:cubicBezTo>
                      <a:pt x="138" y="538"/>
                      <a:pt x="138" y="538"/>
                      <a:pt x="138" y="538"/>
                    </a:cubicBezTo>
                    <a:cubicBezTo>
                      <a:pt x="134" y="541"/>
                      <a:pt x="134" y="541"/>
                      <a:pt x="134" y="541"/>
                    </a:cubicBezTo>
                    <a:cubicBezTo>
                      <a:pt x="139" y="547"/>
                      <a:pt x="139" y="547"/>
                      <a:pt x="139" y="547"/>
                    </a:cubicBezTo>
                    <a:cubicBezTo>
                      <a:pt x="143" y="548"/>
                      <a:pt x="143" y="548"/>
                      <a:pt x="143" y="548"/>
                    </a:cubicBezTo>
                    <a:cubicBezTo>
                      <a:pt x="138" y="549"/>
                      <a:pt x="138" y="549"/>
                      <a:pt x="138" y="549"/>
                    </a:cubicBezTo>
                    <a:cubicBezTo>
                      <a:pt x="135" y="552"/>
                      <a:pt x="135" y="552"/>
                      <a:pt x="135" y="552"/>
                    </a:cubicBezTo>
                    <a:cubicBezTo>
                      <a:pt x="126" y="551"/>
                      <a:pt x="126" y="551"/>
                      <a:pt x="126" y="551"/>
                    </a:cubicBezTo>
                    <a:cubicBezTo>
                      <a:pt x="126" y="555"/>
                      <a:pt x="126" y="555"/>
                      <a:pt x="126" y="555"/>
                    </a:cubicBezTo>
                    <a:cubicBezTo>
                      <a:pt x="132" y="563"/>
                      <a:pt x="132" y="563"/>
                      <a:pt x="132" y="563"/>
                    </a:cubicBezTo>
                    <a:cubicBezTo>
                      <a:pt x="138" y="561"/>
                      <a:pt x="138" y="561"/>
                      <a:pt x="138" y="561"/>
                    </a:cubicBezTo>
                    <a:cubicBezTo>
                      <a:pt x="139" y="562"/>
                      <a:pt x="139" y="562"/>
                      <a:pt x="139" y="562"/>
                    </a:cubicBezTo>
                    <a:cubicBezTo>
                      <a:pt x="132" y="566"/>
                      <a:pt x="132" y="566"/>
                      <a:pt x="132" y="566"/>
                    </a:cubicBezTo>
                    <a:cubicBezTo>
                      <a:pt x="137" y="568"/>
                      <a:pt x="137" y="568"/>
                      <a:pt x="137" y="568"/>
                    </a:cubicBezTo>
                    <a:cubicBezTo>
                      <a:pt x="135" y="569"/>
                      <a:pt x="135" y="569"/>
                      <a:pt x="135" y="569"/>
                    </a:cubicBezTo>
                    <a:cubicBezTo>
                      <a:pt x="130" y="567"/>
                      <a:pt x="130" y="567"/>
                      <a:pt x="130" y="567"/>
                    </a:cubicBezTo>
                    <a:cubicBezTo>
                      <a:pt x="129" y="561"/>
                      <a:pt x="129" y="561"/>
                      <a:pt x="129" y="561"/>
                    </a:cubicBezTo>
                    <a:cubicBezTo>
                      <a:pt x="123" y="552"/>
                      <a:pt x="123" y="552"/>
                      <a:pt x="123" y="552"/>
                    </a:cubicBezTo>
                    <a:cubicBezTo>
                      <a:pt x="114" y="557"/>
                      <a:pt x="114" y="557"/>
                      <a:pt x="114" y="557"/>
                    </a:cubicBezTo>
                    <a:cubicBezTo>
                      <a:pt x="116" y="558"/>
                      <a:pt x="116" y="558"/>
                      <a:pt x="116" y="558"/>
                    </a:cubicBezTo>
                    <a:cubicBezTo>
                      <a:pt x="118" y="558"/>
                      <a:pt x="118" y="558"/>
                      <a:pt x="118" y="558"/>
                    </a:cubicBezTo>
                    <a:cubicBezTo>
                      <a:pt x="123" y="563"/>
                      <a:pt x="123" y="563"/>
                      <a:pt x="123" y="563"/>
                    </a:cubicBezTo>
                    <a:cubicBezTo>
                      <a:pt x="123" y="570"/>
                      <a:pt x="123" y="570"/>
                      <a:pt x="123" y="570"/>
                    </a:cubicBezTo>
                    <a:cubicBezTo>
                      <a:pt x="132" y="577"/>
                      <a:pt x="132" y="577"/>
                      <a:pt x="132" y="577"/>
                    </a:cubicBezTo>
                    <a:cubicBezTo>
                      <a:pt x="133" y="579"/>
                      <a:pt x="133" y="579"/>
                      <a:pt x="133" y="579"/>
                    </a:cubicBezTo>
                    <a:cubicBezTo>
                      <a:pt x="122" y="571"/>
                      <a:pt x="122" y="571"/>
                      <a:pt x="122" y="571"/>
                    </a:cubicBezTo>
                    <a:cubicBezTo>
                      <a:pt x="122" y="562"/>
                      <a:pt x="122" y="562"/>
                      <a:pt x="122" y="562"/>
                    </a:cubicBezTo>
                    <a:cubicBezTo>
                      <a:pt x="113" y="562"/>
                      <a:pt x="113" y="562"/>
                      <a:pt x="113" y="562"/>
                    </a:cubicBezTo>
                    <a:cubicBezTo>
                      <a:pt x="111" y="565"/>
                      <a:pt x="111" y="565"/>
                      <a:pt x="111" y="565"/>
                    </a:cubicBezTo>
                    <a:cubicBezTo>
                      <a:pt x="112" y="560"/>
                      <a:pt x="112" y="560"/>
                      <a:pt x="112" y="560"/>
                    </a:cubicBezTo>
                    <a:cubicBezTo>
                      <a:pt x="108" y="560"/>
                      <a:pt x="108" y="560"/>
                      <a:pt x="108" y="560"/>
                    </a:cubicBezTo>
                    <a:cubicBezTo>
                      <a:pt x="107" y="563"/>
                      <a:pt x="107" y="563"/>
                      <a:pt x="107" y="563"/>
                    </a:cubicBezTo>
                    <a:cubicBezTo>
                      <a:pt x="101" y="564"/>
                      <a:pt x="101" y="564"/>
                      <a:pt x="101" y="564"/>
                    </a:cubicBezTo>
                    <a:cubicBezTo>
                      <a:pt x="96" y="557"/>
                      <a:pt x="96" y="557"/>
                      <a:pt x="96" y="557"/>
                    </a:cubicBezTo>
                    <a:cubicBezTo>
                      <a:pt x="96" y="557"/>
                      <a:pt x="92" y="557"/>
                      <a:pt x="85" y="562"/>
                    </a:cubicBezTo>
                    <a:cubicBezTo>
                      <a:pt x="80" y="567"/>
                      <a:pt x="93" y="567"/>
                      <a:pt x="94" y="569"/>
                    </a:cubicBezTo>
                    <a:cubicBezTo>
                      <a:pt x="94" y="571"/>
                      <a:pt x="91" y="570"/>
                      <a:pt x="88" y="570"/>
                    </a:cubicBezTo>
                    <a:cubicBezTo>
                      <a:pt x="83" y="571"/>
                      <a:pt x="87" y="577"/>
                      <a:pt x="87" y="577"/>
                    </a:cubicBezTo>
                    <a:cubicBezTo>
                      <a:pt x="87" y="577"/>
                      <a:pt x="104" y="571"/>
                      <a:pt x="105" y="573"/>
                    </a:cubicBezTo>
                    <a:cubicBezTo>
                      <a:pt x="106" y="575"/>
                      <a:pt x="99" y="575"/>
                      <a:pt x="99" y="575"/>
                    </a:cubicBezTo>
                    <a:cubicBezTo>
                      <a:pt x="99" y="578"/>
                      <a:pt x="99" y="578"/>
                      <a:pt x="99" y="578"/>
                    </a:cubicBezTo>
                    <a:cubicBezTo>
                      <a:pt x="99" y="578"/>
                      <a:pt x="108" y="575"/>
                      <a:pt x="113" y="573"/>
                    </a:cubicBezTo>
                    <a:cubicBezTo>
                      <a:pt x="118" y="573"/>
                      <a:pt x="122" y="579"/>
                      <a:pt x="122" y="579"/>
                    </a:cubicBezTo>
                    <a:cubicBezTo>
                      <a:pt x="122" y="579"/>
                      <a:pt x="117" y="576"/>
                      <a:pt x="114" y="575"/>
                    </a:cubicBezTo>
                    <a:cubicBezTo>
                      <a:pt x="112" y="575"/>
                      <a:pt x="104" y="578"/>
                      <a:pt x="104" y="578"/>
                    </a:cubicBezTo>
                    <a:cubicBezTo>
                      <a:pt x="104" y="583"/>
                      <a:pt x="104" y="583"/>
                      <a:pt x="104" y="583"/>
                    </a:cubicBezTo>
                    <a:cubicBezTo>
                      <a:pt x="102" y="581"/>
                      <a:pt x="102" y="581"/>
                      <a:pt x="102" y="581"/>
                    </a:cubicBezTo>
                    <a:cubicBezTo>
                      <a:pt x="100" y="582"/>
                      <a:pt x="100" y="582"/>
                      <a:pt x="100" y="582"/>
                    </a:cubicBezTo>
                    <a:cubicBezTo>
                      <a:pt x="102" y="586"/>
                      <a:pt x="102" y="586"/>
                      <a:pt x="102" y="586"/>
                    </a:cubicBezTo>
                    <a:cubicBezTo>
                      <a:pt x="108" y="586"/>
                      <a:pt x="108" y="586"/>
                      <a:pt x="108" y="586"/>
                    </a:cubicBezTo>
                    <a:cubicBezTo>
                      <a:pt x="104" y="591"/>
                      <a:pt x="104" y="591"/>
                      <a:pt x="104" y="591"/>
                    </a:cubicBezTo>
                    <a:cubicBezTo>
                      <a:pt x="96" y="584"/>
                      <a:pt x="96" y="584"/>
                      <a:pt x="96" y="584"/>
                    </a:cubicBezTo>
                    <a:cubicBezTo>
                      <a:pt x="92" y="582"/>
                      <a:pt x="92" y="582"/>
                      <a:pt x="92" y="582"/>
                    </a:cubicBezTo>
                    <a:cubicBezTo>
                      <a:pt x="92" y="585"/>
                      <a:pt x="92" y="585"/>
                      <a:pt x="92" y="585"/>
                    </a:cubicBezTo>
                    <a:cubicBezTo>
                      <a:pt x="92" y="585"/>
                      <a:pt x="90" y="581"/>
                      <a:pt x="87" y="580"/>
                    </a:cubicBezTo>
                    <a:cubicBezTo>
                      <a:pt x="83" y="579"/>
                      <a:pt x="83" y="583"/>
                      <a:pt x="83" y="583"/>
                    </a:cubicBezTo>
                    <a:cubicBezTo>
                      <a:pt x="83" y="583"/>
                      <a:pt x="81" y="581"/>
                      <a:pt x="80" y="580"/>
                    </a:cubicBezTo>
                    <a:cubicBezTo>
                      <a:pt x="78" y="580"/>
                      <a:pt x="74" y="583"/>
                      <a:pt x="74" y="583"/>
                    </a:cubicBezTo>
                    <a:cubicBezTo>
                      <a:pt x="74" y="583"/>
                      <a:pt x="72" y="582"/>
                      <a:pt x="69" y="581"/>
                    </a:cubicBezTo>
                    <a:cubicBezTo>
                      <a:pt x="66" y="581"/>
                      <a:pt x="65" y="584"/>
                      <a:pt x="63" y="587"/>
                    </a:cubicBezTo>
                    <a:cubicBezTo>
                      <a:pt x="62" y="589"/>
                      <a:pt x="74" y="586"/>
                      <a:pt x="74" y="586"/>
                    </a:cubicBezTo>
                    <a:cubicBezTo>
                      <a:pt x="74" y="586"/>
                      <a:pt x="82" y="592"/>
                      <a:pt x="84" y="594"/>
                    </a:cubicBezTo>
                    <a:cubicBezTo>
                      <a:pt x="85" y="595"/>
                      <a:pt x="84" y="600"/>
                      <a:pt x="84" y="600"/>
                    </a:cubicBezTo>
                    <a:cubicBezTo>
                      <a:pt x="87" y="603"/>
                      <a:pt x="87" y="603"/>
                      <a:pt x="87" y="603"/>
                    </a:cubicBezTo>
                    <a:cubicBezTo>
                      <a:pt x="92" y="604"/>
                      <a:pt x="92" y="604"/>
                      <a:pt x="92" y="604"/>
                    </a:cubicBezTo>
                    <a:cubicBezTo>
                      <a:pt x="94" y="603"/>
                      <a:pt x="94" y="603"/>
                      <a:pt x="94" y="603"/>
                    </a:cubicBezTo>
                    <a:cubicBezTo>
                      <a:pt x="93" y="605"/>
                      <a:pt x="93" y="605"/>
                      <a:pt x="93" y="605"/>
                    </a:cubicBezTo>
                    <a:cubicBezTo>
                      <a:pt x="85" y="605"/>
                      <a:pt x="85" y="605"/>
                      <a:pt x="85" y="605"/>
                    </a:cubicBezTo>
                    <a:cubicBezTo>
                      <a:pt x="87" y="608"/>
                      <a:pt x="87" y="608"/>
                      <a:pt x="87" y="608"/>
                    </a:cubicBezTo>
                    <a:cubicBezTo>
                      <a:pt x="83" y="614"/>
                      <a:pt x="83" y="614"/>
                      <a:pt x="83" y="614"/>
                    </a:cubicBezTo>
                    <a:cubicBezTo>
                      <a:pt x="85" y="616"/>
                      <a:pt x="85" y="616"/>
                      <a:pt x="85" y="616"/>
                    </a:cubicBezTo>
                    <a:cubicBezTo>
                      <a:pt x="80" y="615"/>
                      <a:pt x="80" y="615"/>
                      <a:pt x="80" y="615"/>
                    </a:cubicBezTo>
                    <a:cubicBezTo>
                      <a:pt x="84" y="607"/>
                      <a:pt x="84" y="607"/>
                      <a:pt x="84" y="607"/>
                    </a:cubicBezTo>
                    <a:cubicBezTo>
                      <a:pt x="82" y="602"/>
                      <a:pt x="82" y="602"/>
                      <a:pt x="82" y="602"/>
                    </a:cubicBezTo>
                    <a:cubicBezTo>
                      <a:pt x="82" y="594"/>
                      <a:pt x="82" y="594"/>
                      <a:pt x="82" y="594"/>
                    </a:cubicBezTo>
                    <a:cubicBezTo>
                      <a:pt x="73" y="593"/>
                      <a:pt x="73" y="593"/>
                      <a:pt x="73" y="593"/>
                    </a:cubicBezTo>
                    <a:cubicBezTo>
                      <a:pt x="73" y="597"/>
                      <a:pt x="73" y="597"/>
                      <a:pt x="73" y="597"/>
                    </a:cubicBezTo>
                    <a:cubicBezTo>
                      <a:pt x="69" y="595"/>
                      <a:pt x="69" y="595"/>
                      <a:pt x="69" y="595"/>
                    </a:cubicBezTo>
                    <a:cubicBezTo>
                      <a:pt x="66" y="595"/>
                      <a:pt x="66" y="595"/>
                      <a:pt x="66" y="595"/>
                    </a:cubicBezTo>
                    <a:cubicBezTo>
                      <a:pt x="72" y="611"/>
                      <a:pt x="72" y="611"/>
                      <a:pt x="72" y="611"/>
                    </a:cubicBezTo>
                    <a:cubicBezTo>
                      <a:pt x="71" y="613"/>
                      <a:pt x="71" y="613"/>
                      <a:pt x="71" y="613"/>
                    </a:cubicBezTo>
                    <a:cubicBezTo>
                      <a:pt x="68" y="607"/>
                      <a:pt x="68" y="607"/>
                      <a:pt x="68" y="607"/>
                    </a:cubicBezTo>
                    <a:cubicBezTo>
                      <a:pt x="65" y="602"/>
                      <a:pt x="65" y="602"/>
                      <a:pt x="65" y="602"/>
                    </a:cubicBezTo>
                    <a:cubicBezTo>
                      <a:pt x="65" y="602"/>
                      <a:pt x="66" y="598"/>
                      <a:pt x="63" y="597"/>
                    </a:cubicBezTo>
                    <a:cubicBezTo>
                      <a:pt x="61" y="596"/>
                      <a:pt x="52" y="603"/>
                      <a:pt x="52" y="603"/>
                    </a:cubicBezTo>
                    <a:cubicBezTo>
                      <a:pt x="56" y="607"/>
                      <a:pt x="56" y="607"/>
                      <a:pt x="56" y="607"/>
                    </a:cubicBezTo>
                    <a:cubicBezTo>
                      <a:pt x="50" y="607"/>
                      <a:pt x="50" y="607"/>
                      <a:pt x="50" y="607"/>
                    </a:cubicBezTo>
                    <a:cubicBezTo>
                      <a:pt x="50" y="607"/>
                      <a:pt x="52" y="608"/>
                      <a:pt x="55" y="610"/>
                    </a:cubicBezTo>
                    <a:cubicBezTo>
                      <a:pt x="57" y="613"/>
                      <a:pt x="61" y="616"/>
                      <a:pt x="61" y="616"/>
                    </a:cubicBezTo>
                    <a:cubicBezTo>
                      <a:pt x="55" y="615"/>
                      <a:pt x="55" y="615"/>
                      <a:pt x="55" y="615"/>
                    </a:cubicBezTo>
                    <a:cubicBezTo>
                      <a:pt x="52" y="613"/>
                      <a:pt x="52" y="613"/>
                      <a:pt x="52" y="613"/>
                    </a:cubicBezTo>
                    <a:cubicBezTo>
                      <a:pt x="48" y="617"/>
                      <a:pt x="48" y="617"/>
                      <a:pt x="48" y="617"/>
                    </a:cubicBezTo>
                    <a:cubicBezTo>
                      <a:pt x="51" y="610"/>
                      <a:pt x="51" y="610"/>
                      <a:pt x="51" y="610"/>
                    </a:cubicBezTo>
                    <a:cubicBezTo>
                      <a:pt x="51" y="610"/>
                      <a:pt x="50" y="608"/>
                      <a:pt x="46" y="608"/>
                    </a:cubicBezTo>
                    <a:cubicBezTo>
                      <a:pt x="42" y="608"/>
                      <a:pt x="43" y="612"/>
                      <a:pt x="43" y="612"/>
                    </a:cubicBezTo>
                    <a:cubicBezTo>
                      <a:pt x="43" y="612"/>
                      <a:pt x="40" y="608"/>
                      <a:pt x="38" y="608"/>
                    </a:cubicBezTo>
                    <a:cubicBezTo>
                      <a:pt x="34" y="608"/>
                      <a:pt x="33" y="612"/>
                      <a:pt x="33" y="612"/>
                    </a:cubicBezTo>
                    <a:cubicBezTo>
                      <a:pt x="39" y="615"/>
                      <a:pt x="39" y="615"/>
                      <a:pt x="39" y="615"/>
                    </a:cubicBezTo>
                    <a:cubicBezTo>
                      <a:pt x="38" y="616"/>
                      <a:pt x="38" y="616"/>
                      <a:pt x="38" y="616"/>
                    </a:cubicBezTo>
                    <a:cubicBezTo>
                      <a:pt x="31" y="611"/>
                      <a:pt x="31" y="611"/>
                      <a:pt x="31" y="611"/>
                    </a:cubicBezTo>
                    <a:cubicBezTo>
                      <a:pt x="32" y="609"/>
                      <a:pt x="32" y="609"/>
                      <a:pt x="32" y="609"/>
                    </a:cubicBezTo>
                    <a:cubicBezTo>
                      <a:pt x="28" y="605"/>
                      <a:pt x="28" y="605"/>
                      <a:pt x="28" y="605"/>
                    </a:cubicBezTo>
                    <a:cubicBezTo>
                      <a:pt x="25" y="609"/>
                      <a:pt x="25" y="609"/>
                      <a:pt x="25" y="609"/>
                    </a:cubicBezTo>
                    <a:cubicBezTo>
                      <a:pt x="26" y="611"/>
                      <a:pt x="26" y="611"/>
                      <a:pt x="26" y="611"/>
                    </a:cubicBezTo>
                    <a:cubicBezTo>
                      <a:pt x="26" y="611"/>
                      <a:pt x="32" y="616"/>
                      <a:pt x="32" y="618"/>
                    </a:cubicBezTo>
                    <a:cubicBezTo>
                      <a:pt x="31" y="621"/>
                      <a:pt x="25" y="620"/>
                      <a:pt x="25" y="624"/>
                    </a:cubicBezTo>
                    <a:cubicBezTo>
                      <a:pt x="25" y="627"/>
                      <a:pt x="34" y="623"/>
                      <a:pt x="34" y="623"/>
                    </a:cubicBezTo>
                    <a:cubicBezTo>
                      <a:pt x="50" y="627"/>
                      <a:pt x="50" y="627"/>
                      <a:pt x="50" y="627"/>
                    </a:cubicBezTo>
                    <a:cubicBezTo>
                      <a:pt x="49" y="628"/>
                      <a:pt x="49" y="628"/>
                      <a:pt x="49" y="628"/>
                    </a:cubicBezTo>
                    <a:cubicBezTo>
                      <a:pt x="64" y="632"/>
                      <a:pt x="64" y="632"/>
                      <a:pt x="64" y="632"/>
                    </a:cubicBezTo>
                    <a:cubicBezTo>
                      <a:pt x="71" y="629"/>
                      <a:pt x="71" y="629"/>
                      <a:pt x="71" y="629"/>
                    </a:cubicBezTo>
                    <a:cubicBezTo>
                      <a:pt x="78" y="631"/>
                      <a:pt x="78" y="631"/>
                      <a:pt x="78" y="631"/>
                    </a:cubicBezTo>
                    <a:cubicBezTo>
                      <a:pt x="78" y="632"/>
                      <a:pt x="78" y="632"/>
                      <a:pt x="78" y="632"/>
                    </a:cubicBezTo>
                    <a:cubicBezTo>
                      <a:pt x="72" y="631"/>
                      <a:pt x="72" y="631"/>
                      <a:pt x="72" y="631"/>
                    </a:cubicBezTo>
                    <a:cubicBezTo>
                      <a:pt x="65" y="633"/>
                      <a:pt x="65" y="633"/>
                      <a:pt x="65" y="633"/>
                    </a:cubicBezTo>
                    <a:cubicBezTo>
                      <a:pt x="56" y="631"/>
                      <a:pt x="56" y="631"/>
                      <a:pt x="56" y="631"/>
                    </a:cubicBezTo>
                    <a:cubicBezTo>
                      <a:pt x="55" y="633"/>
                      <a:pt x="55" y="633"/>
                      <a:pt x="55" y="633"/>
                    </a:cubicBezTo>
                    <a:cubicBezTo>
                      <a:pt x="55" y="633"/>
                      <a:pt x="42" y="626"/>
                      <a:pt x="35" y="626"/>
                    </a:cubicBezTo>
                    <a:cubicBezTo>
                      <a:pt x="28" y="626"/>
                      <a:pt x="29" y="629"/>
                      <a:pt x="29" y="629"/>
                    </a:cubicBezTo>
                    <a:cubicBezTo>
                      <a:pt x="29" y="629"/>
                      <a:pt x="28" y="629"/>
                      <a:pt x="25" y="631"/>
                    </a:cubicBezTo>
                    <a:cubicBezTo>
                      <a:pt x="23" y="632"/>
                      <a:pt x="25" y="635"/>
                      <a:pt x="25" y="635"/>
                    </a:cubicBezTo>
                    <a:cubicBezTo>
                      <a:pt x="25" y="635"/>
                      <a:pt x="19" y="634"/>
                      <a:pt x="17" y="638"/>
                    </a:cubicBezTo>
                    <a:cubicBezTo>
                      <a:pt x="16" y="641"/>
                      <a:pt x="19" y="642"/>
                      <a:pt x="19" y="642"/>
                    </a:cubicBezTo>
                    <a:cubicBezTo>
                      <a:pt x="27" y="642"/>
                      <a:pt x="27" y="642"/>
                      <a:pt x="27" y="642"/>
                    </a:cubicBezTo>
                    <a:cubicBezTo>
                      <a:pt x="32" y="646"/>
                      <a:pt x="32" y="646"/>
                      <a:pt x="32" y="646"/>
                    </a:cubicBezTo>
                    <a:cubicBezTo>
                      <a:pt x="26" y="644"/>
                      <a:pt x="26" y="644"/>
                      <a:pt x="26" y="644"/>
                    </a:cubicBezTo>
                    <a:cubicBezTo>
                      <a:pt x="24" y="646"/>
                      <a:pt x="24" y="646"/>
                      <a:pt x="24" y="646"/>
                    </a:cubicBezTo>
                    <a:cubicBezTo>
                      <a:pt x="28" y="648"/>
                      <a:pt x="28" y="648"/>
                      <a:pt x="28" y="648"/>
                    </a:cubicBezTo>
                    <a:cubicBezTo>
                      <a:pt x="23" y="648"/>
                      <a:pt x="23" y="648"/>
                      <a:pt x="23" y="648"/>
                    </a:cubicBezTo>
                    <a:cubicBezTo>
                      <a:pt x="23" y="650"/>
                      <a:pt x="23" y="650"/>
                      <a:pt x="23" y="650"/>
                    </a:cubicBezTo>
                    <a:cubicBezTo>
                      <a:pt x="32" y="652"/>
                      <a:pt x="32" y="652"/>
                      <a:pt x="32" y="652"/>
                    </a:cubicBezTo>
                    <a:cubicBezTo>
                      <a:pt x="17" y="655"/>
                      <a:pt x="17" y="655"/>
                      <a:pt x="17" y="655"/>
                    </a:cubicBezTo>
                    <a:cubicBezTo>
                      <a:pt x="17" y="657"/>
                      <a:pt x="17" y="657"/>
                      <a:pt x="17" y="657"/>
                    </a:cubicBezTo>
                    <a:cubicBezTo>
                      <a:pt x="20" y="657"/>
                      <a:pt x="20" y="657"/>
                      <a:pt x="20" y="657"/>
                    </a:cubicBezTo>
                    <a:cubicBezTo>
                      <a:pt x="20" y="660"/>
                      <a:pt x="20" y="660"/>
                      <a:pt x="20" y="660"/>
                    </a:cubicBezTo>
                    <a:cubicBezTo>
                      <a:pt x="30" y="660"/>
                      <a:pt x="30" y="660"/>
                      <a:pt x="30" y="660"/>
                    </a:cubicBezTo>
                    <a:cubicBezTo>
                      <a:pt x="17" y="663"/>
                      <a:pt x="17" y="663"/>
                      <a:pt x="17" y="663"/>
                    </a:cubicBezTo>
                    <a:cubicBezTo>
                      <a:pt x="15" y="667"/>
                      <a:pt x="15" y="667"/>
                      <a:pt x="15" y="667"/>
                    </a:cubicBezTo>
                    <a:cubicBezTo>
                      <a:pt x="22" y="670"/>
                      <a:pt x="22" y="670"/>
                      <a:pt x="22" y="670"/>
                    </a:cubicBezTo>
                    <a:cubicBezTo>
                      <a:pt x="18" y="670"/>
                      <a:pt x="18" y="670"/>
                      <a:pt x="18" y="670"/>
                    </a:cubicBezTo>
                    <a:cubicBezTo>
                      <a:pt x="23" y="675"/>
                      <a:pt x="23" y="675"/>
                      <a:pt x="23" y="675"/>
                    </a:cubicBezTo>
                    <a:cubicBezTo>
                      <a:pt x="26" y="675"/>
                      <a:pt x="26" y="675"/>
                      <a:pt x="26" y="675"/>
                    </a:cubicBezTo>
                    <a:cubicBezTo>
                      <a:pt x="28" y="677"/>
                      <a:pt x="28" y="677"/>
                      <a:pt x="28" y="677"/>
                    </a:cubicBezTo>
                    <a:cubicBezTo>
                      <a:pt x="48" y="672"/>
                      <a:pt x="48" y="672"/>
                      <a:pt x="48" y="672"/>
                    </a:cubicBezTo>
                    <a:cubicBezTo>
                      <a:pt x="46" y="675"/>
                      <a:pt x="46" y="675"/>
                      <a:pt x="46" y="675"/>
                    </a:cubicBezTo>
                    <a:cubicBezTo>
                      <a:pt x="55" y="674"/>
                      <a:pt x="55" y="674"/>
                      <a:pt x="55" y="674"/>
                    </a:cubicBezTo>
                    <a:cubicBezTo>
                      <a:pt x="55" y="674"/>
                      <a:pt x="56" y="677"/>
                      <a:pt x="61" y="677"/>
                    </a:cubicBezTo>
                    <a:cubicBezTo>
                      <a:pt x="65" y="677"/>
                      <a:pt x="63" y="668"/>
                      <a:pt x="63" y="668"/>
                    </a:cubicBezTo>
                    <a:cubicBezTo>
                      <a:pt x="66" y="667"/>
                      <a:pt x="66" y="667"/>
                      <a:pt x="66" y="667"/>
                    </a:cubicBezTo>
                    <a:cubicBezTo>
                      <a:pt x="71" y="661"/>
                      <a:pt x="71" y="661"/>
                      <a:pt x="71" y="661"/>
                    </a:cubicBezTo>
                    <a:cubicBezTo>
                      <a:pt x="72" y="662"/>
                      <a:pt x="72" y="662"/>
                      <a:pt x="72" y="662"/>
                    </a:cubicBezTo>
                    <a:cubicBezTo>
                      <a:pt x="67" y="670"/>
                      <a:pt x="67" y="670"/>
                      <a:pt x="67" y="670"/>
                    </a:cubicBezTo>
                    <a:cubicBezTo>
                      <a:pt x="69" y="674"/>
                      <a:pt x="69" y="674"/>
                      <a:pt x="69" y="674"/>
                    </a:cubicBezTo>
                    <a:cubicBezTo>
                      <a:pt x="79" y="675"/>
                      <a:pt x="79" y="675"/>
                      <a:pt x="79" y="675"/>
                    </a:cubicBezTo>
                    <a:cubicBezTo>
                      <a:pt x="83" y="671"/>
                      <a:pt x="83" y="671"/>
                      <a:pt x="83" y="671"/>
                    </a:cubicBezTo>
                    <a:cubicBezTo>
                      <a:pt x="83" y="675"/>
                      <a:pt x="83" y="675"/>
                      <a:pt x="83" y="675"/>
                    </a:cubicBezTo>
                    <a:cubicBezTo>
                      <a:pt x="76" y="677"/>
                      <a:pt x="76" y="677"/>
                      <a:pt x="76" y="677"/>
                    </a:cubicBezTo>
                    <a:cubicBezTo>
                      <a:pt x="78" y="679"/>
                      <a:pt x="78" y="679"/>
                      <a:pt x="78" y="679"/>
                    </a:cubicBezTo>
                    <a:cubicBezTo>
                      <a:pt x="90" y="675"/>
                      <a:pt x="90" y="675"/>
                      <a:pt x="90" y="675"/>
                    </a:cubicBezTo>
                    <a:cubicBezTo>
                      <a:pt x="89" y="668"/>
                      <a:pt x="89" y="668"/>
                      <a:pt x="89" y="668"/>
                    </a:cubicBezTo>
                    <a:cubicBezTo>
                      <a:pt x="89" y="668"/>
                      <a:pt x="91" y="664"/>
                      <a:pt x="93" y="661"/>
                    </a:cubicBezTo>
                    <a:cubicBezTo>
                      <a:pt x="94" y="659"/>
                      <a:pt x="98" y="656"/>
                      <a:pt x="98" y="656"/>
                    </a:cubicBezTo>
                    <a:cubicBezTo>
                      <a:pt x="99" y="658"/>
                      <a:pt x="99" y="658"/>
                      <a:pt x="99" y="658"/>
                    </a:cubicBezTo>
                    <a:cubicBezTo>
                      <a:pt x="99" y="658"/>
                      <a:pt x="97" y="660"/>
                      <a:pt x="95" y="662"/>
                    </a:cubicBezTo>
                    <a:cubicBezTo>
                      <a:pt x="93" y="663"/>
                      <a:pt x="90" y="668"/>
                      <a:pt x="90" y="668"/>
                    </a:cubicBezTo>
                    <a:cubicBezTo>
                      <a:pt x="92" y="671"/>
                      <a:pt x="92" y="671"/>
                      <a:pt x="92" y="671"/>
                    </a:cubicBezTo>
                    <a:cubicBezTo>
                      <a:pt x="93" y="675"/>
                      <a:pt x="93" y="675"/>
                      <a:pt x="93" y="675"/>
                    </a:cubicBezTo>
                    <a:cubicBezTo>
                      <a:pt x="102" y="673"/>
                      <a:pt x="102" y="673"/>
                      <a:pt x="102" y="673"/>
                    </a:cubicBezTo>
                    <a:cubicBezTo>
                      <a:pt x="98" y="676"/>
                      <a:pt x="98" y="676"/>
                      <a:pt x="98" y="676"/>
                    </a:cubicBezTo>
                    <a:cubicBezTo>
                      <a:pt x="96" y="676"/>
                      <a:pt x="96" y="676"/>
                      <a:pt x="96" y="676"/>
                    </a:cubicBezTo>
                    <a:cubicBezTo>
                      <a:pt x="92" y="677"/>
                      <a:pt x="92" y="677"/>
                      <a:pt x="92" y="677"/>
                    </a:cubicBezTo>
                    <a:cubicBezTo>
                      <a:pt x="92" y="680"/>
                      <a:pt x="92" y="680"/>
                      <a:pt x="92" y="680"/>
                    </a:cubicBezTo>
                    <a:cubicBezTo>
                      <a:pt x="88" y="678"/>
                      <a:pt x="88" y="678"/>
                      <a:pt x="88" y="678"/>
                    </a:cubicBezTo>
                    <a:cubicBezTo>
                      <a:pt x="80" y="680"/>
                      <a:pt x="80" y="680"/>
                      <a:pt x="80" y="680"/>
                    </a:cubicBezTo>
                    <a:cubicBezTo>
                      <a:pt x="80" y="686"/>
                      <a:pt x="80" y="686"/>
                      <a:pt x="80" y="686"/>
                    </a:cubicBezTo>
                    <a:cubicBezTo>
                      <a:pt x="82" y="691"/>
                      <a:pt x="82" y="691"/>
                      <a:pt x="82" y="691"/>
                    </a:cubicBezTo>
                    <a:cubicBezTo>
                      <a:pt x="79" y="688"/>
                      <a:pt x="79" y="688"/>
                      <a:pt x="79" y="688"/>
                    </a:cubicBezTo>
                    <a:cubicBezTo>
                      <a:pt x="76" y="690"/>
                      <a:pt x="76" y="690"/>
                      <a:pt x="76" y="690"/>
                    </a:cubicBezTo>
                    <a:cubicBezTo>
                      <a:pt x="78" y="686"/>
                      <a:pt x="78" y="686"/>
                      <a:pt x="78" y="686"/>
                    </a:cubicBezTo>
                    <a:cubicBezTo>
                      <a:pt x="77" y="681"/>
                      <a:pt x="77" y="681"/>
                      <a:pt x="77" y="681"/>
                    </a:cubicBezTo>
                    <a:cubicBezTo>
                      <a:pt x="75" y="681"/>
                      <a:pt x="75" y="681"/>
                      <a:pt x="75" y="681"/>
                    </a:cubicBezTo>
                    <a:cubicBezTo>
                      <a:pt x="74" y="678"/>
                      <a:pt x="74" y="678"/>
                      <a:pt x="74" y="678"/>
                    </a:cubicBezTo>
                    <a:cubicBezTo>
                      <a:pt x="74" y="678"/>
                      <a:pt x="67" y="676"/>
                      <a:pt x="66" y="675"/>
                    </a:cubicBezTo>
                    <a:cubicBezTo>
                      <a:pt x="65" y="675"/>
                      <a:pt x="64" y="679"/>
                      <a:pt x="64" y="679"/>
                    </a:cubicBezTo>
                    <a:cubicBezTo>
                      <a:pt x="56" y="680"/>
                      <a:pt x="56" y="680"/>
                      <a:pt x="56" y="680"/>
                    </a:cubicBezTo>
                    <a:cubicBezTo>
                      <a:pt x="56" y="678"/>
                      <a:pt x="56" y="678"/>
                      <a:pt x="56" y="678"/>
                    </a:cubicBezTo>
                    <a:cubicBezTo>
                      <a:pt x="42" y="676"/>
                      <a:pt x="42" y="676"/>
                      <a:pt x="42" y="676"/>
                    </a:cubicBezTo>
                    <a:cubicBezTo>
                      <a:pt x="41" y="678"/>
                      <a:pt x="41" y="678"/>
                      <a:pt x="41" y="678"/>
                    </a:cubicBezTo>
                    <a:cubicBezTo>
                      <a:pt x="39" y="676"/>
                      <a:pt x="39" y="676"/>
                      <a:pt x="39" y="676"/>
                    </a:cubicBezTo>
                    <a:cubicBezTo>
                      <a:pt x="33" y="678"/>
                      <a:pt x="33" y="678"/>
                      <a:pt x="33" y="678"/>
                    </a:cubicBezTo>
                    <a:cubicBezTo>
                      <a:pt x="31" y="681"/>
                      <a:pt x="31" y="681"/>
                      <a:pt x="31" y="681"/>
                    </a:cubicBezTo>
                    <a:cubicBezTo>
                      <a:pt x="24" y="680"/>
                      <a:pt x="24" y="680"/>
                      <a:pt x="24" y="680"/>
                    </a:cubicBezTo>
                    <a:cubicBezTo>
                      <a:pt x="24" y="680"/>
                      <a:pt x="23" y="678"/>
                      <a:pt x="19" y="678"/>
                    </a:cubicBezTo>
                    <a:cubicBezTo>
                      <a:pt x="16" y="678"/>
                      <a:pt x="15" y="682"/>
                      <a:pt x="15" y="682"/>
                    </a:cubicBezTo>
                    <a:cubicBezTo>
                      <a:pt x="18" y="686"/>
                      <a:pt x="18" y="686"/>
                      <a:pt x="18" y="686"/>
                    </a:cubicBezTo>
                    <a:cubicBezTo>
                      <a:pt x="14" y="687"/>
                      <a:pt x="14" y="687"/>
                      <a:pt x="14" y="687"/>
                    </a:cubicBezTo>
                    <a:cubicBezTo>
                      <a:pt x="14" y="687"/>
                      <a:pt x="14" y="692"/>
                      <a:pt x="18" y="693"/>
                    </a:cubicBezTo>
                    <a:cubicBezTo>
                      <a:pt x="22" y="695"/>
                      <a:pt x="24" y="691"/>
                      <a:pt x="24" y="691"/>
                    </a:cubicBezTo>
                    <a:cubicBezTo>
                      <a:pt x="28" y="691"/>
                      <a:pt x="28" y="691"/>
                      <a:pt x="28" y="691"/>
                    </a:cubicBezTo>
                    <a:cubicBezTo>
                      <a:pt x="27" y="692"/>
                      <a:pt x="27" y="692"/>
                      <a:pt x="27" y="692"/>
                    </a:cubicBezTo>
                    <a:cubicBezTo>
                      <a:pt x="27" y="692"/>
                      <a:pt x="23" y="692"/>
                      <a:pt x="22" y="697"/>
                    </a:cubicBezTo>
                    <a:cubicBezTo>
                      <a:pt x="20" y="703"/>
                      <a:pt x="27" y="704"/>
                      <a:pt x="27" y="704"/>
                    </a:cubicBezTo>
                    <a:cubicBezTo>
                      <a:pt x="25" y="705"/>
                      <a:pt x="25" y="705"/>
                      <a:pt x="25" y="705"/>
                    </a:cubicBezTo>
                    <a:cubicBezTo>
                      <a:pt x="27" y="707"/>
                      <a:pt x="27" y="707"/>
                      <a:pt x="27" y="707"/>
                    </a:cubicBezTo>
                    <a:cubicBezTo>
                      <a:pt x="30" y="707"/>
                      <a:pt x="30" y="707"/>
                      <a:pt x="30" y="707"/>
                    </a:cubicBezTo>
                    <a:cubicBezTo>
                      <a:pt x="30" y="707"/>
                      <a:pt x="29" y="705"/>
                      <a:pt x="29" y="703"/>
                    </a:cubicBezTo>
                    <a:cubicBezTo>
                      <a:pt x="29" y="702"/>
                      <a:pt x="32" y="701"/>
                      <a:pt x="32" y="701"/>
                    </a:cubicBezTo>
                    <a:cubicBezTo>
                      <a:pt x="38" y="704"/>
                      <a:pt x="38" y="704"/>
                      <a:pt x="38" y="704"/>
                    </a:cubicBezTo>
                    <a:cubicBezTo>
                      <a:pt x="38" y="704"/>
                      <a:pt x="36" y="708"/>
                      <a:pt x="35" y="711"/>
                    </a:cubicBezTo>
                    <a:cubicBezTo>
                      <a:pt x="34" y="714"/>
                      <a:pt x="34" y="719"/>
                      <a:pt x="34" y="719"/>
                    </a:cubicBezTo>
                    <a:cubicBezTo>
                      <a:pt x="25" y="720"/>
                      <a:pt x="25" y="720"/>
                      <a:pt x="25" y="720"/>
                    </a:cubicBezTo>
                    <a:cubicBezTo>
                      <a:pt x="25" y="720"/>
                      <a:pt x="24" y="713"/>
                      <a:pt x="19" y="714"/>
                    </a:cubicBezTo>
                    <a:cubicBezTo>
                      <a:pt x="15" y="715"/>
                      <a:pt x="19" y="723"/>
                      <a:pt x="19" y="723"/>
                    </a:cubicBezTo>
                    <a:cubicBezTo>
                      <a:pt x="19" y="723"/>
                      <a:pt x="15" y="723"/>
                      <a:pt x="15" y="727"/>
                    </a:cubicBezTo>
                    <a:cubicBezTo>
                      <a:pt x="15" y="731"/>
                      <a:pt x="18" y="730"/>
                      <a:pt x="18" y="730"/>
                    </a:cubicBezTo>
                    <a:cubicBezTo>
                      <a:pt x="17" y="733"/>
                      <a:pt x="17" y="733"/>
                      <a:pt x="17" y="733"/>
                    </a:cubicBezTo>
                    <a:cubicBezTo>
                      <a:pt x="22" y="738"/>
                      <a:pt x="22" y="738"/>
                      <a:pt x="22" y="738"/>
                    </a:cubicBezTo>
                    <a:cubicBezTo>
                      <a:pt x="26" y="735"/>
                      <a:pt x="26" y="735"/>
                      <a:pt x="26" y="735"/>
                    </a:cubicBezTo>
                    <a:cubicBezTo>
                      <a:pt x="29" y="727"/>
                      <a:pt x="29" y="727"/>
                      <a:pt x="29" y="727"/>
                    </a:cubicBezTo>
                    <a:cubicBezTo>
                      <a:pt x="27" y="734"/>
                      <a:pt x="27" y="734"/>
                      <a:pt x="27" y="734"/>
                    </a:cubicBezTo>
                    <a:cubicBezTo>
                      <a:pt x="27" y="738"/>
                      <a:pt x="27" y="738"/>
                      <a:pt x="27" y="738"/>
                    </a:cubicBezTo>
                    <a:cubicBezTo>
                      <a:pt x="32" y="738"/>
                      <a:pt x="32" y="738"/>
                      <a:pt x="32" y="738"/>
                    </a:cubicBezTo>
                    <a:cubicBezTo>
                      <a:pt x="33" y="739"/>
                      <a:pt x="31" y="743"/>
                      <a:pt x="31" y="743"/>
                    </a:cubicBezTo>
                    <a:cubicBezTo>
                      <a:pt x="32" y="744"/>
                      <a:pt x="32" y="744"/>
                      <a:pt x="32" y="744"/>
                    </a:cubicBezTo>
                    <a:cubicBezTo>
                      <a:pt x="30" y="744"/>
                      <a:pt x="30" y="744"/>
                      <a:pt x="30" y="744"/>
                    </a:cubicBezTo>
                    <a:cubicBezTo>
                      <a:pt x="30" y="746"/>
                      <a:pt x="30" y="746"/>
                      <a:pt x="30" y="746"/>
                    </a:cubicBezTo>
                    <a:cubicBezTo>
                      <a:pt x="34" y="750"/>
                      <a:pt x="34" y="750"/>
                      <a:pt x="34" y="750"/>
                    </a:cubicBezTo>
                    <a:cubicBezTo>
                      <a:pt x="38" y="745"/>
                      <a:pt x="38" y="745"/>
                      <a:pt x="38" y="745"/>
                    </a:cubicBezTo>
                    <a:cubicBezTo>
                      <a:pt x="38" y="738"/>
                      <a:pt x="38" y="738"/>
                      <a:pt x="38" y="738"/>
                    </a:cubicBezTo>
                    <a:cubicBezTo>
                      <a:pt x="40" y="737"/>
                      <a:pt x="40" y="737"/>
                      <a:pt x="40" y="737"/>
                    </a:cubicBezTo>
                    <a:cubicBezTo>
                      <a:pt x="42" y="731"/>
                      <a:pt x="42" y="731"/>
                      <a:pt x="42" y="731"/>
                    </a:cubicBezTo>
                    <a:cubicBezTo>
                      <a:pt x="42" y="731"/>
                      <a:pt x="45" y="734"/>
                      <a:pt x="47" y="731"/>
                    </a:cubicBezTo>
                    <a:cubicBezTo>
                      <a:pt x="48" y="730"/>
                      <a:pt x="47" y="726"/>
                      <a:pt x="47" y="726"/>
                    </a:cubicBezTo>
                    <a:cubicBezTo>
                      <a:pt x="47" y="726"/>
                      <a:pt x="49" y="725"/>
                      <a:pt x="55" y="723"/>
                    </a:cubicBezTo>
                    <a:cubicBezTo>
                      <a:pt x="59" y="720"/>
                      <a:pt x="64" y="720"/>
                      <a:pt x="64" y="720"/>
                    </a:cubicBezTo>
                    <a:cubicBezTo>
                      <a:pt x="64" y="722"/>
                      <a:pt x="64" y="722"/>
                      <a:pt x="64" y="722"/>
                    </a:cubicBezTo>
                    <a:cubicBezTo>
                      <a:pt x="71" y="719"/>
                      <a:pt x="71" y="719"/>
                      <a:pt x="71" y="719"/>
                    </a:cubicBezTo>
                    <a:cubicBezTo>
                      <a:pt x="72" y="715"/>
                      <a:pt x="72" y="715"/>
                      <a:pt x="72" y="715"/>
                    </a:cubicBezTo>
                    <a:cubicBezTo>
                      <a:pt x="74" y="715"/>
                      <a:pt x="74" y="715"/>
                      <a:pt x="74" y="715"/>
                    </a:cubicBezTo>
                    <a:cubicBezTo>
                      <a:pt x="73" y="719"/>
                      <a:pt x="73" y="719"/>
                      <a:pt x="73" y="719"/>
                    </a:cubicBezTo>
                    <a:cubicBezTo>
                      <a:pt x="77" y="720"/>
                      <a:pt x="77" y="720"/>
                      <a:pt x="77" y="720"/>
                    </a:cubicBezTo>
                    <a:cubicBezTo>
                      <a:pt x="77" y="720"/>
                      <a:pt x="68" y="721"/>
                      <a:pt x="65" y="726"/>
                    </a:cubicBezTo>
                    <a:cubicBezTo>
                      <a:pt x="62" y="731"/>
                      <a:pt x="63" y="735"/>
                      <a:pt x="62" y="738"/>
                    </a:cubicBezTo>
                    <a:cubicBezTo>
                      <a:pt x="62" y="740"/>
                      <a:pt x="58" y="743"/>
                      <a:pt x="58" y="743"/>
                    </a:cubicBezTo>
                    <a:cubicBezTo>
                      <a:pt x="62" y="726"/>
                      <a:pt x="62" y="726"/>
                      <a:pt x="62" y="726"/>
                    </a:cubicBezTo>
                    <a:cubicBezTo>
                      <a:pt x="62" y="723"/>
                      <a:pt x="62" y="723"/>
                      <a:pt x="62" y="723"/>
                    </a:cubicBezTo>
                    <a:cubicBezTo>
                      <a:pt x="62" y="723"/>
                      <a:pt x="58" y="724"/>
                      <a:pt x="56" y="726"/>
                    </a:cubicBezTo>
                    <a:cubicBezTo>
                      <a:pt x="52" y="727"/>
                      <a:pt x="47" y="735"/>
                      <a:pt x="47" y="735"/>
                    </a:cubicBezTo>
                    <a:cubicBezTo>
                      <a:pt x="47" y="735"/>
                      <a:pt x="44" y="736"/>
                      <a:pt x="44" y="739"/>
                    </a:cubicBezTo>
                    <a:cubicBezTo>
                      <a:pt x="45" y="742"/>
                      <a:pt x="50" y="740"/>
                      <a:pt x="48" y="742"/>
                    </a:cubicBezTo>
                    <a:cubicBezTo>
                      <a:pt x="47" y="743"/>
                      <a:pt x="43" y="743"/>
                      <a:pt x="41" y="745"/>
                    </a:cubicBezTo>
                    <a:cubicBezTo>
                      <a:pt x="39" y="747"/>
                      <a:pt x="39" y="752"/>
                      <a:pt x="39" y="752"/>
                    </a:cubicBezTo>
                    <a:cubicBezTo>
                      <a:pt x="32" y="752"/>
                      <a:pt x="32" y="752"/>
                      <a:pt x="32" y="752"/>
                    </a:cubicBezTo>
                    <a:cubicBezTo>
                      <a:pt x="28" y="757"/>
                      <a:pt x="28" y="757"/>
                      <a:pt x="28" y="757"/>
                    </a:cubicBezTo>
                    <a:cubicBezTo>
                      <a:pt x="33" y="762"/>
                      <a:pt x="33" y="762"/>
                      <a:pt x="33" y="762"/>
                    </a:cubicBezTo>
                    <a:cubicBezTo>
                      <a:pt x="39" y="759"/>
                      <a:pt x="39" y="759"/>
                      <a:pt x="39" y="759"/>
                    </a:cubicBezTo>
                    <a:cubicBezTo>
                      <a:pt x="38" y="764"/>
                      <a:pt x="38" y="764"/>
                      <a:pt x="38" y="764"/>
                    </a:cubicBezTo>
                    <a:cubicBezTo>
                      <a:pt x="40" y="765"/>
                      <a:pt x="40" y="765"/>
                      <a:pt x="40" y="765"/>
                    </a:cubicBezTo>
                    <a:cubicBezTo>
                      <a:pt x="46" y="760"/>
                      <a:pt x="46" y="760"/>
                      <a:pt x="46" y="760"/>
                    </a:cubicBezTo>
                    <a:cubicBezTo>
                      <a:pt x="42" y="766"/>
                      <a:pt x="42" y="766"/>
                      <a:pt x="42" y="766"/>
                    </a:cubicBezTo>
                    <a:cubicBezTo>
                      <a:pt x="44" y="768"/>
                      <a:pt x="44" y="768"/>
                      <a:pt x="44" y="768"/>
                    </a:cubicBezTo>
                    <a:cubicBezTo>
                      <a:pt x="34" y="765"/>
                      <a:pt x="34" y="765"/>
                      <a:pt x="34" y="765"/>
                    </a:cubicBezTo>
                    <a:cubicBezTo>
                      <a:pt x="31" y="769"/>
                      <a:pt x="31" y="769"/>
                      <a:pt x="31" y="769"/>
                    </a:cubicBezTo>
                    <a:cubicBezTo>
                      <a:pt x="34" y="772"/>
                      <a:pt x="34" y="772"/>
                      <a:pt x="34" y="772"/>
                    </a:cubicBezTo>
                    <a:cubicBezTo>
                      <a:pt x="26" y="768"/>
                      <a:pt x="26" y="768"/>
                      <a:pt x="26" y="768"/>
                    </a:cubicBezTo>
                    <a:cubicBezTo>
                      <a:pt x="23" y="770"/>
                      <a:pt x="23" y="770"/>
                      <a:pt x="23" y="770"/>
                    </a:cubicBezTo>
                    <a:cubicBezTo>
                      <a:pt x="20" y="778"/>
                      <a:pt x="20" y="778"/>
                      <a:pt x="20" y="778"/>
                    </a:cubicBezTo>
                    <a:cubicBezTo>
                      <a:pt x="18" y="780"/>
                      <a:pt x="18" y="780"/>
                      <a:pt x="18" y="780"/>
                    </a:cubicBezTo>
                    <a:cubicBezTo>
                      <a:pt x="22" y="766"/>
                      <a:pt x="22" y="766"/>
                      <a:pt x="22" y="766"/>
                    </a:cubicBezTo>
                    <a:cubicBezTo>
                      <a:pt x="19" y="767"/>
                      <a:pt x="19" y="767"/>
                      <a:pt x="19" y="767"/>
                    </a:cubicBezTo>
                    <a:cubicBezTo>
                      <a:pt x="18" y="771"/>
                      <a:pt x="18" y="771"/>
                      <a:pt x="18" y="771"/>
                    </a:cubicBezTo>
                    <a:cubicBezTo>
                      <a:pt x="15" y="771"/>
                      <a:pt x="15" y="771"/>
                      <a:pt x="15" y="771"/>
                    </a:cubicBezTo>
                    <a:cubicBezTo>
                      <a:pt x="10" y="780"/>
                      <a:pt x="10" y="780"/>
                      <a:pt x="10" y="780"/>
                    </a:cubicBezTo>
                    <a:cubicBezTo>
                      <a:pt x="13" y="793"/>
                      <a:pt x="13" y="793"/>
                      <a:pt x="13" y="793"/>
                    </a:cubicBezTo>
                    <a:cubicBezTo>
                      <a:pt x="14" y="792"/>
                      <a:pt x="14" y="792"/>
                      <a:pt x="14" y="792"/>
                    </a:cubicBezTo>
                    <a:cubicBezTo>
                      <a:pt x="14" y="800"/>
                      <a:pt x="14" y="800"/>
                      <a:pt x="14" y="800"/>
                    </a:cubicBezTo>
                    <a:cubicBezTo>
                      <a:pt x="17" y="800"/>
                      <a:pt x="17" y="800"/>
                      <a:pt x="17" y="800"/>
                    </a:cubicBezTo>
                    <a:cubicBezTo>
                      <a:pt x="17" y="793"/>
                      <a:pt x="17" y="793"/>
                      <a:pt x="17" y="793"/>
                    </a:cubicBezTo>
                    <a:cubicBezTo>
                      <a:pt x="22" y="792"/>
                      <a:pt x="22" y="792"/>
                      <a:pt x="22" y="792"/>
                    </a:cubicBezTo>
                    <a:cubicBezTo>
                      <a:pt x="22" y="789"/>
                      <a:pt x="22" y="789"/>
                      <a:pt x="22" y="789"/>
                    </a:cubicBezTo>
                    <a:cubicBezTo>
                      <a:pt x="25" y="791"/>
                      <a:pt x="25" y="791"/>
                      <a:pt x="25" y="791"/>
                    </a:cubicBezTo>
                    <a:cubicBezTo>
                      <a:pt x="23" y="794"/>
                      <a:pt x="23" y="794"/>
                      <a:pt x="23" y="794"/>
                    </a:cubicBezTo>
                    <a:cubicBezTo>
                      <a:pt x="24" y="796"/>
                      <a:pt x="24" y="796"/>
                      <a:pt x="24" y="796"/>
                    </a:cubicBezTo>
                    <a:cubicBezTo>
                      <a:pt x="32" y="788"/>
                      <a:pt x="32" y="788"/>
                      <a:pt x="32" y="788"/>
                    </a:cubicBezTo>
                    <a:cubicBezTo>
                      <a:pt x="30" y="784"/>
                      <a:pt x="30" y="784"/>
                      <a:pt x="30" y="784"/>
                    </a:cubicBezTo>
                    <a:cubicBezTo>
                      <a:pt x="26" y="785"/>
                      <a:pt x="26" y="785"/>
                      <a:pt x="26" y="785"/>
                    </a:cubicBezTo>
                    <a:cubicBezTo>
                      <a:pt x="31" y="782"/>
                      <a:pt x="31" y="782"/>
                      <a:pt x="31" y="782"/>
                    </a:cubicBezTo>
                    <a:cubicBezTo>
                      <a:pt x="32" y="778"/>
                      <a:pt x="32" y="778"/>
                      <a:pt x="32" y="778"/>
                    </a:cubicBezTo>
                    <a:cubicBezTo>
                      <a:pt x="34" y="783"/>
                      <a:pt x="34" y="783"/>
                      <a:pt x="34" y="783"/>
                    </a:cubicBezTo>
                    <a:cubicBezTo>
                      <a:pt x="39" y="784"/>
                      <a:pt x="39" y="784"/>
                      <a:pt x="39" y="784"/>
                    </a:cubicBezTo>
                    <a:cubicBezTo>
                      <a:pt x="35" y="785"/>
                      <a:pt x="35" y="785"/>
                      <a:pt x="35" y="785"/>
                    </a:cubicBezTo>
                    <a:cubicBezTo>
                      <a:pt x="36" y="788"/>
                      <a:pt x="36" y="788"/>
                      <a:pt x="36" y="788"/>
                    </a:cubicBezTo>
                    <a:cubicBezTo>
                      <a:pt x="41" y="786"/>
                      <a:pt x="41" y="786"/>
                      <a:pt x="41" y="786"/>
                    </a:cubicBezTo>
                    <a:cubicBezTo>
                      <a:pt x="43" y="780"/>
                      <a:pt x="43" y="780"/>
                      <a:pt x="43" y="780"/>
                    </a:cubicBezTo>
                    <a:cubicBezTo>
                      <a:pt x="45" y="778"/>
                      <a:pt x="45" y="778"/>
                      <a:pt x="45" y="778"/>
                    </a:cubicBezTo>
                    <a:cubicBezTo>
                      <a:pt x="47" y="773"/>
                      <a:pt x="47" y="773"/>
                      <a:pt x="47" y="773"/>
                    </a:cubicBezTo>
                    <a:cubicBezTo>
                      <a:pt x="48" y="774"/>
                      <a:pt x="48" y="774"/>
                      <a:pt x="48" y="774"/>
                    </a:cubicBezTo>
                    <a:cubicBezTo>
                      <a:pt x="47" y="780"/>
                      <a:pt x="47" y="780"/>
                      <a:pt x="47" y="780"/>
                    </a:cubicBezTo>
                    <a:cubicBezTo>
                      <a:pt x="52" y="777"/>
                      <a:pt x="52" y="777"/>
                      <a:pt x="52" y="777"/>
                    </a:cubicBezTo>
                    <a:cubicBezTo>
                      <a:pt x="52" y="778"/>
                      <a:pt x="52" y="778"/>
                      <a:pt x="52" y="778"/>
                    </a:cubicBezTo>
                    <a:cubicBezTo>
                      <a:pt x="45" y="782"/>
                      <a:pt x="45" y="782"/>
                      <a:pt x="45" y="782"/>
                    </a:cubicBezTo>
                    <a:cubicBezTo>
                      <a:pt x="44" y="788"/>
                      <a:pt x="44" y="788"/>
                      <a:pt x="44" y="788"/>
                    </a:cubicBezTo>
                    <a:cubicBezTo>
                      <a:pt x="38" y="790"/>
                      <a:pt x="38" y="790"/>
                      <a:pt x="38" y="790"/>
                    </a:cubicBezTo>
                    <a:cubicBezTo>
                      <a:pt x="40" y="792"/>
                      <a:pt x="40" y="792"/>
                      <a:pt x="40" y="792"/>
                    </a:cubicBezTo>
                    <a:cubicBezTo>
                      <a:pt x="40" y="792"/>
                      <a:pt x="41" y="790"/>
                      <a:pt x="44" y="791"/>
                    </a:cubicBezTo>
                    <a:cubicBezTo>
                      <a:pt x="46" y="792"/>
                      <a:pt x="41" y="796"/>
                      <a:pt x="41" y="796"/>
                    </a:cubicBezTo>
                    <a:cubicBezTo>
                      <a:pt x="49" y="793"/>
                      <a:pt x="49" y="793"/>
                      <a:pt x="49" y="793"/>
                    </a:cubicBezTo>
                    <a:cubicBezTo>
                      <a:pt x="49" y="793"/>
                      <a:pt x="42" y="797"/>
                      <a:pt x="41" y="798"/>
                    </a:cubicBezTo>
                    <a:cubicBezTo>
                      <a:pt x="39" y="799"/>
                      <a:pt x="36" y="803"/>
                      <a:pt x="36" y="803"/>
                    </a:cubicBezTo>
                    <a:cubicBezTo>
                      <a:pt x="38" y="805"/>
                      <a:pt x="38" y="805"/>
                      <a:pt x="38" y="805"/>
                    </a:cubicBezTo>
                    <a:cubicBezTo>
                      <a:pt x="31" y="807"/>
                      <a:pt x="31" y="807"/>
                      <a:pt x="31" y="807"/>
                    </a:cubicBezTo>
                    <a:cubicBezTo>
                      <a:pt x="34" y="813"/>
                      <a:pt x="34" y="813"/>
                      <a:pt x="34" y="813"/>
                    </a:cubicBezTo>
                    <a:cubicBezTo>
                      <a:pt x="35" y="817"/>
                      <a:pt x="35" y="817"/>
                      <a:pt x="35" y="817"/>
                    </a:cubicBezTo>
                    <a:cubicBezTo>
                      <a:pt x="43" y="813"/>
                      <a:pt x="43" y="813"/>
                      <a:pt x="43" y="813"/>
                    </a:cubicBezTo>
                    <a:cubicBezTo>
                      <a:pt x="50" y="814"/>
                      <a:pt x="50" y="814"/>
                      <a:pt x="50" y="814"/>
                    </a:cubicBezTo>
                    <a:cubicBezTo>
                      <a:pt x="44" y="815"/>
                      <a:pt x="44" y="815"/>
                      <a:pt x="44" y="815"/>
                    </a:cubicBezTo>
                    <a:cubicBezTo>
                      <a:pt x="38" y="819"/>
                      <a:pt x="38" y="819"/>
                      <a:pt x="38" y="819"/>
                    </a:cubicBezTo>
                    <a:cubicBezTo>
                      <a:pt x="38" y="822"/>
                      <a:pt x="38" y="822"/>
                      <a:pt x="38" y="822"/>
                    </a:cubicBezTo>
                    <a:cubicBezTo>
                      <a:pt x="30" y="816"/>
                      <a:pt x="30" y="816"/>
                      <a:pt x="30" y="816"/>
                    </a:cubicBezTo>
                    <a:cubicBezTo>
                      <a:pt x="25" y="820"/>
                      <a:pt x="25" y="820"/>
                      <a:pt x="25" y="820"/>
                    </a:cubicBezTo>
                    <a:cubicBezTo>
                      <a:pt x="25" y="814"/>
                      <a:pt x="25" y="814"/>
                      <a:pt x="25" y="814"/>
                    </a:cubicBezTo>
                    <a:cubicBezTo>
                      <a:pt x="19" y="812"/>
                      <a:pt x="19" y="812"/>
                      <a:pt x="19" y="812"/>
                    </a:cubicBezTo>
                    <a:cubicBezTo>
                      <a:pt x="20" y="820"/>
                      <a:pt x="20" y="820"/>
                      <a:pt x="20" y="820"/>
                    </a:cubicBezTo>
                    <a:cubicBezTo>
                      <a:pt x="18" y="821"/>
                      <a:pt x="18" y="821"/>
                      <a:pt x="18" y="821"/>
                    </a:cubicBezTo>
                    <a:cubicBezTo>
                      <a:pt x="17" y="824"/>
                      <a:pt x="17" y="824"/>
                      <a:pt x="17" y="824"/>
                    </a:cubicBezTo>
                    <a:cubicBezTo>
                      <a:pt x="14" y="829"/>
                      <a:pt x="14" y="829"/>
                      <a:pt x="14" y="829"/>
                    </a:cubicBezTo>
                    <a:cubicBezTo>
                      <a:pt x="14" y="829"/>
                      <a:pt x="18" y="841"/>
                      <a:pt x="23" y="844"/>
                    </a:cubicBezTo>
                    <a:cubicBezTo>
                      <a:pt x="26" y="847"/>
                      <a:pt x="29" y="849"/>
                      <a:pt x="31" y="853"/>
                    </a:cubicBezTo>
                    <a:cubicBezTo>
                      <a:pt x="33" y="857"/>
                      <a:pt x="49" y="863"/>
                      <a:pt x="49" y="863"/>
                    </a:cubicBezTo>
                    <a:cubicBezTo>
                      <a:pt x="50" y="866"/>
                      <a:pt x="50" y="866"/>
                      <a:pt x="50" y="866"/>
                    </a:cubicBezTo>
                    <a:cubicBezTo>
                      <a:pt x="53" y="862"/>
                      <a:pt x="53" y="862"/>
                      <a:pt x="53" y="862"/>
                    </a:cubicBezTo>
                    <a:cubicBezTo>
                      <a:pt x="58" y="865"/>
                      <a:pt x="58" y="865"/>
                      <a:pt x="58" y="865"/>
                    </a:cubicBezTo>
                    <a:cubicBezTo>
                      <a:pt x="48" y="872"/>
                      <a:pt x="48" y="872"/>
                      <a:pt x="48" y="872"/>
                    </a:cubicBezTo>
                    <a:cubicBezTo>
                      <a:pt x="50" y="876"/>
                      <a:pt x="50" y="876"/>
                      <a:pt x="50" y="876"/>
                    </a:cubicBezTo>
                    <a:cubicBezTo>
                      <a:pt x="58" y="876"/>
                      <a:pt x="58" y="876"/>
                      <a:pt x="58" y="876"/>
                    </a:cubicBezTo>
                    <a:cubicBezTo>
                      <a:pt x="56" y="873"/>
                      <a:pt x="56" y="873"/>
                      <a:pt x="56" y="873"/>
                    </a:cubicBezTo>
                    <a:cubicBezTo>
                      <a:pt x="60" y="871"/>
                      <a:pt x="60" y="871"/>
                      <a:pt x="60" y="871"/>
                    </a:cubicBezTo>
                    <a:cubicBezTo>
                      <a:pt x="65" y="873"/>
                      <a:pt x="65" y="873"/>
                      <a:pt x="65" y="873"/>
                    </a:cubicBezTo>
                    <a:cubicBezTo>
                      <a:pt x="60" y="875"/>
                      <a:pt x="60" y="875"/>
                      <a:pt x="60" y="875"/>
                    </a:cubicBezTo>
                    <a:cubicBezTo>
                      <a:pt x="64" y="879"/>
                      <a:pt x="64" y="879"/>
                      <a:pt x="64" y="879"/>
                    </a:cubicBezTo>
                    <a:cubicBezTo>
                      <a:pt x="68" y="877"/>
                      <a:pt x="68" y="877"/>
                      <a:pt x="68" y="877"/>
                    </a:cubicBezTo>
                    <a:cubicBezTo>
                      <a:pt x="68" y="877"/>
                      <a:pt x="74" y="880"/>
                      <a:pt x="80" y="880"/>
                    </a:cubicBezTo>
                    <a:cubicBezTo>
                      <a:pt x="85" y="880"/>
                      <a:pt x="88" y="878"/>
                      <a:pt x="92" y="877"/>
                    </a:cubicBezTo>
                    <a:cubicBezTo>
                      <a:pt x="96" y="876"/>
                      <a:pt x="101" y="870"/>
                      <a:pt x="101" y="870"/>
                    </a:cubicBezTo>
                    <a:cubicBezTo>
                      <a:pt x="101" y="877"/>
                      <a:pt x="101" y="877"/>
                      <a:pt x="101" y="877"/>
                    </a:cubicBezTo>
                    <a:cubicBezTo>
                      <a:pt x="124" y="857"/>
                      <a:pt x="124" y="857"/>
                      <a:pt x="124" y="857"/>
                    </a:cubicBezTo>
                    <a:cubicBezTo>
                      <a:pt x="124" y="853"/>
                      <a:pt x="124" y="853"/>
                      <a:pt x="124" y="853"/>
                    </a:cubicBezTo>
                    <a:cubicBezTo>
                      <a:pt x="142" y="839"/>
                      <a:pt x="142" y="839"/>
                      <a:pt x="142" y="839"/>
                    </a:cubicBezTo>
                    <a:cubicBezTo>
                      <a:pt x="141" y="835"/>
                      <a:pt x="141" y="835"/>
                      <a:pt x="141" y="835"/>
                    </a:cubicBezTo>
                    <a:cubicBezTo>
                      <a:pt x="145" y="836"/>
                      <a:pt x="145" y="836"/>
                      <a:pt x="145" y="836"/>
                    </a:cubicBezTo>
                    <a:cubicBezTo>
                      <a:pt x="150" y="830"/>
                      <a:pt x="150" y="830"/>
                      <a:pt x="150" y="830"/>
                    </a:cubicBezTo>
                    <a:cubicBezTo>
                      <a:pt x="146" y="828"/>
                      <a:pt x="146" y="828"/>
                      <a:pt x="146" y="828"/>
                    </a:cubicBezTo>
                    <a:cubicBezTo>
                      <a:pt x="161" y="817"/>
                      <a:pt x="161" y="817"/>
                      <a:pt x="161" y="817"/>
                    </a:cubicBezTo>
                    <a:cubicBezTo>
                      <a:pt x="156" y="810"/>
                      <a:pt x="156" y="810"/>
                      <a:pt x="156" y="810"/>
                    </a:cubicBezTo>
                    <a:cubicBezTo>
                      <a:pt x="159" y="812"/>
                      <a:pt x="159" y="812"/>
                      <a:pt x="159" y="812"/>
                    </a:cubicBezTo>
                    <a:cubicBezTo>
                      <a:pt x="167" y="821"/>
                      <a:pt x="167" y="821"/>
                      <a:pt x="167" y="821"/>
                    </a:cubicBezTo>
                    <a:cubicBezTo>
                      <a:pt x="180" y="817"/>
                      <a:pt x="180" y="817"/>
                      <a:pt x="180" y="817"/>
                    </a:cubicBezTo>
                    <a:cubicBezTo>
                      <a:pt x="181" y="805"/>
                      <a:pt x="181" y="805"/>
                      <a:pt x="181" y="805"/>
                    </a:cubicBezTo>
                    <a:cubicBezTo>
                      <a:pt x="184" y="808"/>
                      <a:pt x="184" y="808"/>
                      <a:pt x="184" y="808"/>
                    </a:cubicBezTo>
                    <a:cubicBezTo>
                      <a:pt x="188" y="806"/>
                      <a:pt x="188" y="806"/>
                      <a:pt x="188" y="806"/>
                    </a:cubicBezTo>
                    <a:cubicBezTo>
                      <a:pt x="186" y="803"/>
                      <a:pt x="186" y="803"/>
                      <a:pt x="186" y="803"/>
                    </a:cubicBezTo>
                    <a:cubicBezTo>
                      <a:pt x="189" y="803"/>
                      <a:pt x="189" y="803"/>
                      <a:pt x="189" y="803"/>
                    </a:cubicBezTo>
                    <a:cubicBezTo>
                      <a:pt x="188" y="791"/>
                      <a:pt x="188" y="791"/>
                      <a:pt x="188" y="791"/>
                    </a:cubicBezTo>
                    <a:cubicBezTo>
                      <a:pt x="182" y="789"/>
                      <a:pt x="182" y="789"/>
                      <a:pt x="182" y="789"/>
                    </a:cubicBezTo>
                    <a:cubicBezTo>
                      <a:pt x="179" y="782"/>
                      <a:pt x="179" y="782"/>
                      <a:pt x="179" y="782"/>
                    </a:cubicBezTo>
                    <a:cubicBezTo>
                      <a:pt x="183" y="785"/>
                      <a:pt x="183" y="785"/>
                      <a:pt x="183" y="785"/>
                    </a:cubicBezTo>
                    <a:cubicBezTo>
                      <a:pt x="183" y="776"/>
                      <a:pt x="183" y="776"/>
                      <a:pt x="183" y="776"/>
                    </a:cubicBezTo>
                    <a:cubicBezTo>
                      <a:pt x="178" y="771"/>
                      <a:pt x="178" y="771"/>
                      <a:pt x="178" y="771"/>
                    </a:cubicBezTo>
                    <a:cubicBezTo>
                      <a:pt x="181" y="770"/>
                      <a:pt x="181" y="770"/>
                      <a:pt x="181" y="770"/>
                    </a:cubicBezTo>
                    <a:cubicBezTo>
                      <a:pt x="186" y="773"/>
                      <a:pt x="186" y="773"/>
                      <a:pt x="186" y="773"/>
                    </a:cubicBezTo>
                    <a:cubicBezTo>
                      <a:pt x="186" y="785"/>
                      <a:pt x="186" y="785"/>
                      <a:pt x="186" y="785"/>
                    </a:cubicBezTo>
                    <a:cubicBezTo>
                      <a:pt x="186" y="785"/>
                      <a:pt x="191" y="784"/>
                      <a:pt x="192" y="781"/>
                    </a:cubicBezTo>
                    <a:cubicBezTo>
                      <a:pt x="192" y="776"/>
                      <a:pt x="189" y="773"/>
                      <a:pt x="189" y="773"/>
                    </a:cubicBezTo>
                    <a:cubicBezTo>
                      <a:pt x="189" y="773"/>
                      <a:pt x="189" y="767"/>
                      <a:pt x="190" y="762"/>
                    </a:cubicBezTo>
                    <a:cubicBezTo>
                      <a:pt x="190" y="758"/>
                      <a:pt x="197" y="759"/>
                      <a:pt x="199" y="762"/>
                    </a:cubicBezTo>
                    <a:cubicBezTo>
                      <a:pt x="200" y="765"/>
                      <a:pt x="197" y="769"/>
                      <a:pt x="197" y="769"/>
                    </a:cubicBezTo>
                    <a:cubicBezTo>
                      <a:pt x="195" y="764"/>
                      <a:pt x="195" y="764"/>
                      <a:pt x="195" y="764"/>
                    </a:cubicBezTo>
                    <a:cubicBezTo>
                      <a:pt x="193" y="769"/>
                      <a:pt x="193" y="769"/>
                      <a:pt x="193" y="769"/>
                    </a:cubicBezTo>
                    <a:cubicBezTo>
                      <a:pt x="194" y="776"/>
                      <a:pt x="194" y="776"/>
                      <a:pt x="194" y="776"/>
                    </a:cubicBezTo>
                    <a:cubicBezTo>
                      <a:pt x="194" y="788"/>
                      <a:pt x="194" y="788"/>
                      <a:pt x="194" y="788"/>
                    </a:cubicBezTo>
                    <a:cubicBezTo>
                      <a:pt x="192" y="789"/>
                      <a:pt x="192" y="789"/>
                      <a:pt x="192" y="789"/>
                    </a:cubicBezTo>
                    <a:cubicBezTo>
                      <a:pt x="195" y="800"/>
                      <a:pt x="195" y="800"/>
                      <a:pt x="195" y="800"/>
                    </a:cubicBezTo>
                    <a:cubicBezTo>
                      <a:pt x="198" y="798"/>
                      <a:pt x="198" y="798"/>
                      <a:pt x="198" y="798"/>
                    </a:cubicBezTo>
                    <a:cubicBezTo>
                      <a:pt x="199" y="809"/>
                      <a:pt x="199" y="809"/>
                      <a:pt x="199" y="809"/>
                    </a:cubicBezTo>
                    <a:cubicBezTo>
                      <a:pt x="208" y="810"/>
                      <a:pt x="208" y="810"/>
                      <a:pt x="208" y="810"/>
                    </a:cubicBezTo>
                    <a:cubicBezTo>
                      <a:pt x="211" y="808"/>
                      <a:pt x="211" y="808"/>
                      <a:pt x="211" y="808"/>
                    </a:cubicBezTo>
                    <a:cubicBezTo>
                      <a:pt x="212" y="814"/>
                      <a:pt x="212" y="814"/>
                      <a:pt x="212" y="814"/>
                    </a:cubicBezTo>
                    <a:cubicBezTo>
                      <a:pt x="212" y="814"/>
                      <a:pt x="220" y="809"/>
                      <a:pt x="221" y="814"/>
                    </a:cubicBezTo>
                    <a:cubicBezTo>
                      <a:pt x="222" y="819"/>
                      <a:pt x="219" y="828"/>
                      <a:pt x="223" y="828"/>
                    </a:cubicBezTo>
                    <a:cubicBezTo>
                      <a:pt x="227" y="828"/>
                      <a:pt x="228" y="822"/>
                      <a:pt x="230" y="815"/>
                    </a:cubicBezTo>
                    <a:cubicBezTo>
                      <a:pt x="232" y="808"/>
                      <a:pt x="236" y="800"/>
                      <a:pt x="236" y="800"/>
                    </a:cubicBezTo>
                    <a:cubicBezTo>
                      <a:pt x="236" y="800"/>
                      <a:pt x="227" y="782"/>
                      <a:pt x="230" y="780"/>
                    </a:cubicBezTo>
                    <a:cubicBezTo>
                      <a:pt x="232" y="776"/>
                      <a:pt x="238" y="777"/>
                      <a:pt x="238" y="773"/>
                    </a:cubicBezTo>
                    <a:cubicBezTo>
                      <a:pt x="239" y="768"/>
                      <a:pt x="232" y="767"/>
                      <a:pt x="237" y="764"/>
                    </a:cubicBezTo>
                    <a:cubicBezTo>
                      <a:pt x="241" y="760"/>
                      <a:pt x="252" y="766"/>
                      <a:pt x="256" y="754"/>
                    </a:cubicBezTo>
                    <a:cubicBezTo>
                      <a:pt x="259" y="741"/>
                      <a:pt x="255" y="738"/>
                      <a:pt x="256" y="734"/>
                    </a:cubicBezTo>
                    <a:cubicBezTo>
                      <a:pt x="257" y="729"/>
                      <a:pt x="265" y="733"/>
                      <a:pt x="262" y="725"/>
                    </a:cubicBezTo>
                    <a:cubicBezTo>
                      <a:pt x="260" y="718"/>
                      <a:pt x="254" y="704"/>
                      <a:pt x="254" y="704"/>
                    </a:cubicBezTo>
                    <a:cubicBezTo>
                      <a:pt x="252" y="695"/>
                      <a:pt x="252" y="695"/>
                      <a:pt x="252" y="695"/>
                    </a:cubicBezTo>
                    <a:cubicBezTo>
                      <a:pt x="247" y="689"/>
                      <a:pt x="247" y="689"/>
                      <a:pt x="247" y="689"/>
                    </a:cubicBezTo>
                    <a:cubicBezTo>
                      <a:pt x="256" y="686"/>
                      <a:pt x="256" y="686"/>
                      <a:pt x="256" y="686"/>
                    </a:cubicBezTo>
                    <a:cubicBezTo>
                      <a:pt x="256" y="686"/>
                      <a:pt x="264" y="692"/>
                      <a:pt x="266" y="680"/>
                    </a:cubicBezTo>
                    <a:cubicBezTo>
                      <a:pt x="270" y="668"/>
                      <a:pt x="269" y="664"/>
                      <a:pt x="265" y="660"/>
                    </a:cubicBezTo>
                    <a:cubicBezTo>
                      <a:pt x="261" y="657"/>
                      <a:pt x="256" y="654"/>
                      <a:pt x="256" y="654"/>
                    </a:cubicBezTo>
                    <a:cubicBezTo>
                      <a:pt x="246" y="644"/>
                      <a:pt x="246" y="644"/>
                      <a:pt x="246" y="644"/>
                    </a:cubicBezTo>
                    <a:cubicBezTo>
                      <a:pt x="252" y="609"/>
                      <a:pt x="252" y="609"/>
                      <a:pt x="252" y="609"/>
                    </a:cubicBezTo>
                    <a:cubicBezTo>
                      <a:pt x="244" y="586"/>
                      <a:pt x="244" y="586"/>
                      <a:pt x="244" y="586"/>
                    </a:cubicBezTo>
                    <a:cubicBezTo>
                      <a:pt x="247" y="578"/>
                      <a:pt x="247" y="578"/>
                      <a:pt x="247" y="578"/>
                    </a:cubicBezTo>
                    <a:cubicBezTo>
                      <a:pt x="244" y="567"/>
                      <a:pt x="244" y="567"/>
                      <a:pt x="244" y="567"/>
                    </a:cubicBezTo>
                    <a:cubicBezTo>
                      <a:pt x="248" y="561"/>
                      <a:pt x="248" y="561"/>
                      <a:pt x="248" y="561"/>
                    </a:cubicBezTo>
                    <a:cubicBezTo>
                      <a:pt x="241" y="542"/>
                      <a:pt x="241" y="542"/>
                      <a:pt x="241" y="542"/>
                    </a:cubicBezTo>
                    <a:cubicBezTo>
                      <a:pt x="249" y="531"/>
                      <a:pt x="249" y="531"/>
                      <a:pt x="249" y="531"/>
                    </a:cubicBezTo>
                    <a:cubicBezTo>
                      <a:pt x="246" y="522"/>
                      <a:pt x="246" y="522"/>
                      <a:pt x="246" y="522"/>
                    </a:cubicBezTo>
                    <a:cubicBezTo>
                      <a:pt x="246" y="522"/>
                      <a:pt x="258" y="494"/>
                      <a:pt x="270" y="491"/>
                    </a:cubicBezTo>
                    <a:cubicBezTo>
                      <a:pt x="280" y="488"/>
                      <a:pt x="300" y="494"/>
                      <a:pt x="300" y="494"/>
                    </a:cubicBezTo>
                    <a:cubicBezTo>
                      <a:pt x="305" y="482"/>
                      <a:pt x="305" y="482"/>
                      <a:pt x="305" y="482"/>
                    </a:cubicBezTo>
                    <a:cubicBezTo>
                      <a:pt x="304" y="467"/>
                      <a:pt x="304" y="467"/>
                      <a:pt x="304" y="467"/>
                    </a:cubicBezTo>
                    <a:cubicBezTo>
                      <a:pt x="290" y="457"/>
                      <a:pt x="290" y="457"/>
                      <a:pt x="290" y="457"/>
                    </a:cubicBezTo>
                    <a:cubicBezTo>
                      <a:pt x="309" y="425"/>
                      <a:pt x="309" y="425"/>
                      <a:pt x="309" y="425"/>
                    </a:cubicBezTo>
                    <a:cubicBezTo>
                      <a:pt x="310" y="415"/>
                      <a:pt x="310" y="415"/>
                      <a:pt x="310" y="415"/>
                    </a:cubicBezTo>
                    <a:cubicBezTo>
                      <a:pt x="314" y="410"/>
                      <a:pt x="314" y="410"/>
                      <a:pt x="314" y="410"/>
                    </a:cubicBezTo>
                    <a:cubicBezTo>
                      <a:pt x="313" y="390"/>
                      <a:pt x="313" y="390"/>
                      <a:pt x="313" y="390"/>
                    </a:cubicBezTo>
                    <a:cubicBezTo>
                      <a:pt x="315" y="378"/>
                      <a:pt x="315" y="378"/>
                      <a:pt x="315" y="378"/>
                    </a:cubicBezTo>
                    <a:cubicBezTo>
                      <a:pt x="311" y="358"/>
                      <a:pt x="311" y="358"/>
                      <a:pt x="311" y="358"/>
                    </a:cubicBezTo>
                    <a:cubicBezTo>
                      <a:pt x="324" y="356"/>
                      <a:pt x="324" y="356"/>
                      <a:pt x="324" y="356"/>
                    </a:cubicBezTo>
                    <a:cubicBezTo>
                      <a:pt x="337" y="346"/>
                      <a:pt x="337" y="346"/>
                      <a:pt x="337" y="346"/>
                    </a:cubicBezTo>
                    <a:cubicBezTo>
                      <a:pt x="334" y="333"/>
                      <a:pt x="334" y="333"/>
                      <a:pt x="334" y="333"/>
                    </a:cubicBezTo>
                    <a:cubicBezTo>
                      <a:pt x="334" y="333"/>
                      <a:pt x="339" y="332"/>
                      <a:pt x="341" y="326"/>
                    </a:cubicBezTo>
                    <a:cubicBezTo>
                      <a:pt x="343" y="319"/>
                      <a:pt x="341" y="314"/>
                      <a:pt x="347" y="308"/>
                    </a:cubicBezTo>
                    <a:cubicBezTo>
                      <a:pt x="355" y="300"/>
                      <a:pt x="361" y="298"/>
                      <a:pt x="359" y="292"/>
                    </a:cubicBezTo>
                    <a:cubicBezTo>
                      <a:pt x="358" y="284"/>
                      <a:pt x="351" y="273"/>
                      <a:pt x="351" y="273"/>
                    </a:cubicBezTo>
                    <a:cubicBezTo>
                      <a:pt x="351" y="266"/>
                      <a:pt x="351" y="266"/>
                      <a:pt x="351" y="266"/>
                    </a:cubicBezTo>
                    <a:cubicBezTo>
                      <a:pt x="351" y="266"/>
                      <a:pt x="359" y="268"/>
                      <a:pt x="360" y="263"/>
                    </a:cubicBezTo>
                    <a:cubicBezTo>
                      <a:pt x="360" y="258"/>
                      <a:pt x="364" y="241"/>
                      <a:pt x="364" y="241"/>
                    </a:cubicBezTo>
                    <a:cubicBezTo>
                      <a:pt x="378" y="226"/>
                      <a:pt x="378" y="226"/>
                      <a:pt x="378" y="226"/>
                    </a:cubicBezTo>
                    <a:cubicBezTo>
                      <a:pt x="394" y="234"/>
                      <a:pt x="394" y="234"/>
                      <a:pt x="394" y="234"/>
                    </a:cubicBezTo>
                    <a:cubicBezTo>
                      <a:pt x="394" y="234"/>
                      <a:pt x="397" y="223"/>
                      <a:pt x="399" y="218"/>
                    </a:cubicBezTo>
                    <a:cubicBezTo>
                      <a:pt x="400" y="213"/>
                      <a:pt x="397" y="198"/>
                      <a:pt x="397" y="198"/>
                    </a:cubicBezTo>
                    <a:cubicBezTo>
                      <a:pt x="405" y="193"/>
                      <a:pt x="405" y="193"/>
                      <a:pt x="405" y="193"/>
                    </a:cubicBezTo>
                    <a:cubicBezTo>
                      <a:pt x="409" y="198"/>
                      <a:pt x="409" y="198"/>
                      <a:pt x="409" y="198"/>
                    </a:cubicBezTo>
                    <a:cubicBezTo>
                      <a:pt x="421" y="195"/>
                      <a:pt x="421" y="195"/>
                      <a:pt x="421" y="195"/>
                    </a:cubicBezTo>
                    <a:cubicBezTo>
                      <a:pt x="443" y="205"/>
                      <a:pt x="443" y="205"/>
                      <a:pt x="443" y="205"/>
                    </a:cubicBezTo>
                    <a:cubicBezTo>
                      <a:pt x="450" y="195"/>
                      <a:pt x="450" y="195"/>
                      <a:pt x="450" y="195"/>
                    </a:cubicBezTo>
                    <a:cubicBezTo>
                      <a:pt x="442" y="191"/>
                      <a:pt x="442" y="191"/>
                      <a:pt x="442" y="191"/>
                    </a:cubicBezTo>
                    <a:cubicBezTo>
                      <a:pt x="442" y="191"/>
                      <a:pt x="450" y="182"/>
                      <a:pt x="449" y="174"/>
                    </a:cubicBezTo>
                    <a:cubicBezTo>
                      <a:pt x="448" y="168"/>
                      <a:pt x="441" y="159"/>
                      <a:pt x="441" y="159"/>
                    </a:cubicBezTo>
                    <a:cubicBezTo>
                      <a:pt x="453" y="157"/>
                      <a:pt x="453" y="157"/>
                      <a:pt x="453" y="157"/>
                    </a:cubicBezTo>
                    <a:cubicBezTo>
                      <a:pt x="455" y="154"/>
                      <a:pt x="455" y="154"/>
                      <a:pt x="455" y="154"/>
                    </a:cubicBezTo>
                    <a:cubicBezTo>
                      <a:pt x="455" y="154"/>
                      <a:pt x="464" y="159"/>
                      <a:pt x="466" y="157"/>
                    </a:cubicBezTo>
                    <a:cubicBezTo>
                      <a:pt x="467" y="155"/>
                      <a:pt x="459" y="148"/>
                      <a:pt x="465" y="144"/>
                    </a:cubicBezTo>
                    <a:cubicBezTo>
                      <a:pt x="469" y="139"/>
                      <a:pt x="478" y="142"/>
                      <a:pt x="478" y="142"/>
                    </a:cubicBezTo>
                    <a:cubicBezTo>
                      <a:pt x="478" y="142"/>
                      <a:pt x="485" y="152"/>
                      <a:pt x="490" y="157"/>
                    </a:cubicBezTo>
                    <a:cubicBezTo>
                      <a:pt x="497" y="163"/>
                      <a:pt x="499" y="172"/>
                      <a:pt x="499" y="172"/>
                    </a:cubicBezTo>
                    <a:cubicBezTo>
                      <a:pt x="504" y="171"/>
                      <a:pt x="504" y="171"/>
                      <a:pt x="504" y="171"/>
                    </a:cubicBezTo>
                    <a:cubicBezTo>
                      <a:pt x="515" y="171"/>
                      <a:pt x="515" y="171"/>
                      <a:pt x="515" y="171"/>
                    </a:cubicBezTo>
                    <a:cubicBezTo>
                      <a:pt x="522" y="175"/>
                      <a:pt x="522" y="175"/>
                      <a:pt x="522" y="175"/>
                    </a:cubicBezTo>
                    <a:cubicBezTo>
                      <a:pt x="531" y="169"/>
                      <a:pt x="531" y="169"/>
                      <a:pt x="531" y="169"/>
                    </a:cubicBezTo>
                    <a:cubicBezTo>
                      <a:pt x="531" y="169"/>
                      <a:pt x="533" y="161"/>
                      <a:pt x="539" y="161"/>
                    </a:cubicBezTo>
                    <a:cubicBezTo>
                      <a:pt x="544" y="161"/>
                      <a:pt x="546" y="166"/>
                      <a:pt x="546" y="166"/>
                    </a:cubicBezTo>
                    <a:cubicBezTo>
                      <a:pt x="558" y="167"/>
                      <a:pt x="558" y="167"/>
                      <a:pt x="558" y="167"/>
                    </a:cubicBezTo>
                    <a:cubicBezTo>
                      <a:pt x="565" y="174"/>
                      <a:pt x="565" y="174"/>
                      <a:pt x="565" y="174"/>
                    </a:cubicBezTo>
                    <a:cubicBezTo>
                      <a:pt x="565" y="174"/>
                      <a:pt x="567" y="161"/>
                      <a:pt x="570" y="157"/>
                    </a:cubicBezTo>
                    <a:cubicBezTo>
                      <a:pt x="572" y="154"/>
                      <a:pt x="575" y="150"/>
                      <a:pt x="575" y="144"/>
                    </a:cubicBezTo>
                    <a:cubicBezTo>
                      <a:pt x="574" y="139"/>
                      <a:pt x="572" y="130"/>
                      <a:pt x="572" y="130"/>
                    </a:cubicBezTo>
                    <a:cubicBezTo>
                      <a:pt x="574" y="97"/>
                      <a:pt x="574" y="97"/>
                      <a:pt x="574" y="97"/>
                    </a:cubicBezTo>
                    <a:cubicBezTo>
                      <a:pt x="577" y="93"/>
                      <a:pt x="577" y="93"/>
                      <a:pt x="577" y="93"/>
                    </a:cubicBezTo>
                    <a:cubicBezTo>
                      <a:pt x="577" y="93"/>
                      <a:pt x="576" y="81"/>
                      <a:pt x="582" y="79"/>
                    </a:cubicBezTo>
                    <a:cubicBezTo>
                      <a:pt x="588" y="76"/>
                      <a:pt x="595" y="78"/>
                      <a:pt x="595" y="78"/>
                    </a:cubicBezTo>
                    <a:cubicBezTo>
                      <a:pt x="595" y="78"/>
                      <a:pt x="604" y="66"/>
                      <a:pt x="610" y="65"/>
                    </a:cubicBezTo>
                    <a:cubicBezTo>
                      <a:pt x="616" y="64"/>
                      <a:pt x="625" y="77"/>
                      <a:pt x="625" y="77"/>
                    </a:cubicBezTo>
                    <a:cubicBezTo>
                      <a:pt x="648" y="80"/>
                      <a:pt x="648" y="80"/>
                      <a:pt x="648" y="80"/>
                    </a:cubicBezTo>
                    <a:cubicBezTo>
                      <a:pt x="655" y="91"/>
                      <a:pt x="655" y="91"/>
                      <a:pt x="655" y="91"/>
                    </a:cubicBezTo>
                    <a:cubicBezTo>
                      <a:pt x="655" y="91"/>
                      <a:pt x="647" y="105"/>
                      <a:pt x="647" y="110"/>
                    </a:cubicBezTo>
                    <a:cubicBezTo>
                      <a:pt x="647" y="116"/>
                      <a:pt x="650" y="121"/>
                      <a:pt x="650" y="121"/>
                    </a:cubicBezTo>
                    <a:cubicBezTo>
                      <a:pt x="650" y="121"/>
                      <a:pt x="654" y="125"/>
                      <a:pt x="656" y="123"/>
                    </a:cubicBezTo>
                    <a:cubicBezTo>
                      <a:pt x="659" y="121"/>
                      <a:pt x="658" y="107"/>
                      <a:pt x="658" y="107"/>
                    </a:cubicBezTo>
                    <a:cubicBezTo>
                      <a:pt x="658" y="107"/>
                      <a:pt x="655" y="108"/>
                      <a:pt x="656" y="105"/>
                    </a:cubicBezTo>
                    <a:cubicBezTo>
                      <a:pt x="657" y="102"/>
                      <a:pt x="661" y="102"/>
                      <a:pt x="663" y="100"/>
                    </a:cubicBezTo>
                    <a:cubicBezTo>
                      <a:pt x="666" y="98"/>
                      <a:pt x="665" y="93"/>
                      <a:pt x="666" y="93"/>
                    </a:cubicBezTo>
                    <a:cubicBezTo>
                      <a:pt x="668" y="92"/>
                      <a:pt x="674" y="94"/>
                      <a:pt x="674" y="90"/>
                    </a:cubicBezTo>
                    <a:cubicBezTo>
                      <a:pt x="674" y="85"/>
                      <a:pt x="669" y="78"/>
                      <a:pt x="669" y="78"/>
                    </a:cubicBezTo>
                    <a:cubicBezTo>
                      <a:pt x="669" y="78"/>
                      <a:pt x="673" y="78"/>
                      <a:pt x="675" y="79"/>
                    </a:cubicBezTo>
                    <a:cubicBezTo>
                      <a:pt x="678" y="79"/>
                      <a:pt x="685" y="87"/>
                      <a:pt x="687" y="80"/>
                    </a:cubicBezTo>
                    <a:cubicBezTo>
                      <a:pt x="690" y="74"/>
                      <a:pt x="685" y="71"/>
                      <a:pt x="685" y="71"/>
                    </a:cubicBezTo>
                    <a:close/>
                    <a:moveTo>
                      <a:pt x="8" y="787"/>
                    </a:moveTo>
                    <a:cubicBezTo>
                      <a:pt x="8" y="787"/>
                      <a:pt x="7" y="793"/>
                      <a:pt x="8" y="794"/>
                    </a:cubicBezTo>
                    <a:cubicBezTo>
                      <a:pt x="9" y="796"/>
                      <a:pt x="6" y="800"/>
                      <a:pt x="6" y="800"/>
                    </a:cubicBezTo>
                    <a:cubicBezTo>
                      <a:pt x="9" y="800"/>
                      <a:pt x="9" y="800"/>
                      <a:pt x="9" y="800"/>
                    </a:cubicBezTo>
                    <a:cubicBezTo>
                      <a:pt x="11" y="798"/>
                      <a:pt x="11" y="798"/>
                      <a:pt x="11" y="798"/>
                    </a:cubicBezTo>
                    <a:cubicBezTo>
                      <a:pt x="11" y="792"/>
                      <a:pt x="11" y="792"/>
                      <a:pt x="11" y="792"/>
                    </a:cubicBezTo>
                    <a:cubicBezTo>
                      <a:pt x="10" y="785"/>
                      <a:pt x="10" y="785"/>
                      <a:pt x="10" y="785"/>
                    </a:cubicBezTo>
                    <a:lnTo>
                      <a:pt x="8" y="787"/>
                    </a:lnTo>
                    <a:close/>
                    <a:moveTo>
                      <a:pt x="27" y="805"/>
                    </a:moveTo>
                    <a:cubicBezTo>
                      <a:pt x="18" y="803"/>
                      <a:pt x="18" y="803"/>
                      <a:pt x="18" y="803"/>
                    </a:cubicBezTo>
                    <a:cubicBezTo>
                      <a:pt x="26" y="808"/>
                      <a:pt x="26" y="808"/>
                      <a:pt x="26" y="808"/>
                    </a:cubicBezTo>
                    <a:lnTo>
                      <a:pt x="27" y="805"/>
                    </a:lnTo>
                    <a:close/>
                    <a:moveTo>
                      <a:pt x="36" y="794"/>
                    </a:moveTo>
                    <a:cubicBezTo>
                      <a:pt x="32" y="794"/>
                      <a:pt x="32" y="794"/>
                      <a:pt x="32" y="794"/>
                    </a:cubicBezTo>
                    <a:cubicBezTo>
                      <a:pt x="30" y="799"/>
                      <a:pt x="30" y="799"/>
                      <a:pt x="30" y="799"/>
                    </a:cubicBezTo>
                    <a:cubicBezTo>
                      <a:pt x="38" y="798"/>
                      <a:pt x="38" y="798"/>
                      <a:pt x="38" y="798"/>
                    </a:cubicBezTo>
                    <a:lnTo>
                      <a:pt x="36" y="794"/>
                    </a:lnTo>
                    <a:close/>
                    <a:moveTo>
                      <a:pt x="16" y="750"/>
                    </a:moveTo>
                    <a:cubicBezTo>
                      <a:pt x="16" y="753"/>
                      <a:pt x="16" y="753"/>
                      <a:pt x="16" y="753"/>
                    </a:cubicBezTo>
                    <a:cubicBezTo>
                      <a:pt x="14" y="754"/>
                      <a:pt x="14" y="754"/>
                      <a:pt x="14" y="754"/>
                    </a:cubicBezTo>
                    <a:cubicBezTo>
                      <a:pt x="14" y="754"/>
                      <a:pt x="16" y="762"/>
                      <a:pt x="20" y="762"/>
                    </a:cubicBezTo>
                    <a:cubicBezTo>
                      <a:pt x="26" y="762"/>
                      <a:pt x="22" y="753"/>
                      <a:pt x="22" y="753"/>
                    </a:cubicBezTo>
                    <a:cubicBezTo>
                      <a:pt x="17" y="750"/>
                      <a:pt x="17" y="750"/>
                      <a:pt x="17" y="750"/>
                    </a:cubicBezTo>
                    <a:lnTo>
                      <a:pt x="16" y="750"/>
                    </a:lnTo>
                    <a:close/>
                    <a:moveTo>
                      <a:pt x="15" y="768"/>
                    </a:moveTo>
                    <a:cubicBezTo>
                      <a:pt x="17" y="766"/>
                      <a:pt x="17" y="766"/>
                      <a:pt x="17" y="766"/>
                    </a:cubicBezTo>
                    <a:cubicBezTo>
                      <a:pt x="15" y="762"/>
                      <a:pt x="15" y="762"/>
                      <a:pt x="15" y="762"/>
                    </a:cubicBezTo>
                    <a:cubicBezTo>
                      <a:pt x="15" y="758"/>
                      <a:pt x="15" y="758"/>
                      <a:pt x="15" y="758"/>
                    </a:cubicBezTo>
                    <a:cubicBezTo>
                      <a:pt x="11" y="756"/>
                      <a:pt x="11" y="756"/>
                      <a:pt x="11" y="756"/>
                    </a:cubicBezTo>
                    <a:cubicBezTo>
                      <a:pt x="11" y="757"/>
                      <a:pt x="11" y="757"/>
                      <a:pt x="11" y="757"/>
                    </a:cubicBezTo>
                    <a:cubicBezTo>
                      <a:pt x="11" y="757"/>
                      <a:pt x="10" y="758"/>
                      <a:pt x="9" y="760"/>
                    </a:cubicBezTo>
                    <a:cubicBezTo>
                      <a:pt x="8" y="762"/>
                      <a:pt x="12" y="764"/>
                      <a:pt x="12" y="764"/>
                    </a:cubicBezTo>
                    <a:cubicBezTo>
                      <a:pt x="9" y="767"/>
                      <a:pt x="9" y="767"/>
                      <a:pt x="9" y="767"/>
                    </a:cubicBezTo>
                    <a:cubicBezTo>
                      <a:pt x="9" y="773"/>
                      <a:pt x="9" y="773"/>
                      <a:pt x="9" y="773"/>
                    </a:cubicBezTo>
                    <a:cubicBezTo>
                      <a:pt x="13" y="772"/>
                      <a:pt x="13" y="772"/>
                      <a:pt x="13" y="772"/>
                    </a:cubicBezTo>
                    <a:cubicBezTo>
                      <a:pt x="10" y="767"/>
                      <a:pt x="10" y="767"/>
                      <a:pt x="10" y="767"/>
                    </a:cubicBezTo>
                    <a:cubicBezTo>
                      <a:pt x="14" y="764"/>
                      <a:pt x="14" y="764"/>
                      <a:pt x="14" y="764"/>
                    </a:cubicBezTo>
                    <a:cubicBezTo>
                      <a:pt x="15" y="764"/>
                      <a:pt x="15" y="764"/>
                      <a:pt x="15" y="764"/>
                    </a:cubicBezTo>
                    <a:cubicBezTo>
                      <a:pt x="14" y="766"/>
                      <a:pt x="14" y="766"/>
                      <a:pt x="14" y="766"/>
                    </a:cubicBezTo>
                    <a:lnTo>
                      <a:pt x="15" y="768"/>
                    </a:lnTo>
                    <a:close/>
                    <a:moveTo>
                      <a:pt x="29" y="766"/>
                    </a:moveTo>
                    <a:cubicBezTo>
                      <a:pt x="33" y="764"/>
                      <a:pt x="33" y="764"/>
                      <a:pt x="33" y="764"/>
                    </a:cubicBezTo>
                    <a:cubicBezTo>
                      <a:pt x="27" y="759"/>
                      <a:pt x="27" y="759"/>
                      <a:pt x="27" y="759"/>
                    </a:cubicBezTo>
                    <a:cubicBezTo>
                      <a:pt x="25" y="761"/>
                      <a:pt x="25" y="761"/>
                      <a:pt x="25" y="761"/>
                    </a:cubicBezTo>
                    <a:lnTo>
                      <a:pt x="29" y="766"/>
                    </a:lnTo>
                    <a:close/>
                    <a:moveTo>
                      <a:pt x="28" y="743"/>
                    </a:moveTo>
                    <a:cubicBezTo>
                      <a:pt x="23" y="744"/>
                      <a:pt x="23" y="744"/>
                      <a:pt x="23" y="744"/>
                    </a:cubicBezTo>
                    <a:cubicBezTo>
                      <a:pt x="23" y="747"/>
                      <a:pt x="23" y="747"/>
                      <a:pt x="23" y="747"/>
                    </a:cubicBezTo>
                    <a:cubicBezTo>
                      <a:pt x="20" y="749"/>
                      <a:pt x="20" y="749"/>
                      <a:pt x="20" y="749"/>
                    </a:cubicBezTo>
                    <a:cubicBezTo>
                      <a:pt x="23" y="751"/>
                      <a:pt x="23" y="751"/>
                      <a:pt x="23" y="751"/>
                    </a:cubicBezTo>
                    <a:cubicBezTo>
                      <a:pt x="25" y="754"/>
                      <a:pt x="25" y="754"/>
                      <a:pt x="25" y="754"/>
                    </a:cubicBezTo>
                    <a:cubicBezTo>
                      <a:pt x="27" y="754"/>
                      <a:pt x="27" y="754"/>
                      <a:pt x="27" y="754"/>
                    </a:cubicBezTo>
                    <a:cubicBezTo>
                      <a:pt x="27" y="751"/>
                      <a:pt x="27" y="751"/>
                      <a:pt x="27" y="751"/>
                    </a:cubicBezTo>
                    <a:cubicBezTo>
                      <a:pt x="29" y="749"/>
                      <a:pt x="29" y="749"/>
                      <a:pt x="29" y="749"/>
                    </a:cubicBezTo>
                    <a:lnTo>
                      <a:pt x="28" y="743"/>
                    </a:lnTo>
                    <a:close/>
                    <a:moveTo>
                      <a:pt x="19" y="743"/>
                    </a:moveTo>
                    <a:cubicBezTo>
                      <a:pt x="16" y="746"/>
                      <a:pt x="19" y="747"/>
                      <a:pt x="20" y="746"/>
                    </a:cubicBezTo>
                    <a:cubicBezTo>
                      <a:pt x="23" y="744"/>
                      <a:pt x="22" y="740"/>
                      <a:pt x="19" y="743"/>
                    </a:cubicBezTo>
                    <a:close/>
                    <a:moveTo>
                      <a:pt x="10" y="738"/>
                    </a:moveTo>
                    <a:cubicBezTo>
                      <a:pt x="11" y="740"/>
                      <a:pt x="11" y="740"/>
                      <a:pt x="11" y="740"/>
                    </a:cubicBezTo>
                    <a:cubicBezTo>
                      <a:pt x="12" y="740"/>
                      <a:pt x="12" y="740"/>
                      <a:pt x="12" y="740"/>
                    </a:cubicBezTo>
                    <a:cubicBezTo>
                      <a:pt x="14" y="743"/>
                      <a:pt x="14" y="743"/>
                      <a:pt x="14" y="743"/>
                    </a:cubicBezTo>
                    <a:cubicBezTo>
                      <a:pt x="12" y="745"/>
                      <a:pt x="12" y="745"/>
                      <a:pt x="12" y="745"/>
                    </a:cubicBezTo>
                    <a:cubicBezTo>
                      <a:pt x="15" y="746"/>
                      <a:pt x="15" y="746"/>
                      <a:pt x="15" y="746"/>
                    </a:cubicBezTo>
                    <a:cubicBezTo>
                      <a:pt x="16" y="742"/>
                      <a:pt x="16" y="742"/>
                      <a:pt x="16" y="742"/>
                    </a:cubicBezTo>
                    <a:cubicBezTo>
                      <a:pt x="12" y="737"/>
                      <a:pt x="12" y="737"/>
                      <a:pt x="12" y="737"/>
                    </a:cubicBezTo>
                    <a:lnTo>
                      <a:pt x="10" y="738"/>
                    </a:lnTo>
                    <a:close/>
                    <a:moveTo>
                      <a:pt x="13" y="749"/>
                    </a:moveTo>
                    <a:cubicBezTo>
                      <a:pt x="11" y="746"/>
                      <a:pt x="11" y="746"/>
                      <a:pt x="11" y="746"/>
                    </a:cubicBezTo>
                    <a:cubicBezTo>
                      <a:pt x="8" y="749"/>
                      <a:pt x="8" y="749"/>
                      <a:pt x="8" y="749"/>
                    </a:cubicBezTo>
                    <a:cubicBezTo>
                      <a:pt x="9" y="751"/>
                      <a:pt x="9" y="751"/>
                      <a:pt x="9" y="751"/>
                    </a:cubicBezTo>
                    <a:lnTo>
                      <a:pt x="13" y="749"/>
                    </a:lnTo>
                    <a:close/>
                    <a:moveTo>
                      <a:pt x="41" y="738"/>
                    </a:moveTo>
                    <a:cubicBezTo>
                      <a:pt x="39" y="740"/>
                      <a:pt x="39" y="740"/>
                      <a:pt x="39" y="740"/>
                    </a:cubicBezTo>
                    <a:cubicBezTo>
                      <a:pt x="40" y="744"/>
                      <a:pt x="40" y="744"/>
                      <a:pt x="40" y="744"/>
                    </a:cubicBezTo>
                    <a:cubicBezTo>
                      <a:pt x="43" y="741"/>
                      <a:pt x="43" y="741"/>
                      <a:pt x="43" y="741"/>
                    </a:cubicBezTo>
                    <a:lnTo>
                      <a:pt x="41" y="738"/>
                    </a:lnTo>
                    <a:close/>
                    <a:moveTo>
                      <a:pt x="9" y="733"/>
                    </a:moveTo>
                    <a:cubicBezTo>
                      <a:pt x="11" y="734"/>
                      <a:pt x="13" y="734"/>
                      <a:pt x="13" y="734"/>
                    </a:cubicBezTo>
                    <a:cubicBezTo>
                      <a:pt x="11" y="729"/>
                      <a:pt x="11" y="729"/>
                      <a:pt x="11" y="729"/>
                    </a:cubicBezTo>
                    <a:cubicBezTo>
                      <a:pt x="13" y="727"/>
                      <a:pt x="13" y="727"/>
                      <a:pt x="13" y="727"/>
                    </a:cubicBezTo>
                    <a:cubicBezTo>
                      <a:pt x="10" y="719"/>
                      <a:pt x="10" y="719"/>
                      <a:pt x="10" y="719"/>
                    </a:cubicBezTo>
                    <a:cubicBezTo>
                      <a:pt x="9" y="722"/>
                      <a:pt x="9" y="722"/>
                      <a:pt x="9" y="722"/>
                    </a:cubicBezTo>
                    <a:cubicBezTo>
                      <a:pt x="11" y="726"/>
                      <a:pt x="11" y="726"/>
                      <a:pt x="11" y="726"/>
                    </a:cubicBezTo>
                    <a:cubicBezTo>
                      <a:pt x="7" y="727"/>
                      <a:pt x="7" y="727"/>
                      <a:pt x="7" y="727"/>
                    </a:cubicBezTo>
                    <a:cubicBezTo>
                      <a:pt x="7" y="727"/>
                      <a:pt x="7" y="731"/>
                      <a:pt x="9" y="733"/>
                    </a:cubicBezTo>
                    <a:close/>
                    <a:moveTo>
                      <a:pt x="16" y="715"/>
                    </a:moveTo>
                    <a:cubicBezTo>
                      <a:pt x="10" y="711"/>
                      <a:pt x="10" y="711"/>
                      <a:pt x="10" y="711"/>
                    </a:cubicBezTo>
                    <a:cubicBezTo>
                      <a:pt x="9" y="712"/>
                      <a:pt x="9" y="712"/>
                      <a:pt x="9" y="712"/>
                    </a:cubicBezTo>
                    <a:cubicBezTo>
                      <a:pt x="12" y="714"/>
                      <a:pt x="12" y="714"/>
                      <a:pt x="12" y="714"/>
                    </a:cubicBezTo>
                    <a:cubicBezTo>
                      <a:pt x="12" y="718"/>
                      <a:pt x="12" y="718"/>
                      <a:pt x="12" y="718"/>
                    </a:cubicBezTo>
                    <a:cubicBezTo>
                      <a:pt x="14" y="721"/>
                      <a:pt x="14" y="721"/>
                      <a:pt x="14" y="721"/>
                    </a:cubicBezTo>
                    <a:cubicBezTo>
                      <a:pt x="17" y="721"/>
                      <a:pt x="17" y="721"/>
                      <a:pt x="17" y="721"/>
                    </a:cubicBezTo>
                    <a:lnTo>
                      <a:pt x="16" y="715"/>
                    </a:lnTo>
                    <a:close/>
                    <a:moveTo>
                      <a:pt x="24" y="713"/>
                    </a:moveTo>
                    <a:cubicBezTo>
                      <a:pt x="28" y="719"/>
                      <a:pt x="28" y="719"/>
                      <a:pt x="28" y="719"/>
                    </a:cubicBezTo>
                    <a:cubicBezTo>
                      <a:pt x="32" y="717"/>
                      <a:pt x="32" y="717"/>
                      <a:pt x="32" y="717"/>
                    </a:cubicBezTo>
                    <a:cubicBezTo>
                      <a:pt x="34" y="706"/>
                      <a:pt x="34" y="706"/>
                      <a:pt x="34" y="706"/>
                    </a:cubicBezTo>
                    <a:cubicBezTo>
                      <a:pt x="33" y="705"/>
                      <a:pt x="33" y="705"/>
                      <a:pt x="33" y="705"/>
                    </a:cubicBezTo>
                    <a:cubicBezTo>
                      <a:pt x="29" y="710"/>
                      <a:pt x="29" y="710"/>
                      <a:pt x="29" y="710"/>
                    </a:cubicBezTo>
                    <a:cubicBezTo>
                      <a:pt x="29" y="710"/>
                      <a:pt x="28" y="710"/>
                      <a:pt x="26" y="711"/>
                    </a:cubicBezTo>
                    <a:cubicBezTo>
                      <a:pt x="24" y="711"/>
                      <a:pt x="24" y="713"/>
                      <a:pt x="24" y="713"/>
                    </a:cubicBezTo>
                    <a:close/>
                    <a:moveTo>
                      <a:pt x="22" y="703"/>
                    </a:moveTo>
                    <a:cubicBezTo>
                      <a:pt x="13" y="694"/>
                      <a:pt x="13" y="694"/>
                      <a:pt x="13" y="694"/>
                    </a:cubicBezTo>
                    <a:cubicBezTo>
                      <a:pt x="12" y="695"/>
                      <a:pt x="12" y="695"/>
                      <a:pt x="12" y="695"/>
                    </a:cubicBezTo>
                    <a:cubicBezTo>
                      <a:pt x="18" y="703"/>
                      <a:pt x="18" y="703"/>
                      <a:pt x="18" y="703"/>
                    </a:cubicBezTo>
                    <a:cubicBezTo>
                      <a:pt x="17" y="705"/>
                      <a:pt x="17" y="705"/>
                      <a:pt x="17" y="705"/>
                    </a:cubicBezTo>
                    <a:cubicBezTo>
                      <a:pt x="15" y="704"/>
                      <a:pt x="15" y="704"/>
                      <a:pt x="15" y="704"/>
                    </a:cubicBezTo>
                    <a:cubicBezTo>
                      <a:pt x="20" y="711"/>
                      <a:pt x="20" y="711"/>
                      <a:pt x="20" y="711"/>
                    </a:cubicBezTo>
                    <a:cubicBezTo>
                      <a:pt x="23" y="711"/>
                      <a:pt x="25" y="708"/>
                      <a:pt x="25" y="708"/>
                    </a:cubicBezTo>
                    <a:cubicBezTo>
                      <a:pt x="23" y="705"/>
                      <a:pt x="23" y="705"/>
                      <a:pt x="23" y="705"/>
                    </a:cubicBezTo>
                    <a:lnTo>
                      <a:pt x="22" y="703"/>
                    </a:lnTo>
                    <a:close/>
                    <a:moveTo>
                      <a:pt x="9" y="699"/>
                    </a:moveTo>
                    <a:cubicBezTo>
                      <a:pt x="8" y="699"/>
                      <a:pt x="8" y="699"/>
                      <a:pt x="8" y="699"/>
                    </a:cubicBezTo>
                    <a:cubicBezTo>
                      <a:pt x="8" y="699"/>
                      <a:pt x="10" y="703"/>
                      <a:pt x="11" y="704"/>
                    </a:cubicBezTo>
                    <a:cubicBezTo>
                      <a:pt x="12" y="705"/>
                      <a:pt x="14" y="707"/>
                      <a:pt x="14" y="707"/>
                    </a:cubicBezTo>
                    <a:cubicBezTo>
                      <a:pt x="14" y="707"/>
                      <a:pt x="15" y="705"/>
                      <a:pt x="13" y="703"/>
                    </a:cubicBezTo>
                    <a:cubicBezTo>
                      <a:pt x="12" y="701"/>
                      <a:pt x="9" y="699"/>
                      <a:pt x="9" y="699"/>
                    </a:cubicBezTo>
                    <a:close/>
                    <a:moveTo>
                      <a:pt x="10" y="707"/>
                    </a:moveTo>
                    <a:cubicBezTo>
                      <a:pt x="9" y="707"/>
                      <a:pt x="10" y="709"/>
                      <a:pt x="11" y="710"/>
                    </a:cubicBezTo>
                    <a:cubicBezTo>
                      <a:pt x="12" y="710"/>
                      <a:pt x="16" y="712"/>
                      <a:pt x="16" y="712"/>
                    </a:cubicBezTo>
                    <a:cubicBezTo>
                      <a:pt x="16" y="710"/>
                      <a:pt x="16" y="710"/>
                      <a:pt x="16" y="710"/>
                    </a:cubicBezTo>
                    <a:cubicBezTo>
                      <a:pt x="16" y="710"/>
                      <a:pt x="11" y="707"/>
                      <a:pt x="10" y="707"/>
                    </a:cubicBezTo>
                    <a:close/>
                    <a:moveTo>
                      <a:pt x="9" y="693"/>
                    </a:moveTo>
                    <a:cubicBezTo>
                      <a:pt x="7" y="695"/>
                      <a:pt x="7" y="695"/>
                      <a:pt x="7" y="695"/>
                    </a:cubicBezTo>
                    <a:cubicBezTo>
                      <a:pt x="11" y="698"/>
                      <a:pt x="11" y="698"/>
                      <a:pt x="11" y="698"/>
                    </a:cubicBezTo>
                    <a:lnTo>
                      <a:pt x="9" y="693"/>
                    </a:lnTo>
                    <a:close/>
                    <a:moveTo>
                      <a:pt x="10" y="692"/>
                    </a:moveTo>
                    <a:cubicBezTo>
                      <a:pt x="9" y="687"/>
                      <a:pt x="9" y="687"/>
                      <a:pt x="9" y="687"/>
                    </a:cubicBezTo>
                    <a:cubicBezTo>
                      <a:pt x="7" y="689"/>
                      <a:pt x="7" y="689"/>
                      <a:pt x="7" y="689"/>
                    </a:cubicBezTo>
                    <a:lnTo>
                      <a:pt x="10" y="692"/>
                    </a:lnTo>
                    <a:close/>
                    <a:moveTo>
                      <a:pt x="9" y="678"/>
                    </a:moveTo>
                    <a:cubicBezTo>
                      <a:pt x="11" y="676"/>
                      <a:pt x="11" y="676"/>
                      <a:pt x="11" y="676"/>
                    </a:cubicBezTo>
                    <a:cubicBezTo>
                      <a:pt x="12" y="678"/>
                      <a:pt x="12" y="678"/>
                      <a:pt x="12" y="678"/>
                    </a:cubicBezTo>
                    <a:cubicBezTo>
                      <a:pt x="12" y="678"/>
                      <a:pt x="15" y="676"/>
                      <a:pt x="15" y="674"/>
                    </a:cubicBezTo>
                    <a:cubicBezTo>
                      <a:pt x="15" y="671"/>
                      <a:pt x="12" y="670"/>
                      <a:pt x="12" y="670"/>
                    </a:cubicBezTo>
                    <a:cubicBezTo>
                      <a:pt x="10" y="671"/>
                      <a:pt x="10" y="671"/>
                      <a:pt x="10" y="671"/>
                    </a:cubicBezTo>
                    <a:cubicBezTo>
                      <a:pt x="10" y="671"/>
                      <a:pt x="8" y="675"/>
                      <a:pt x="9" y="678"/>
                    </a:cubicBezTo>
                    <a:close/>
                    <a:moveTo>
                      <a:pt x="6" y="680"/>
                    </a:moveTo>
                    <a:cubicBezTo>
                      <a:pt x="7" y="680"/>
                      <a:pt x="7" y="680"/>
                      <a:pt x="7" y="680"/>
                    </a:cubicBezTo>
                    <a:cubicBezTo>
                      <a:pt x="8" y="676"/>
                      <a:pt x="8" y="676"/>
                      <a:pt x="8" y="676"/>
                    </a:cubicBezTo>
                    <a:cubicBezTo>
                      <a:pt x="7" y="676"/>
                      <a:pt x="7" y="676"/>
                      <a:pt x="7" y="676"/>
                    </a:cubicBezTo>
                    <a:lnTo>
                      <a:pt x="6" y="680"/>
                    </a:lnTo>
                    <a:close/>
                    <a:moveTo>
                      <a:pt x="3" y="678"/>
                    </a:moveTo>
                    <a:cubicBezTo>
                      <a:pt x="0" y="678"/>
                      <a:pt x="1" y="681"/>
                      <a:pt x="2" y="681"/>
                    </a:cubicBezTo>
                    <a:cubicBezTo>
                      <a:pt x="4" y="682"/>
                      <a:pt x="7" y="677"/>
                      <a:pt x="3" y="678"/>
                    </a:cubicBezTo>
                    <a:close/>
                    <a:moveTo>
                      <a:pt x="7" y="661"/>
                    </a:moveTo>
                    <a:cubicBezTo>
                      <a:pt x="3" y="661"/>
                      <a:pt x="4" y="663"/>
                      <a:pt x="6" y="663"/>
                    </a:cubicBezTo>
                    <a:cubicBezTo>
                      <a:pt x="9" y="663"/>
                      <a:pt x="10" y="662"/>
                      <a:pt x="7" y="661"/>
                    </a:cubicBezTo>
                    <a:close/>
                    <a:moveTo>
                      <a:pt x="17" y="658"/>
                    </a:moveTo>
                    <a:cubicBezTo>
                      <a:pt x="14" y="657"/>
                      <a:pt x="14" y="657"/>
                      <a:pt x="14" y="657"/>
                    </a:cubicBezTo>
                    <a:cubicBezTo>
                      <a:pt x="11" y="660"/>
                      <a:pt x="11" y="660"/>
                      <a:pt x="11" y="660"/>
                    </a:cubicBezTo>
                    <a:cubicBezTo>
                      <a:pt x="13" y="662"/>
                      <a:pt x="13" y="662"/>
                      <a:pt x="13" y="662"/>
                    </a:cubicBezTo>
                    <a:lnTo>
                      <a:pt x="17" y="658"/>
                    </a:lnTo>
                    <a:close/>
                    <a:moveTo>
                      <a:pt x="18" y="649"/>
                    </a:moveTo>
                    <a:cubicBezTo>
                      <a:pt x="14" y="646"/>
                      <a:pt x="14" y="646"/>
                      <a:pt x="14" y="646"/>
                    </a:cubicBezTo>
                    <a:cubicBezTo>
                      <a:pt x="15" y="650"/>
                      <a:pt x="15" y="650"/>
                      <a:pt x="15" y="650"/>
                    </a:cubicBezTo>
                    <a:lnTo>
                      <a:pt x="18" y="649"/>
                    </a:lnTo>
                    <a:close/>
                    <a:moveTo>
                      <a:pt x="22" y="643"/>
                    </a:moveTo>
                    <a:cubicBezTo>
                      <a:pt x="17" y="645"/>
                      <a:pt x="17" y="645"/>
                      <a:pt x="17" y="645"/>
                    </a:cubicBezTo>
                    <a:cubicBezTo>
                      <a:pt x="22" y="647"/>
                      <a:pt x="22" y="647"/>
                      <a:pt x="22" y="647"/>
                    </a:cubicBezTo>
                    <a:lnTo>
                      <a:pt x="22" y="643"/>
                    </a:lnTo>
                    <a:close/>
                    <a:moveTo>
                      <a:pt x="14" y="639"/>
                    </a:moveTo>
                    <a:cubicBezTo>
                      <a:pt x="14" y="635"/>
                      <a:pt x="11" y="635"/>
                      <a:pt x="12" y="638"/>
                    </a:cubicBezTo>
                    <a:cubicBezTo>
                      <a:pt x="12" y="641"/>
                      <a:pt x="14" y="641"/>
                      <a:pt x="14" y="639"/>
                    </a:cubicBezTo>
                    <a:close/>
                    <a:moveTo>
                      <a:pt x="15" y="632"/>
                    </a:moveTo>
                    <a:cubicBezTo>
                      <a:pt x="24" y="629"/>
                      <a:pt x="24" y="629"/>
                      <a:pt x="24" y="629"/>
                    </a:cubicBezTo>
                    <a:cubicBezTo>
                      <a:pt x="25" y="626"/>
                      <a:pt x="25" y="626"/>
                      <a:pt x="25" y="626"/>
                    </a:cubicBezTo>
                    <a:cubicBezTo>
                      <a:pt x="19" y="626"/>
                      <a:pt x="19" y="626"/>
                      <a:pt x="19" y="626"/>
                    </a:cubicBezTo>
                    <a:cubicBezTo>
                      <a:pt x="15" y="623"/>
                      <a:pt x="15" y="623"/>
                      <a:pt x="15" y="623"/>
                    </a:cubicBezTo>
                    <a:cubicBezTo>
                      <a:pt x="15" y="626"/>
                      <a:pt x="15" y="626"/>
                      <a:pt x="15" y="626"/>
                    </a:cubicBezTo>
                    <a:cubicBezTo>
                      <a:pt x="12" y="627"/>
                      <a:pt x="12" y="627"/>
                      <a:pt x="12" y="627"/>
                    </a:cubicBezTo>
                    <a:cubicBezTo>
                      <a:pt x="16" y="628"/>
                      <a:pt x="16" y="628"/>
                      <a:pt x="16" y="628"/>
                    </a:cubicBezTo>
                    <a:lnTo>
                      <a:pt x="15" y="632"/>
                    </a:lnTo>
                    <a:close/>
                    <a:moveTo>
                      <a:pt x="12" y="630"/>
                    </a:moveTo>
                    <a:cubicBezTo>
                      <a:pt x="13" y="632"/>
                      <a:pt x="13" y="632"/>
                      <a:pt x="13" y="632"/>
                    </a:cubicBezTo>
                    <a:cubicBezTo>
                      <a:pt x="14" y="633"/>
                      <a:pt x="14" y="633"/>
                      <a:pt x="14" y="633"/>
                    </a:cubicBezTo>
                    <a:cubicBezTo>
                      <a:pt x="14" y="629"/>
                      <a:pt x="14" y="629"/>
                      <a:pt x="14" y="629"/>
                    </a:cubicBezTo>
                    <a:lnTo>
                      <a:pt x="12" y="630"/>
                    </a:lnTo>
                    <a:close/>
                    <a:moveTo>
                      <a:pt x="20" y="618"/>
                    </a:moveTo>
                    <a:cubicBezTo>
                      <a:pt x="22" y="619"/>
                      <a:pt x="22" y="623"/>
                      <a:pt x="22" y="623"/>
                    </a:cubicBezTo>
                    <a:cubicBezTo>
                      <a:pt x="25" y="623"/>
                      <a:pt x="25" y="623"/>
                      <a:pt x="25" y="623"/>
                    </a:cubicBezTo>
                    <a:cubicBezTo>
                      <a:pt x="25" y="616"/>
                      <a:pt x="25" y="616"/>
                      <a:pt x="25" y="616"/>
                    </a:cubicBezTo>
                    <a:cubicBezTo>
                      <a:pt x="20" y="615"/>
                      <a:pt x="20" y="615"/>
                      <a:pt x="20" y="615"/>
                    </a:cubicBezTo>
                    <a:cubicBezTo>
                      <a:pt x="20" y="615"/>
                      <a:pt x="18" y="617"/>
                      <a:pt x="20" y="618"/>
                    </a:cubicBezTo>
                    <a:close/>
                    <a:moveTo>
                      <a:pt x="36" y="604"/>
                    </a:moveTo>
                    <a:cubicBezTo>
                      <a:pt x="36" y="601"/>
                      <a:pt x="36" y="601"/>
                      <a:pt x="36" y="601"/>
                    </a:cubicBezTo>
                    <a:cubicBezTo>
                      <a:pt x="34" y="602"/>
                      <a:pt x="34" y="602"/>
                      <a:pt x="34" y="602"/>
                    </a:cubicBezTo>
                    <a:cubicBezTo>
                      <a:pt x="34" y="604"/>
                      <a:pt x="34" y="604"/>
                      <a:pt x="34" y="604"/>
                    </a:cubicBezTo>
                    <a:lnTo>
                      <a:pt x="36" y="604"/>
                    </a:lnTo>
                    <a:close/>
                    <a:moveTo>
                      <a:pt x="45" y="607"/>
                    </a:moveTo>
                    <a:cubicBezTo>
                      <a:pt x="48" y="605"/>
                      <a:pt x="48" y="601"/>
                      <a:pt x="44" y="600"/>
                    </a:cubicBezTo>
                    <a:cubicBezTo>
                      <a:pt x="40" y="598"/>
                      <a:pt x="40" y="603"/>
                      <a:pt x="40" y="603"/>
                    </a:cubicBezTo>
                    <a:cubicBezTo>
                      <a:pt x="39" y="604"/>
                      <a:pt x="39" y="604"/>
                      <a:pt x="39" y="604"/>
                    </a:cubicBezTo>
                    <a:cubicBezTo>
                      <a:pt x="39" y="607"/>
                      <a:pt x="42" y="608"/>
                      <a:pt x="45" y="607"/>
                    </a:cubicBezTo>
                    <a:close/>
                    <a:moveTo>
                      <a:pt x="42" y="598"/>
                    </a:moveTo>
                    <a:cubicBezTo>
                      <a:pt x="45" y="598"/>
                      <a:pt x="45" y="598"/>
                      <a:pt x="45" y="598"/>
                    </a:cubicBezTo>
                    <a:cubicBezTo>
                      <a:pt x="46" y="596"/>
                      <a:pt x="46" y="596"/>
                      <a:pt x="46" y="596"/>
                    </a:cubicBezTo>
                    <a:cubicBezTo>
                      <a:pt x="43" y="593"/>
                      <a:pt x="43" y="593"/>
                      <a:pt x="43" y="593"/>
                    </a:cubicBezTo>
                    <a:cubicBezTo>
                      <a:pt x="41" y="593"/>
                      <a:pt x="41" y="593"/>
                      <a:pt x="41" y="593"/>
                    </a:cubicBezTo>
                    <a:cubicBezTo>
                      <a:pt x="42" y="596"/>
                      <a:pt x="42" y="596"/>
                      <a:pt x="42" y="596"/>
                    </a:cubicBezTo>
                    <a:lnTo>
                      <a:pt x="42" y="598"/>
                    </a:lnTo>
                    <a:close/>
                    <a:moveTo>
                      <a:pt x="53" y="593"/>
                    </a:moveTo>
                    <a:cubicBezTo>
                      <a:pt x="49" y="594"/>
                      <a:pt x="49" y="594"/>
                      <a:pt x="49" y="594"/>
                    </a:cubicBezTo>
                    <a:cubicBezTo>
                      <a:pt x="49" y="603"/>
                      <a:pt x="49" y="603"/>
                      <a:pt x="49" y="603"/>
                    </a:cubicBezTo>
                    <a:cubicBezTo>
                      <a:pt x="57" y="598"/>
                      <a:pt x="57" y="598"/>
                      <a:pt x="57" y="598"/>
                    </a:cubicBezTo>
                    <a:lnTo>
                      <a:pt x="53" y="593"/>
                    </a:lnTo>
                    <a:close/>
                    <a:moveTo>
                      <a:pt x="57" y="593"/>
                    </a:moveTo>
                    <a:cubicBezTo>
                      <a:pt x="60" y="596"/>
                      <a:pt x="60" y="596"/>
                      <a:pt x="60" y="596"/>
                    </a:cubicBezTo>
                    <a:cubicBezTo>
                      <a:pt x="65" y="594"/>
                      <a:pt x="65" y="594"/>
                      <a:pt x="65" y="594"/>
                    </a:cubicBezTo>
                    <a:cubicBezTo>
                      <a:pt x="61" y="592"/>
                      <a:pt x="61" y="592"/>
                      <a:pt x="61" y="592"/>
                    </a:cubicBezTo>
                    <a:lnTo>
                      <a:pt x="57" y="593"/>
                    </a:lnTo>
                    <a:close/>
                    <a:moveTo>
                      <a:pt x="55" y="587"/>
                    </a:moveTo>
                    <a:cubicBezTo>
                      <a:pt x="51" y="591"/>
                      <a:pt x="51" y="591"/>
                      <a:pt x="51" y="591"/>
                    </a:cubicBezTo>
                    <a:cubicBezTo>
                      <a:pt x="58" y="591"/>
                      <a:pt x="58" y="591"/>
                      <a:pt x="58" y="591"/>
                    </a:cubicBezTo>
                    <a:lnTo>
                      <a:pt x="55" y="587"/>
                    </a:lnTo>
                    <a:close/>
                    <a:moveTo>
                      <a:pt x="57" y="586"/>
                    </a:moveTo>
                    <a:cubicBezTo>
                      <a:pt x="59" y="586"/>
                      <a:pt x="61" y="581"/>
                      <a:pt x="58" y="582"/>
                    </a:cubicBezTo>
                    <a:cubicBezTo>
                      <a:pt x="55" y="583"/>
                      <a:pt x="56" y="586"/>
                      <a:pt x="57" y="586"/>
                    </a:cubicBezTo>
                    <a:close/>
                    <a:moveTo>
                      <a:pt x="63" y="580"/>
                    </a:moveTo>
                    <a:cubicBezTo>
                      <a:pt x="59" y="579"/>
                      <a:pt x="59" y="579"/>
                      <a:pt x="59" y="579"/>
                    </a:cubicBezTo>
                    <a:cubicBezTo>
                      <a:pt x="62" y="582"/>
                      <a:pt x="62" y="582"/>
                      <a:pt x="62" y="582"/>
                    </a:cubicBezTo>
                    <a:lnTo>
                      <a:pt x="63" y="580"/>
                    </a:lnTo>
                    <a:close/>
                    <a:moveTo>
                      <a:pt x="63" y="577"/>
                    </a:moveTo>
                    <a:cubicBezTo>
                      <a:pt x="62" y="578"/>
                      <a:pt x="62" y="578"/>
                      <a:pt x="62" y="578"/>
                    </a:cubicBezTo>
                    <a:cubicBezTo>
                      <a:pt x="65" y="580"/>
                      <a:pt x="65" y="580"/>
                      <a:pt x="65" y="580"/>
                    </a:cubicBezTo>
                    <a:lnTo>
                      <a:pt x="63" y="577"/>
                    </a:lnTo>
                    <a:close/>
                    <a:moveTo>
                      <a:pt x="71" y="575"/>
                    </a:moveTo>
                    <a:cubicBezTo>
                      <a:pt x="71" y="571"/>
                      <a:pt x="71" y="571"/>
                      <a:pt x="71" y="571"/>
                    </a:cubicBezTo>
                    <a:cubicBezTo>
                      <a:pt x="69" y="571"/>
                      <a:pt x="69" y="571"/>
                      <a:pt x="69" y="571"/>
                    </a:cubicBezTo>
                    <a:cubicBezTo>
                      <a:pt x="69" y="575"/>
                      <a:pt x="69" y="575"/>
                      <a:pt x="69" y="575"/>
                    </a:cubicBezTo>
                    <a:lnTo>
                      <a:pt x="71" y="575"/>
                    </a:lnTo>
                    <a:close/>
                    <a:moveTo>
                      <a:pt x="80" y="578"/>
                    </a:moveTo>
                    <a:cubicBezTo>
                      <a:pt x="85" y="576"/>
                      <a:pt x="85" y="575"/>
                      <a:pt x="82" y="575"/>
                    </a:cubicBezTo>
                    <a:cubicBezTo>
                      <a:pt x="78" y="573"/>
                      <a:pt x="77" y="576"/>
                      <a:pt x="77" y="577"/>
                    </a:cubicBezTo>
                    <a:cubicBezTo>
                      <a:pt x="77" y="578"/>
                      <a:pt x="80" y="578"/>
                      <a:pt x="80" y="578"/>
                    </a:cubicBezTo>
                    <a:close/>
                    <a:moveTo>
                      <a:pt x="87" y="568"/>
                    </a:moveTo>
                    <a:cubicBezTo>
                      <a:pt x="82" y="567"/>
                      <a:pt x="82" y="567"/>
                      <a:pt x="82" y="567"/>
                    </a:cubicBezTo>
                    <a:cubicBezTo>
                      <a:pt x="80" y="568"/>
                      <a:pt x="80" y="568"/>
                      <a:pt x="80" y="568"/>
                    </a:cubicBezTo>
                    <a:cubicBezTo>
                      <a:pt x="83" y="571"/>
                      <a:pt x="83" y="571"/>
                      <a:pt x="83" y="571"/>
                    </a:cubicBezTo>
                    <a:lnTo>
                      <a:pt x="87" y="568"/>
                    </a:lnTo>
                    <a:close/>
                    <a:moveTo>
                      <a:pt x="110" y="557"/>
                    </a:moveTo>
                    <a:cubicBezTo>
                      <a:pt x="109" y="551"/>
                      <a:pt x="109" y="551"/>
                      <a:pt x="109" y="551"/>
                    </a:cubicBezTo>
                    <a:cubicBezTo>
                      <a:pt x="106" y="551"/>
                      <a:pt x="106" y="551"/>
                      <a:pt x="106" y="551"/>
                    </a:cubicBezTo>
                    <a:cubicBezTo>
                      <a:pt x="107" y="554"/>
                      <a:pt x="107" y="554"/>
                      <a:pt x="107" y="554"/>
                    </a:cubicBezTo>
                    <a:cubicBezTo>
                      <a:pt x="104" y="554"/>
                      <a:pt x="104" y="554"/>
                      <a:pt x="104" y="554"/>
                    </a:cubicBezTo>
                    <a:cubicBezTo>
                      <a:pt x="100" y="558"/>
                      <a:pt x="100" y="558"/>
                      <a:pt x="100" y="558"/>
                    </a:cubicBezTo>
                    <a:cubicBezTo>
                      <a:pt x="105" y="562"/>
                      <a:pt x="105" y="562"/>
                      <a:pt x="105" y="562"/>
                    </a:cubicBezTo>
                    <a:lnTo>
                      <a:pt x="110" y="557"/>
                    </a:lnTo>
                    <a:close/>
                    <a:moveTo>
                      <a:pt x="116" y="555"/>
                    </a:moveTo>
                    <a:cubicBezTo>
                      <a:pt x="116" y="552"/>
                      <a:pt x="116" y="552"/>
                      <a:pt x="116" y="552"/>
                    </a:cubicBezTo>
                    <a:cubicBezTo>
                      <a:pt x="111" y="553"/>
                      <a:pt x="111" y="553"/>
                      <a:pt x="111" y="553"/>
                    </a:cubicBezTo>
                    <a:cubicBezTo>
                      <a:pt x="112" y="557"/>
                      <a:pt x="112" y="557"/>
                      <a:pt x="112" y="557"/>
                    </a:cubicBezTo>
                    <a:lnTo>
                      <a:pt x="116" y="555"/>
                    </a:lnTo>
                    <a:close/>
                    <a:moveTo>
                      <a:pt x="113" y="548"/>
                    </a:moveTo>
                    <a:cubicBezTo>
                      <a:pt x="111" y="552"/>
                      <a:pt x="111" y="552"/>
                      <a:pt x="111" y="552"/>
                    </a:cubicBezTo>
                    <a:cubicBezTo>
                      <a:pt x="115" y="551"/>
                      <a:pt x="115" y="551"/>
                      <a:pt x="115" y="551"/>
                    </a:cubicBezTo>
                    <a:lnTo>
                      <a:pt x="113" y="548"/>
                    </a:lnTo>
                    <a:close/>
                    <a:moveTo>
                      <a:pt x="124" y="545"/>
                    </a:moveTo>
                    <a:cubicBezTo>
                      <a:pt x="117" y="545"/>
                      <a:pt x="121" y="549"/>
                      <a:pt x="123" y="549"/>
                    </a:cubicBezTo>
                    <a:cubicBezTo>
                      <a:pt x="126" y="550"/>
                      <a:pt x="130" y="545"/>
                      <a:pt x="124" y="545"/>
                    </a:cubicBezTo>
                    <a:close/>
                    <a:moveTo>
                      <a:pt x="135" y="547"/>
                    </a:moveTo>
                    <a:cubicBezTo>
                      <a:pt x="133" y="542"/>
                      <a:pt x="133" y="542"/>
                      <a:pt x="133" y="542"/>
                    </a:cubicBezTo>
                    <a:cubicBezTo>
                      <a:pt x="132" y="544"/>
                      <a:pt x="132" y="544"/>
                      <a:pt x="132" y="544"/>
                    </a:cubicBezTo>
                    <a:cubicBezTo>
                      <a:pt x="129" y="541"/>
                      <a:pt x="129" y="541"/>
                      <a:pt x="129" y="541"/>
                    </a:cubicBezTo>
                    <a:cubicBezTo>
                      <a:pt x="127" y="542"/>
                      <a:pt x="127" y="542"/>
                      <a:pt x="127" y="542"/>
                    </a:cubicBezTo>
                    <a:cubicBezTo>
                      <a:pt x="132" y="549"/>
                      <a:pt x="132" y="549"/>
                      <a:pt x="132" y="549"/>
                    </a:cubicBezTo>
                    <a:lnTo>
                      <a:pt x="135" y="547"/>
                    </a:lnTo>
                    <a:close/>
                    <a:moveTo>
                      <a:pt x="118" y="535"/>
                    </a:moveTo>
                    <a:cubicBezTo>
                      <a:pt x="123" y="537"/>
                      <a:pt x="123" y="537"/>
                      <a:pt x="123" y="537"/>
                    </a:cubicBezTo>
                    <a:cubicBezTo>
                      <a:pt x="127" y="536"/>
                      <a:pt x="127" y="536"/>
                      <a:pt x="127" y="536"/>
                    </a:cubicBezTo>
                    <a:cubicBezTo>
                      <a:pt x="127" y="536"/>
                      <a:pt x="127" y="529"/>
                      <a:pt x="123" y="530"/>
                    </a:cubicBezTo>
                    <a:cubicBezTo>
                      <a:pt x="117" y="530"/>
                      <a:pt x="115" y="531"/>
                      <a:pt x="115" y="531"/>
                    </a:cubicBezTo>
                    <a:cubicBezTo>
                      <a:pt x="116" y="535"/>
                      <a:pt x="116" y="535"/>
                      <a:pt x="116" y="535"/>
                    </a:cubicBezTo>
                    <a:lnTo>
                      <a:pt x="118" y="535"/>
                    </a:lnTo>
                    <a:close/>
                    <a:moveTo>
                      <a:pt x="138" y="522"/>
                    </a:moveTo>
                    <a:cubicBezTo>
                      <a:pt x="138" y="522"/>
                      <a:pt x="131" y="524"/>
                      <a:pt x="131" y="528"/>
                    </a:cubicBezTo>
                    <a:cubicBezTo>
                      <a:pt x="131" y="533"/>
                      <a:pt x="138" y="530"/>
                      <a:pt x="145" y="529"/>
                    </a:cubicBezTo>
                    <a:cubicBezTo>
                      <a:pt x="154" y="526"/>
                      <a:pt x="158" y="523"/>
                      <a:pt x="156" y="522"/>
                    </a:cubicBezTo>
                    <a:cubicBezTo>
                      <a:pt x="154" y="521"/>
                      <a:pt x="150" y="521"/>
                      <a:pt x="150" y="521"/>
                    </a:cubicBezTo>
                    <a:cubicBezTo>
                      <a:pt x="150" y="518"/>
                      <a:pt x="150" y="518"/>
                      <a:pt x="150" y="518"/>
                    </a:cubicBezTo>
                    <a:cubicBezTo>
                      <a:pt x="150" y="518"/>
                      <a:pt x="147" y="518"/>
                      <a:pt x="143" y="519"/>
                    </a:cubicBezTo>
                    <a:cubicBezTo>
                      <a:pt x="139" y="519"/>
                      <a:pt x="138" y="522"/>
                      <a:pt x="138" y="522"/>
                    </a:cubicBezTo>
                    <a:close/>
                    <a:moveTo>
                      <a:pt x="139" y="516"/>
                    </a:moveTo>
                    <a:cubicBezTo>
                      <a:pt x="147" y="514"/>
                      <a:pt x="147" y="514"/>
                      <a:pt x="147" y="514"/>
                    </a:cubicBezTo>
                    <a:cubicBezTo>
                      <a:pt x="146" y="508"/>
                      <a:pt x="146" y="508"/>
                      <a:pt x="146" y="508"/>
                    </a:cubicBezTo>
                    <a:cubicBezTo>
                      <a:pt x="146" y="508"/>
                      <a:pt x="142" y="513"/>
                      <a:pt x="139" y="513"/>
                    </a:cubicBezTo>
                    <a:cubicBezTo>
                      <a:pt x="137" y="514"/>
                      <a:pt x="131" y="515"/>
                      <a:pt x="131" y="515"/>
                    </a:cubicBezTo>
                    <a:cubicBezTo>
                      <a:pt x="132" y="516"/>
                      <a:pt x="132" y="516"/>
                      <a:pt x="132" y="516"/>
                    </a:cubicBezTo>
                    <a:lnTo>
                      <a:pt x="139" y="516"/>
                    </a:lnTo>
                    <a:close/>
                    <a:moveTo>
                      <a:pt x="159" y="517"/>
                    </a:moveTo>
                    <a:cubicBezTo>
                      <a:pt x="154" y="518"/>
                      <a:pt x="154" y="518"/>
                      <a:pt x="154" y="518"/>
                    </a:cubicBezTo>
                    <a:cubicBezTo>
                      <a:pt x="153" y="519"/>
                      <a:pt x="153" y="519"/>
                      <a:pt x="153" y="519"/>
                    </a:cubicBezTo>
                    <a:cubicBezTo>
                      <a:pt x="159" y="519"/>
                      <a:pt x="159" y="519"/>
                      <a:pt x="159" y="519"/>
                    </a:cubicBezTo>
                    <a:lnTo>
                      <a:pt x="159" y="517"/>
                    </a:lnTo>
                    <a:close/>
                    <a:moveTo>
                      <a:pt x="162" y="515"/>
                    </a:moveTo>
                    <a:cubicBezTo>
                      <a:pt x="162" y="521"/>
                      <a:pt x="162" y="521"/>
                      <a:pt x="162" y="521"/>
                    </a:cubicBezTo>
                    <a:cubicBezTo>
                      <a:pt x="166" y="519"/>
                      <a:pt x="166" y="519"/>
                      <a:pt x="166" y="519"/>
                    </a:cubicBezTo>
                    <a:lnTo>
                      <a:pt x="162" y="515"/>
                    </a:lnTo>
                    <a:close/>
                    <a:moveTo>
                      <a:pt x="235" y="425"/>
                    </a:moveTo>
                    <a:cubicBezTo>
                      <a:pt x="235" y="425"/>
                      <a:pt x="232" y="424"/>
                      <a:pt x="230" y="425"/>
                    </a:cubicBezTo>
                    <a:cubicBezTo>
                      <a:pt x="227" y="427"/>
                      <a:pt x="229" y="430"/>
                      <a:pt x="229" y="430"/>
                    </a:cubicBezTo>
                    <a:lnTo>
                      <a:pt x="235" y="425"/>
                    </a:lnTo>
                    <a:close/>
                    <a:moveTo>
                      <a:pt x="215" y="439"/>
                    </a:moveTo>
                    <a:cubicBezTo>
                      <a:pt x="216" y="439"/>
                      <a:pt x="214" y="441"/>
                      <a:pt x="214" y="441"/>
                    </a:cubicBezTo>
                    <a:cubicBezTo>
                      <a:pt x="216" y="443"/>
                      <a:pt x="216" y="443"/>
                      <a:pt x="216" y="443"/>
                    </a:cubicBezTo>
                    <a:cubicBezTo>
                      <a:pt x="222" y="439"/>
                      <a:pt x="222" y="439"/>
                      <a:pt x="222" y="439"/>
                    </a:cubicBezTo>
                    <a:cubicBezTo>
                      <a:pt x="222" y="439"/>
                      <a:pt x="220" y="434"/>
                      <a:pt x="214" y="435"/>
                    </a:cubicBezTo>
                    <a:cubicBezTo>
                      <a:pt x="210" y="436"/>
                      <a:pt x="207" y="440"/>
                      <a:pt x="207" y="440"/>
                    </a:cubicBezTo>
                    <a:cubicBezTo>
                      <a:pt x="210" y="442"/>
                      <a:pt x="210" y="442"/>
                      <a:pt x="210" y="442"/>
                    </a:cubicBezTo>
                    <a:cubicBezTo>
                      <a:pt x="210" y="442"/>
                      <a:pt x="214" y="438"/>
                      <a:pt x="215" y="439"/>
                    </a:cubicBezTo>
                    <a:close/>
                    <a:moveTo>
                      <a:pt x="239" y="396"/>
                    </a:moveTo>
                    <a:cubicBezTo>
                      <a:pt x="244" y="390"/>
                      <a:pt x="244" y="390"/>
                      <a:pt x="244" y="390"/>
                    </a:cubicBezTo>
                    <a:cubicBezTo>
                      <a:pt x="242" y="387"/>
                      <a:pt x="242" y="387"/>
                      <a:pt x="242" y="387"/>
                    </a:cubicBezTo>
                    <a:cubicBezTo>
                      <a:pt x="242" y="387"/>
                      <a:pt x="236" y="386"/>
                      <a:pt x="237" y="391"/>
                    </a:cubicBezTo>
                    <a:cubicBezTo>
                      <a:pt x="237" y="396"/>
                      <a:pt x="239" y="396"/>
                      <a:pt x="239" y="396"/>
                    </a:cubicBezTo>
                    <a:close/>
                    <a:moveTo>
                      <a:pt x="242" y="408"/>
                    </a:moveTo>
                    <a:cubicBezTo>
                      <a:pt x="244" y="408"/>
                      <a:pt x="244" y="408"/>
                      <a:pt x="244" y="408"/>
                    </a:cubicBezTo>
                    <a:cubicBezTo>
                      <a:pt x="245" y="406"/>
                      <a:pt x="245" y="406"/>
                      <a:pt x="245" y="406"/>
                    </a:cubicBezTo>
                    <a:cubicBezTo>
                      <a:pt x="244" y="402"/>
                      <a:pt x="244" y="402"/>
                      <a:pt x="244" y="402"/>
                    </a:cubicBezTo>
                    <a:lnTo>
                      <a:pt x="242" y="408"/>
                    </a:lnTo>
                    <a:close/>
                    <a:moveTo>
                      <a:pt x="259" y="367"/>
                    </a:moveTo>
                    <a:cubicBezTo>
                      <a:pt x="259" y="367"/>
                      <a:pt x="254" y="371"/>
                      <a:pt x="253" y="373"/>
                    </a:cubicBezTo>
                    <a:cubicBezTo>
                      <a:pt x="252" y="374"/>
                      <a:pt x="255" y="378"/>
                      <a:pt x="255" y="378"/>
                    </a:cubicBezTo>
                    <a:cubicBezTo>
                      <a:pt x="260" y="373"/>
                      <a:pt x="260" y="373"/>
                      <a:pt x="260" y="373"/>
                    </a:cubicBezTo>
                    <a:cubicBezTo>
                      <a:pt x="265" y="370"/>
                      <a:pt x="265" y="370"/>
                      <a:pt x="265" y="370"/>
                    </a:cubicBezTo>
                    <a:cubicBezTo>
                      <a:pt x="266" y="367"/>
                      <a:pt x="266" y="367"/>
                      <a:pt x="266" y="367"/>
                    </a:cubicBezTo>
                    <a:cubicBezTo>
                      <a:pt x="260" y="370"/>
                      <a:pt x="260" y="370"/>
                      <a:pt x="260" y="370"/>
                    </a:cubicBezTo>
                    <a:lnTo>
                      <a:pt x="259" y="367"/>
                    </a:lnTo>
                    <a:close/>
                    <a:moveTo>
                      <a:pt x="253" y="366"/>
                    </a:moveTo>
                    <a:cubicBezTo>
                      <a:pt x="259" y="363"/>
                      <a:pt x="259" y="363"/>
                      <a:pt x="259" y="363"/>
                    </a:cubicBezTo>
                    <a:cubicBezTo>
                      <a:pt x="260" y="360"/>
                      <a:pt x="260" y="360"/>
                      <a:pt x="260" y="360"/>
                    </a:cubicBezTo>
                    <a:cubicBezTo>
                      <a:pt x="258" y="359"/>
                      <a:pt x="258" y="359"/>
                      <a:pt x="258" y="359"/>
                    </a:cubicBezTo>
                    <a:cubicBezTo>
                      <a:pt x="260" y="357"/>
                      <a:pt x="260" y="357"/>
                      <a:pt x="260" y="357"/>
                    </a:cubicBezTo>
                    <a:cubicBezTo>
                      <a:pt x="259" y="353"/>
                      <a:pt x="259" y="353"/>
                      <a:pt x="259" y="353"/>
                    </a:cubicBezTo>
                    <a:cubicBezTo>
                      <a:pt x="255" y="356"/>
                      <a:pt x="255" y="356"/>
                      <a:pt x="255" y="356"/>
                    </a:cubicBezTo>
                    <a:cubicBezTo>
                      <a:pt x="255" y="358"/>
                      <a:pt x="255" y="358"/>
                      <a:pt x="255" y="358"/>
                    </a:cubicBezTo>
                    <a:cubicBezTo>
                      <a:pt x="252" y="363"/>
                      <a:pt x="252" y="363"/>
                      <a:pt x="252" y="363"/>
                    </a:cubicBezTo>
                    <a:lnTo>
                      <a:pt x="253" y="366"/>
                    </a:lnTo>
                    <a:close/>
                    <a:moveTo>
                      <a:pt x="263" y="349"/>
                    </a:moveTo>
                    <a:cubicBezTo>
                      <a:pt x="262" y="352"/>
                      <a:pt x="262" y="352"/>
                      <a:pt x="262" y="352"/>
                    </a:cubicBezTo>
                    <a:cubicBezTo>
                      <a:pt x="264" y="355"/>
                      <a:pt x="264" y="355"/>
                      <a:pt x="264" y="355"/>
                    </a:cubicBezTo>
                    <a:cubicBezTo>
                      <a:pt x="268" y="350"/>
                      <a:pt x="268" y="350"/>
                      <a:pt x="268" y="350"/>
                    </a:cubicBezTo>
                    <a:lnTo>
                      <a:pt x="263" y="349"/>
                    </a:lnTo>
                    <a:close/>
                    <a:moveTo>
                      <a:pt x="264" y="359"/>
                    </a:moveTo>
                    <a:cubicBezTo>
                      <a:pt x="265" y="357"/>
                      <a:pt x="265" y="357"/>
                      <a:pt x="265" y="357"/>
                    </a:cubicBezTo>
                    <a:cubicBezTo>
                      <a:pt x="262" y="357"/>
                      <a:pt x="262" y="357"/>
                      <a:pt x="262" y="357"/>
                    </a:cubicBezTo>
                    <a:lnTo>
                      <a:pt x="264" y="359"/>
                    </a:lnTo>
                    <a:close/>
                    <a:moveTo>
                      <a:pt x="266" y="343"/>
                    </a:moveTo>
                    <a:cubicBezTo>
                      <a:pt x="269" y="340"/>
                      <a:pt x="269" y="340"/>
                      <a:pt x="269" y="340"/>
                    </a:cubicBezTo>
                    <a:cubicBezTo>
                      <a:pt x="265" y="339"/>
                      <a:pt x="265" y="339"/>
                      <a:pt x="265" y="339"/>
                    </a:cubicBezTo>
                    <a:lnTo>
                      <a:pt x="266" y="343"/>
                    </a:lnTo>
                    <a:close/>
                    <a:moveTo>
                      <a:pt x="261" y="330"/>
                    </a:moveTo>
                    <a:cubicBezTo>
                      <a:pt x="258" y="329"/>
                      <a:pt x="258" y="329"/>
                      <a:pt x="258" y="329"/>
                    </a:cubicBezTo>
                    <a:cubicBezTo>
                      <a:pt x="257" y="333"/>
                      <a:pt x="257" y="333"/>
                      <a:pt x="257" y="333"/>
                    </a:cubicBezTo>
                    <a:cubicBezTo>
                      <a:pt x="260" y="332"/>
                      <a:pt x="260" y="332"/>
                      <a:pt x="260" y="332"/>
                    </a:cubicBezTo>
                    <a:lnTo>
                      <a:pt x="261" y="330"/>
                    </a:lnTo>
                    <a:close/>
                    <a:moveTo>
                      <a:pt x="272" y="351"/>
                    </a:moveTo>
                    <a:cubicBezTo>
                      <a:pt x="269" y="350"/>
                      <a:pt x="269" y="350"/>
                      <a:pt x="269" y="350"/>
                    </a:cubicBezTo>
                    <a:cubicBezTo>
                      <a:pt x="268" y="356"/>
                      <a:pt x="268" y="356"/>
                      <a:pt x="268" y="356"/>
                    </a:cubicBezTo>
                    <a:lnTo>
                      <a:pt x="272" y="351"/>
                    </a:lnTo>
                    <a:close/>
                    <a:moveTo>
                      <a:pt x="280" y="319"/>
                    </a:moveTo>
                    <a:cubicBezTo>
                      <a:pt x="278" y="317"/>
                      <a:pt x="278" y="317"/>
                      <a:pt x="278" y="317"/>
                    </a:cubicBezTo>
                    <a:cubicBezTo>
                      <a:pt x="276" y="320"/>
                      <a:pt x="276" y="320"/>
                      <a:pt x="276" y="320"/>
                    </a:cubicBezTo>
                    <a:lnTo>
                      <a:pt x="280" y="319"/>
                    </a:lnTo>
                    <a:close/>
                    <a:moveTo>
                      <a:pt x="284" y="313"/>
                    </a:moveTo>
                    <a:cubicBezTo>
                      <a:pt x="279" y="312"/>
                      <a:pt x="279" y="312"/>
                      <a:pt x="279" y="312"/>
                    </a:cubicBezTo>
                    <a:cubicBezTo>
                      <a:pt x="276" y="315"/>
                      <a:pt x="276" y="315"/>
                      <a:pt x="276" y="315"/>
                    </a:cubicBezTo>
                    <a:cubicBezTo>
                      <a:pt x="284" y="315"/>
                      <a:pt x="284" y="315"/>
                      <a:pt x="284" y="315"/>
                    </a:cubicBezTo>
                    <a:lnTo>
                      <a:pt x="284" y="313"/>
                    </a:lnTo>
                    <a:close/>
                    <a:moveTo>
                      <a:pt x="301" y="300"/>
                    </a:moveTo>
                    <a:cubicBezTo>
                      <a:pt x="304" y="290"/>
                      <a:pt x="304" y="290"/>
                      <a:pt x="304" y="290"/>
                    </a:cubicBezTo>
                    <a:cubicBezTo>
                      <a:pt x="302" y="289"/>
                      <a:pt x="302" y="289"/>
                      <a:pt x="302" y="289"/>
                    </a:cubicBezTo>
                    <a:cubicBezTo>
                      <a:pt x="301" y="294"/>
                      <a:pt x="301" y="294"/>
                      <a:pt x="301" y="294"/>
                    </a:cubicBezTo>
                    <a:cubicBezTo>
                      <a:pt x="297" y="292"/>
                      <a:pt x="297" y="292"/>
                      <a:pt x="297" y="292"/>
                    </a:cubicBezTo>
                    <a:cubicBezTo>
                      <a:pt x="296" y="297"/>
                      <a:pt x="296" y="297"/>
                      <a:pt x="296" y="297"/>
                    </a:cubicBezTo>
                    <a:cubicBezTo>
                      <a:pt x="300" y="298"/>
                      <a:pt x="300" y="298"/>
                      <a:pt x="300" y="298"/>
                    </a:cubicBezTo>
                    <a:cubicBezTo>
                      <a:pt x="300" y="300"/>
                      <a:pt x="300" y="300"/>
                      <a:pt x="300" y="300"/>
                    </a:cubicBezTo>
                    <a:lnTo>
                      <a:pt x="301" y="300"/>
                    </a:lnTo>
                    <a:close/>
                    <a:moveTo>
                      <a:pt x="305" y="276"/>
                    </a:moveTo>
                    <a:cubicBezTo>
                      <a:pt x="298" y="279"/>
                      <a:pt x="304" y="279"/>
                      <a:pt x="306" y="278"/>
                    </a:cubicBezTo>
                    <a:cubicBezTo>
                      <a:pt x="311" y="276"/>
                      <a:pt x="310" y="273"/>
                      <a:pt x="305" y="276"/>
                    </a:cubicBezTo>
                    <a:close/>
                    <a:moveTo>
                      <a:pt x="262" y="260"/>
                    </a:moveTo>
                    <a:cubicBezTo>
                      <a:pt x="260" y="266"/>
                      <a:pt x="260" y="266"/>
                      <a:pt x="260" y="266"/>
                    </a:cubicBezTo>
                    <a:cubicBezTo>
                      <a:pt x="265" y="263"/>
                      <a:pt x="265" y="263"/>
                      <a:pt x="265" y="263"/>
                    </a:cubicBezTo>
                    <a:lnTo>
                      <a:pt x="262" y="260"/>
                    </a:lnTo>
                    <a:close/>
                    <a:moveTo>
                      <a:pt x="320" y="244"/>
                    </a:moveTo>
                    <a:cubicBezTo>
                      <a:pt x="327" y="242"/>
                      <a:pt x="327" y="242"/>
                      <a:pt x="327" y="242"/>
                    </a:cubicBezTo>
                    <a:cubicBezTo>
                      <a:pt x="327" y="241"/>
                      <a:pt x="327" y="241"/>
                      <a:pt x="327" y="241"/>
                    </a:cubicBezTo>
                    <a:cubicBezTo>
                      <a:pt x="320" y="239"/>
                      <a:pt x="320" y="239"/>
                      <a:pt x="320" y="239"/>
                    </a:cubicBezTo>
                    <a:lnTo>
                      <a:pt x="320" y="244"/>
                    </a:lnTo>
                    <a:close/>
                    <a:moveTo>
                      <a:pt x="323" y="236"/>
                    </a:moveTo>
                    <a:cubicBezTo>
                      <a:pt x="327" y="239"/>
                      <a:pt x="327" y="239"/>
                      <a:pt x="327" y="239"/>
                    </a:cubicBezTo>
                    <a:cubicBezTo>
                      <a:pt x="327" y="238"/>
                      <a:pt x="324" y="234"/>
                      <a:pt x="324" y="234"/>
                    </a:cubicBezTo>
                    <a:lnTo>
                      <a:pt x="323" y="236"/>
                    </a:lnTo>
                    <a:close/>
                    <a:moveTo>
                      <a:pt x="353" y="201"/>
                    </a:moveTo>
                    <a:cubicBezTo>
                      <a:pt x="346" y="195"/>
                      <a:pt x="347" y="207"/>
                      <a:pt x="347" y="207"/>
                    </a:cubicBezTo>
                    <a:cubicBezTo>
                      <a:pt x="344" y="210"/>
                      <a:pt x="344" y="210"/>
                      <a:pt x="344" y="210"/>
                    </a:cubicBezTo>
                    <a:cubicBezTo>
                      <a:pt x="345" y="210"/>
                      <a:pt x="345" y="210"/>
                      <a:pt x="345" y="210"/>
                    </a:cubicBezTo>
                    <a:cubicBezTo>
                      <a:pt x="351" y="208"/>
                      <a:pt x="351" y="208"/>
                      <a:pt x="351" y="208"/>
                    </a:cubicBezTo>
                    <a:cubicBezTo>
                      <a:pt x="351" y="208"/>
                      <a:pt x="358" y="206"/>
                      <a:pt x="353" y="201"/>
                    </a:cubicBezTo>
                    <a:close/>
                    <a:moveTo>
                      <a:pt x="343" y="217"/>
                    </a:moveTo>
                    <a:cubicBezTo>
                      <a:pt x="348" y="213"/>
                      <a:pt x="348" y="213"/>
                      <a:pt x="348" y="213"/>
                    </a:cubicBezTo>
                    <a:cubicBezTo>
                      <a:pt x="343" y="214"/>
                      <a:pt x="343" y="214"/>
                      <a:pt x="343" y="214"/>
                    </a:cubicBezTo>
                    <a:lnTo>
                      <a:pt x="343" y="217"/>
                    </a:lnTo>
                    <a:close/>
                    <a:moveTo>
                      <a:pt x="350" y="229"/>
                    </a:moveTo>
                    <a:cubicBezTo>
                      <a:pt x="348" y="232"/>
                      <a:pt x="348" y="232"/>
                      <a:pt x="348" y="232"/>
                    </a:cubicBezTo>
                    <a:cubicBezTo>
                      <a:pt x="354" y="232"/>
                      <a:pt x="354" y="232"/>
                      <a:pt x="354" y="232"/>
                    </a:cubicBezTo>
                    <a:lnTo>
                      <a:pt x="350" y="229"/>
                    </a:lnTo>
                    <a:close/>
                    <a:moveTo>
                      <a:pt x="265" y="251"/>
                    </a:moveTo>
                    <a:cubicBezTo>
                      <a:pt x="265" y="251"/>
                      <a:pt x="270" y="250"/>
                      <a:pt x="271" y="247"/>
                    </a:cubicBezTo>
                    <a:cubicBezTo>
                      <a:pt x="271" y="245"/>
                      <a:pt x="270" y="242"/>
                      <a:pt x="271" y="242"/>
                    </a:cubicBezTo>
                    <a:cubicBezTo>
                      <a:pt x="272" y="242"/>
                      <a:pt x="275" y="238"/>
                      <a:pt x="275" y="238"/>
                    </a:cubicBezTo>
                    <a:cubicBezTo>
                      <a:pt x="275" y="238"/>
                      <a:pt x="281" y="237"/>
                      <a:pt x="281" y="232"/>
                    </a:cubicBezTo>
                    <a:cubicBezTo>
                      <a:pt x="281" y="226"/>
                      <a:pt x="278" y="227"/>
                      <a:pt x="278" y="227"/>
                    </a:cubicBezTo>
                    <a:cubicBezTo>
                      <a:pt x="274" y="235"/>
                      <a:pt x="274" y="235"/>
                      <a:pt x="274" y="235"/>
                    </a:cubicBezTo>
                    <a:cubicBezTo>
                      <a:pt x="272" y="232"/>
                      <a:pt x="272" y="232"/>
                      <a:pt x="272" y="232"/>
                    </a:cubicBezTo>
                    <a:cubicBezTo>
                      <a:pt x="272" y="232"/>
                      <a:pt x="266" y="239"/>
                      <a:pt x="266" y="242"/>
                    </a:cubicBezTo>
                    <a:cubicBezTo>
                      <a:pt x="265" y="245"/>
                      <a:pt x="266" y="247"/>
                      <a:pt x="266" y="248"/>
                    </a:cubicBezTo>
                    <a:cubicBezTo>
                      <a:pt x="266" y="249"/>
                      <a:pt x="264" y="250"/>
                      <a:pt x="265" y="251"/>
                    </a:cubicBezTo>
                    <a:close/>
                    <a:moveTo>
                      <a:pt x="282" y="233"/>
                    </a:moveTo>
                    <a:cubicBezTo>
                      <a:pt x="282" y="233"/>
                      <a:pt x="287" y="233"/>
                      <a:pt x="289" y="232"/>
                    </a:cubicBezTo>
                    <a:cubicBezTo>
                      <a:pt x="292" y="231"/>
                      <a:pt x="290" y="226"/>
                      <a:pt x="290" y="226"/>
                    </a:cubicBezTo>
                    <a:cubicBezTo>
                      <a:pt x="290" y="226"/>
                      <a:pt x="297" y="222"/>
                      <a:pt x="301" y="221"/>
                    </a:cubicBezTo>
                    <a:cubicBezTo>
                      <a:pt x="303" y="220"/>
                      <a:pt x="298" y="215"/>
                      <a:pt x="296" y="215"/>
                    </a:cubicBezTo>
                    <a:cubicBezTo>
                      <a:pt x="293" y="215"/>
                      <a:pt x="298" y="219"/>
                      <a:pt x="296" y="220"/>
                    </a:cubicBezTo>
                    <a:cubicBezTo>
                      <a:pt x="294" y="221"/>
                      <a:pt x="292" y="215"/>
                      <a:pt x="292" y="215"/>
                    </a:cubicBezTo>
                    <a:cubicBezTo>
                      <a:pt x="288" y="219"/>
                      <a:pt x="288" y="219"/>
                      <a:pt x="288" y="219"/>
                    </a:cubicBezTo>
                    <a:cubicBezTo>
                      <a:pt x="285" y="220"/>
                      <a:pt x="285" y="220"/>
                      <a:pt x="285" y="220"/>
                    </a:cubicBezTo>
                    <a:cubicBezTo>
                      <a:pt x="285" y="223"/>
                      <a:pt x="285" y="223"/>
                      <a:pt x="285" y="223"/>
                    </a:cubicBezTo>
                    <a:cubicBezTo>
                      <a:pt x="282" y="224"/>
                      <a:pt x="282" y="224"/>
                      <a:pt x="282" y="224"/>
                    </a:cubicBezTo>
                    <a:cubicBezTo>
                      <a:pt x="282" y="227"/>
                      <a:pt x="282" y="227"/>
                      <a:pt x="282" y="227"/>
                    </a:cubicBezTo>
                    <a:cubicBezTo>
                      <a:pt x="284" y="229"/>
                      <a:pt x="284" y="229"/>
                      <a:pt x="284" y="229"/>
                    </a:cubicBezTo>
                    <a:lnTo>
                      <a:pt x="282" y="233"/>
                    </a:lnTo>
                    <a:close/>
                    <a:moveTo>
                      <a:pt x="303" y="221"/>
                    </a:moveTo>
                    <a:cubicBezTo>
                      <a:pt x="303" y="223"/>
                      <a:pt x="301" y="226"/>
                      <a:pt x="301" y="226"/>
                    </a:cubicBezTo>
                    <a:cubicBezTo>
                      <a:pt x="310" y="222"/>
                      <a:pt x="310" y="222"/>
                      <a:pt x="310" y="222"/>
                    </a:cubicBezTo>
                    <a:cubicBezTo>
                      <a:pt x="311" y="216"/>
                      <a:pt x="311" y="216"/>
                      <a:pt x="311" y="216"/>
                    </a:cubicBezTo>
                    <a:cubicBezTo>
                      <a:pt x="313" y="220"/>
                      <a:pt x="313" y="220"/>
                      <a:pt x="313" y="220"/>
                    </a:cubicBezTo>
                    <a:cubicBezTo>
                      <a:pt x="322" y="207"/>
                      <a:pt x="322" y="207"/>
                      <a:pt x="322" y="207"/>
                    </a:cubicBezTo>
                    <a:cubicBezTo>
                      <a:pt x="322" y="207"/>
                      <a:pt x="317" y="208"/>
                      <a:pt x="317" y="207"/>
                    </a:cubicBezTo>
                    <a:cubicBezTo>
                      <a:pt x="317" y="213"/>
                      <a:pt x="317" y="213"/>
                      <a:pt x="317" y="213"/>
                    </a:cubicBezTo>
                    <a:cubicBezTo>
                      <a:pt x="312" y="209"/>
                      <a:pt x="312" y="209"/>
                      <a:pt x="312" y="209"/>
                    </a:cubicBezTo>
                    <a:cubicBezTo>
                      <a:pt x="305" y="213"/>
                      <a:pt x="305" y="213"/>
                      <a:pt x="305" y="213"/>
                    </a:cubicBezTo>
                    <a:cubicBezTo>
                      <a:pt x="306" y="217"/>
                      <a:pt x="306" y="217"/>
                      <a:pt x="306" y="217"/>
                    </a:cubicBezTo>
                    <a:cubicBezTo>
                      <a:pt x="303" y="216"/>
                      <a:pt x="303" y="216"/>
                      <a:pt x="303" y="216"/>
                    </a:cubicBezTo>
                    <a:cubicBezTo>
                      <a:pt x="303" y="216"/>
                      <a:pt x="304" y="219"/>
                      <a:pt x="303" y="221"/>
                    </a:cubicBezTo>
                    <a:close/>
                    <a:moveTo>
                      <a:pt x="362" y="187"/>
                    </a:moveTo>
                    <a:cubicBezTo>
                      <a:pt x="362" y="187"/>
                      <a:pt x="366" y="187"/>
                      <a:pt x="367" y="186"/>
                    </a:cubicBezTo>
                    <a:cubicBezTo>
                      <a:pt x="369" y="186"/>
                      <a:pt x="372" y="184"/>
                      <a:pt x="372" y="184"/>
                    </a:cubicBezTo>
                    <a:cubicBezTo>
                      <a:pt x="367" y="178"/>
                      <a:pt x="367" y="178"/>
                      <a:pt x="367" y="178"/>
                    </a:cubicBezTo>
                    <a:lnTo>
                      <a:pt x="362" y="187"/>
                    </a:lnTo>
                    <a:close/>
                    <a:moveTo>
                      <a:pt x="378" y="177"/>
                    </a:moveTo>
                    <a:cubicBezTo>
                      <a:pt x="377" y="175"/>
                      <a:pt x="376" y="174"/>
                      <a:pt x="374" y="174"/>
                    </a:cubicBezTo>
                    <a:cubicBezTo>
                      <a:pt x="371" y="173"/>
                      <a:pt x="369" y="175"/>
                      <a:pt x="369" y="175"/>
                    </a:cubicBezTo>
                    <a:cubicBezTo>
                      <a:pt x="369" y="175"/>
                      <a:pt x="370" y="182"/>
                      <a:pt x="373" y="182"/>
                    </a:cubicBezTo>
                    <a:cubicBezTo>
                      <a:pt x="375" y="183"/>
                      <a:pt x="379" y="178"/>
                      <a:pt x="378" y="177"/>
                    </a:cubicBezTo>
                    <a:close/>
                    <a:moveTo>
                      <a:pt x="352" y="177"/>
                    </a:moveTo>
                    <a:cubicBezTo>
                      <a:pt x="355" y="179"/>
                      <a:pt x="357" y="179"/>
                      <a:pt x="357" y="179"/>
                    </a:cubicBezTo>
                    <a:cubicBezTo>
                      <a:pt x="357" y="174"/>
                      <a:pt x="357" y="174"/>
                      <a:pt x="357" y="174"/>
                    </a:cubicBezTo>
                    <a:cubicBezTo>
                      <a:pt x="350" y="171"/>
                      <a:pt x="350" y="171"/>
                      <a:pt x="350" y="171"/>
                    </a:cubicBezTo>
                    <a:cubicBezTo>
                      <a:pt x="348" y="173"/>
                      <a:pt x="348" y="173"/>
                      <a:pt x="348" y="173"/>
                    </a:cubicBezTo>
                    <a:cubicBezTo>
                      <a:pt x="348" y="173"/>
                      <a:pt x="350" y="177"/>
                      <a:pt x="352" y="177"/>
                    </a:cubicBezTo>
                    <a:close/>
                    <a:moveTo>
                      <a:pt x="348" y="178"/>
                    </a:moveTo>
                    <a:cubicBezTo>
                      <a:pt x="344" y="183"/>
                      <a:pt x="344" y="183"/>
                      <a:pt x="344" y="183"/>
                    </a:cubicBezTo>
                    <a:cubicBezTo>
                      <a:pt x="348" y="188"/>
                      <a:pt x="348" y="188"/>
                      <a:pt x="348" y="188"/>
                    </a:cubicBezTo>
                    <a:cubicBezTo>
                      <a:pt x="344" y="189"/>
                      <a:pt x="344" y="189"/>
                      <a:pt x="344" y="189"/>
                    </a:cubicBezTo>
                    <a:cubicBezTo>
                      <a:pt x="337" y="201"/>
                      <a:pt x="337" y="201"/>
                      <a:pt x="337" y="201"/>
                    </a:cubicBezTo>
                    <a:cubicBezTo>
                      <a:pt x="343" y="185"/>
                      <a:pt x="343" y="185"/>
                      <a:pt x="343" y="185"/>
                    </a:cubicBezTo>
                    <a:cubicBezTo>
                      <a:pt x="341" y="184"/>
                      <a:pt x="341" y="184"/>
                      <a:pt x="341" y="184"/>
                    </a:cubicBezTo>
                    <a:cubicBezTo>
                      <a:pt x="341" y="184"/>
                      <a:pt x="342" y="177"/>
                      <a:pt x="338" y="175"/>
                    </a:cubicBezTo>
                    <a:cubicBezTo>
                      <a:pt x="333" y="173"/>
                      <a:pt x="333" y="185"/>
                      <a:pt x="333" y="185"/>
                    </a:cubicBezTo>
                    <a:cubicBezTo>
                      <a:pt x="330" y="186"/>
                      <a:pt x="330" y="186"/>
                      <a:pt x="330" y="186"/>
                    </a:cubicBezTo>
                    <a:cubicBezTo>
                      <a:pt x="331" y="197"/>
                      <a:pt x="331" y="197"/>
                      <a:pt x="331" y="197"/>
                    </a:cubicBezTo>
                    <a:cubicBezTo>
                      <a:pt x="324" y="202"/>
                      <a:pt x="324" y="202"/>
                      <a:pt x="324" y="202"/>
                    </a:cubicBezTo>
                    <a:cubicBezTo>
                      <a:pt x="325" y="206"/>
                      <a:pt x="325" y="206"/>
                      <a:pt x="325" y="206"/>
                    </a:cubicBezTo>
                    <a:cubicBezTo>
                      <a:pt x="319" y="218"/>
                      <a:pt x="319" y="218"/>
                      <a:pt x="319" y="218"/>
                    </a:cubicBezTo>
                    <a:cubicBezTo>
                      <a:pt x="322" y="218"/>
                      <a:pt x="322" y="218"/>
                      <a:pt x="322" y="218"/>
                    </a:cubicBezTo>
                    <a:cubicBezTo>
                      <a:pt x="331" y="208"/>
                      <a:pt x="331" y="208"/>
                      <a:pt x="331" y="208"/>
                    </a:cubicBezTo>
                    <a:cubicBezTo>
                      <a:pt x="328" y="214"/>
                      <a:pt x="328" y="214"/>
                      <a:pt x="328" y="214"/>
                    </a:cubicBezTo>
                    <a:cubicBezTo>
                      <a:pt x="335" y="215"/>
                      <a:pt x="335" y="215"/>
                      <a:pt x="335" y="215"/>
                    </a:cubicBezTo>
                    <a:cubicBezTo>
                      <a:pt x="336" y="215"/>
                      <a:pt x="337" y="209"/>
                      <a:pt x="337" y="209"/>
                    </a:cubicBezTo>
                    <a:cubicBezTo>
                      <a:pt x="340" y="211"/>
                      <a:pt x="340" y="211"/>
                      <a:pt x="340" y="211"/>
                    </a:cubicBezTo>
                    <a:cubicBezTo>
                      <a:pt x="340" y="211"/>
                      <a:pt x="345" y="202"/>
                      <a:pt x="346" y="200"/>
                    </a:cubicBezTo>
                    <a:cubicBezTo>
                      <a:pt x="347" y="198"/>
                      <a:pt x="354" y="198"/>
                      <a:pt x="354" y="198"/>
                    </a:cubicBezTo>
                    <a:cubicBezTo>
                      <a:pt x="354" y="198"/>
                      <a:pt x="357" y="193"/>
                      <a:pt x="358" y="188"/>
                    </a:cubicBezTo>
                    <a:cubicBezTo>
                      <a:pt x="359" y="184"/>
                      <a:pt x="348" y="178"/>
                      <a:pt x="348" y="178"/>
                    </a:cubicBezTo>
                    <a:close/>
                    <a:moveTo>
                      <a:pt x="330" y="179"/>
                    </a:moveTo>
                    <a:cubicBezTo>
                      <a:pt x="330" y="174"/>
                      <a:pt x="330" y="174"/>
                      <a:pt x="330" y="174"/>
                    </a:cubicBezTo>
                    <a:cubicBezTo>
                      <a:pt x="335" y="174"/>
                      <a:pt x="335" y="174"/>
                      <a:pt x="335" y="174"/>
                    </a:cubicBezTo>
                    <a:cubicBezTo>
                      <a:pt x="343" y="162"/>
                      <a:pt x="343" y="162"/>
                      <a:pt x="343" y="162"/>
                    </a:cubicBezTo>
                    <a:cubicBezTo>
                      <a:pt x="343" y="162"/>
                      <a:pt x="351" y="146"/>
                      <a:pt x="341" y="155"/>
                    </a:cubicBezTo>
                    <a:cubicBezTo>
                      <a:pt x="331" y="162"/>
                      <a:pt x="326" y="174"/>
                      <a:pt x="327" y="177"/>
                    </a:cubicBezTo>
                    <a:cubicBezTo>
                      <a:pt x="328" y="181"/>
                      <a:pt x="330" y="179"/>
                      <a:pt x="330" y="179"/>
                    </a:cubicBezTo>
                    <a:close/>
                    <a:moveTo>
                      <a:pt x="312" y="197"/>
                    </a:moveTo>
                    <a:cubicBezTo>
                      <a:pt x="315" y="194"/>
                      <a:pt x="319" y="192"/>
                      <a:pt x="319" y="192"/>
                    </a:cubicBezTo>
                    <a:cubicBezTo>
                      <a:pt x="313" y="199"/>
                      <a:pt x="313" y="199"/>
                      <a:pt x="313" y="199"/>
                    </a:cubicBezTo>
                    <a:cubicBezTo>
                      <a:pt x="317" y="201"/>
                      <a:pt x="317" y="201"/>
                      <a:pt x="317" y="201"/>
                    </a:cubicBezTo>
                    <a:cubicBezTo>
                      <a:pt x="327" y="191"/>
                      <a:pt x="327" y="191"/>
                      <a:pt x="327" y="191"/>
                    </a:cubicBezTo>
                    <a:cubicBezTo>
                      <a:pt x="325" y="187"/>
                      <a:pt x="325" y="187"/>
                      <a:pt x="325" y="187"/>
                    </a:cubicBezTo>
                    <a:cubicBezTo>
                      <a:pt x="327" y="185"/>
                      <a:pt x="327" y="185"/>
                      <a:pt x="327" y="185"/>
                    </a:cubicBezTo>
                    <a:cubicBezTo>
                      <a:pt x="322" y="171"/>
                      <a:pt x="322" y="171"/>
                      <a:pt x="322" y="171"/>
                    </a:cubicBezTo>
                    <a:cubicBezTo>
                      <a:pt x="315" y="172"/>
                      <a:pt x="315" y="172"/>
                      <a:pt x="315" y="172"/>
                    </a:cubicBezTo>
                    <a:cubicBezTo>
                      <a:pt x="320" y="183"/>
                      <a:pt x="320" y="183"/>
                      <a:pt x="320" y="183"/>
                    </a:cubicBezTo>
                    <a:cubicBezTo>
                      <a:pt x="317" y="183"/>
                      <a:pt x="317" y="183"/>
                      <a:pt x="317" y="183"/>
                    </a:cubicBezTo>
                    <a:cubicBezTo>
                      <a:pt x="317" y="188"/>
                      <a:pt x="317" y="188"/>
                      <a:pt x="317" y="188"/>
                    </a:cubicBezTo>
                    <a:cubicBezTo>
                      <a:pt x="309" y="186"/>
                      <a:pt x="309" y="186"/>
                      <a:pt x="309" y="186"/>
                    </a:cubicBezTo>
                    <a:cubicBezTo>
                      <a:pt x="309" y="186"/>
                      <a:pt x="306" y="191"/>
                      <a:pt x="305" y="194"/>
                    </a:cubicBezTo>
                    <a:cubicBezTo>
                      <a:pt x="303" y="199"/>
                      <a:pt x="308" y="198"/>
                      <a:pt x="312" y="197"/>
                    </a:cubicBezTo>
                    <a:close/>
                    <a:moveTo>
                      <a:pt x="309" y="186"/>
                    </a:moveTo>
                    <a:cubicBezTo>
                      <a:pt x="309" y="186"/>
                      <a:pt x="309" y="186"/>
                      <a:pt x="309" y="186"/>
                    </a:cubicBezTo>
                    <a:moveTo>
                      <a:pt x="313" y="206"/>
                    </a:moveTo>
                    <a:cubicBezTo>
                      <a:pt x="322" y="206"/>
                      <a:pt x="319" y="202"/>
                      <a:pt x="313" y="202"/>
                    </a:cubicBezTo>
                    <a:cubicBezTo>
                      <a:pt x="307" y="202"/>
                      <a:pt x="306" y="206"/>
                      <a:pt x="313" y="206"/>
                    </a:cubicBezTo>
                    <a:close/>
                    <a:moveTo>
                      <a:pt x="361" y="157"/>
                    </a:moveTo>
                    <a:cubicBezTo>
                      <a:pt x="367" y="159"/>
                      <a:pt x="367" y="159"/>
                      <a:pt x="367" y="159"/>
                    </a:cubicBezTo>
                    <a:cubicBezTo>
                      <a:pt x="360" y="165"/>
                      <a:pt x="360" y="165"/>
                      <a:pt x="360" y="165"/>
                    </a:cubicBezTo>
                    <a:cubicBezTo>
                      <a:pt x="362" y="168"/>
                      <a:pt x="362" y="168"/>
                      <a:pt x="362" y="168"/>
                    </a:cubicBezTo>
                    <a:cubicBezTo>
                      <a:pt x="362" y="168"/>
                      <a:pt x="368" y="170"/>
                      <a:pt x="371" y="168"/>
                    </a:cubicBezTo>
                    <a:cubicBezTo>
                      <a:pt x="376" y="157"/>
                      <a:pt x="376" y="157"/>
                      <a:pt x="376" y="157"/>
                    </a:cubicBezTo>
                    <a:cubicBezTo>
                      <a:pt x="387" y="158"/>
                      <a:pt x="387" y="158"/>
                      <a:pt x="387" y="158"/>
                    </a:cubicBezTo>
                    <a:cubicBezTo>
                      <a:pt x="385" y="151"/>
                      <a:pt x="385" y="151"/>
                      <a:pt x="385" y="151"/>
                    </a:cubicBezTo>
                    <a:cubicBezTo>
                      <a:pt x="389" y="144"/>
                      <a:pt x="389" y="144"/>
                      <a:pt x="389" y="144"/>
                    </a:cubicBezTo>
                    <a:cubicBezTo>
                      <a:pt x="389" y="144"/>
                      <a:pt x="391" y="135"/>
                      <a:pt x="384" y="132"/>
                    </a:cubicBezTo>
                    <a:cubicBezTo>
                      <a:pt x="376" y="129"/>
                      <a:pt x="370" y="139"/>
                      <a:pt x="370" y="139"/>
                    </a:cubicBezTo>
                    <a:cubicBezTo>
                      <a:pt x="375" y="145"/>
                      <a:pt x="375" y="145"/>
                      <a:pt x="375" y="145"/>
                    </a:cubicBezTo>
                    <a:cubicBezTo>
                      <a:pt x="371" y="143"/>
                      <a:pt x="371" y="143"/>
                      <a:pt x="371" y="143"/>
                    </a:cubicBezTo>
                    <a:cubicBezTo>
                      <a:pt x="371" y="143"/>
                      <a:pt x="362" y="144"/>
                      <a:pt x="362" y="145"/>
                    </a:cubicBezTo>
                    <a:cubicBezTo>
                      <a:pt x="362" y="150"/>
                      <a:pt x="362" y="150"/>
                      <a:pt x="362" y="150"/>
                    </a:cubicBezTo>
                    <a:cubicBezTo>
                      <a:pt x="367" y="152"/>
                      <a:pt x="367" y="152"/>
                      <a:pt x="367" y="152"/>
                    </a:cubicBezTo>
                    <a:cubicBezTo>
                      <a:pt x="360" y="155"/>
                      <a:pt x="360" y="155"/>
                      <a:pt x="360" y="155"/>
                    </a:cubicBezTo>
                    <a:lnTo>
                      <a:pt x="361" y="157"/>
                    </a:lnTo>
                    <a:close/>
                    <a:moveTo>
                      <a:pt x="401" y="132"/>
                    </a:moveTo>
                    <a:cubicBezTo>
                      <a:pt x="406" y="130"/>
                      <a:pt x="406" y="127"/>
                      <a:pt x="406" y="127"/>
                    </a:cubicBezTo>
                    <a:cubicBezTo>
                      <a:pt x="404" y="127"/>
                      <a:pt x="404" y="127"/>
                      <a:pt x="404" y="127"/>
                    </a:cubicBezTo>
                    <a:cubicBezTo>
                      <a:pt x="404" y="127"/>
                      <a:pt x="405" y="121"/>
                      <a:pt x="407" y="120"/>
                    </a:cubicBezTo>
                    <a:cubicBezTo>
                      <a:pt x="408" y="119"/>
                      <a:pt x="410" y="118"/>
                      <a:pt x="410" y="118"/>
                    </a:cubicBezTo>
                    <a:cubicBezTo>
                      <a:pt x="410" y="118"/>
                      <a:pt x="408" y="111"/>
                      <a:pt x="403" y="112"/>
                    </a:cubicBezTo>
                    <a:cubicBezTo>
                      <a:pt x="399" y="112"/>
                      <a:pt x="401" y="119"/>
                      <a:pt x="401" y="119"/>
                    </a:cubicBezTo>
                    <a:cubicBezTo>
                      <a:pt x="397" y="118"/>
                      <a:pt x="397" y="118"/>
                      <a:pt x="397" y="118"/>
                    </a:cubicBezTo>
                    <a:cubicBezTo>
                      <a:pt x="393" y="121"/>
                      <a:pt x="393" y="121"/>
                      <a:pt x="393" y="121"/>
                    </a:cubicBezTo>
                    <a:cubicBezTo>
                      <a:pt x="394" y="124"/>
                      <a:pt x="394" y="124"/>
                      <a:pt x="394" y="124"/>
                    </a:cubicBezTo>
                    <a:cubicBezTo>
                      <a:pt x="390" y="123"/>
                      <a:pt x="390" y="123"/>
                      <a:pt x="390" y="123"/>
                    </a:cubicBezTo>
                    <a:cubicBezTo>
                      <a:pt x="389" y="126"/>
                      <a:pt x="389" y="126"/>
                      <a:pt x="389" y="126"/>
                    </a:cubicBezTo>
                    <a:cubicBezTo>
                      <a:pt x="390" y="129"/>
                      <a:pt x="390" y="129"/>
                      <a:pt x="390" y="129"/>
                    </a:cubicBezTo>
                    <a:cubicBezTo>
                      <a:pt x="388" y="128"/>
                      <a:pt x="388" y="128"/>
                      <a:pt x="388" y="128"/>
                    </a:cubicBezTo>
                    <a:cubicBezTo>
                      <a:pt x="388" y="132"/>
                      <a:pt x="388" y="132"/>
                      <a:pt x="388" y="132"/>
                    </a:cubicBezTo>
                    <a:cubicBezTo>
                      <a:pt x="388" y="132"/>
                      <a:pt x="395" y="134"/>
                      <a:pt x="401" y="132"/>
                    </a:cubicBezTo>
                    <a:close/>
                    <a:moveTo>
                      <a:pt x="408" y="111"/>
                    </a:moveTo>
                    <a:cubicBezTo>
                      <a:pt x="410" y="112"/>
                      <a:pt x="411" y="112"/>
                      <a:pt x="411" y="112"/>
                    </a:cubicBezTo>
                    <a:cubicBezTo>
                      <a:pt x="412" y="115"/>
                      <a:pt x="412" y="115"/>
                      <a:pt x="412" y="115"/>
                    </a:cubicBezTo>
                    <a:cubicBezTo>
                      <a:pt x="412" y="115"/>
                      <a:pt x="420" y="113"/>
                      <a:pt x="420" y="109"/>
                    </a:cubicBezTo>
                    <a:cubicBezTo>
                      <a:pt x="420" y="106"/>
                      <a:pt x="420" y="106"/>
                      <a:pt x="420" y="106"/>
                    </a:cubicBezTo>
                    <a:cubicBezTo>
                      <a:pt x="420" y="106"/>
                      <a:pt x="426" y="104"/>
                      <a:pt x="424" y="102"/>
                    </a:cubicBezTo>
                    <a:cubicBezTo>
                      <a:pt x="423" y="99"/>
                      <a:pt x="418" y="100"/>
                      <a:pt x="418" y="100"/>
                    </a:cubicBezTo>
                    <a:cubicBezTo>
                      <a:pt x="418" y="100"/>
                      <a:pt x="416" y="96"/>
                      <a:pt x="411" y="97"/>
                    </a:cubicBezTo>
                    <a:cubicBezTo>
                      <a:pt x="408" y="98"/>
                      <a:pt x="403" y="106"/>
                      <a:pt x="403" y="106"/>
                    </a:cubicBezTo>
                    <a:cubicBezTo>
                      <a:pt x="403" y="106"/>
                      <a:pt x="406" y="110"/>
                      <a:pt x="408" y="111"/>
                    </a:cubicBezTo>
                    <a:close/>
                    <a:moveTo>
                      <a:pt x="424" y="106"/>
                    </a:moveTo>
                    <a:cubicBezTo>
                      <a:pt x="421" y="111"/>
                      <a:pt x="421" y="111"/>
                      <a:pt x="421" y="111"/>
                    </a:cubicBezTo>
                    <a:cubicBezTo>
                      <a:pt x="428" y="111"/>
                      <a:pt x="428" y="111"/>
                      <a:pt x="428" y="111"/>
                    </a:cubicBezTo>
                    <a:cubicBezTo>
                      <a:pt x="433" y="100"/>
                      <a:pt x="433" y="100"/>
                      <a:pt x="433" y="100"/>
                    </a:cubicBezTo>
                    <a:cubicBezTo>
                      <a:pt x="429" y="100"/>
                      <a:pt x="429" y="100"/>
                      <a:pt x="429" y="100"/>
                    </a:cubicBezTo>
                    <a:lnTo>
                      <a:pt x="424" y="106"/>
                    </a:lnTo>
                    <a:close/>
                    <a:moveTo>
                      <a:pt x="426" y="97"/>
                    </a:moveTo>
                    <a:cubicBezTo>
                      <a:pt x="433" y="98"/>
                      <a:pt x="434" y="97"/>
                      <a:pt x="433" y="93"/>
                    </a:cubicBezTo>
                    <a:cubicBezTo>
                      <a:pt x="431" y="90"/>
                      <a:pt x="427" y="87"/>
                      <a:pt x="427" y="87"/>
                    </a:cubicBezTo>
                    <a:cubicBezTo>
                      <a:pt x="426" y="91"/>
                      <a:pt x="426" y="91"/>
                      <a:pt x="426" y="91"/>
                    </a:cubicBezTo>
                    <a:cubicBezTo>
                      <a:pt x="422" y="83"/>
                      <a:pt x="422" y="83"/>
                      <a:pt x="422" y="83"/>
                    </a:cubicBezTo>
                    <a:cubicBezTo>
                      <a:pt x="420" y="87"/>
                      <a:pt x="420" y="87"/>
                      <a:pt x="420" y="87"/>
                    </a:cubicBezTo>
                    <a:cubicBezTo>
                      <a:pt x="424" y="94"/>
                      <a:pt x="424" y="94"/>
                      <a:pt x="424" y="94"/>
                    </a:cubicBezTo>
                    <a:cubicBezTo>
                      <a:pt x="424" y="94"/>
                      <a:pt x="422" y="96"/>
                      <a:pt x="426" y="97"/>
                    </a:cubicBezTo>
                    <a:close/>
                    <a:moveTo>
                      <a:pt x="421" y="95"/>
                    </a:moveTo>
                    <a:cubicBezTo>
                      <a:pt x="417" y="91"/>
                      <a:pt x="417" y="91"/>
                      <a:pt x="417" y="91"/>
                    </a:cubicBezTo>
                    <a:cubicBezTo>
                      <a:pt x="417" y="94"/>
                      <a:pt x="417" y="94"/>
                      <a:pt x="417" y="94"/>
                    </a:cubicBezTo>
                    <a:lnTo>
                      <a:pt x="421" y="95"/>
                    </a:lnTo>
                    <a:close/>
                    <a:moveTo>
                      <a:pt x="413" y="95"/>
                    </a:moveTo>
                    <a:cubicBezTo>
                      <a:pt x="415" y="87"/>
                      <a:pt x="415" y="87"/>
                      <a:pt x="415" y="87"/>
                    </a:cubicBezTo>
                    <a:cubicBezTo>
                      <a:pt x="409" y="84"/>
                      <a:pt x="409" y="84"/>
                      <a:pt x="409" y="84"/>
                    </a:cubicBezTo>
                    <a:cubicBezTo>
                      <a:pt x="409" y="95"/>
                      <a:pt x="409" y="95"/>
                      <a:pt x="409" y="95"/>
                    </a:cubicBezTo>
                    <a:lnTo>
                      <a:pt x="413" y="95"/>
                    </a:lnTo>
                    <a:close/>
                    <a:moveTo>
                      <a:pt x="407" y="97"/>
                    </a:moveTo>
                    <a:cubicBezTo>
                      <a:pt x="403" y="94"/>
                      <a:pt x="403" y="94"/>
                      <a:pt x="403" y="94"/>
                    </a:cubicBezTo>
                    <a:cubicBezTo>
                      <a:pt x="403" y="98"/>
                      <a:pt x="403" y="98"/>
                      <a:pt x="403" y="98"/>
                    </a:cubicBezTo>
                    <a:cubicBezTo>
                      <a:pt x="397" y="96"/>
                      <a:pt x="397" y="96"/>
                      <a:pt x="397" y="96"/>
                    </a:cubicBezTo>
                    <a:cubicBezTo>
                      <a:pt x="400" y="103"/>
                      <a:pt x="400" y="103"/>
                      <a:pt x="400" y="103"/>
                    </a:cubicBezTo>
                    <a:lnTo>
                      <a:pt x="407" y="97"/>
                    </a:lnTo>
                    <a:close/>
                    <a:moveTo>
                      <a:pt x="443" y="96"/>
                    </a:moveTo>
                    <a:cubicBezTo>
                      <a:pt x="449" y="97"/>
                      <a:pt x="452" y="90"/>
                      <a:pt x="449" y="84"/>
                    </a:cubicBezTo>
                    <a:cubicBezTo>
                      <a:pt x="446" y="79"/>
                      <a:pt x="441" y="83"/>
                      <a:pt x="440" y="90"/>
                    </a:cubicBezTo>
                    <a:cubicBezTo>
                      <a:pt x="439" y="95"/>
                      <a:pt x="443" y="96"/>
                      <a:pt x="443" y="96"/>
                    </a:cubicBezTo>
                    <a:close/>
                    <a:moveTo>
                      <a:pt x="455" y="99"/>
                    </a:moveTo>
                    <a:cubicBezTo>
                      <a:pt x="451" y="96"/>
                      <a:pt x="451" y="96"/>
                      <a:pt x="451" y="96"/>
                    </a:cubicBezTo>
                    <a:cubicBezTo>
                      <a:pt x="451" y="96"/>
                      <a:pt x="449" y="99"/>
                      <a:pt x="448" y="100"/>
                    </a:cubicBezTo>
                    <a:lnTo>
                      <a:pt x="455" y="99"/>
                    </a:lnTo>
                    <a:close/>
                    <a:moveTo>
                      <a:pt x="445" y="105"/>
                    </a:moveTo>
                    <a:cubicBezTo>
                      <a:pt x="444" y="111"/>
                      <a:pt x="444" y="111"/>
                      <a:pt x="444" y="111"/>
                    </a:cubicBezTo>
                    <a:cubicBezTo>
                      <a:pt x="449" y="109"/>
                      <a:pt x="449" y="109"/>
                      <a:pt x="449" y="109"/>
                    </a:cubicBezTo>
                    <a:cubicBezTo>
                      <a:pt x="448" y="104"/>
                      <a:pt x="448" y="104"/>
                      <a:pt x="448" y="104"/>
                    </a:cubicBezTo>
                    <a:lnTo>
                      <a:pt x="445" y="105"/>
                    </a:lnTo>
                    <a:close/>
                    <a:moveTo>
                      <a:pt x="474" y="58"/>
                    </a:moveTo>
                    <a:cubicBezTo>
                      <a:pt x="479" y="58"/>
                      <a:pt x="479" y="58"/>
                      <a:pt x="479" y="58"/>
                    </a:cubicBezTo>
                    <a:cubicBezTo>
                      <a:pt x="476" y="63"/>
                      <a:pt x="476" y="63"/>
                      <a:pt x="476" y="63"/>
                    </a:cubicBezTo>
                    <a:cubicBezTo>
                      <a:pt x="478" y="65"/>
                      <a:pt x="484" y="64"/>
                      <a:pt x="492" y="60"/>
                    </a:cubicBezTo>
                    <a:cubicBezTo>
                      <a:pt x="500" y="56"/>
                      <a:pt x="497" y="50"/>
                      <a:pt x="497" y="50"/>
                    </a:cubicBezTo>
                    <a:cubicBezTo>
                      <a:pt x="504" y="41"/>
                      <a:pt x="504" y="41"/>
                      <a:pt x="504" y="41"/>
                    </a:cubicBezTo>
                    <a:cubicBezTo>
                      <a:pt x="500" y="36"/>
                      <a:pt x="500" y="36"/>
                      <a:pt x="500" y="36"/>
                    </a:cubicBezTo>
                    <a:cubicBezTo>
                      <a:pt x="492" y="40"/>
                      <a:pt x="492" y="40"/>
                      <a:pt x="492" y="40"/>
                    </a:cubicBezTo>
                    <a:cubicBezTo>
                      <a:pt x="493" y="48"/>
                      <a:pt x="493" y="48"/>
                      <a:pt x="493" y="48"/>
                    </a:cubicBezTo>
                    <a:cubicBezTo>
                      <a:pt x="488" y="44"/>
                      <a:pt x="488" y="44"/>
                      <a:pt x="488" y="44"/>
                    </a:cubicBezTo>
                    <a:cubicBezTo>
                      <a:pt x="486" y="46"/>
                      <a:pt x="486" y="46"/>
                      <a:pt x="486" y="46"/>
                    </a:cubicBezTo>
                    <a:cubicBezTo>
                      <a:pt x="490" y="52"/>
                      <a:pt x="490" y="52"/>
                      <a:pt x="490" y="52"/>
                    </a:cubicBezTo>
                    <a:cubicBezTo>
                      <a:pt x="483" y="48"/>
                      <a:pt x="483" y="48"/>
                      <a:pt x="483" y="48"/>
                    </a:cubicBezTo>
                    <a:cubicBezTo>
                      <a:pt x="478" y="48"/>
                      <a:pt x="478" y="48"/>
                      <a:pt x="478" y="48"/>
                    </a:cubicBezTo>
                    <a:cubicBezTo>
                      <a:pt x="479" y="53"/>
                      <a:pt x="479" y="53"/>
                      <a:pt x="479" y="53"/>
                    </a:cubicBezTo>
                    <a:cubicBezTo>
                      <a:pt x="472" y="55"/>
                      <a:pt x="472" y="55"/>
                      <a:pt x="472" y="55"/>
                    </a:cubicBezTo>
                    <a:lnTo>
                      <a:pt x="474" y="58"/>
                    </a:lnTo>
                    <a:close/>
                    <a:moveTo>
                      <a:pt x="484" y="73"/>
                    </a:moveTo>
                    <a:cubicBezTo>
                      <a:pt x="484" y="76"/>
                      <a:pt x="489" y="76"/>
                      <a:pt x="489" y="76"/>
                    </a:cubicBezTo>
                    <a:cubicBezTo>
                      <a:pt x="489" y="76"/>
                      <a:pt x="498" y="77"/>
                      <a:pt x="497" y="73"/>
                    </a:cubicBezTo>
                    <a:cubicBezTo>
                      <a:pt x="497" y="68"/>
                      <a:pt x="482" y="66"/>
                      <a:pt x="484" y="73"/>
                    </a:cubicBezTo>
                    <a:close/>
                    <a:moveTo>
                      <a:pt x="503" y="55"/>
                    </a:moveTo>
                    <a:cubicBezTo>
                      <a:pt x="501" y="59"/>
                      <a:pt x="501" y="59"/>
                      <a:pt x="501" y="59"/>
                    </a:cubicBezTo>
                    <a:cubicBezTo>
                      <a:pt x="499" y="57"/>
                      <a:pt x="499" y="57"/>
                      <a:pt x="499" y="57"/>
                    </a:cubicBezTo>
                    <a:cubicBezTo>
                      <a:pt x="493" y="66"/>
                      <a:pt x="493" y="66"/>
                      <a:pt x="493" y="66"/>
                    </a:cubicBezTo>
                    <a:cubicBezTo>
                      <a:pt x="499" y="68"/>
                      <a:pt x="499" y="68"/>
                      <a:pt x="499" y="68"/>
                    </a:cubicBezTo>
                    <a:cubicBezTo>
                      <a:pt x="500" y="66"/>
                      <a:pt x="500" y="66"/>
                      <a:pt x="500" y="66"/>
                    </a:cubicBezTo>
                    <a:cubicBezTo>
                      <a:pt x="500" y="72"/>
                      <a:pt x="500" y="72"/>
                      <a:pt x="500" y="72"/>
                    </a:cubicBezTo>
                    <a:cubicBezTo>
                      <a:pt x="504" y="72"/>
                      <a:pt x="504" y="72"/>
                      <a:pt x="504" y="72"/>
                    </a:cubicBezTo>
                    <a:cubicBezTo>
                      <a:pt x="509" y="59"/>
                      <a:pt x="509" y="59"/>
                      <a:pt x="509" y="59"/>
                    </a:cubicBezTo>
                    <a:cubicBezTo>
                      <a:pt x="505" y="48"/>
                      <a:pt x="505" y="48"/>
                      <a:pt x="505" y="48"/>
                    </a:cubicBezTo>
                    <a:cubicBezTo>
                      <a:pt x="501" y="50"/>
                      <a:pt x="501" y="50"/>
                      <a:pt x="501" y="50"/>
                    </a:cubicBezTo>
                    <a:lnTo>
                      <a:pt x="503" y="55"/>
                    </a:lnTo>
                    <a:close/>
                    <a:moveTo>
                      <a:pt x="514" y="56"/>
                    </a:moveTo>
                    <a:cubicBezTo>
                      <a:pt x="517" y="56"/>
                      <a:pt x="521" y="48"/>
                      <a:pt x="516" y="43"/>
                    </a:cubicBezTo>
                    <a:cubicBezTo>
                      <a:pt x="509" y="37"/>
                      <a:pt x="505" y="43"/>
                      <a:pt x="508" y="50"/>
                    </a:cubicBezTo>
                    <a:cubicBezTo>
                      <a:pt x="508" y="50"/>
                      <a:pt x="510" y="56"/>
                      <a:pt x="514" y="56"/>
                    </a:cubicBezTo>
                    <a:close/>
                    <a:moveTo>
                      <a:pt x="513" y="22"/>
                    </a:moveTo>
                    <a:cubicBezTo>
                      <a:pt x="506" y="22"/>
                      <a:pt x="511" y="30"/>
                      <a:pt x="511" y="30"/>
                    </a:cubicBezTo>
                    <a:cubicBezTo>
                      <a:pt x="517" y="29"/>
                      <a:pt x="518" y="22"/>
                      <a:pt x="513" y="22"/>
                    </a:cubicBezTo>
                    <a:close/>
                    <a:moveTo>
                      <a:pt x="528" y="14"/>
                    </a:moveTo>
                    <a:cubicBezTo>
                      <a:pt x="523" y="17"/>
                      <a:pt x="523" y="17"/>
                      <a:pt x="523" y="17"/>
                    </a:cubicBezTo>
                    <a:cubicBezTo>
                      <a:pt x="531" y="19"/>
                      <a:pt x="531" y="19"/>
                      <a:pt x="531" y="19"/>
                    </a:cubicBezTo>
                    <a:lnTo>
                      <a:pt x="528" y="14"/>
                    </a:lnTo>
                    <a:close/>
                    <a:moveTo>
                      <a:pt x="538" y="19"/>
                    </a:moveTo>
                    <a:cubicBezTo>
                      <a:pt x="539" y="19"/>
                      <a:pt x="541" y="17"/>
                      <a:pt x="541" y="17"/>
                    </a:cubicBezTo>
                    <a:cubicBezTo>
                      <a:pt x="541" y="20"/>
                      <a:pt x="541" y="20"/>
                      <a:pt x="541" y="20"/>
                    </a:cubicBezTo>
                    <a:cubicBezTo>
                      <a:pt x="548" y="22"/>
                      <a:pt x="548" y="22"/>
                      <a:pt x="548" y="22"/>
                    </a:cubicBezTo>
                    <a:cubicBezTo>
                      <a:pt x="559" y="16"/>
                      <a:pt x="559" y="16"/>
                      <a:pt x="559" y="16"/>
                    </a:cubicBezTo>
                    <a:cubicBezTo>
                      <a:pt x="559" y="12"/>
                      <a:pt x="559" y="12"/>
                      <a:pt x="559" y="12"/>
                    </a:cubicBezTo>
                    <a:cubicBezTo>
                      <a:pt x="553" y="16"/>
                      <a:pt x="553" y="16"/>
                      <a:pt x="553" y="16"/>
                    </a:cubicBezTo>
                    <a:cubicBezTo>
                      <a:pt x="550" y="14"/>
                      <a:pt x="550" y="14"/>
                      <a:pt x="550" y="14"/>
                    </a:cubicBezTo>
                    <a:cubicBezTo>
                      <a:pt x="555" y="10"/>
                      <a:pt x="555" y="10"/>
                      <a:pt x="555" y="10"/>
                    </a:cubicBezTo>
                    <a:cubicBezTo>
                      <a:pt x="552" y="6"/>
                      <a:pt x="552" y="6"/>
                      <a:pt x="552" y="6"/>
                    </a:cubicBezTo>
                    <a:cubicBezTo>
                      <a:pt x="550" y="10"/>
                      <a:pt x="550" y="10"/>
                      <a:pt x="550" y="10"/>
                    </a:cubicBezTo>
                    <a:cubicBezTo>
                      <a:pt x="548" y="5"/>
                      <a:pt x="548" y="5"/>
                      <a:pt x="548" y="5"/>
                    </a:cubicBezTo>
                    <a:cubicBezTo>
                      <a:pt x="544" y="8"/>
                      <a:pt x="544" y="8"/>
                      <a:pt x="544" y="8"/>
                    </a:cubicBezTo>
                    <a:cubicBezTo>
                      <a:pt x="546" y="12"/>
                      <a:pt x="546" y="12"/>
                      <a:pt x="546" y="12"/>
                    </a:cubicBezTo>
                    <a:cubicBezTo>
                      <a:pt x="537" y="14"/>
                      <a:pt x="537" y="14"/>
                      <a:pt x="537" y="14"/>
                    </a:cubicBezTo>
                    <a:lnTo>
                      <a:pt x="538" y="19"/>
                    </a:lnTo>
                    <a:close/>
                    <a:moveTo>
                      <a:pt x="658" y="62"/>
                    </a:moveTo>
                    <a:cubicBezTo>
                      <a:pt x="659" y="72"/>
                      <a:pt x="659" y="72"/>
                      <a:pt x="659" y="72"/>
                    </a:cubicBezTo>
                    <a:cubicBezTo>
                      <a:pt x="665" y="68"/>
                      <a:pt x="665" y="68"/>
                      <a:pt x="665" y="68"/>
                    </a:cubicBezTo>
                    <a:cubicBezTo>
                      <a:pt x="662" y="60"/>
                      <a:pt x="662" y="60"/>
                      <a:pt x="662" y="60"/>
                    </a:cubicBezTo>
                    <a:lnTo>
                      <a:pt x="658" y="62"/>
                    </a:ln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40" name="Netherlands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4254500" y="3632200"/>
                <a:ext cx="358775" cy="376237"/>
              </a:xfrm>
              <a:custGeom>
                <a:avLst/>
                <a:gdLst/>
                <a:ahLst/>
                <a:cxnLst>
                  <a:cxn ang="0">
                    <a:pos x="154" y="5"/>
                  </a:cxn>
                  <a:cxn ang="0">
                    <a:pos x="131" y="10"/>
                  </a:cxn>
                  <a:cxn ang="0">
                    <a:pos x="96" y="34"/>
                  </a:cxn>
                  <a:cxn ang="0">
                    <a:pos x="105" y="45"/>
                  </a:cxn>
                  <a:cxn ang="0">
                    <a:pos x="104" y="55"/>
                  </a:cxn>
                  <a:cxn ang="0">
                    <a:pos x="101" y="57"/>
                  </a:cxn>
                  <a:cxn ang="0">
                    <a:pos x="83" y="73"/>
                  </a:cxn>
                  <a:cxn ang="0">
                    <a:pos x="99" y="72"/>
                  </a:cxn>
                  <a:cxn ang="0">
                    <a:pos x="109" y="72"/>
                  </a:cxn>
                  <a:cxn ang="0">
                    <a:pos x="76" y="71"/>
                  </a:cxn>
                  <a:cxn ang="0">
                    <a:pos x="82" y="64"/>
                  </a:cxn>
                  <a:cxn ang="0">
                    <a:pos x="84" y="44"/>
                  </a:cxn>
                  <a:cxn ang="0">
                    <a:pos x="67" y="32"/>
                  </a:cxn>
                  <a:cxn ang="0">
                    <a:pos x="47" y="101"/>
                  </a:cxn>
                  <a:cxn ang="0">
                    <a:pos x="33" y="94"/>
                  </a:cxn>
                  <a:cxn ang="0">
                    <a:pos x="61" y="109"/>
                  </a:cxn>
                  <a:cxn ang="0">
                    <a:pos x="48" y="113"/>
                  </a:cxn>
                  <a:cxn ang="0">
                    <a:pos x="40" y="119"/>
                  </a:cxn>
                  <a:cxn ang="0">
                    <a:pos x="32" y="119"/>
                  </a:cxn>
                  <a:cxn ang="0">
                    <a:pos x="40" y="126"/>
                  </a:cxn>
                  <a:cxn ang="0">
                    <a:pos x="19" y="121"/>
                  </a:cxn>
                  <a:cxn ang="0">
                    <a:pos x="10" y="124"/>
                  </a:cxn>
                  <a:cxn ang="0">
                    <a:pos x="26" y="127"/>
                  </a:cxn>
                  <a:cxn ang="0">
                    <a:pos x="33" y="135"/>
                  </a:cxn>
                  <a:cxn ang="0">
                    <a:pos x="23" y="133"/>
                  </a:cxn>
                  <a:cxn ang="0">
                    <a:pos x="2" y="129"/>
                  </a:cxn>
                  <a:cxn ang="0">
                    <a:pos x="7" y="139"/>
                  </a:cxn>
                  <a:cxn ang="0">
                    <a:pos x="22" y="143"/>
                  </a:cxn>
                  <a:cxn ang="0">
                    <a:pos x="46" y="135"/>
                  </a:cxn>
                  <a:cxn ang="0">
                    <a:pos x="54" y="131"/>
                  </a:cxn>
                  <a:cxn ang="0">
                    <a:pos x="67" y="134"/>
                  </a:cxn>
                  <a:cxn ang="0">
                    <a:pos x="76" y="138"/>
                  </a:cxn>
                  <a:cxn ang="0">
                    <a:pos x="92" y="145"/>
                  </a:cxn>
                  <a:cxn ang="0">
                    <a:pos x="99" y="159"/>
                  </a:cxn>
                  <a:cxn ang="0">
                    <a:pos x="93" y="170"/>
                  </a:cxn>
                  <a:cxn ang="0">
                    <a:pos x="110" y="175"/>
                  </a:cxn>
                  <a:cxn ang="0">
                    <a:pos x="106" y="161"/>
                  </a:cxn>
                  <a:cxn ang="0">
                    <a:pos x="118" y="149"/>
                  </a:cxn>
                  <a:cxn ang="0">
                    <a:pos x="119" y="124"/>
                  </a:cxn>
                  <a:cxn ang="0">
                    <a:pos x="120" y="106"/>
                  </a:cxn>
                  <a:cxn ang="0">
                    <a:pos x="131" y="104"/>
                  </a:cxn>
                  <a:cxn ang="0">
                    <a:pos x="150" y="88"/>
                  </a:cxn>
                  <a:cxn ang="0">
                    <a:pos x="147" y="58"/>
                  </a:cxn>
                  <a:cxn ang="0">
                    <a:pos x="166" y="29"/>
                  </a:cxn>
                  <a:cxn ang="0">
                    <a:pos x="76" y="17"/>
                  </a:cxn>
                  <a:cxn ang="0">
                    <a:pos x="70" y="29"/>
                  </a:cxn>
                  <a:cxn ang="0">
                    <a:pos x="27" y="115"/>
                  </a:cxn>
                  <a:cxn ang="0">
                    <a:pos x="31" y="112"/>
                  </a:cxn>
                  <a:cxn ang="0">
                    <a:pos x="22" y="110"/>
                  </a:cxn>
                  <a:cxn ang="0">
                    <a:pos x="24" y="116"/>
                  </a:cxn>
                  <a:cxn ang="0">
                    <a:pos x="18" y="118"/>
                  </a:cxn>
                  <a:cxn ang="0">
                    <a:pos x="32" y="106"/>
                  </a:cxn>
                  <a:cxn ang="0">
                    <a:pos x="45" y="112"/>
                  </a:cxn>
                  <a:cxn ang="0">
                    <a:pos x="27" y="105"/>
                  </a:cxn>
                  <a:cxn ang="0">
                    <a:pos x="82" y="13"/>
                  </a:cxn>
                  <a:cxn ang="0">
                    <a:pos x="99" y="7"/>
                  </a:cxn>
                  <a:cxn ang="0">
                    <a:pos x="98" y="3"/>
                  </a:cxn>
                  <a:cxn ang="0">
                    <a:pos x="90" y="9"/>
                  </a:cxn>
                  <a:cxn ang="0">
                    <a:pos x="109" y="3"/>
                  </a:cxn>
                  <a:cxn ang="0">
                    <a:pos x="135" y="0"/>
                  </a:cxn>
                  <a:cxn ang="0">
                    <a:pos x="136" y="2"/>
                  </a:cxn>
                </a:cxnLst>
                <a:rect l="0" t="0" r="r" b="b"/>
                <a:pathLst>
                  <a:path w="168" h="177">
                    <a:moveTo>
                      <a:pt x="168" y="18"/>
                    </a:moveTo>
                    <a:cubicBezTo>
                      <a:pt x="164" y="17"/>
                      <a:pt x="160" y="15"/>
                      <a:pt x="159" y="14"/>
                    </a:cubicBezTo>
                    <a:cubicBezTo>
                      <a:pt x="155" y="12"/>
                      <a:pt x="155" y="7"/>
                      <a:pt x="154" y="5"/>
                    </a:cubicBezTo>
                    <a:cubicBezTo>
                      <a:pt x="153" y="3"/>
                      <a:pt x="149" y="7"/>
                      <a:pt x="149" y="7"/>
                    </a:cubicBezTo>
                    <a:cubicBezTo>
                      <a:pt x="130" y="8"/>
                      <a:pt x="130" y="8"/>
                      <a:pt x="130" y="8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28" y="10"/>
                      <a:pt x="127" y="8"/>
                    </a:cubicBezTo>
                    <a:cubicBezTo>
                      <a:pt x="125" y="6"/>
                      <a:pt x="108" y="11"/>
                      <a:pt x="102" y="14"/>
                    </a:cubicBezTo>
                    <a:cubicBezTo>
                      <a:pt x="96" y="16"/>
                      <a:pt x="95" y="29"/>
                      <a:pt x="96" y="34"/>
                    </a:cubicBezTo>
                    <a:cubicBezTo>
                      <a:pt x="96" y="40"/>
                      <a:pt x="95" y="39"/>
                      <a:pt x="95" y="39"/>
                    </a:cubicBezTo>
                    <a:cubicBezTo>
                      <a:pt x="95" y="39"/>
                      <a:pt x="96" y="40"/>
                      <a:pt x="99" y="41"/>
                    </a:cubicBezTo>
                    <a:cubicBezTo>
                      <a:pt x="102" y="43"/>
                      <a:pt x="105" y="45"/>
                      <a:pt x="105" y="45"/>
                    </a:cubicBezTo>
                    <a:cubicBezTo>
                      <a:pt x="105" y="45"/>
                      <a:pt x="101" y="47"/>
                      <a:pt x="101" y="48"/>
                    </a:cubicBezTo>
                    <a:cubicBezTo>
                      <a:pt x="101" y="50"/>
                      <a:pt x="104" y="50"/>
                      <a:pt x="104" y="50"/>
                    </a:cubicBezTo>
                    <a:cubicBezTo>
                      <a:pt x="104" y="50"/>
                      <a:pt x="101" y="54"/>
                      <a:pt x="104" y="55"/>
                    </a:cubicBezTo>
                    <a:cubicBezTo>
                      <a:pt x="109" y="56"/>
                      <a:pt x="113" y="57"/>
                      <a:pt x="113" y="57"/>
                    </a:cubicBezTo>
                    <a:cubicBezTo>
                      <a:pt x="112" y="59"/>
                      <a:pt x="112" y="59"/>
                      <a:pt x="112" y="59"/>
                    </a:cubicBezTo>
                    <a:cubicBezTo>
                      <a:pt x="112" y="59"/>
                      <a:pt x="105" y="57"/>
                      <a:pt x="101" y="57"/>
                    </a:cubicBezTo>
                    <a:cubicBezTo>
                      <a:pt x="98" y="57"/>
                      <a:pt x="94" y="62"/>
                      <a:pt x="90" y="64"/>
                    </a:cubicBezTo>
                    <a:cubicBezTo>
                      <a:pt x="87" y="66"/>
                      <a:pt x="79" y="70"/>
                      <a:pt x="79" y="70"/>
                    </a:cubicBezTo>
                    <a:cubicBezTo>
                      <a:pt x="79" y="70"/>
                      <a:pt x="81" y="73"/>
                      <a:pt x="83" y="73"/>
                    </a:cubicBezTo>
                    <a:cubicBezTo>
                      <a:pt x="87" y="73"/>
                      <a:pt x="87" y="73"/>
                      <a:pt x="87" y="73"/>
                    </a:cubicBezTo>
                    <a:cubicBezTo>
                      <a:pt x="87" y="73"/>
                      <a:pt x="94" y="77"/>
                      <a:pt x="96" y="76"/>
                    </a:cubicBezTo>
                    <a:cubicBezTo>
                      <a:pt x="99" y="74"/>
                      <a:pt x="99" y="72"/>
                      <a:pt x="99" y="72"/>
                    </a:cubicBezTo>
                    <a:cubicBezTo>
                      <a:pt x="99" y="72"/>
                      <a:pt x="106" y="69"/>
                      <a:pt x="108" y="66"/>
                    </a:cubicBezTo>
                    <a:cubicBezTo>
                      <a:pt x="109" y="65"/>
                      <a:pt x="111" y="65"/>
                      <a:pt x="112" y="65"/>
                    </a:cubicBezTo>
                    <a:cubicBezTo>
                      <a:pt x="113" y="66"/>
                      <a:pt x="109" y="72"/>
                      <a:pt x="109" y="72"/>
                    </a:cubicBezTo>
                    <a:cubicBezTo>
                      <a:pt x="96" y="78"/>
                      <a:pt x="96" y="78"/>
                      <a:pt x="96" y="78"/>
                    </a:cubicBezTo>
                    <a:cubicBezTo>
                      <a:pt x="86" y="77"/>
                      <a:pt x="86" y="77"/>
                      <a:pt x="86" y="77"/>
                    </a:cubicBezTo>
                    <a:cubicBezTo>
                      <a:pt x="76" y="71"/>
                      <a:pt x="76" y="71"/>
                      <a:pt x="76" y="71"/>
                    </a:cubicBezTo>
                    <a:cubicBezTo>
                      <a:pt x="73" y="69"/>
                      <a:pt x="73" y="69"/>
                      <a:pt x="73" y="69"/>
                    </a:cubicBezTo>
                    <a:cubicBezTo>
                      <a:pt x="80" y="68"/>
                      <a:pt x="80" y="68"/>
                      <a:pt x="80" y="68"/>
                    </a:cubicBezTo>
                    <a:cubicBezTo>
                      <a:pt x="82" y="64"/>
                      <a:pt x="82" y="64"/>
                      <a:pt x="82" y="64"/>
                    </a:cubicBezTo>
                    <a:cubicBezTo>
                      <a:pt x="82" y="64"/>
                      <a:pt x="79" y="55"/>
                      <a:pt x="79" y="53"/>
                    </a:cubicBezTo>
                    <a:cubicBezTo>
                      <a:pt x="78" y="50"/>
                      <a:pt x="85" y="54"/>
                      <a:pt x="88" y="50"/>
                    </a:cubicBezTo>
                    <a:cubicBezTo>
                      <a:pt x="90" y="48"/>
                      <a:pt x="87" y="45"/>
                      <a:pt x="84" y="44"/>
                    </a:cubicBezTo>
                    <a:cubicBezTo>
                      <a:pt x="80" y="43"/>
                      <a:pt x="82" y="33"/>
                      <a:pt x="78" y="33"/>
                    </a:cubicBezTo>
                    <a:cubicBezTo>
                      <a:pt x="74" y="32"/>
                      <a:pt x="77" y="35"/>
                      <a:pt x="73" y="34"/>
                    </a:cubicBezTo>
                    <a:cubicBezTo>
                      <a:pt x="71" y="33"/>
                      <a:pt x="69" y="30"/>
                      <a:pt x="67" y="32"/>
                    </a:cubicBezTo>
                    <a:cubicBezTo>
                      <a:pt x="65" y="33"/>
                      <a:pt x="60" y="63"/>
                      <a:pt x="56" y="70"/>
                    </a:cubicBezTo>
                    <a:cubicBezTo>
                      <a:pt x="53" y="76"/>
                      <a:pt x="37" y="91"/>
                      <a:pt x="37" y="91"/>
                    </a:cubicBezTo>
                    <a:cubicBezTo>
                      <a:pt x="47" y="101"/>
                      <a:pt x="47" y="101"/>
                      <a:pt x="47" y="101"/>
                    </a:cubicBezTo>
                    <a:cubicBezTo>
                      <a:pt x="47" y="104"/>
                      <a:pt x="47" y="104"/>
                      <a:pt x="47" y="104"/>
                    </a:cubicBezTo>
                    <a:cubicBezTo>
                      <a:pt x="47" y="104"/>
                      <a:pt x="40" y="97"/>
                      <a:pt x="39" y="97"/>
                    </a:cubicBezTo>
                    <a:cubicBezTo>
                      <a:pt x="37" y="96"/>
                      <a:pt x="35" y="94"/>
                      <a:pt x="33" y="94"/>
                    </a:cubicBezTo>
                    <a:cubicBezTo>
                      <a:pt x="32" y="94"/>
                      <a:pt x="34" y="101"/>
                      <a:pt x="34" y="101"/>
                    </a:cubicBezTo>
                    <a:cubicBezTo>
                      <a:pt x="34" y="101"/>
                      <a:pt x="50" y="112"/>
                      <a:pt x="51" y="112"/>
                    </a:cubicBezTo>
                    <a:cubicBezTo>
                      <a:pt x="53" y="112"/>
                      <a:pt x="56" y="110"/>
                      <a:pt x="61" y="109"/>
                    </a:cubicBezTo>
                    <a:cubicBezTo>
                      <a:pt x="65" y="109"/>
                      <a:pt x="64" y="112"/>
                      <a:pt x="62" y="112"/>
                    </a:cubicBezTo>
                    <a:cubicBezTo>
                      <a:pt x="60" y="112"/>
                      <a:pt x="52" y="115"/>
                      <a:pt x="52" y="115"/>
                    </a:cubicBezTo>
                    <a:cubicBezTo>
                      <a:pt x="52" y="115"/>
                      <a:pt x="50" y="113"/>
                      <a:pt x="48" y="113"/>
                    </a:cubicBezTo>
                    <a:cubicBezTo>
                      <a:pt x="45" y="113"/>
                      <a:pt x="43" y="116"/>
                      <a:pt x="43" y="116"/>
                    </a:cubicBezTo>
                    <a:cubicBezTo>
                      <a:pt x="36" y="115"/>
                      <a:pt x="36" y="115"/>
                      <a:pt x="36" y="115"/>
                    </a:cubicBezTo>
                    <a:cubicBezTo>
                      <a:pt x="40" y="119"/>
                      <a:pt x="40" y="119"/>
                      <a:pt x="40" y="119"/>
                    </a:cubicBezTo>
                    <a:cubicBezTo>
                      <a:pt x="40" y="119"/>
                      <a:pt x="35" y="117"/>
                      <a:pt x="34" y="117"/>
                    </a:cubicBezTo>
                    <a:cubicBezTo>
                      <a:pt x="32" y="116"/>
                      <a:pt x="29" y="119"/>
                      <a:pt x="29" y="119"/>
                    </a:cubicBezTo>
                    <a:cubicBezTo>
                      <a:pt x="32" y="119"/>
                      <a:pt x="32" y="119"/>
                      <a:pt x="32" y="119"/>
                    </a:cubicBezTo>
                    <a:cubicBezTo>
                      <a:pt x="33" y="120"/>
                      <a:pt x="33" y="120"/>
                      <a:pt x="33" y="120"/>
                    </a:cubicBezTo>
                    <a:cubicBezTo>
                      <a:pt x="40" y="124"/>
                      <a:pt x="40" y="124"/>
                      <a:pt x="40" y="124"/>
                    </a:cubicBezTo>
                    <a:cubicBezTo>
                      <a:pt x="40" y="126"/>
                      <a:pt x="40" y="126"/>
                      <a:pt x="40" y="126"/>
                    </a:cubicBezTo>
                    <a:cubicBezTo>
                      <a:pt x="35" y="126"/>
                      <a:pt x="35" y="126"/>
                      <a:pt x="35" y="126"/>
                    </a:cubicBezTo>
                    <a:cubicBezTo>
                      <a:pt x="35" y="126"/>
                      <a:pt x="31" y="122"/>
                      <a:pt x="27" y="121"/>
                    </a:cubicBezTo>
                    <a:cubicBezTo>
                      <a:pt x="19" y="121"/>
                      <a:pt x="19" y="121"/>
                      <a:pt x="19" y="121"/>
                    </a:cubicBezTo>
                    <a:cubicBezTo>
                      <a:pt x="19" y="121"/>
                      <a:pt x="17" y="120"/>
                      <a:pt x="15" y="118"/>
                    </a:cubicBezTo>
                    <a:cubicBezTo>
                      <a:pt x="14" y="117"/>
                      <a:pt x="7" y="119"/>
                      <a:pt x="7" y="119"/>
                    </a:cubicBezTo>
                    <a:cubicBezTo>
                      <a:pt x="7" y="119"/>
                      <a:pt x="7" y="122"/>
                      <a:pt x="10" y="124"/>
                    </a:cubicBezTo>
                    <a:cubicBezTo>
                      <a:pt x="13" y="126"/>
                      <a:pt x="17" y="125"/>
                      <a:pt x="17" y="125"/>
                    </a:cubicBezTo>
                    <a:cubicBezTo>
                      <a:pt x="17" y="125"/>
                      <a:pt x="17" y="128"/>
                      <a:pt x="19" y="129"/>
                    </a:cubicBezTo>
                    <a:cubicBezTo>
                      <a:pt x="22" y="131"/>
                      <a:pt x="26" y="127"/>
                      <a:pt x="26" y="127"/>
                    </a:cubicBezTo>
                    <a:cubicBezTo>
                      <a:pt x="29" y="127"/>
                      <a:pt x="29" y="127"/>
                      <a:pt x="29" y="127"/>
                    </a:cubicBezTo>
                    <a:cubicBezTo>
                      <a:pt x="29" y="127"/>
                      <a:pt x="35" y="131"/>
                      <a:pt x="38" y="132"/>
                    </a:cubicBezTo>
                    <a:cubicBezTo>
                      <a:pt x="41" y="132"/>
                      <a:pt x="33" y="135"/>
                      <a:pt x="33" y="135"/>
                    </a:cubicBezTo>
                    <a:cubicBezTo>
                      <a:pt x="31" y="134"/>
                      <a:pt x="31" y="134"/>
                      <a:pt x="31" y="134"/>
                    </a:cubicBezTo>
                    <a:cubicBezTo>
                      <a:pt x="31" y="134"/>
                      <a:pt x="30" y="131"/>
                      <a:pt x="28" y="131"/>
                    </a:cubicBezTo>
                    <a:cubicBezTo>
                      <a:pt x="26" y="129"/>
                      <a:pt x="23" y="133"/>
                      <a:pt x="23" y="133"/>
                    </a:cubicBezTo>
                    <a:cubicBezTo>
                      <a:pt x="23" y="133"/>
                      <a:pt x="19" y="133"/>
                      <a:pt x="16" y="132"/>
                    </a:cubicBezTo>
                    <a:cubicBezTo>
                      <a:pt x="14" y="132"/>
                      <a:pt x="11" y="127"/>
                      <a:pt x="8" y="127"/>
                    </a:cubicBezTo>
                    <a:cubicBezTo>
                      <a:pt x="7" y="127"/>
                      <a:pt x="2" y="129"/>
                      <a:pt x="2" y="129"/>
                    </a:cubicBezTo>
                    <a:cubicBezTo>
                      <a:pt x="2" y="129"/>
                      <a:pt x="1" y="133"/>
                      <a:pt x="0" y="134"/>
                    </a:cubicBezTo>
                    <a:cubicBezTo>
                      <a:pt x="0" y="135"/>
                      <a:pt x="1" y="138"/>
                      <a:pt x="1" y="138"/>
                    </a:cubicBezTo>
                    <a:cubicBezTo>
                      <a:pt x="7" y="139"/>
                      <a:pt x="7" y="139"/>
                      <a:pt x="7" y="139"/>
                    </a:cubicBezTo>
                    <a:cubicBezTo>
                      <a:pt x="8" y="135"/>
                      <a:pt x="8" y="135"/>
                      <a:pt x="8" y="135"/>
                    </a:cubicBezTo>
                    <a:cubicBezTo>
                      <a:pt x="18" y="138"/>
                      <a:pt x="18" y="138"/>
                      <a:pt x="18" y="138"/>
                    </a:cubicBezTo>
                    <a:cubicBezTo>
                      <a:pt x="18" y="138"/>
                      <a:pt x="15" y="143"/>
                      <a:pt x="22" y="143"/>
                    </a:cubicBezTo>
                    <a:cubicBezTo>
                      <a:pt x="29" y="144"/>
                      <a:pt x="39" y="134"/>
                      <a:pt x="39" y="134"/>
                    </a:cubicBezTo>
                    <a:cubicBezTo>
                      <a:pt x="43" y="135"/>
                      <a:pt x="43" y="135"/>
                      <a:pt x="43" y="135"/>
                    </a:cubicBezTo>
                    <a:cubicBezTo>
                      <a:pt x="46" y="135"/>
                      <a:pt x="46" y="135"/>
                      <a:pt x="46" y="135"/>
                    </a:cubicBezTo>
                    <a:cubicBezTo>
                      <a:pt x="46" y="135"/>
                      <a:pt x="44" y="129"/>
                      <a:pt x="48" y="128"/>
                    </a:cubicBezTo>
                    <a:cubicBezTo>
                      <a:pt x="51" y="126"/>
                      <a:pt x="51" y="131"/>
                      <a:pt x="51" y="131"/>
                    </a:cubicBezTo>
                    <a:cubicBezTo>
                      <a:pt x="54" y="131"/>
                      <a:pt x="54" y="131"/>
                      <a:pt x="54" y="131"/>
                    </a:cubicBezTo>
                    <a:cubicBezTo>
                      <a:pt x="54" y="131"/>
                      <a:pt x="59" y="127"/>
                      <a:pt x="63" y="127"/>
                    </a:cubicBezTo>
                    <a:cubicBezTo>
                      <a:pt x="66" y="127"/>
                      <a:pt x="62" y="134"/>
                      <a:pt x="62" y="134"/>
                    </a:cubicBezTo>
                    <a:cubicBezTo>
                      <a:pt x="67" y="134"/>
                      <a:pt x="67" y="134"/>
                      <a:pt x="67" y="134"/>
                    </a:cubicBezTo>
                    <a:cubicBezTo>
                      <a:pt x="67" y="134"/>
                      <a:pt x="69" y="128"/>
                      <a:pt x="72" y="129"/>
                    </a:cubicBezTo>
                    <a:cubicBezTo>
                      <a:pt x="74" y="131"/>
                      <a:pt x="71" y="136"/>
                      <a:pt x="71" y="136"/>
                    </a:cubicBezTo>
                    <a:cubicBezTo>
                      <a:pt x="76" y="138"/>
                      <a:pt x="76" y="138"/>
                      <a:pt x="76" y="138"/>
                    </a:cubicBezTo>
                    <a:cubicBezTo>
                      <a:pt x="76" y="138"/>
                      <a:pt x="77" y="143"/>
                      <a:pt x="80" y="143"/>
                    </a:cubicBezTo>
                    <a:cubicBezTo>
                      <a:pt x="83" y="144"/>
                      <a:pt x="86" y="141"/>
                      <a:pt x="89" y="142"/>
                    </a:cubicBezTo>
                    <a:cubicBezTo>
                      <a:pt x="93" y="142"/>
                      <a:pt x="92" y="145"/>
                      <a:pt x="92" y="145"/>
                    </a:cubicBezTo>
                    <a:cubicBezTo>
                      <a:pt x="96" y="150"/>
                      <a:pt x="96" y="150"/>
                      <a:pt x="96" y="150"/>
                    </a:cubicBezTo>
                    <a:cubicBezTo>
                      <a:pt x="96" y="150"/>
                      <a:pt x="99" y="150"/>
                      <a:pt x="102" y="153"/>
                    </a:cubicBezTo>
                    <a:cubicBezTo>
                      <a:pt x="104" y="155"/>
                      <a:pt x="101" y="157"/>
                      <a:pt x="99" y="159"/>
                    </a:cubicBezTo>
                    <a:cubicBezTo>
                      <a:pt x="98" y="160"/>
                      <a:pt x="99" y="163"/>
                      <a:pt x="99" y="163"/>
                    </a:cubicBezTo>
                    <a:cubicBezTo>
                      <a:pt x="98" y="168"/>
                      <a:pt x="98" y="168"/>
                      <a:pt x="98" y="168"/>
                    </a:cubicBezTo>
                    <a:cubicBezTo>
                      <a:pt x="98" y="168"/>
                      <a:pt x="94" y="168"/>
                      <a:pt x="93" y="170"/>
                    </a:cubicBezTo>
                    <a:cubicBezTo>
                      <a:pt x="90" y="173"/>
                      <a:pt x="94" y="174"/>
                      <a:pt x="94" y="174"/>
                    </a:cubicBezTo>
                    <a:cubicBezTo>
                      <a:pt x="94" y="174"/>
                      <a:pt x="98" y="176"/>
                      <a:pt x="102" y="176"/>
                    </a:cubicBezTo>
                    <a:cubicBezTo>
                      <a:pt x="105" y="177"/>
                      <a:pt x="109" y="175"/>
                      <a:pt x="110" y="175"/>
                    </a:cubicBezTo>
                    <a:cubicBezTo>
                      <a:pt x="110" y="174"/>
                      <a:pt x="109" y="173"/>
                      <a:pt x="109" y="173"/>
                    </a:cubicBezTo>
                    <a:cubicBezTo>
                      <a:pt x="111" y="171"/>
                      <a:pt x="112" y="170"/>
                      <a:pt x="114" y="170"/>
                    </a:cubicBezTo>
                    <a:cubicBezTo>
                      <a:pt x="113" y="166"/>
                      <a:pt x="113" y="159"/>
                      <a:pt x="106" y="161"/>
                    </a:cubicBezTo>
                    <a:cubicBezTo>
                      <a:pt x="105" y="159"/>
                      <a:pt x="105" y="156"/>
                      <a:pt x="108" y="155"/>
                    </a:cubicBezTo>
                    <a:cubicBezTo>
                      <a:pt x="109" y="156"/>
                      <a:pt x="109" y="157"/>
                      <a:pt x="110" y="158"/>
                    </a:cubicBezTo>
                    <a:cubicBezTo>
                      <a:pt x="111" y="153"/>
                      <a:pt x="117" y="154"/>
                      <a:pt x="118" y="149"/>
                    </a:cubicBezTo>
                    <a:cubicBezTo>
                      <a:pt x="115" y="150"/>
                      <a:pt x="115" y="150"/>
                      <a:pt x="115" y="150"/>
                    </a:cubicBezTo>
                    <a:cubicBezTo>
                      <a:pt x="113" y="142"/>
                      <a:pt x="121" y="141"/>
                      <a:pt x="121" y="136"/>
                    </a:cubicBezTo>
                    <a:cubicBezTo>
                      <a:pt x="121" y="132"/>
                      <a:pt x="121" y="127"/>
                      <a:pt x="119" y="124"/>
                    </a:cubicBezTo>
                    <a:cubicBezTo>
                      <a:pt x="117" y="121"/>
                      <a:pt x="115" y="117"/>
                      <a:pt x="115" y="113"/>
                    </a:cubicBezTo>
                    <a:cubicBezTo>
                      <a:pt x="115" y="115"/>
                      <a:pt x="112" y="105"/>
                      <a:pt x="112" y="105"/>
                    </a:cubicBezTo>
                    <a:cubicBezTo>
                      <a:pt x="115" y="105"/>
                      <a:pt x="117" y="104"/>
                      <a:pt x="120" y="106"/>
                    </a:cubicBezTo>
                    <a:cubicBezTo>
                      <a:pt x="119" y="105"/>
                      <a:pt x="119" y="103"/>
                      <a:pt x="118" y="102"/>
                    </a:cubicBezTo>
                    <a:cubicBezTo>
                      <a:pt x="122" y="102"/>
                      <a:pt x="128" y="104"/>
                      <a:pt x="131" y="106"/>
                    </a:cubicBezTo>
                    <a:cubicBezTo>
                      <a:pt x="131" y="104"/>
                      <a:pt x="131" y="104"/>
                      <a:pt x="131" y="104"/>
                    </a:cubicBezTo>
                    <a:cubicBezTo>
                      <a:pt x="135" y="105"/>
                      <a:pt x="139" y="98"/>
                      <a:pt x="144" y="102"/>
                    </a:cubicBezTo>
                    <a:cubicBezTo>
                      <a:pt x="146" y="103"/>
                      <a:pt x="150" y="93"/>
                      <a:pt x="142" y="93"/>
                    </a:cubicBezTo>
                    <a:cubicBezTo>
                      <a:pt x="144" y="90"/>
                      <a:pt x="146" y="88"/>
                      <a:pt x="150" y="88"/>
                    </a:cubicBezTo>
                    <a:cubicBezTo>
                      <a:pt x="150" y="88"/>
                      <a:pt x="157" y="81"/>
                      <a:pt x="159" y="80"/>
                    </a:cubicBezTo>
                    <a:cubicBezTo>
                      <a:pt x="154" y="77"/>
                      <a:pt x="161" y="71"/>
                      <a:pt x="155" y="65"/>
                    </a:cubicBezTo>
                    <a:cubicBezTo>
                      <a:pt x="152" y="72"/>
                      <a:pt x="138" y="62"/>
                      <a:pt x="147" y="58"/>
                    </a:cubicBezTo>
                    <a:cubicBezTo>
                      <a:pt x="142" y="49"/>
                      <a:pt x="154" y="56"/>
                      <a:pt x="157" y="55"/>
                    </a:cubicBezTo>
                    <a:cubicBezTo>
                      <a:pt x="162" y="53"/>
                      <a:pt x="159" y="45"/>
                      <a:pt x="162" y="41"/>
                    </a:cubicBezTo>
                    <a:cubicBezTo>
                      <a:pt x="164" y="38"/>
                      <a:pt x="167" y="33"/>
                      <a:pt x="166" y="29"/>
                    </a:cubicBezTo>
                    <a:cubicBezTo>
                      <a:pt x="166" y="26"/>
                      <a:pt x="168" y="22"/>
                      <a:pt x="168" y="18"/>
                    </a:cubicBezTo>
                    <a:close/>
                    <a:moveTo>
                      <a:pt x="77" y="26"/>
                    </a:moveTo>
                    <a:cubicBezTo>
                      <a:pt x="81" y="19"/>
                      <a:pt x="77" y="18"/>
                      <a:pt x="76" y="17"/>
                    </a:cubicBezTo>
                    <a:cubicBezTo>
                      <a:pt x="74" y="16"/>
                      <a:pt x="72" y="18"/>
                      <a:pt x="72" y="18"/>
                    </a:cubicBezTo>
                    <a:cubicBezTo>
                      <a:pt x="68" y="26"/>
                      <a:pt x="68" y="26"/>
                      <a:pt x="68" y="26"/>
                    </a:cubicBezTo>
                    <a:cubicBezTo>
                      <a:pt x="70" y="29"/>
                      <a:pt x="70" y="29"/>
                      <a:pt x="70" y="29"/>
                    </a:cubicBezTo>
                    <a:cubicBezTo>
                      <a:pt x="70" y="29"/>
                      <a:pt x="73" y="30"/>
                      <a:pt x="77" y="26"/>
                    </a:cubicBezTo>
                    <a:close/>
                    <a:moveTo>
                      <a:pt x="22" y="110"/>
                    </a:moveTo>
                    <a:cubicBezTo>
                      <a:pt x="24" y="111"/>
                      <a:pt x="27" y="115"/>
                      <a:pt x="27" y="115"/>
                    </a:cubicBezTo>
                    <a:cubicBezTo>
                      <a:pt x="33" y="115"/>
                      <a:pt x="33" y="115"/>
                      <a:pt x="33" y="115"/>
                    </a:cubicBezTo>
                    <a:cubicBezTo>
                      <a:pt x="33" y="113"/>
                      <a:pt x="33" y="113"/>
                      <a:pt x="33" y="113"/>
                    </a:cubicBezTo>
                    <a:cubicBezTo>
                      <a:pt x="31" y="112"/>
                      <a:pt x="31" y="112"/>
                      <a:pt x="31" y="112"/>
                    </a:cubicBezTo>
                    <a:cubicBezTo>
                      <a:pt x="31" y="112"/>
                      <a:pt x="31" y="108"/>
                      <a:pt x="27" y="108"/>
                    </a:cubicBezTo>
                    <a:cubicBezTo>
                      <a:pt x="22" y="107"/>
                      <a:pt x="18" y="107"/>
                      <a:pt x="18" y="108"/>
                    </a:cubicBezTo>
                    <a:cubicBezTo>
                      <a:pt x="18" y="110"/>
                      <a:pt x="22" y="110"/>
                      <a:pt x="22" y="110"/>
                    </a:cubicBezTo>
                    <a:close/>
                    <a:moveTo>
                      <a:pt x="23" y="119"/>
                    </a:moveTo>
                    <a:cubicBezTo>
                      <a:pt x="27" y="119"/>
                      <a:pt x="27" y="119"/>
                      <a:pt x="27" y="119"/>
                    </a:cubicBezTo>
                    <a:cubicBezTo>
                      <a:pt x="28" y="119"/>
                      <a:pt x="24" y="116"/>
                      <a:pt x="24" y="116"/>
                    </a:cubicBezTo>
                    <a:cubicBezTo>
                      <a:pt x="21" y="117"/>
                      <a:pt x="21" y="117"/>
                      <a:pt x="21" y="117"/>
                    </a:cubicBezTo>
                    <a:cubicBezTo>
                      <a:pt x="19" y="115"/>
                      <a:pt x="19" y="115"/>
                      <a:pt x="19" y="115"/>
                    </a:cubicBezTo>
                    <a:cubicBezTo>
                      <a:pt x="19" y="115"/>
                      <a:pt x="16" y="116"/>
                      <a:pt x="18" y="118"/>
                    </a:cubicBezTo>
                    <a:cubicBezTo>
                      <a:pt x="21" y="120"/>
                      <a:pt x="22" y="119"/>
                      <a:pt x="23" y="119"/>
                    </a:cubicBezTo>
                    <a:close/>
                    <a:moveTo>
                      <a:pt x="27" y="105"/>
                    </a:moveTo>
                    <a:cubicBezTo>
                      <a:pt x="29" y="106"/>
                      <a:pt x="32" y="106"/>
                      <a:pt x="32" y="106"/>
                    </a:cubicBezTo>
                    <a:cubicBezTo>
                      <a:pt x="32" y="106"/>
                      <a:pt x="32" y="108"/>
                      <a:pt x="36" y="110"/>
                    </a:cubicBezTo>
                    <a:cubicBezTo>
                      <a:pt x="39" y="112"/>
                      <a:pt x="40" y="113"/>
                      <a:pt x="43" y="113"/>
                    </a:cubicBezTo>
                    <a:cubicBezTo>
                      <a:pt x="45" y="113"/>
                      <a:pt x="45" y="112"/>
                      <a:pt x="45" y="112"/>
                    </a:cubicBezTo>
                    <a:cubicBezTo>
                      <a:pt x="34" y="103"/>
                      <a:pt x="34" y="103"/>
                      <a:pt x="34" y="103"/>
                    </a:cubicBezTo>
                    <a:cubicBezTo>
                      <a:pt x="27" y="103"/>
                      <a:pt x="27" y="103"/>
                      <a:pt x="27" y="103"/>
                    </a:cubicBezTo>
                    <a:cubicBezTo>
                      <a:pt x="27" y="103"/>
                      <a:pt x="26" y="105"/>
                      <a:pt x="27" y="105"/>
                    </a:cubicBezTo>
                    <a:close/>
                    <a:moveTo>
                      <a:pt x="82" y="13"/>
                    </a:moveTo>
                    <a:cubicBezTo>
                      <a:pt x="87" y="10"/>
                      <a:pt x="86" y="7"/>
                      <a:pt x="81" y="11"/>
                    </a:cubicBezTo>
                    <a:cubicBezTo>
                      <a:pt x="77" y="14"/>
                      <a:pt x="82" y="13"/>
                      <a:pt x="82" y="13"/>
                    </a:cubicBezTo>
                    <a:close/>
                    <a:moveTo>
                      <a:pt x="90" y="9"/>
                    </a:moveTo>
                    <a:cubicBezTo>
                      <a:pt x="93" y="7"/>
                      <a:pt x="93" y="7"/>
                      <a:pt x="93" y="7"/>
                    </a:cubicBezTo>
                    <a:cubicBezTo>
                      <a:pt x="99" y="7"/>
                      <a:pt x="99" y="7"/>
                      <a:pt x="99" y="7"/>
                    </a:cubicBezTo>
                    <a:cubicBezTo>
                      <a:pt x="105" y="2"/>
                      <a:pt x="105" y="2"/>
                      <a:pt x="105" y="2"/>
                    </a:cubicBezTo>
                    <a:cubicBezTo>
                      <a:pt x="103" y="2"/>
                      <a:pt x="103" y="2"/>
                      <a:pt x="103" y="2"/>
                    </a:cubicBezTo>
                    <a:cubicBezTo>
                      <a:pt x="98" y="3"/>
                      <a:pt x="98" y="3"/>
                      <a:pt x="98" y="3"/>
                    </a:cubicBezTo>
                    <a:cubicBezTo>
                      <a:pt x="93" y="3"/>
                      <a:pt x="93" y="3"/>
                      <a:pt x="93" y="3"/>
                    </a:cubicBezTo>
                    <a:cubicBezTo>
                      <a:pt x="93" y="3"/>
                      <a:pt x="89" y="5"/>
                      <a:pt x="88" y="7"/>
                    </a:cubicBezTo>
                    <a:cubicBezTo>
                      <a:pt x="87" y="9"/>
                      <a:pt x="90" y="9"/>
                      <a:pt x="90" y="9"/>
                    </a:cubicBezTo>
                    <a:close/>
                    <a:moveTo>
                      <a:pt x="115" y="5"/>
                    </a:moveTo>
                    <a:cubicBezTo>
                      <a:pt x="118" y="5"/>
                      <a:pt x="126" y="2"/>
                      <a:pt x="118" y="2"/>
                    </a:cubicBezTo>
                    <a:cubicBezTo>
                      <a:pt x="112" y="2"/>
                      <a:pt x="109" y="3"/>
                      <a:pt x="109" y="3"/>
                    </a:cubicBezTo>
                    <a:cubicBezTo>
                      <a:pt x="109" y="6"/>
                      <a:pt x="112" y="5"/>
                      <a:pt x="115" y="5"/>
                    </a:cubicBezTo>
                    <a:close/>
                    <a:moveTo>
                      <a:pt x="136" y="2"/>
                    </a:moveTo>
                    <a:cubicBezTo>
                      <a:pt x="135" y="0"/>
                      <a:pt x="135" y="0"/>
                      <a:pt x="135" y="0"/>
                    </a:cubicBezTo>
                    <a:cubicBezTo>
                      <a:pt x="129" y="1"/>
                      <a:pt x="129" y="1"/>
                      <a:pt x="129" y="1"/>
                    </a:cubicBezTo>
                    <a:cubicBezTo>
                      <a:pt x="129" y="5"/>
                      <a:pt x="129" y="5"/>
                      <a:pt x="129" y="5"/>
                    </a:cubicBezTo>
                    <a:lnTo>
                      <a:pt x="136" y="2"/>
                    </a:ln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41" name="Montenegro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710238" y="4976813"/>
                <a:ext cx="187325" cy="233362"/>
              </a:xfrm>
              <a:custGeom>
                <a:avLst/>
                <a:gdLst/>
                <a:ahLst/>
                <a:cxnLst>
                  <a:cxn ang="0">
                    <a:pos x="60" y="0"/>
                  </a:cxn>
                  <a:cxn ang="0">
                    <a:pos x="59" y="9"/>
                  </a:cxn>
                  <a:cxn ang="0">
                    <a:pos x="44" y="9"/>
                  </a:cxn>
                  <a:cxn ang="0">
                    <a:pos x="34" y="2"/>
                  </a:cxn>
                  <a:cxn ang="0">
                    <a:pos x="32" y="13"/>
                  </a:cxn>
                  <a:cxn ang="0">
                    <a:pos x="49" y="36"/>
                  </a:cxn>
                  <a:cxn ang="0">
                    <a:pos x="30" y="32"/>
                  </a:cxn>
                  <a:cxn ang="0">
                    <a:pos x="13" y="43"/>
                  </a:cxn>
                  <a:cxn ang="0">
                    <a:pos x="15" y="70"/>
                  </a:cxn>
                  <a:cxn ang="0">
                    <a:pos x="2" y="78"/>
                  </a:cxn>
                  <a:cxn ang="0">
                    <a:pos x="3" y="108"/>
                  </a:cxn>
                  <a:cxn ang="0">
                    <a:pos x="9" y="108"/>
                  </a:cxn>
                  <a:cxn ang="0">
                    <a:pos x="9" y="127"/>
                  </a:cxn>
                  <a:cxn ang="0">
                    <a:pos x="0" y="133"/>
                  </a:cxn>
                  <a:cxn ang="0">
                    <a:pos x="0" y="144"/>
                  </a:cxn>
                  <a:cxn ang="0">
                    <a:pos x="7" y="148"/>
                  </a:cxn>
                  <a:cxn ang="0">
                    <a:pos x="19" y="136"/>
                  </a:cxn>
                  <a:cxn ang="0">
                    <a:pos x="28" y="138"/>
                  </a:cxn>
                  <a:cxn ang="0">
                    <a:pos x="25" y="159"/>
                  </a:cxn>
                  <a:cxn ang="0">
                    <a:pos x="34" y="165"/>
                  </a:cxn>
                  <a:cxn ang="0">
                    <a:pos x="47" y="163"/>
                  </a:cxn>
                  <a:cxn ang="0">
                    <a:pos x="49" y="170"/>
                  </a:cxn>
                  <a:cxn ang="0">
                    <a:pos x="72" y="189"/>
                  </a:cxn>
                  <a:cxn ang="0">
                    <a:pos x="72" y="199"/>
                  </a:cxn>
                  <a:cxn ang="0">
                    <a:pos x="82" y="205"/>
                  </a:cxn>
                  <a:cxn ang="0">
                    <a:pos x="93" y="208"/>
                  </a:cxn>
                  <a:cxn ang="0">
                    <a:pos x="91" y="193"/>
                  </a:cxn>
                  <a:cxn ang="0">
                    <a:pos x="87" y="174"/>
                  </a:cxn>
                  <a:cxn ang="0">
                    <a:pos x="82" y="172"/>
                  </a:cxn>
                  <a:cxn ang="0">
                    <a:pos x="116" y="106"/>
                  </a:cxn>
                  <a:cxn ang="0">
                    <a:pos x="121" y="108"/>
                  </a:cxn>
                  <a:cxn ang="0">
                    <a:pos x="121" y="121"/>
                  </a:cxn>
                  <a:cxn ang="0">
                    <a:pos x="135" y="129"/>
                  </a:cxn>
                  <a:cxn ang="0">
                    <a:pos x="145" y="122"/>
                  </a:cxn>
                  <a:cxn ang="0">
                    <a:pos x="140" y="116"/>
                  </a:cxn>
                  <a:cxn ang="0">
                    <a:pos x="130" y="96"/>
                  </a:cxn>
                  <a:cxn ang="0">
                    <a:pos x="138" y="90"/>
                  </a:cxn>
                  <a:cxn ang="0">
                    <a:pos x="146" y="90"/>
                  </a:cxn>
                  <a:cxn ang="0">
                    <a:pos x="153" y="92"/>
                  </a:cxn>
                  <a:cxn ang="0">
                    <a:pos x="158" y="83"/>
                  </a:cxn>
                  <a:cxn ang="0">
                    <a:pos x="164" y="78"/>
                  </a:cxn>
                  <a:cxn ang="0">
                    <a:pos x="166" y="66"/>
                  </a:cxn>
                  <a:cxn ang="0">
                    <a:pos x="153" y="63"/>
                  </a:cxn>
                  <a:cxn ang="0">
                    <a:pos x="120" y="47"/>
                  </a:cxn>
                  <a:cxn ang="0">
                    <a:pos x="109" y="43"/>
                  </a:cxn>
                  <a:cxn ang="0">
                    <a:pos x="94" y="30"/>
                  </a:cxn>
                  <a:cxn ang="0">
                    <a:pos x="78" y="19"/>
                  </a:cxn>
                  <a:cxn ang="0">
                    <a:pos x="66" y="10"/>
                  </a:cxn>
                  <a:cxn ang="0">
                    <a:pos x="60" y="0"/>
                  </a:cxn>
                </a:cxnLst>
                <a:rect l="0" t="0" r="r" b="b"/>
                <a:pathLst>
                  <a:path w="166" h="208">
                    <a:moveTo>
                      <a:pt x="60" y="0"/>
                    </a:moveTo>
                    <a:cubicBezTo>
                      <a:pt x="59" y="9"/>
                      <a:pt x="59" y="9"/>
                      <a:pt x="59" y="9"/>
                    </a:cubicBezTo>
                    <a:cubicBezTo>
                      <a:pt x="44" y="9"/>
                      <a:pt x="44" y="9"/>
                      <a:pt x="44" y="9"/>
                    </a:cubicBezTo>
                    <a:cubicBezTo>
                      <a:pt x="34" y="2"/>
                      <a:pt x="34" y="2"/>
                      <a:pt x="34" y="2"/>
                    </a:cubicBezTo>
                    <a:cubicBezTo>
                      <a:pt x="32" y="13"/>
                      <a:pt x="32" y="13"/>
                      <a:pt x="32" y="13"/>
                    </a:cubicBezTo>
                    <a:cubicBezTo>
                      <a:pt x="32" y="13"/>
                      <a:pt x="53" y="30"/>
                      <a:pt x="49" y="36"/>
                    </a:cubicBezTo>
                    <a:cubicBezTo>
                      <a:pt x="44" y="42"/>
                      <a:pt x="36" y="32"/>
                      <a:pt x="30" y="32"/>
                    </a:cubicBezTo>
                    <a:cubicBezTo>
                      <a:pt x="21" y="32"/>
                      <a:pt x="15" y="40"/>
                      <a:pt x="13" y="43"/>
                    </a:cubicBezTo>
                    <a:cubicBezTo>
                      <a:pt x="9" y="49"/>
                      <a:pt x="19" y="66"/>
                      <a:pt x="15" y="70"/>
                    </a:cubicBezTo>
                    <a:cubicBezTo>
                      <a:pt x="11" y="72"/>
                      <a:pt x="6" y="72"/>
                      <a:pt x="2" y="78"/>
                    </a:cubicBezTo>
                    <a:cubicBezTo>
                      <a:pt x="0" y="83"/>
                      <a:pt x="3" y="108"/>
                      <a:pt x="3" y="108"/>
                    </a:cubicBezTo>
                    <a:cubicBezTo>
                      <a:pt x="9" y="108"/>
                      <a:pt x="9" y="108"/>
                      <a:pt x="9" y="108"/>
                    </a:cubicBezTo>
                    <a:cubicBezTo>
                      <a:pt x="9" y="127"/>
                      <a:pt x="9" y="127"/>
                      <a:pt x="9" y="127"/>
                    </a:cubicBezTo>
                    <a:cubicBezTo>
                      <a:pt x="0" y="133"/>
                      <a:pt x="0" y="133"/>
                      <a:pt x="0" y="133"/>
                    </a:cubicBezTo>
                    <a:cubicBezTo>
                      <a:pt x="0" y="144"/>
                      <a:pt x="0" y="144"/>
                      <a:pt x="0" y="144"/>
                    </a:cubicBezTo>
                    <a:cubicBezTo>
                      <a:pt x="7" y="148"/>
                      <a:pt x="7" y="148"/>
                      <a:pt x="7" y="148"/>
                    </a:cubicBezTo>
                    <a:cubicBezTo>
                      <a:pt x="19" y="136"/>
                      <a:pt x="19" y="136"/>
                      <a:pt x="19" y="136"/>
                    </a:cubicBezTo>
                    <a:cubicBezTo>
                      <a:pt x="28" y="138"/>
                      <a:pt x="28" y="138"/>
                      <a:pt x="28" y="138"/>
                    </a:cubicBezTo>
                    <a:cubicBezTo>
                      <a:pt x="25" y="159"/>
                      <a:pt x="25" y="159"/>
                      <a:pt x="25" y="159"/>
                    </a:cubicBezTo>
                    <a:cubicBezTo>
                      <a:pt x="34" y="165"/>
                      <a:pt x="34" y="165"/>
                      <a:pt x="34" y="165"/>
                    </a:cubicBezTo>
                    <a:cubicBezTo>
                      <a:pt x="47" y="163"/>
                      <a:pt x="47" y="163"/>
                      <a:pt x="47" y="163"/>
                    </a:cubicBezTo>
                    <a:cubicBezTo>
                      <a:pt x="49" y="170"/>
                      <a:pt x="49" y="170"/>
                      <a:pt x="49" y="170"/>
                    </a:cubicBezTo>
                    <a:cubicBezTo>
                      <a:pt x="72" y="189"/>
                      <a:pt x="72" y="189"/>
                      <a:pt x="72" y="189"/>
                    </a:cubicBezTo>
                    <a:cubicBezTo>
                      <a:pt x="72" y="199"/>
                      <a:pt x="72" y="199"/>
                      <a:pt x="72" y="199"/>
                    </a:cubicBezTo>
                    <a:cubicBezTo>
                      <a:pt x="82" y="205"/>
                      <a:pt x="82" y="205"/>
                      <a:pt x="82" y="205"/>
                    </a:cubicBezTo>
                    <a:cubicBezTo>
                      <a:pt x="93" y="208"/>
                      <a:pt x="93" y="208"/>
                      <a:pt x="93" y="208"/>
                    </a:cubicBezTo>
                    <a:cubicBezTo>
                      <a:pt x="91" y="193"/>
                      <a:pt x="91" y="193"/>
                      <a:pt x="91" y="193"/>
                    </a:cubicBezTo>
                    <a:cubicBezTo>
                      <a:pt x="87" y="174"/>
                      <a:pt x="87" y="174"/>
                      <a:pt x="87" y="174"/>
                    </a:cubicBezTo>
                    <a:cubicBezTo>
                      <a:pt x="82" y="172"/>
                      <a:pt x="82" y="172"/>
                      <a:pt x="82" y="172"/>
                    </a:cubicBezTo>
                    <a:cubicBezTo>
                      <a:pt x="116" y="106"/>
                      <a:pt x="116" y="106"/>
                      <a:pt x="116" y="106"/>
                    </a:cubicBezTo>
                    <a:cubicBezTo>
                      <a:pt x="121" y="108"/>
                      <a:pt x="121" y="108"/>
                      <a:pt x="121" y="108"/>
                    </a:cubicBezTo>
                    <a:cubicBezTo>
                      <a:pt x="121" y="121"/>
                      <a:pt x="121" y="121"/>
                      <a:pt x="121" y="121"/>
                    </a:cubicBezTo>
                    <a:cubicBezTo>
                      <a:pt x="135" y="129"/>
                      <a:pt x="135" y="129"/>
                      <a:pt x="135" y="129"/>
                    </a:cubicBezTo>
                    <a:cubicBezTo>
                      <a:pt x="145" y="122"/>
                      <a:pt x="145" y="122"/>
                      <a:pt x="145" y="122"/>
                    </a:cubicBezTo>
                    <a:cubicBezTo>
                      <a:pt x="140" y="116"/>
                      <a:pt x="140" y="116"/>
                      <a:pt x="140" y="116"/>
                    </a:cubicBezTo>
                    <a:cubicBezTo>
                      <a:pt x="130" y="96"/>
                      <a:pt x="130" y="96"/>
                      <a:pt x="130" y="96"/>
                    </a:cubicBezTo>
                    <a:cubicBezTo>
                      <a:pt x="138" y="90"/>
                      <a:pt x="138" y="90"/>
                      <a:pt x="138" y="90"/>
                    </a:cubicBezTo>
                    <a:cubicBezTo>
                      <a:pt x="146" y="90"/>
                      <a:pt x="146" y="90"/>
                      <a:pt x="146" y="90"/>
                    </a:cubicBezTo>
                    <a:cubicBezTo>
                      <a:pt x="153" y="92"/>
                      <a:pt x="153" y="92"/>
                      <a:pt x="153" y="92"/>
                    </a:cubicBezTo>
                    <a:cubicBezTo>
                      <a:pt x="158" y="83"/>
                      <a:pt x="158" y="83"/>
                      <a:pt x="158" y="83"/>
                    </a:cubicBezTo>
                    <a:cubicBezTo>
                      <a:pt x="164" y="78"/>
                      <a:pt x="164" y="78"/>
                      <a:pt x="164" y="78"/>
                    </a:cubicBezTo>
                    <a:cubicBezTo>
                      <a:pt x="166" y="66"/>
                      <a:pt x="166" y="66"/>
                      <a:pt x="166" y="66"/>
                    </a:cubicBezTo>
                    <a:cubicBezTo>
                      <a:pt x="153" y="63"/>
                      <a:pt x="153" y="63"/>
                      <a:pt x="153" y="63"/>
                    </a:cubicBezTo>
                    <a:cubicBezTo>
                      <a:pt x="120" y="47"/>
                      <a:pt x="120" y="47"/>
                      <a:pt x="120" y="47"/>
                    </a:cubicBezTo>
                    <a:cubicBezTo>
                      <a:pt x="109" y="43"/>
                      <a:pt x="109" y="43"/>
                      <a:pt x="109" y="43"/>
                    </a:cubicBezTo>
                    <a:cubicBezTo>
                      <a:pt x="94" y="30"/>
                      <a:pt x="94" y="30"/>
                      <a:pt x="94" y="30"/>
                    </a:cubicBezTo>
                    <a:cubicBezTo>
                      <a:pt x="78" y="19"/>
                      <a:pt x="78" y="19"/>
                      <a:pt x="78" y="19"/>
                    </a:cubicBezTo>
                    <a:cubicBezTo>
                      <a:pt x="66" y="10"/>
                      <a:pt x="66" y="10"/>
                      <a:pt x="66" y="10"/>
                    </a:cubicBezTo>
                    <a:lnTo>
                      <a:pt x="60" y="0"/>
                    </a:lnTo>
                    <a:close/>
                  </a:path>
                </a:pathLst>
              </a:custGeom>
              <a:solidFill>
                <a:schemeClr val="bg1"/>
              </a:solidFill>
              <a:ln w="3175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42" name="Macedonia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937250" y="5105400"/>
                <a:ext cx="268287" cy="225425"/>
              </a:xfrm>
              <a:custGeom>
                <a:avLst/>
                <a:gdLst/>
                <a:ahLst/>
                <a:cxnLst>
                  <a:cxn ang="0">
                    <a:pos x="122" y="42"/>
                  </a:cxn>
                  <a:cxn ang="0">
                    <a:pos x="125" y="33"/>
                  </a:cxn>
                  <a:cxn ang="0">
                    <a:pos x="116" y="29"/>
                  </a:cxn>
                  <a:cxn ang="0">
                    <a:pos x="115" y="16"/>
                  </a:cxn>
                  <a:cxn ang="0">
                    <a:pos x="105" y="16"/>
                  </a:cxn>
                  <a:cxn ang="0">
                    <a:pos x="95" y="9"/>
                  </a:cxn>
                  <a:cxn ang="0">
                    <a:pos x="86" y="3"/>
                  </a:cxn>
                  <a:cxn ang="0">
                    <a:pos x="82" y="0"/>
                  </a:cxn>
                  <a:cxn ang="0">
                    <a:pos x="75" y="7"/>
                  </a:cxn>
                  <a:cxn ang="0">
                    <a:pos x="65" y="5"/>
                  </a:cxn>
                  <a:cxn ang="0">
                    <a:pos x="53" y="12"/>
                  </a:cxn>
                  <a:cxn ang="0">
                    <a:pos x="43" y="12"/>
                  </a:cxn>
                  <a:cxn ang="0">
                    <a:pos x="35" y="27"/>
                  </a:cxn>
                  <a:cxn ang="0">
                    <a:pos x="26" y="18"/>
                  </a:cxn>
                  <a:cxn ang="0">
                    <a:pos x="21" y="24"/>
                  </a:cxn>
                  <a:cxn ang="0">
                    <a:pos x="11" y="29"/>
                  </a:cxn>
                  <a:cxn ang="0">
                    <a:pos x="13" y="43"/>
                  </a:cxn>
                  <a:cxn ang="0">
                    <a:pos x="3" y="49"/>
                  </a:cxn>
                  <a:cxn ang="0">
                    <a:pos x="5" y="61"/>
                  </a:cxn>
                  <a:cxn ang="0">
                    <a:pos x="0" y="65"/>
                  </a:cxn>
                  <a:cxn ang="0">
                    <a:pos x="7" y="74"/>
                  </a:cxn>
                  <a:cxn ang="0">
                    <a:pos x="3" y="79"/>
                  </a:cxn>
                  <a:cxn ang="0">
                    <a:pos x="10" y="93"/>
                  </a:cxn>
                  <a:cxn ang="0">
                    <a:pos x="15" y="94"/>
                  </a:cxn>
                  <a:cxn ang="0">
                    <a:pos x="19" y="106"/>
                  </a:cxn>
                  <a:cxn ang="0">
                    <a:pos x="26" y="102"/>
                  </a:cxn>
                  <a:cxn ang="0">
                    <a:pos x="31" y="103"/>
                  </a:cxn>
                  <a:cxn ang="0">
                    <a:pos x="32" y="106"/>
                  </a:cxn>
                  <a:cxn ang="0">
                    <a:pos x="48" y="105"/>
                  </a:cxn>
                  <a:cxn ang="0">
                    <a:pos x="57" y="99"/>
                  </a:cxn>
                  <a:cxn ang="0">
                    <a:pos x="63" y="101"/>
                  </a:cxn>
                  <a:cxn ang="0">
                    <a:pos x="73" y="95"/>
                  </a:cxn>
                  <a:cxn ang="0">
                    <a:pos x="76" y="83"/>
                  </a:cxn>
                  <a:cxn ang="0">
                    <a:pos x="82" y="79"/>
                  </a:cxn>
                  <a:cxn ang="0">
                    <a:pos x="89" y="80"/>
                  </a:cxn>
                  <a:cxn ang="0">
                    <a:pos x="93" y="77"/>
                  </a:cxn>
                  <a:cxn ang="0">
                    <a:pos x="112" y="78"/>
                  </a:cxn>
                  <a:cxn ang="0">
                    <a:pos x="113" y="74"/>
                  </a:cxn>
                  <a:cxn ang="0">
                    <a:pos x="117" y="77"/>
                  </a:cxn>
                  <a:cxn ang="0">
                    <a:pos x="117" y="63"/>
                  </a:cxn>
                  <a:cxn ang="0">
                    <a:pos x="126" y="62"/>
                  </a:cxn>
                  <a:cxn ang="0">
                    <a:pos x="122" y="42"/>
                  </a:cxn>
                </a:cxnLst>
                <a:rect l="0" t="0" r="r" b="b"/>
                <a:pathLst>
                  <a:path w="126" h="106">
                    <a:moveTo>
                      <a:pt x="122" y="42"/>
                    </a:moveTo>
                    <a:cubicBezTo>
                      <a:pt x="125" y="33"/>
                      <a:pt x="125" y="33"/>
                      <a:pt x="125" y="33"/>
                    </a:cubicBezTo>
                    <a:cubicBezTo>
                      <a:pt x="116" y="29"/>
                      <a:pt x="116" y="29"/>
                      <a:pt x="116" y="29"/>
                    </a:cubicBezTo>
                    <a:cubicBezTo>
                      <a:pt x="115" y="16"/>
                      <a:pt x="115" y="16"/>
                      <a:pt x="115" y="16"/>
                    </a:cubicBezTo>
                    <a:cubicBezTo>
                      <a:pt x="105" y="16"/>
                      <a:pt x="105" y="16"/>
                      <a:pt x="105" y="16"/>
                    </a:cubicBezTo>
                    <a:cubicBezTo>
                      <a:pt x="100" y="17"/>
                      <a:pt x="97" y="12"/>
                      <a:pt x="95" y="9"/>
                    </a:cubicBezTo>
                    <a:cubicBezTo>
                      <a:pt x="93" y="7"/>
                      <a:pt x="86" y="3"/>
                      <a:pt x="86" y="3"/>
                    </a:cubicBezTo>
                    <a:cubicBezTo>
                      <a:pt x="82" y="0"/>
                      <a:pt x="82" y="0"/>
                      <a:pt x="82" y="0"/>
                    </a:cubicBezTo>
                    <a:cubicBezTo>
                      <a:pt x="75" y="7"/>
                      <a:pt x="75" y="7"/>
                      <a:pt x="75" y="7"/>
                    </a:cubicBezTo>
                    <a:cubicBezTo>
                      <a:pt x="65" y="5"/>
                      <a:pt x="65" y="5"/>
                      <a:pt x="65" y="5"/>
                    </a:cubicBezTo>
                    <a:cubicBezTo>
                      <a:pt x="65" y="5"/>
                      <a:pt x="58" y="12"/>
                      <a:pt x="53" y="12"/>
                    </a:cubicBezTo>
                    <a:cubicBezTo>
                      <a:pt x="49" y="13"/>
                      <a:pt x="43" y="12"/>
                      <a:pt x="43" y="12"/>
                    </a:cubicBezTo>
                    <a:cubicBezTo>
                      <a:pt x="35" y="27"/>
                      <a:pt x="35" y="27"/>
                      <a:pt x="35" y="27"/>
                    </a:cubicBezTo>
                    <a:cubicBezTo>
                      <a:pt x="26" y="18"/>
                      <a:pt x="26" y="18"/>
                      <a:pt x="26" y="18"/>
                    </a:cubicBezTo>
                    <a:cubicBezTo>
                      <a:pt x="21" y="24"/>
                      <a:pt x="21" y="24"/>
                      <a:pt x="21" y="24"/>
                    </a:cubicBezTo>
                    <a:cubicBezTo>
                      <a:pt x="21" y="24"/>
                      <a:pt x="14" y="24"/>
                      <a:pt x="11" y="29"/>
                    </a:cubicBezTo>
                    <a:cubicBezTo>
                      <a:pt x="9" y="33"/>
                      <a:pt x="13" y="43"/>
                      <a:pt x="13" y="43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5" y="61"/>
                      <a:pt x="5" y="61"/>
                      <a:pt x="5" y="61"/>
                    </a:cubicBezTo>
                    <a:cubicBezTo>
                      <a:pt x="0" y="65"/>
                      <a:pt x="0" y="65"/>
                      <a:pt x="0" y="65"/>
                    </a:cubicBezTo>
                    <a:cubicBezTo>
                      <a:pt x="7" y="74"/>
                      <a:pt x="7" y="74"/>
                      <a:pt x="7" y="74"/>
                    </a:cubicBezTo>
                    <a:cubicBezTo>
                      <a:pt x="3" y="79"/>
                      <a:pt x="3" y="79"/>
                      <a:pt x="3" y="79"/>
                    </a:cubicBezTo>
                    <a:cubicBezTo>
                      <a:pt x="10" y="93"/>
                      <a:pt x="10" y="93"/>
                      <a:pt x="10" y="93"/>
                    </a:cubicBezTo>
                    <a:cubicBezTo>
                      <a:pt x="15" y="94"/>
                      <a:pt x="15" y="94"/>
                      <a:pt x="15" y="94"/>
                    </a:cubicBezTo>
                    <a:cubicBezTo>
                      <a:pt x="19" y="106"/>
                      <a:pt x="19" y="106"/>
                      <a:pt x="19" y="106"/>
                    </a:cubicBezTo>
                    <a:cubicBezTo>
                      <a:pt x="26" y="102"/>
                      <a:pt x="26" y="102"/>
                      <a:pt x="26" y="102"/>
                    </a:cubicBezTo>
                    <a:cubicBezTo>
                      <a:pt x="31" y="103"/>
                      <a:pt x="31" y="103"/>
                      <a:pt x="31" y="103"/>
                    </a:cubicBezTo>
                    <a:cubicBezTo>
                      <a:pt x="32" y="106"/>
                      <a:pt x="32" y="106"/>
                      <a:pt x="32" y="106"/>
                    </a:cubicBezTo>
                    <a:cubicBezTo>
                      <a:pt x="48" y="105"/>
                      <a:pt x="48" y="105"/>
                      <a:pt x="48" y="105"/>
                    </a:cubicBezTo>
                    <a:cubicBezTo>
                      <a:pt x="48" y="105"/>
                      <a:pt x="53" y="99"/>
                      <a:pt x="57" y="99"/>
                    </a:cubicBezTo>
                    <a:cubicBezTo>
                      <a:pt x="59" y="99"/>
                      <a:pt x="63" y="101"/>
                      <a:pt x="63" y="101"/>
                    </a:cubicBezTo>
                    <a:cubicBezTo>
                      <a:pt x="63" y="101"/>
                      <a:pt x="69" y="97"/>
                      <a:pt x="73" y="95"/>
                    </a:cubicBezTo>
                    <a:cubicBezTo>
                      <a:pt x="76" y="92"/>
                      <a:pt x="74" y="88"/>
                      <a:pt x="76" y="83"/>
                    </a:cubicBezTo>
                    <a:cubicBezTo>
                      <a:pt x="78" y="80"/>
                      <a:pt x="82" y="79"/>
                      <a:pt x="82" y="79"/>
                    </a:cubicBezTo>
                    <a:cubicBezTo>
                      <a:pt x="89" y="80"/>
                      <a:pt x="89" y="80"/>
                      <a:pt x="89" y="80"/>
                    </a:cubicBezTo>
                    <a:cubicBezTo>
                      <a:pt x="93" y="77"/>
                      <a:pt x="93" y="77"/>
                      <a:pt x="93" y="77"/>
                    </a:cubicBezTo>
                    <a:cubicBezTo>
                      <a:pt x="112" y="78"/>
                      <a:pt x="112" y="78"/>
                      <a:pt x="112" y="78"/>
                    </a:cubicBezTo>
                    <a:cubicBezTo>
                      <a:pt x="113" y="74"/>
                      <a:pt x="113" y="74"/>
                      <a:pt x="113" y="74"/>
                    </a:cubicBezTo>
                    <a:cubicBezTo>
                      <a:pt x="117" y="77"/>
                      <a:pt x="117" y="77"/>
                      <a:pt x="117" y="77"/>
                    </a:cubicBezTo>
                    <a:cubicBezTo>
                      <a:pt x="117" y="77"/>
                      <a:pt x="116" y="67"/>
                      <a:pt x="117" y="63"/>
                    </a:cubicBezTo>
                    <a:cubicBezTo>
                      <a:pt x="117" y="60"/>
                      <a:pt x="126" y="62"/>
                      <a:pt x="126" y="62"/>
                    </a:cubicBezTo>
                    <a:lnTo>
                      <a:pt x="122" y="42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43" name="Malta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5295900" y="6042026"/>
                <a:ext cx="134893" cy="92074"/>
              </a:xfrm>
              <a:custGeom>
                <a:avLst/>
                <a:gdLst/>
                <a:ahLst/>
                <a:cxnLst>
                  <a:cxn ang="0">
                    <a:pos x="7" y="3"/>
                  </a:cxn>
                  <a:cxn ang="0">
                    <a:pos x="2" y="4"/>
                  </a:cxn>
                  <a:cxn ang="0">
                    <a:pos x="5" y="8"/>
                  </a:cxn>
                  <a:cxn ang="0">
                    <a:pos x="7" y="3"/>
                  </a:cxn>
                  <a:cxn ang="0">
                    <a:pos x="16" y="11"/>
                  </a:cxn>
                  <a:cxn ang="0">
                    <a:pos x="14" y="12"/>
                  </a:cxn>
                  <a:cxn ang="0">
                    <a:pos x="11" y="9"/>
                  </a:cxn>
                  <a:cxn ang="0">
                    <a:pos x="9" y="11"/>
                  </a:cxn>
                  <a:cxn ang="0">
                    <a:pos x="10" y="15"/>
                  </a:cxn>
                  <a:cxn ang="0">
                    <a:pos x="19" y="20"/>
                  </a:cxn>
                  <a:cxn ang="0">
                    <a:pos x="23" y="15"/>
                  </a:cxn>
                  <a:cxn ang="0">
                    <a:pos x="16" y="11"/>
                  </a:cxn>
                </a:cxnLst>
                <a:rect l="0" t="0" r="r" b="b"/>
                <a:pathLst>
                  <a:path w="23" h="20">
                    <a:moveTo>
                      <a:pt x="7" y="3"/>
                    </a:moveTo>
                    <a:cubicBezTo>
                      <a:pt x="0" y="0"/>
                      <a:pt x="2" y="4"/>
                      <a:pt x="2" y="4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9" y="9"/>
                      <a:pt x="15" y="5"/>
                      <a:pt x="7" y="3"/>
                    </a:cubicBezTo>
                    <a:close/>
                    <a:moveTo>
                      <a:pt x="16" y="11"/>
                    </a:moveTo>
                    <a:cubicBezTo>
                      <a:pt x="14" y="12"/>
                      <a:pt x="14" y="12"/>
                      <a:pt x="14" y="12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10" y="15"/>
                      <a:pt x="10" y="15"/>
                      <a:pt x="10" y="15"/>
                    </a:cubicBezTo>
                    <a:cubicBezTo>
                      <a:pt x="10" y="15"/>
                      <a:pt x="15" y="20"/>
                      <a:pt x="19" y="20"/>
                    </a:cubicBezTo>
                    <a:cubicBezTo>
                      <a:pt x="23" y="20"/>
                      <a:pt x="23" y="15"/>
                      <a:pt x="23" y="15"/>
                    </a:cubicBezTo>
                    <a:lnTo>
                      <a:pt x="16" y="11"/>
                    </a:lnTo>
                    <a:close/>
                  </a:path>
                </a:pathLst>
              </a:custGeom>
              <a:solidFill>
                <a:srgbClr val="FDC795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44" name="Luxembourg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4456113" y="4092575"/>
                <a:ext cx="74612" cy="106362"/>
              </a:xfrm>
              <a:custGeom>
                <a:avLst/>
                <a:gdLst/>
                <a:ahLst/>
                <a:cxnLst>
                  <a:cxn ang="0">
                    <a:pos x="34" y="30"/>
                  </a:cxn>
                  <a:cxn ang="0">
                    <a:pos x="28" y="21"/>
                  </a:cxn>
                  <a:cxn ang="0">
                    <a:pos x="19" y="5"/>
                  </a:cxn>
                  <a:cxn ang="0">
                    <a:pos x="19" y="2"/>
                  </a:cxn>
                  <a:cxn ang="0">
                    <a:pos x="10" y="0"/>
                  </a:cxn>
                  <a:cxn ang="0">
                    <a:pos x="3" y="14"/>
                  </a:cxn>
                  <a:cxn ang="0">
                    <a:pos x="0" y="15"/>
                  </a:cxn>
                  <a:cxn ang="0">
                    <a:pos x="4" y="34"/>
                  </a:cxn>
                  <a:cxn ang="0">
                    <a:pos x="1" y="42"/>
                  </a:cxn>
                  <a:cxn ang="0">
                    <a:pos x="0" y="42"/>
                  </a:cxn>
                  <a:cxn ang="0">
                    <a:pos x="5" y="44"/>
                  </a:cxn>
                  <a:cxn ang="0">
                    <a:pos x="10" y="49"/>
                  </a:cxn>
                  <a:cxn ang="0">
                    <a:pos x="18" y="45"/>
                  </a:cxn>
                  <a:cxn ang="0">
                    <a:pos x="23" y="47"/>
                  </a:cxn>
                  <a:cxn ang="0">
                    <a:pos x="27" y="46"/>
                  </a:cxn>
                  <a:cxn ang="0">
                    <a:pos x="26" y="43"/>
                  </a:cxn>
                  <a:cxn ang="0">
                    <a:pos x="27" y="37"/>
                  </a:cxn>
                  <a:cxn ang="0">
                    <a:pos x="34" y="30"/>
                  </a:cxn>
                </a:cxnLst>
                <a:rect l="0" t="0" r="r" b="b"/>
                <a:pathLst>
                  <a:path w="35" h="50">
                    <a:moveTo>
                      <a:pt x="34" y="30"/>
                    </a:moveTo>
                    <a:cubicBezTo>
                      <a:pt x="35" y="22"/>
                      <a:pt x="29" y="26"/>
                      <a:pt x="28" y="21"/>
                    </a:cubicBezTo>
                    <a:cubicBezTo>
                      <a:pt x="23" y="22"/>
                      <a:pt x="19" y="12"/>
                      <a:pt x="19" y="5"/>
                    </a:cubicBezTo>
                    <a:cubicBezTo>
                      <a:pt x="19" y="2"/>
                      <a:pt x="19" y="2"/>
                      <a:pt x="19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3" y="14"/>
                      <a:pt x="3" y="14"/>
                      <a:pt x="3" y="14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4" y="34"/>
                      <a:pt x="4" y="34"/>
                      <a:pt x="4" y="34"/>
                    </a:cubicBezTo>
                    <a:cubicBezTo>
                      <a:pt x="1" y="42"/>
                      <a:pt x="1" y="42"/>
                      <a:pt x="1" y="42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5" y="44"/>
                      <a:pt x="5" y="44"/>
                      <a:pt x="5" y="44"/>
                    </a:cubicBezTo>
                    <a:cubicBezTo>
                      <a:pt x="5" y="44"/>
                      <a:pt x="5" y="50"/>
                      <a:pt x="10" y="49"/>
                    </a:cubicBezTo>
                    <a:cubicBezTo>
                      <a:pt x="17" y="49"/>
                      <a:pt x="15" y="44"/>
                      <a:pt x="18" y="45"/>
                    </a:cubicBezTo>
                    <a:cubicBezTo>
                      <a:pt x="21" y="45"/>
                      <a:pt x="21" y="47"/>
                      <a:pt x="23" y="47"/>
                    </a:cubicBezTo>
                    <a:cubicBezTo>
                      <a:pt x="24" y="47"/>
                      <a:pt x="25" y="47"/>
                      <a:pt x="27" y="46"/>
                    </a:cubicBezTo>
                    <a:cubicBezTo>
                      <a:pt x="26" y="46"/>
                      <a:pt x="26" y="45"/>
                      <a:pt x="26" y="43"/>
                    </a:cubicBezTo>
                    <a:cubicBezTo>
                      <a:pt x="26" y="41"/>
                      <a:pt x="25" y="38"/>
                      <a:pt x="27" y="37"/>
                    </a:cubicBezTo>
                    <a:cubicBezTo>
                      <a:pt x="28" y="36"/>
                      <a:pt x="33" y="31"/>
                      <a:pt x="34" y="30"/>
                    </a:cubicBez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45" name="Lithonia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737225" y="3146425"/>
                <a:ext cx="473075" cy="357187"/>
              </a:xfrm>
              <a:custGeom>
                <a:avLst/>
                <a:gdLst/>
                <a:ahLst/>
                <a:cxnLst>
                  <a:cxn ang="0">
                    <a:pos x="87" y="142"/>
                  </a:cxn>
                  <a:cxn ang="0">
                    <a:pos x="110" y="154"/>
                  </a:cxn>
                  <a:cxn ang="0">
                    <a:pos x="114" y="168"/>
                  </a:cxn>
                  <a:cxn ang="0">
                    <a:pos x="127" y="163"/>
                  </a:cxn>
                  <a:cxn ang="0">
                    <a:pos x="141" y="163"/>
                  </a:cxn>
                  <a:cxn ang="0">
                    <a:pos x="155" y="158"/>
                  </a:cxn>
                  <a:cxn ang="0">
                    <a:pos x="161" y="146"/>
                  </a:cxn>
                  <a:cxn ang="0">
                    <a:pos x="175" y="136"/>
                  </a:cxn>
                  <a:cxn ang="0">
                    <a:pos x="189" y="142"/>
                  </a:cxn>
                  <a:cxn ang="0">
                    <a:pos x="188" y="129"/>
                  </a:cxn>
                  <a:cxn ang="0">
                    <a:pos x="188" y="96"/>
                  </a:cxn>
                  <a:cxn ang="0">
                    <a:pos x="203" y="74"/>
                  </a:cxn>
                  <a:cxn ang="0">
                    <a:pos x="218" y="65"/>
                  </a:cxn>
                  <a:cxn ang="0">
                    <a:pos x="207" y="58"/>
                  </a:cxn>
                  <a:cxn ang="0">
                    <a:pos x="210" y="42"/>
                  </a:cxn>
                  <a:cxn ang="0">
                    <a:pos x="197" y="33"/>
                  </a:cxn>
                  <a:cxn ang="0">
                    <a:pos x="191" y="29"/>
                  </a:cxn>
                  <a:cxn ang="0">
                    <a:pos x="169" y="15"/>
                  </a:cxn>
                  <a:cxn ang="0">
                    <a:pos x="148" y="14"/>
                  </a:cxn>
                  <a:cxn ang="0">
                    <a:pos x="137" y="0"/>
                  </a:cxn>
                  <a:cxn ang="0">
                    <a:pos x="127" y="12"/>
                  </a:cxn>
                  <a:cxn ang="0">
                    <a:pos x="120" y="12"/>
                  </a:cxn>
                  <a:cxn ang="0">
                    <a:pos x="107" y="10"/>
                  </a:cxn>
                  <a:cxn ang="0">
                    <a:pos x="90" y="15"/>
                  </a:cxn>
                  <a:cxn ang="0">
                    <a:pos x="77" y="13"/>
                  </a:cxn>
                  <a:cxn ang="0">
                    <a:pos x="71" y="18"/>
                  </a:cxn>
                  <a:cxn ang="0">
                    <a:pos x="66" y="13"/>
                  </a:cxn>
                  <a:cxn ang="0">
                    <a:pos x="54" y="15"/>
                  </a:cxn>
                  <a:cxn ang="0">
                    <a:pos x="31" y="21"/>
                  </a:cxn>
                  <a:cxn ang="0">
                    <a:pos x="23" y="24"/>
                  </a:cxn>
                  <a:cxn ang="0">
                    <a:pos x="7" y="40"/>
                  </a:cxn>
                  <a:cxn ang="0">
                    <a:pos x="4" y="40"/>
                  </a:cxn>
                  <a:cxn ang="0">
                    <a:pos x="5" y="62"/>
                  </a:cxn>
                  <a:cxn ang="0">
                    <a:pos x="6" y="72"/>
                  </a:cxn>
                  <a:cxn ang="0">
                    <a:pos x="5" y="94"/>
                  </a:cxn>
                  <a:cxn ang="0">
                    <a:pos x="9" y="86"/>
                  </a:cxn>
                  <a:cxn ang="0">
                    <a:pos x="9" y="71"/>
                  </a:cxn>
                  <a:cxn ang="0">
                    <a:pos x="14" y="87"/>
                  </a:cxn>
                  <a:cxn ang="0">
                    <a:pos x="16" y="92"/>
                  </a:cxn>
                  <a:cxn ang="0">
                    <a:pos x="24" y="100"/>
                  </a:cxn>
                  <a:cxn ang="0">
                    <a:pos x="37" y="102"/>
                  </a:cxn>
                  <a:cxn ang="0">
                    <a:pos x="48" y="107"/>
                  </a:cxn>
                  <a:cxn ang="0">
                    <a:pos x="69" y="103"/>
                  </a:cxn>
                  <a:cxn ang="0">
                    <a:pos x="77" y="120"/>
                  </a:cxn>
                  <a:cxn ang="0">
                    <a:pos x="81" y="146"/>
                  </a:cxn>
                </a:cxnLst>
                <a:rect l="0" t="0" r="r" b="b"/>
                <a:pathLst>
                  <a:path w="222" h="168">
                    <a:moveTo>
                      <a:pt x="83" y="146"/>
                    </a:moveTo>
                    <a:cubicBezTo>
                      <a:pt x="83" y="146"/>
                      <a:pt x="84" y="141"/>
                      <a:pt x="87" y="142"/>
                    </a:cubicBezTo>
                    <a:cubicBezTo>
                      <a:pt x="90" y="143"/>
                      <a:pt x="89" y="147"/>
                      <a:pt x="93" y="148"/>
                    </a:cubicBezTo>
                    <a:cubicBezTo>
                      <a:pt x="97" y="148"/>
                      <a:pt x="105" y="146"/>
                      <a:pt x="110" y="154"/>
                    </a:cubicBezTo>
                    <a:cubicBezTo>
                      <a:pt x="114" y="162"/>
                      <a:pt x="111" y="165"/>
                      <a:pt x="111" y="165"/>
                    </a:cubicBezTo>
                    <a:cubicBezTo>
                      <a:pt x="114" y="168"/>
                      <a:pt x="114" y="168"/>
                      <a:pt x="114" y="168"/>
                    </a:cubicBezTo>
                    <a:cubicBezTo>
                      <a:pt x="126" y="167"/>
                      <a:pt x="126" y="167"/>
                      <a:pt x="126" y="167"/>
                    </a:cubicBezTo>
                    <a:cubicBezTo>
                      <a:pt x="127" y="163"/>
                      <a:pt x="127" y="163"/>
                      <a:pt x="127" y="163"/>
                    </a:cubicBezTo>
                    <a:cubicBezTo>
                      <a:pt x="134" y="165"/>
                      <a:pt x="134" y="165"/>
                      <a:pt x="134" y="165"/>
                    </a:cubicBezTo>
                    <a:cubicBezTo>
                      <a:pt x="141" y="163"/>
                      <a:pt x="141" y="163"/>
                      <a:pt x="141" y="163"/>
                    </a:cubicBezTo>
                    <a:cubicBezTo>
                      <a:pt x="148" y="166"/>
                      <a:pt x="148" y="166"/>
                      <a:pt x="148" y="166"/>
                    </a:cubicBezTo>
                    <a:cubicBezTo>
                      <a:pt x="155" y="158"/>
                      <a:pt x="155" y="158"/>
                      <a:pt x="155" y="158"/>
                    </a:cubicBezTo>
                    <a:cubicBezTo>
                      <a:pt x="155" y="158"/>
                      <a:pt x="159" y="160"/>
                      <a:pt x="163" y="158"/>
                    </a:cubicBezTo>
                    <a:cubicBezTo>
                      <a:pt x="167" y="157"/>
                      <a:pt x="160" y="148"/>
                      <a:pt x="161" y="146"/>
                    </a:cubicBezTo>
                    <a:cubicBezTo>
                      <a:pt x="163" y="143"/>
                      <a:pt x="171" y="146"/>
                      <a:pt x="171" y="146"/>
                    </a:cubicBezTo>
                    <a:cubicBezTo>
                      <a:pt x="175" y="136"/>
                      <a:pt x="175" y="136"/>
                      <a:pt x="175" y="136"/>
                    </a:cubicBezTo>
                    <a:cubicBezTo>
                      <a:pt x="175" y="136"/>
                      <a:pt x="181" y="134"/>
                      <a:pt x="186" y="134"/>
                    </a:cubicBezTo>
                    <a:cubicBezTo>
                      <a:pt x="190" y="133"/>
                      <a:pt x="186" y="139"/>
                      <a:pt x="189" y="142"/>
                    </a:cubicBezTo>
                    <a:cubicBezTo>
                      <a:pt x="192" y="145"/>
                      <a:pt x="199" y="140"/>
                      <a:pt x="197" y="133"/>
                    </a:cubicBezTo>
                    <a:cubicBezTo>
                      <a:pt x="197" y="128"/>
                      <a:pt x="188" y="129"/>
                      <a:pt x="188" y="129"/>
                    </a:cubicBezTo>
                    <a:cubicBezTo>
                      <a:pt x="191" y="113"/>
                      <a:pt x="191" y="113"/>
                      <a:pt x="191" y="113"/>
                    </a:cubicBezTo>
                    <a:cubicBezTo>
                      <a:pt x="191" y="113"/>
                      <a:pt x="188" y="101"/>
                      <a:pt x="188" y="96"/>
                    </a:cubicBezTo>
                    <a:cubicBezTo>
                      <a:pt x="188" y="92"/>
                      <a:pt x="195" y="87"/>
                      <a:pt x="200" y="86"/>
                    </a:cubicBezTo>
                    <a:cubicBezTo>
                      <a:pt x="204" y="84"/>
                      <a:pt x="203" y="74"/>
                      <a:pt x="203" y="74"/>
                    </a:cubicBezTo>
                    <a:cubicBezTo>
                      <a:pt x="218" y="70"/>
                      <a:pt x="218" y="70"/>
                      <a:pt x="218" y="70"/>
                    </a:cubicBezTo>
                    <a:cubicBezTo>
                      <a:pt x="218" y="65"/>
                      <a:pt x="218" y="65"/>
                      <a:pt x="218" y="65"/>
                    </a:cubicBezTo>
                    <a:cubicBezTo>
                      <a:pt x="218" y="65"/>
                      <a:pt x="222" y="60"/>
                      <a:pt x="221" y="56"/>
                    </a:cubicBezTo>
                    <a:cubicBezTo>
                      <a:pt x="220" y="53"/>
                      <a:pt x="207" y="58"/>
                      <a:pt x="207" y="58"/>
                    </a:cubicBezTo>
                    <a:cubicBezTo>
                      <a:pt x="208" y="48"/>
                      <a:pt x="208" y="48"/>
                      <a:pt x="208" y="48"/>
                    </a:cubicBezTo>
                    <a:cubicBezTo>
                      <a:pt x="210" y="42"/>
                      <a:pt x="210" y="42"/>
                      <a:pt x="210" y="42"/>
                    </a:cubicBezTo>
                    <a:cubicBezTo>
                      <a:pt x="210" y="36"/>
                      <a:pt x="210" y="36"/>
                      <a:pt x="210" y="36"/>
                    </a:cubicBezTo>
                    <a:cubicBezTo>
                      <a:pt x="197" y="33"/>
                      <a:pt x="197" y="33"/>
                      <a:pt x="197" y="33"/>
                    </a:cubicBezTo>
                    <a:cubicBezTo>
                      <a:pt x="196" y="29"/>
                      <a:pt x="196" y="29"/>
                      <a:pt x="196" y="29"/>
                    </a:cubicBezTo>
                    <a:cubicBezTo>
                      <a:pt x="191" y="29"/>
                      <a:pt x="191" y="29"/>
                      <a:pt x="191" y="29"/>
                    </a:cubicBezTo>
                    <a:cubicBezTo>
                      <a:pt x="191" y="29"/>
                      <a:pt x="188" y="22"/>
                      <a:pt x="186" y="19"/>
                    </a:cubicBezTo>
                    <a:cubicBezTo>
                      <a:pt x="183" y="16"/>
                      <a:pt x="169" y="15"/>
                      <a:pt x="169" y="15"/>
                    </a:cubicBezTo>
                    <a:cubicBezTo>
                      <a:pt x="169" y="12"/>
                      <a:pt x="169" y="12"/>
                      <a:pt x="169" y="12"/>
                    </a:cubicBezTo>
                    <a:cubicBezTo>
                      <a:pt x="148" y="14"/>
                      <a:pt x="148" y="14"/>
                      <a:pt x="148" y="14"/>
                    </a:cubicBezTo>
                    <a:cubicBezTo>
                      <a:pt x="142" y="2"/>
                      <a:pt x="142" y="2"/>
                      <a:pt x="142" y="2"/>
                    </a:cubicBezTo>
                    <a:cubicBezTo>
                      <a:pt x="137" y="0"/>
                      <a:pt x="137" y="0"/>
                      <a:pt x="137" y="0"/>
                    </a:cubicBezTo>
                    <a:cubicBezTo>
                      <a:pt x="130" y="5"/>
                      <a:pt x="130" y="5"/>
                      <a:pt x="130" y="5"/>
                    </a:cubicBezTo>
                    <a:cubicBezTo>
                      <a:pt x="127" y="12"/>
                      <a:pt x="127" y="12"/>
                      <a:pt x="127" y="12"/>
                    </a:cubicBezTo>
                    <a:cubicBezTo>
                      <a:pt x="124" y="13"/>
                      <a:pt x="124" y="13"/>
                      <a:pt x="124" y="13"/>
                    </a:cubicBezTo>
                    <a:cubicBezTo>
                      <a:pt x="120" y="12"/>
                      <a:pt x="120" y="12"/>
                      <a:pt x="120" y="12"/>
                    </a:cubicBezTo>
                    <a:cubicBezTo>
                      <a:pt x="113" y="15"/>
                      <a:pt x="113" y="15"/>
                      <a:pt x="113" y="15"/>
                    </a:cubicBezTo>
                    <a:cubicBezTo>
                      <a:pt x="107" y="10"/>
                      <a:pt x="107" y="10"/>
                      <a:pt x="107" y="10"/>
                    </a:cubicBezTo>
                    <a:cubicBezTo>
                      <a:pt x="94" y="10"/>
                      <a:pt x="94" y="10"/>
                      <a:pt x="94" y="10"/>
                    </a:cubicBezTo>
                    <a:cubicBezTo>
                      <a:pt x="90" y="15"/>
                      <a:pt x="90" y="15"/>
                      <a:pt x="90" y="15"/>
                    </a:cubicBezTo>
                    <a:cubicBezTo>
                      <a:pt x="83" y="12"/>
                      <a:pt x="83" y="12"/>
                      <a:pt x="83" y="12"/>
                    </a:cubicBezTo>
                    <a:cubicBezTo>
                      <a:pt x="77" y="13"/>
                      <a:pt x="77" y="13"/>
                      <a:pt x="77" y="13"/>
                    </a:cubicBezTo>
                    <a:cubicBezTo>
                      <a:pt x="75" y="18"/>
                      <a:pt x="75" y="18"/>
                      <a:pt x="75" y="18"/>
                    </a:cubicBezTo>
                    <a:cubicBezTo>
                      <a:pt x="71" y="18"/>
                      <a:pt x="71" y="18"/>
                      <a:pt x="71" y="18"/>
                    </a:cubicBezTo>
                    <a:cubicBezTo>
                      <a:pt x="70" y="12"/>
                      <a:pt x="70" y="12"/>
                      <a:pt x="70" y="12"/>
                    </a:cubicBezTo>
                    <a:cubicBezTo>
                      <a:pt x="66" y="13"/>
                      <a:pt x="66" y="13"/>
                      <a:pt x="66" y="13"/>
                    </a:cubicBezTo>
                    <a:cubicBezTo>
                      <a:pt x="58" y="18"/>
                      <a:pt x="58" y="18"/>
                      <a:pt x="58" y="18"/>
                    </a:cubicBezTo>
                    <a:cubicBezTo>
                      <a:pt x="54" y="15"/>
                      <a:pt x="54" y="15"/>
                      <a:pt x="54" y="15"/>
                    </a:cubicBezTo>
                    <a:cubicBezTo>
                      <a:pt x="36" y="16"/>
                      <a:pt x="36" y="16"/>
                      <a:pt x="36" y="16"/>
                    </a:cubicBezTo>
                    <a:cubicBezTo>
                      <a:pt x="31" y="21"/>
                      <a:pt x="31" y="21"/>
                      <a:pt x="31" y="21"/>
                    </a:cubicBezTo>
                    <a:cubicBezTo>
                      <a:pt x="28" y="20"/>
                      <a:pt x="28" y="20"/>
                      <a:pt x="28" y="20"/>
                    </a:cubicBezTo>
                    <a:cubicBezTo>
                      <a:pt x="23" y="24"/>
                      <a:pt x="23" y="24"/>
                      <a:pt x="23" y="24"/>
                    </a:cubicBezTo>
                    <a:cubicBezTo>
                      <a:pt x="23" y="24"/>
                      <a:pt x="20" y="22"/>
                      <a:pt x="16" y="26"/>
                    </a:cubicBezTo>
                    <a:cubicBezTo>
                      <a:pt x="12" y="31"/>
                      <a:pt x="7" y="40"/>
                      <a:pt x="7" y="40"/>
                    </a:cubicBezTo>
                    <a:cubicBezTo>
                      <a:pt x="5" y="42"/>
                      <a:pt x="5" y="42"/>
                      <a:pt x="5" y="42"/>
                    </a:cubicBezTo>
                    <a:cubicBezTo>
                      <a:pt x="4" y="40"/>
                      <a:pt x="4" y="40"/>
                      <a:pt x="4" y="40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0" y="44"/>
                      <a:pt x="4" y="57"/>
                      <a:pt x="5" y="62"/>
                    </a:cubicBezTo>
                    <a:cubicBezTo>
                      <a:pt x="5" y="64"/>
                      <a:pt x="6" y="66"/>
                      <a:pt x="7" y="68"/>
                    </a:cubicBezTo>
                    <a:cubicBezTo>
                      <a:pt x="6" y="72"/>
                      <a:pt x="6" y="72"/>
                      <a:pt x="6" y="72"/>
                    </a:cubicBezTo>
                    <a:cubicBezTo>
                      <a:pt x="7" y="84"/>
                      <a:pt x="7" y="84"/>
                      <a:pt x="7" y="84"/>
                    </a:cubicBezTo>
                    <a:cubicBezTo>
                      <a:pt x="5" y="94"/>
                      <a:pt x="5" y="94"/>
                      <a:pt x="5" y="94"/>
                    </a:cubicBezTo>
                    <a:cubicBezTo>
                      <a:pt x="7" y="93"/>
                      <a:pt x="7" y="93"/>
                      <a:pt x="7" y="93"/>
                    </a:cubicBezTo>
                    <a:cubicBezTo>
                      <a:pt x="9" y="86"/>
                      <a:pt x="9" y="86"/>
                      <a:pt x="9" y="86"/>
                    </a:cubicBezTo>
                    <a:cubicBezTo>
                      <a:pt x="8" y="73"/>
                      <a:pt x="8" y="73"/>
                      <a:pt x="8" y="73"/>
                    </a:cubicBezTo>
                    <a:cubicBezTo>
                      <a:pt x="9" y="71"/>
                      <a:pt x="9" y="71"/>
                      <a:pt x="9" y="71"/>
                    </a:cubicBezTo>
                    <a:cubicBezTo>
                      <a:pt x="10" y="76"/>
                      <a:pt x="12" y="79"/>
                      <a:pt x="12" y="79"/>
                    </a:cubicBezTo>
                    <a:cubicBezTo>
                      <a:pt x="14" y="87"/>
                      <a:pt x="14" y="87"/>
                      <a:pt x="14" y="87"/>
                    </a:cubicBezTo>
                    <a:cubicBezTo>
                      <a:pt x="12" y="92"/>
                      <a:pt x="12" y="92"/>
                      <a:pt x="12" y="92"/>
                    </a:cubicBezTo>
                    <a:cubicBezTo>
                      <a:pt x="16" y="92"/>
                      <a:pt x="16" y="92"/>
                      <a:pt x="16" y="92"/>
                    </a:cubicBezTo>
                    <a:cubicBezTo>
                      <a:pt x="19" y="96"/>
                      <a:pt x="19" y="96"/>
                      <a:pt x="19" y="96"/>
                    </a:cubicBezTo>
                    <a:cubicBezTo>
                      <a:pt x="24" y="100"/>
                      <a:pt x="24" y="100"/>
                      <a:pt x="24" y="100"/>
                    </a:cubicBezTo>
                    <a:cubicBezTo>
                      <a:pt x="30" y="99"/>
                      <a:pt x="30" y="99"/>
                      <a:pt x="30" y="99"/>
                    </a:cubicBezTo>
                    <a:cubicBezTo>
                      <a:pt x="30" y="99"/>
                      <a:pt x="32" y="100"/>
                      <a:pt x="37" y="102"/>
                    </a:cubicBezTo>
                    <a:cubicBezTo>
                      <a:pt x="41" y="105"/>
                      <a:pt x="47" y="103"/>
                      <a:pt x="47" y="103"/>
                    </a:cubicBezTo>
                    <a:cubicBezTo>
                      <a:pt x="48" y="107"/>
                      <a:pt x="48" y="107"/>
                      <a:pt x="48" y="107"/>
                    </a:cubicBezTo>
                    <a:cubicBezTo>
                      <a:pt x="58" y="103"/>
                      <a:pt x="58" y="103"/>
                      <a:pt x="58" y="103"/>
                    </a:cubicBezTo>
                    <a:cubicBezTo>
                      <a:pt x="69" y="103"/>
                      <a:pt x="69" y="103"/>
                      <a:pt x="69" y="103"/>
                    </a:cubicBezTo>
                    <a:cubicBezTo>
                      <a:pt x="69" y="103"/>
                      <a:pt x="78" y="110"/>
                      <a:pt x="81" y="112"/>
                    </a:cubicBezTo>
                    <a:cubicBezTo>
                      <a:pt x="85" y="115"/>
                      <a:pt x="77" y="120"/>
                      <a:pt x="77" y="120"/>
                    </a:cubicBezTo>
                    <a:cubicBezTo>
                      <a:pt x="77" y="120"/>
                      <a:pt x="75" y="125"/>
                      <a:pt x="75" y="131"/>
                    </a:cubicBezTo>
                    <a:cubicBezTo>
                      <a:pt x="74" y="139"/>
                      <a:pt x="81" y="146"/>
                      <a:pt x="81" y="146"/>
                    </a:cubicBezTo>
                    <a:lnTo>
                      <a:pt x="83" y="146"/>
                    </a:ln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46" name="Latvia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726113" y="2919413"/>
                <a:ext cx="568325" cy="320675"/>
              </a:xfrm>
              <a:custGeom>
                <a:avLst/>
                <a:gdLst/>
                <a:ahLst/>
                <a:cxnLst>
                  <a:cxn ang="0">
                    <a:pos x="264" y="89"/>
                  </a:cxn>
                  <a:cxn ang="0">
                    <a:pos x="259" y="74"/>
                  </a:cxn>
                  <a:cxn ang="0">
                    <a:pos x="255" y="68"/>
                  </a:cxn>
                  <a:cxn ang="0">
                    <a:pos x="249" y="61"/>
                  </a:cxn>
                  <a:cxn ang="0">
                    <a:pos x="237" y="61"/>
                  </a:cxn>
                  <a:cxn ang="0">
                    <a:pos x="237" y="46"/>
                  </a:cxn>
                  <a:cxn ang="0">
                    <a:pos x="240" y="31"/>
                  </a:cxn>
                  <a:cxn ang="0">
                    <a:pos x="225" y="25"/>
                  </a:cxn>
                  <a:cxn ang="0">
                    <a:pos x="212" y="20"/>
                  </a:cxn>
                  <a:cxn ang="0">
                    <a:pos x="190" y="26"/>
                  </a:cxn>
                  <a:cxn ang="0">
                    <a:pos x="177" y="23"/>
                  </a:cxn>
                  <a:cxn ang="0">
                    <a:pos x="167" y="13"/>
                  </a:cxn>
                  <a:cxn ang="0">
                    <a:pos x="161" y="11"/>
                  </a:cxn>
                  <a:cxn ang="0">
                    <a:pos x="153" y="9"/>
                  </a:cxn>
                  <a:cxn ang="0">
                    <a:pos x="146" y="4"/>
                  </a:cxn>
                  <a:cxn ang="0">
                    <a:pos x="139" y="5"/>
                  </a:cxn>
                  <a:cxn ang="0">
                    <a:pos x="132" y="0"/>
                  </a:cxn>
                  <a:cxn ang="0">
                    <a:pos x="121" y="7"/>
                  </a:cxn>
                  <a:cxn ang="0">
                    <a:pos x="115" y="11"/>
                  </a:cxn>
                  <a:cxn ang="0">
                    <a:pos x="111" y="18"/>
                  </a:cxn>
                  <a:cxn ang="0">
                    <a:pos x="109" y="23"/>
                  </a:cxn>
                  <a:cxn ang="0">
                    <a:pos x="117" y="60"/>
                  </a:cxn>
                  <a:cxn ang="0">
                    <a:pos x="95" y="79"/>
                  </a:cxn>
                  <a:cxn ang="0">
                    <a:pos x="78" y="75"/>
                  </a:cxn>
                  <a:cxn ang="0">
                    <a:pos x="73" y="62"/>
                  </a:cxn>
                  <a:cxn ang="0">
                    <a:pos x="65" y="56"/>
                  </a:cxn>
                  <a:cxn ang="0">
                    <a:pos x="51" y="46"/>
                  </a:cxn>
                  <a:cxn ang="0">
                    <a:pos x="18" y="54"/>
                  </a:cxn>
                  <a:cxn ang="0">
                    <a:pos x="12" y="88"/>
                  </a:cxn>
                  <a:cxn ang="0">
                    <a:pos x="2" y="116"/>
                  </a:cxn>
                  <a:cxn ang="0">
                    <a:pos x="2" y="127"/>
                  </a:cxn>
                  <a:cxn ang="0">
                    <a:pos x="4" y="123"/>
                  </a:cxn>
                  <a:cxn ang="0">
                    <a:pos x="3" y="132"/>
                  </a:cxn>
                  <a:cxn ang="0">
                    <a:pos x="0" y="135"/>
                  </a:cxn>
                  <a:cxn ang="0">
                    <a:pos x="5" y="151"/>
                  </a:cxn>
                  <a:cxn ang="0">
                    <a:pos x="10" y="149"/>
                  </a:cxn>
                  <a:cxn ang="0">
                    <a:pos x="21" y="133"/>
                  </a:cxn>
                  <a:cxn ang="0">
                    <a:pos x="33" y="127"/>
                  </a:cxn>
                  <a:cxn ang="0">
                    <a:pos x="41" y="123"/>
                  </a:cxn>
                  <a:cxn ang="0">
                    <a:pos x="63" y="125"/>
                  </a:cxn>
                  <a:cxn ang="0">
                    <a:pos x="75" y="119"/>
                  </a:cxn>
                  <a:cxn ang="0">
                    <a:pos x="80" y="125"/>
                  </a:cxn>
                  <a:cxn ang="0">
                    <a:pos x="88" y="119"/>
                  </a:cxn>
                  <a:cxn ang="0">
                    <a:pos x="99" y="117"/>
                  </a:cxn>
                  <a:cxn ang="0">
                    <a:pos x="118" y="122"/>
                  </a:cxn>
                  <a:cxn ang="0">
                    <a:pos x="129" y="120"/>
                  </a:cxn>
                  <a:cxn ang="0">
                    <a:pos x="135" y="112"/>
                  </a:cxn>
                  <a:cxn ang="0">
                    <a:pos x="147" y="109"/>
                  </a:cxn>
                  <a:cxn ang="0">
                    <a:pos x="174" y="119"/>
                  </a:cxn>
                  <a:cxn ang="0">
                    <a:pos x="191" y="126"/>
                  </a:cxn>
                  <a:cxn ang="0">
                    <a:pos x="201" y="136"/>
                  </a:cxn>
                  <a:cxn ang="0">
                    <a:pos x="215" y="143"/>
                  </a:cxn>
                  <a:cxn ang="0">
                    <a:pos x="225" y="138"/>
                  </a:cxn>
                  <a:cxn ang="0">
                    <a:pos x="232" y="127"/>
                  </a:cxn>
                  <a:cxn ang="0">
                    <a:pos x="244" y="129"/>
                  </a:cxn>
                  <a:cxn ang="0">
                    <a:pos x="251" y="119"/>
                  </a:cxn>
                  <a:cxn ang="0">
                    <a:pos x="265" y="101"/>
                  </a:cxn>
                </a:cxnLst>
                <a:rect l="0" t="0" r="r" b="b"/>
                <a:pathLst>
                  <a:path w="267" h="151">
                    <a:moveTo>
                      <a:pt x="266" y="90"/>
                    </a:moveTo>
                    <a:cubicBezTo>
                      <a:pt x="264" y="89"/>
                      <a:pt x="264" y="89"/>
                      <a:pt x="264" y="89"/>
                    </a:cubicBezTo>
                    <a:cubicBezTo>
                      <a:pt x="262" y="83"/>
                      <a:pt x="262" y="83"/>
                      <a:pt x="262" y="83"/>
                    </a:cubicBezTo>
                    <a:cubicBezTo>
                      <a:pt x="259" y="74"/>
                      <a:pt x="259" y="74"/>
                      <a:pt x="259" y="74"/>
                    </a:cubicBezTo>
                    <a:cubicBezTo>
                      <a:pt x="256" y="73"/>
                      <a:pt x="256" y="73"/>
                      <a:pt x="256" y="73"/>
                    </a:cubicBezTo>
                    <a:cubicBezTo>
                      <a:pt x="255" y="68"/>
                      <a:pt x="255" y="68"/>
                      <a:pt x="255" y="68"/>
                    </a:cubicBezTo>
                    <a:cubicBezTo>
                      <a:pt x="247" y="66"/>
                      <a:pt x="247" y="66"/>
                      <a:pt x="247" y="66"/>
                    </a:cubicBezTo>
                    <a:cubicBezTo>
                      <a:pt x="249" y="61"/>
                      <a:pt x="249" y="61"/>
                      <a:pt x="249" y="61"/>
                    </a:cubicBezTo>
                    <a:cubicBezTo>
                      <a:pt x="249" y="61"/>
                      <a:pt x="247" y="58"/>
                      <a:pt x="245" y="58"/>
                    </a:cubicBezTo>
                    <a:cubicBezTo>
                      <a:pt x="242" y="58"/>
                      <a:pt x="237" y="61"/>
                      <a:pt x="237" y="61"/>
                    </a:cubicBezTo>
                    <a:cubicBezTo>
                      <a:pt x="239" y="50"/>
                      <a:pt x="239" y="50"/>
                      <a:pt x="239" y="50"/>
                    </a:cubicBezTo>
                    <a:cubicBezTo>
                      <a:pt x="237" y="46"/>
                      <a:pt x="237" y="46"/>
                      <a:pt x="237" y="46"/>
                    </a:cubicBezTo>
                    <a:cubicBezTo>
                      <a:pt x="240" y="42"/>
                      <a:pt x="240" y="42"/>
                      <a:pt x="240" y="42"/>
                    </a:cubicBezTo>
                    <a:cubicBezTo>
                      <a:pt x="240" y="31"/>
                      <a:pt x="240" y="31"/>
                      <a:pt x="240" y="31"/>
                    </a:cubicBezTo>
                    <a:cubicBezTo>
                      <a:pt x="240" y="31"/>
                      <a:pt x="237" y="28"/>
                      <a:pt x="234" y="27"/>
                    </a:cubicBezTo>
                    <a:cubicBezTo>
                      <a:pt x="232" y="26"/>
                      <a:pt x="225" y="25"/>
                      <a:pt x="225" y="25"/>
                    </a:cubicBezTo>
                    <a:cubicBezTo>
                      <a:pt x="223" y="18"/>
                      <a:pt x="223" y="18"/>
                      <a:pt x="223" y="18"/>
                    </a:cubicBezTo>
                    <a:cubicBezTo>
                      <a:pt x="223" y="18"/>
                      <a:pt x="215" y="20"/>
                      <a:pt x="212" y="20"/>
                    </a:cubicBezTo>
                    <a:cubicBezTo>
                      <a:pt x="209" y="21"/>
                      <a:pt x="201" y="18"/>
                      <a:pt x="201" y="18"/>
                    </a:cubicBezTo>
                    <a:cubicBezTo>
                      <a:pt x="190" y="26"/>
                      <a:pt x="190" y="26"/>
                      <a:pt x="190" y="26"/>
                    </a:cubicBezTo>
                    <a:cubicBezTo>
                      <a:pt x="186" y="23"/>
                      <a:pt x="186" y="23"/>
                      <a:pt x="186" y="23"/>
                    </a:cubicBezTo>
                    <a:cubicBezTo>
                      <a:pt x="177" y="23"/>
                      <a:pt x="177" y="23"/>
                      <a:pt x="177" y="23"/>
                    </a:cubicBezTo>
                    <a:cubicBezTo>
                      <a:pt x="175" y="23"/>
                      <a:pt x="176" y="18"/>
                      <a:pt x="174" y="16"/>
                    </a:cubicBezTo>
                    <a:cubicBezTo>
                      <a:pt x="172" y="15"/>
                      <a:pt x="167" y="13"/>
                      <a:pt x="167" y="13"/>
                    </a:cubicBezTo>
                    <a:cubicBezTo>
                      <a:pt x="167" y="9"/>
                      <a:pt x="167" y="9"/>
                      <a:pt x="167" y="9"/>
                    </a:cubicBezTo>
                    <a:cubicBezTo>
                      <a:pt x="167" y="9"/>
                      <a:pt x="163" y="11"/>
                      <a:pt x="161" y="11"/>
                    </a:cubicBezTo>
                    <a:cubicBezTo>
                      <a:pt x="159" y="11"/>
                      <a:pt x="157" y="6"/>
                      <a:pt x="157" y="6"/>
                    </a:cubicBezTo>
                    <a:cubicBezTo>
                      <a:pt x="153" y="9"/>
                      <a:pt x="153" y="9"/>
                      <a:pt x="153" y="9"/>
                    </a:cubicBezTo>
                    <a:cubicBezTo>
                      <a:pt x="150" y="4"/>
                      <a:pt x="150" y="4"/>
                      <a:pt x="150" y="4"/>
                    </a:cubicBezTo>
                    <a:cubicBezTo>
                      <a:pt x="146" y="4"/>
                      <a:pt x="146" y="4"/>
                      <a:pt x="146" y="4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9" y="5"/>
                      <a:pt x="139" y="5"/>
                      <a:pt x="139" y="5"/>
                    </a:cubicBezTo>
                    <a:cubicBezTo>
                      <a:pt x="135" y="0"/>
                      <a:pt x="135" y="0"/>
                      <a:pt x="135" y="0"/>
                    </a:cubicBezTo>
                    <a:cubicBezTo>
                      <a:pt x="132" y="0"/>
                      <a:pt x="132" y="0"/>
                      <a:pt x="132" y="0"/>
                    </a:cubicBezTo>
                    <a:cubicBezTo>
                      <a:pt x="127" y="9"/>
                      <a:pt x="127" y="9"/>
                      <a:pt x="127" y="9"/>
                    </a:cubicBezTo>
                    <a:cubicBezTo>
                      <a:pt x="121" y="7"/>
                      <a:pt x="121" y="7"/>
                      <a:pt x="121" y="7"/>
                    </a:cubicBezTo>
                    <a:cubicBezTo>
                      <a:pt x="118" y="14"/>
                      <a:pt x="118" y="14"/>
                      <a:pt x="118" y="14"/>
                    </a:cubicBezTo>
                    <a:cubicBezTo>
                      <a:pt x="115" y="11"/>
                      <a:pt x="115" y="11"/>
                      <a:pt x="115" y="11"/>
                    </a:cubicBezTo>
                    <a:cubicBezTo>
                      <a:pt x="112" y="14"/>
                      <a:pt x="112" y="14"/>
                      <a:pt x="112" y="14"/>
                    </a:cubicBezTo>
                    <a:cubicBezTo>
                      <a:pt x="111" y="18"/>
                      <a:pt x="111" y="18"/>
                      <a:pt x="111" y="18"/>
                    </a:cubicBezTo>
                    <a:cubicBezTo>
                      <a:pt x="109" y="18"/>
                      <a:pt x="109" y="18"/>
                      <a:pt x="109" y="18"/>
                    </a:cubicBezTo>
                    <a:cubicBezTo>
                      <a:pt x="109" y="23"/>
                      <a:pt x="109" y="23"/>
                      <a:pt x="109" y="23"/>
                    </a:cubicBezTo>
                    <a:cubicBezTo>
                      <a:pt x="114" y="44"/>
                      <a:pt x="114" y="44"/>
                      <a:pt x="114" y="44"/>
                    </a:cubicBezTo>
                    <a:cubicBezTo>
                      <a:pt x="114" y="44"/>
                      <a:pt x="117" y="54"/>
                      <a:pt x="117" y="60"/>
                    </a:cubicBezTo>
                    <a:cubicBezTo>
                      <a:pt x="116" y="64"/>
                      <a:pt x="110" y="67"/>
                      <a:pt x="108" y="68"/>
                    </a:cubicBezTo>
                    <a:cubicBezTo>
                      <a:pt x="106" y="69"/>
                      <a:pt x="103" y="76"/>
                      <a:pt x="95" y="79"/>
                    </a:cubicBezTo>
                    <a:cubicBezTo>
                      <a:pt x="87" y="83"/>
                      <a:pt x="86" y="75"/>
                      <a:pt x="86" y="75"/>
                    </a:cubicBezTo>
                    <a:cubicBezTo>
                      <a:pt x="78" y="75"/>
                      <a:pt x="78" y="75"/>
                      <a:pt x="78" y="75"/>
                    </a:cubicBezTo>
                    <a:cubicBezTo>
                      <a:pt x="76" y="75"/>
                      <a:pt x="76" y="68"/>
                      <a:pt x="76" y="66"/>
                    </a:cubicBezTo>
                    <a:cubicBezTo>
                      <a:pt x="75" y="65"/>
                      <a:pt x="73" y="62"/>
                      <a:pt x="73" y="62"/>
                    </a:cubicBezTo>
                    <a:cubicBezTo>
                      <a:pt x="73" y="59"/>
                      <a:pt x="73" y="59"/>
                      <a:pt x="73" y="59"/>
                    </a:cubicBezTo>
                    <a:cubicBezTo>
                      <a:pt x="65" y="56"/>
                      <a:pt x="65" y="56"/>
                      <a:pt x="65" y="56"/>
                    </a:cubicBezTo>
                    <a:cubicBezTo>
                      <a:pt x="65" y="56"/>
                      <a:pt x="64" y="51"/>
                      <a:pt x="61" y="50"/>
                    </a:cubicBezTo>
                    <a:cubicBezTo>
                      <a:pt x="58" y="49"/>
                      <a:pt x="51" y="46"/>
                      <a:pt x="51" y="46"/>
                    </a:cubicBezTo>
                    <a:cubicBezTo>
                      <a:pt x="48" y="36"/>
                      <a:pt x="48" y="36"/>
                      <a:pt x="48" y="36"/>
                    </a:cubicBezTo>
                    <a:cubicBezTo>
                      <a:pt x="18" y="54"/>
                      <a:pt x="18" y="54"/>
                      <a:pt x="18" y="54"/>
                    </a:cubicBezTo>
                    <a:cubicBezTo>
                      <a:pt x="11" y="75"/>
                      <a:pt x="11" y="75"/>
                      <a:pt x="11" y="75"/>
                    </a:cubicBezTo>
                    <a:cubicBezTo>
                      <a:pt x="12" y="88"/>
                      <a:pt x="12" y="88"/>
                      <a:pt x="12" y="88"/>
                    </a:cubicBezTo>
                    <a:cubicBezTo>
                      <a:pt x="0" y="105"/>
                      <a:pt x="0" y="105"/>
                      <a:pt x="0" y="105"/>
                    </a:cubicBezTo>
                    <a:cubicBezTo>
                      <a:pt x="2" y="116"/>
                      <a:pt x="2" y="116"/>
                      <a:pt x="2" y="116"/>
                    </a:cubicBezTo>
                    <a:cubicBezTo>
                      <a:pt x="1" y="127"/>
                      <a:pt x="1" y="127"/>
                      <a:pt x="1" y="127"/>
                    </a:cubicBezTo>
                    <a:cubicBezTo>
                      <a:pt x="2" y="127"/>
                      <a:pt x="2" y="127"/>
                      <a:pt x="2" y="127"/>
                    </a:cubicBezTo>
                    <a:cubicBezTo>
                      <a:pt x="2" y="123"/>
                      <a:pt x="2" y="123"/>
                      <a:pt x="2" y="123"/>
                    </a:cubicBezTo>
                    <a:cubicBezTo>
                      <a:pt x="4" y="123"/>
                      <a:pt x="4" y="123"/>
                      <a:pt x="4" y="123"/>
                    </a:cubicBezTo>
                    <a:cubicBezTo>
                      <a:pt x="4" y="131"/>
                      <a:pt x="4" y="131"/>
                      <a:pt x="4" y="13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1" y="129"/>
                      <a:pt x="1" y="129"/>
                      <a:pt x="1" y="129"/>
                    </a:cubicBezTo>
                    <a:cubicBezTo>
                      <a:pt x="0" y="135"/>
                      <a:pt x="0" y="135"/>
                      <a:pt x="0" y="135"/>
                    </a:cubicBezTo>
                    <a:cubicBezTo>
                      <a:pt x="2" y="145"/>
                      <a:pt x="2" y="145"/>
                      <a:pt x="2" y="145"/>
                    </a:cubicBezTo>
                    <a:cubicBezTo>
                      <a:pt x="5" y="151"/>
                      <a:pt x="5" y="151"/>
                      <a:pt x="5" y="151"/>
                    </a:cubicBezTo>
                    <a:cubicBezTo>
                      <a:pt x="9" y="147"/>
                      <a:pt x="9" y="147"/>
                      <a:pt x="9" y="147"/>
                    </a:cubicBezTo>
                    <a:cubicBezTo>
                      <a:pt x="10" y="149"/>
                      <a:pt x="10" y="149"/>
                      <a:pt x="10" y="149"/>
                    </a:cubicBezTo>
                    <a:cubicBezTo>
                      <a:pt x="12" y="147"/>
                      <a:pt x="12" y="147"/>
                      <a:pt x="12" y="147"/>
                    </a:cubicBezTo>
                    <a:cubicBezTo>
                      <a:pt x="12" y="147"/>
                      <a:pt x="17" y="138"/>
                      <a:pt x="21" y="133"/>
                    </a:cubicBezTo>
                    <a:cubicBezTo>
                      <a:pt x="25" y="129"/>
                      <a:pt x="28" y="131"/>
                      <a:pt x="28" y="131"/>
                    </a:cubicBezTo>
                    <a:cubicBezTo>
                      <a:pt x="33" y="127"/>
                      <a:pt x="33" y="127"/>
                      <a:pt x="33" y="127"/>
                    </a:cubicBezTo>
                    <a:cubicBezTo>
                      <a:pt x="36" y="128"/>
                      <a:pt x="36" y="128"/>
                      <a:pt x="36" y="128"/>
                    </a:cubicBezTo>
                    <a:cubicBezTo>
                      <a:pt x="41" y="123"/>
                      <a:pt x="41" y="123"/>
                      <a:pt x="41" y="123"/>
                    </a:cubicBezTo>
                    <a:cubicBezTo>
                      <a:pt x="59" y="122"/>
                      <a:pt x="59" y="122"/>
                      <a:pt x="59" y="122"/>
                    </a:cubicBezTo>
                    <a:cubicBezTo>
                      <a:pt x="63" y="125"/>
                      <a:pt x="63" y="125"/>
                      <a:pt x="63" y="125"/>
                    </a:cubicBezTo>
                    <a:cubicBezTo>
                      <a:pt x="71" y="120"/>
                      <a:pt x="71" y="120"/>
                      <a:pt x="71" y="120"/>
                    </a:cubicBezTo>
                    <a:cubicBezTo>
                      <a:pt x="75" y="119"/>
                      <a:pt x="75" y="119"/>
                      <a:pt x="75" y="119"/>
                    </a:cubicBezTo>
                    <a:cubicBezTo>
                      <a:pt x="76" y="125"/>
                      <a:pt x="76" y="125"/>
                      <a:pt x="76" y="125"/>
                    </a:cubicBezTo>
                    <a:cubicBezTo>
                      <a:pt x="80" y="125"/>
                      <a:pt x="80" y="125"/>
                      <a:pt x="80" y="125"/>
                    </a:cubicBezTo>
                    <a:cubicBezTo>
                      <a:pt x="82" y="120"/>
                      <a:pt x="82" y="120"/>
                      <a:pt x="82" y="120"/>
                    </a:cubicBezTo>
                    <a:cubicBezTo>
                      <a:pt x="88" y="119"/>
                      <a:pt x="88" y="119"/>
                      <a:pt x="88" y="119"/>
                    </a:cubicBezTo>
                    <a:cubicBezTo>
                      <a:pt x="95" y="122"/>
                      <a:pt x="95" y="122"/>
                      <a:pt x="95" y="122"/>
                    </a:cubicBezTo>
                    <a:cubicBezTo>
                      <a:pt x="99" y="117"/>
                      <a:pt x="99" y="117"/>
                      <a:pt x="99" y="117"/>
                    </a:cubicBezTo>
                    <a:cubicBezTo>
                      <a:pt x="112" y="117"/>
                      <a:pt x="112" y="117"/>
                      <a:pt x="112" y="117"/>
                    </a:cubicBezTo>
                    <a:cubicBezTo>
                      <a:pt x="118" y="122"/>
                      <a:pt x="118" y="122"/>
                      <a:pt x="118" y="122"/>
                    </a:cubicBezTo>
                    <a:cubicBezTo>
                      <a:pt x="125" y="119"/>
                      <a:pt x="125" y="119"/>
                      <a:pt x="125" y="119"/>
                    </a:cubicBezTo>
                    <a:cubicBezTo>
                      <a:pt x="129" y="120"/>
                      <a:pt x="129" y="120"/>
                      <a:pt x="129" y="120"/>
                    </a:cubicBezTo>
                    <a:cubicBezTo>
                      <a:pt x="132" y="119"/>
                      <a:pt x="132" y="119"/>
                      <a:pt x="132" y="119"/>
                    </a:cubicBezTo>
                    <a:cubicBezTo>
                      <a:pt x="135" y="112"/>
                      <a:pt x="135" y="112"/>
                      <a:pt x="135" y="112"/>
                    </a:cubicBezTo>
                    <a:cubicBezTo>
                      <a:pt x="142" y="107"/>
                      <a:pt x="142" y="107"/>
                      <a:pt x="142" y="107"/>
                    </a:cubicBezTo>
                    <a:cubicBezTo>
                      <a:pt x="147" y="109"/>
                      <a:pt x="147" y="109"/>
                      <a:pt x="147" y="109"/>
                    </a:cubicBezTo>
                    <a:cubicBezTo>
                      <a:pt x="153" y="121"/>
                      <a:pt x="153" y="121"/>
                      <a:pt x="153" y="121"/>
                    </a:cubicBezTo>
                    <a:cubicBezTo>
                      <a:pt x="174" y="119"/>
                      <a:pt x="174" y="119"/>
                      <a:pt x="174" y="119"/>
                    </a:cubicBezTo>
                    <a:cubicBezTo>
                      <a:pt x="174" y="122"/>
                      <a:pt x="174" y="122"/>
                      <a:pt x="174" y="122"/>
                    </a:cubicBezTo>
                    <a:cubicBezTo>
                      <a:pt x="174" y="122"/>
                      <a:pt x="188" y="123"/>
                      <a:pt x="191" y="126"/>
                    </a:cubicBezTo>
                    <a:cubicBezTo>
                      <a:pt x="193" y="129"/>
                      <a:pt x="196" y="136"/>
                      <a:pt x="196" y="136"/>
                    </a:cubicBezTo>
                    <a:cubicBezTo>
                      <a:pt x="201" y="136"/>
                      <a:pt x="201" y="136"/>
                      <a:pt x="201" y="136"/>
                    </a:cubicBezTo>
                    <a:cubicBezTo>
                      <a:pt x="202" y="140"/>
                      <a:pt x="202" y="140"/>
                      <a:pt x="202" y="140"/>
                    </a:cubicBezTo>
                    <a:cubicBezTo>
                      <a:pt x="215" y="143"/>
                      <a:pt x="215" y="143"/>
                      <a:pt x="215" y="143"/>
                    </a:cubicBezTo>
                    <a:cubicBezTo>
                      <a:pt x="219" y="140"/>
                      <a:pt x="219" y="140"/>
                      <a:pt x="219" y="140"/>
                    </a:cubicBezTo>
                    <a:cubicBezTo>
                      <a:pt x="219" y="140"/>
                      <a:pt x="223" y="141"/>
                      <a:pt x="225" y="138"/>
                    </a:cubicBezTo>
                    <a:cubicBezTo>
                      <a:pt x="228" y="136"/>
                      <a:pt x="228" y="129"/>
                      <a:pt x="228" y="129"/>
                    </a:cubicBezTo>
                    <a:cubicBezTo>
                      <a:pt x="232" y="127"/>
                      <a:pt x="232" y="127"/>
                      <a:pt x="232" y="127"/>
                    </a:cubicBezTo>
                    <a:cubicBezTo>
                      <a:pt x="232" y="127"/>
                      <a:pt x="237" y="130"/>
                      <a:pt x="239" y="130"/>
                    </a:cubicBezTo>
                    <a:cubicBezTo>
                      <a:pt x="241" y="130"/>
                      <a:pt x="244" y="129"/>
                      <a:pt x="244" y="129"/>
                    </a:cubicBezTo>
                    <a:cubicBezTo>
                      <a:pt x="244" y="129"/>
                      <a:pt x="248" y="130"/>
                      <a:pt x="251" y="128"/>
                    </a:cubicBezTo>
                    <a:cubicBezTo>
                      <a:pt x="254" y="125"/>
                      <a:pt x="251" y="119"/>
                      <a:pt x="251" y="119"/>
                    </a:cubicBezTo>
                    <a:cubicBezTo>
                      <a:pt x="260" y="105"/>
                      <a:pt x="260" y="105"/>
                      <a:pt x="260" y="105"/>
                    </a:cubicBezTo>
                    <a:cubicBezTo>
                      <a:pt x="260" y="105"/>
                      <a:pt x="262" y="105"/>
                      <a:pt x="265" y="101"/>
                    </a:cubicBezTo>
                    <a:cubicBezTo>
                      <a:pt x="267" y="97"/>
                      <a:pt x="266" y="90"/>
                      <a:pt x="266" y="90"/>
                    </a:cubicBez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47" name="Kosovo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858622" y="5005434"/>
                <a:ext cx="199550" cy="204741"/>
              </a:xfrm>
              <a:custGeom>
                <a:avLst/>
                <a:gdLst/>
                <a:ahLst/>
                <a:cxnLst>
                  <a:cxn ang="0">
                    <a:pos x="63" y="40"/>
                  </a:cxn>
                  <a:cxn ang="0">
                    <a:pos x="65" y="36"/>
                  </a:cxn>
                  <a:cxn ang="0">
                    <a:pos x="68" y="29"/>
                  </a:cxn>
                  <a:cxn ang="0">
                    <a:pos x="66" y="24"/>
                  </a:cxn>
                  <a:cxn ang="0">
                    <a:pos x="61" y="22"/>
                  </a:cxn>
                  <a:cxn ang="0">
                    <a:pos x="59" y="21"/>
                  </a:cxn>
                  <a:cxn ang="0">
                    <a:pos x="54" y="19"/>
                  </a:cxn>
                  <a:cxn ang="0">
                    <a:pos x="51" y="16"/>
                  </a:cxn>
                  <a:cxn ang="0">
                    <a:pos x="47" y="15"/>
                  </a:cxn>
                  <a:cxn ang="0">
                    <a:pos x="44" y="11"/>
                  </a:cxn>
                  <a:cxn ang="0">
                    <a:pos x="39" y="9"/>
                  </a:cxn>
                  <a:cxn ang="0">
                    <a:pos x="37" y="8"/>
                  </a:cxn>
                  <a:cxn ang="0">
                    <a:pos x="34" y="7"/>
                  </a:cxn>
                  <a:cxn ang="0">
                    <a:pos x="32" y="6"/>
                  </a:cxn>
                  <a:cxn ang="0">
                    <a:pos x="33" y="2"/>
                  </a:cxn>
                  <a:cxn ang="0">
                    <a:pos x="31" y="1"/>
                  </a:cxn>
                  <a:cxn ang="0">
                    <a:pos x="27" y="4"/>
                  </a:cxn>
                  <a:cxn ang="0">
                    <a:pos x="24" y="9"/>
                  </a:cxn>
                  <a:cxn ang="0">
                    <a:pos x="25" y="15"/>
                  </a:cxn>
                  <a:cxn ang="0">
                    <a:pos x="22" y="20"/>
                  </a:cxn>
                  <a:cxn ang="0">
                    <a:pos x="18" y="24"/>
                  </a:cxn>
                  <a:cxn ang="0">
                    <a:pos x="10" y="24"/>
                  </a:cxn>
                  <a:cxn ang="0">
                    <a:pos x="6" y="25"/>
                  </a:cxn>
                  <a:cxn ang="0">
                    <a:pos x="0" y="27"/>
                  </a:cxn>
                  <a:cxn ang="0">
                    <a:pos x="5" y="37"/>
                  </a:cxn>
                  <a:cxn ang="0">
                    <a:pos x="12" y="38"/>
                  </a:cxn>
                  <a:cxn ang="0">
                    <a:pos x="26" y="48"/>
                  </a:cxn>
                  <a:cxn ang="0">
                    <a:pos x="29" y="69"/>
                  </a:cxn>
                  <a:cxn ang="0">
                    <a:pos x="35" y="55"/>
                  </a:cxn>
                  <a:cxn ang="0">
                    <a:pos x="46" y="47"/>
                  </a:cxn>
                  <a:cxn ang="0">
                    <a:pos x="58" y="43"/>
                  </a:cxn>
                  <a:cxn ang="0">
                    <a:pos x="63" y="42"/>
                  </a:cxn>
                </a:cxnLst>
                <a:rect l="0" t="0" r="r" b="b"/>
                <a:pathLst>
                  <a:path w="68" h="69">
                    <a:moveTo>
                      <a:pt x="63" y="42"/>
                    </a:moveTo>
                    <a:cubicBezTo>
                      <a:pt x="63" y="41"/>
                      <a:pt x="63" y="40"/>
                      <a:pt x="63" y="40"/>
                    </a:cubicBezTo>
                    <a:cubicBezTo>
                      <a:pt x="63" y="40"/>
                      <a:pt x="64" y="39"/>
                      <a:pt x="64" y="38"/>
                    </a:cubicBezTo>
                    <a:cubicBezTo>
                      <a:pt x="64" y="38"/>
                      <a:pt x="65" y="36"/>
                      <a:pt x="65" y="36"/>
                    </a:cubicBezTo>
                    <a:cubicBezTo>
                      <a:pt x="67" y="32"/>
                      <a:pt x="67" y="32"/>
                      <a:pt x="67" y="32"/>
                    </a:cubicBezTo>
                    <a:cubicBezTo>
                      <a:pt x="67" y="32"/>
                      <a:pt x="68" y="30"/>
                      <a:pt x="68" y="29"/>
                    </a:cubicBezTo>
                    <a:cubicBezTo>
                      <a:pt x="68" y="29"/>
                      <a:pt x="67" y="27"/>
                      <a:pt x="67" y="27"/>
                    </a:cubicBezTo>
                    <a:cubicBezTo>
                      <a:pt x="67" y="27"/>
                      <a:pt x="66" y="24"/>
                      <a:pt x="66" y="24"/>
                    </a:cubicBezTo>
                    <a:cubicBezTo>
                      <a:pt x="65" y="23"/>
                      <a:pt x="63" y="23"/>
                      <a:pt x="63" y="23"/>
                    </a:cubicBezTo>
                    <a:cubicBezTo>
                      <a:pt x="61" y="22"/>
                      <a:pt x="61" y="22"/>
                      <a:pt x="61" y="22"/>
                    </a:cubicBezTo>
                    <a:cubicBezTo>
                      <a:pt x="60" y="21"/>
                      <a:pt x="60" y="21"/>
                      <a:pt x="60" y="21"/>
                    </a:cubicBezTo>
                    <a:cubicBezTo>
                      <a:pt x="59" y="21"/>
                      <a:pt x="59" y="21"/>
                      <a:pt x="59" y="21"/>
                    </a:cubicBezTo>
                    <a:cubicBezTo>
                      <a:pt x="56" y="20"/>
                      <a:pt x="56" y="20"/>
                      <a:pt x="56" y="20"/>
                    </a:cubicBezTo>
                    <a:cubicBezTo>
                      <a:pt x="54" y="19"/>
                      <a:pt x="54" y="19"/>
                      <a:pt x="54" y="19"/>
                    </a:cubicBezTo>
                    <a:cubicBezTo>
                      <a:pt x="52" y="18"/>
                      <a:pt x="52" y="18"/>
                      <a:pt x="52" y="18"/>
                    </a:cubicBezTo>
                    <a:cubicBezTo>
                      <a:pt x="52" y="18"/>
                      <a:pt x="51" y="16"/>
                      <a:pt x="51" y="16"/>
                    </a:cubicBezTo>
                    <a:cubicBezTo>
                      <a:pt x="51" y="16"/>
                      <a:pt x="50" y="16"/>
                      <a:pt x="49" y="16"/>
                    </a:cubicBezTo>
                    <a:cubicBezTo>
                      <a:pt x="48" y="16"/>
                      <a:pt x="47" y="15"/>
                      <a:pt x="47" y="15"/>
                    </a:cubicBezTo>
                    <a:cubicBezTo>
                      <a:pt x="47" y="15"/>
                      <a:pt x="47" y="12"/>
                      <a:pt x="47" y="12"/>
                    </a:cubicBezTo>
                    <a:cubicBezTo>
                      <a:pt x="46" y="11"/>
                      <a:pt x="44" y="11"/>
                      <a:pt x="44" y="11"/>
                    </a:cubicBezTo>
                    <a:cubicBezTo>
                      <a:pt x="44" y="11"/>
                      <a:pt x="44" y="9"/>
                      <a:pt x="43" y="9"/>
                    </a:cubicBezTo>
                    <a:cubicBezTo>
                      <a:pt x="42" y="9"/>
                      <a:pt x="40" y="10"/>
                      <a:pt x="39" y="9"/>
                    </a:cubicBezTo>
                    <a:cubicBezTo>
                      <a:pt x="39" y="9"/>
                      <a:pt x="39" y="9"/>
                      <a:pt x="39" y="9"/>
                    </a:cubicBezTo>
                    <a:cubicBezTo>
                      <a:pt x="38" y="8"/>
                      <a:pt x="38" y="8"/>
                      <a:pt x="37" y="8"/>
                    </a:cubicBezTo>
                    <a:cubicBezTo>
                      <a:pt x="37" y="8"/>
                      <a:pt x="37" y="7"/>
                      <a:pt x="37" y="7"/>
                    </a:cubicBezTo>
                    <a:cubicBezTo>
                      <a:pt x="34" y="7"/>
                      <a:pt x="34" y="7"/>
                      <a:pt x="34" y="7"/>
                    </a:cubicBezTo>
                    <a:cubicBezTo>
                      <a:pt x="33" y="7"/>
                      <a:pt x="33" y="7"/>
                      <a:pt x="33" y="7"/>
                    </a:cubicBezTo>
                    <a:cubicBezTo>
                      <a:pt x="33" y="7"/>
                      <a:pt x="32" y="6"/>
                      <a:pt x="32" y="6"/>
                    </a:cubicBezTo>
                    <a:cubicBezTo>
                      <a:pt x="32" y="6"/>
                      <a:pt x="33" y="5"/>
                      <a:pt x="34" y="4"/>
                    </a:cubicBezTo>
                    <a:cubicBezTo>
                      <a:pt x="34" y="3"/>
                      <a:pt x="33" y="2"/>
                      <a:pt x="33" y="2"/>
                    </a:cubicBezTo>
                    <a:cubicBezTo>
                      <a:pt x="33" y="2"/>
                      <a:pt x="33" y="0"/>
                      <a:pt x="32" y="0"/>
                    </a:cubicBezTo>
                    <a:cubicBezTo>
                      <a:pt x="31" y="0"/>
                      <a:pt x="31" y="2"/>
                      <a:pt x="31" y="1"/>
                    </a:cubicBezTo>
                    <a:cubicBezTo>
                      <a:pt x="31" y="1"/>
                      <a:pt x="30" y="4"/>
                      <a:pt x="30" y="4"/>
                    </a:cubicBezTo>
                    <a:cubicBezTo>
                      <a:pt x="29" y="4"/>
                      <a:pt x="28" y="3"/>
                      <a:pt x="27" y="4"/>
                    </a:cubicBezTo>
                    <a:cubicBezTo>
                      <a:pt x="26" y="4"/>
                      <a:pt x="25" y="5"/>
                      <a:pt x="25" y="5"/>
                    </a:cubicBezTo>
                    <a:cubicBezTo>
                      <a:pt x="25" y="5"/>
                      <a:pt x="24" y="8"/>
                      <a:pt x="24" y="9"/>
                    </a:cubicBezTo>
                    <a:cubicBezTo>
                      <a:pt x="25" y="9"/>
                      <a:pt x="25" y="10"/>
                      <a:pt x="26" y="11"/>
                    </a:cubicBezTo>
                    <a:cubicBezTo>
                      <a:pt x="26" y="11"/>
                      <a:pt x="25" y="15"/>
                      <a:pt x="25" y="15"/>
                    </a:cubicBezTo>
                    <a:cubicBezTo>
                      <a:pt x="25" y="15"/>
                      <a:pt x="23" y="17"/>
                      <a:pt x="22" y="18"/>
                    </a:cubicBezTo>
                    <a:cubicBezTo>
                      <a:pt x="21" y="19"/>
                      <a:pt x="22" y="20"/>
                      <a:pt x="22" y="20"/>
                    </a:cubicBezTo>
                    <a:cubicBezTo>
                      <a:pt x="21" y="21"/>
                      <a:pt x="21" y="22"/>
                      <a:pt x="20" y="23"/>
                    </a:cubicBezTo>
                    <a:cubicBezTo>
                      <a:pt x="20" y="23"/>
                      <a:pt x="18" y="24"/>
                      <a:pt x="18" y="24"/>
                    </a:cubicBezTo>
                    <a:cubicBezTo>
                      <a:pt x="14" y="24"/>
                      <a:pt x="14" y="24"/>
                      <a:pt x="14" y="24"/>
                    </a:cubicBezTo>
                    <a:cubicBezTo>
                      <a:pt x="10" y="24"/>
                      <a:pt x="10" y="24"/>
                      <a:pt x="10" y="24"/>
                    </a:cubicBezTo>
                    <a:cubicBezTo>
                      <a:pt x="9" y="26"/>
                      <a:pt x="9" y="26"/>
                      <a:pt x="9" y="26"/>
                    </a:cubicBezTo>
                    <a:cubicBezTo>
                      <a:pt x="6" y="25"/>
                      <a:pt x="6" y="25"/>
                      <a:pt x="6" y="25"/>
                    </a:cubicBezTo>
                    <a:cubicBezTo>
                      <a:pt x="3" y="25"/>
                      <a:pt x="3" y="25"/>
                      <a:pt x="3" y="25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4" y="35"/>
                      <a:pt x="4" y="35"/>
                      <a:pt x="4" y="35"/>
                    </a:cubicBezTo>
                    <a:cubicBezTo>
                      <a:pt x="5" y="37"/>
                      <a:pt x="5" y="37"/>
                      <a:pt x="5" y="37"/>
                    </a:cubicBezTo>
                    <a:cubicBezTo>
                      <a:pt x="9" y="35"/>
                      <a:pt x="9" y="35"/>
                      <a:pt x="9" y="35"/>
                    </a:cubicBezTo>
                    <a:cubicBezTo>
                      <a:pt x="9" y="35"/>
                      <a:pt x="11" y="36"/>
                      <a:pt x="12" y="38"/>
                    </a:cubicBezTo>
                    <a:cubicBezTo>
                      <a:pt x="14" y="40"/>
                      <a:pt x="15" y="45"/>
                      <a:pt x="15" y="45"/>
                    </a:cubicBezTo>
                    <a:cubicBezTo>
                      <a:pt x="15" y="45"/>
                      <a:pt x="23" y="46"/>
                      <a:pt x="26" y="48"/>
                    </a:cubicBezTo>
                    <a:cubicBezTo>
                      <a:pt x="28" y="52"/>
                      <a:pt x="31" y="59"/>
                      <a:pt x="31" y="59"/>
                    </a:cubicBezTo>
                    <a:cubicBezTo>
                      <a:pt x="29" y="69"/>
                      <a:pt x="29" y="69"/>
                      <a:pt x="29" y="69"/>
                    </a:cubicBezTo>
                    <a:cubicBezTo>
                      <a:pt x="36" y="65"/>
                      <a:pt x="36" y="65"/>
                      <a:pt x="36" y="65"/>
                    </a:cubicBezTo>
                    <a:cubicBezTo>
                      <a:pt x="36" y="65"/>
                      <a:pt x="33" y="58"/>
                      <a:pt x="35" y="55"/>
                    </a:cubicBezTo>
                    <a:cubicBezTo>
                      <a:pt x="37" y="51"/>
                      <a:pt x="42" y="51"/>
                      <a:pt x="42" y="51"/>
                    </a:cubicBezTo>
                    <a:cubicBezTo>
                      <a:pt x="46" y="47"/>
                      <a:pt x="46" y="47"/>
                      <a:pt x="46" y="47"/>
                    </a:cubicBezTo>
                    <a:cubicBezTo>
                      <a:pt x="52" y="54"/>
                      <a:pt x="52" y="54"/>
                      <a:pt x="52" y="54"/>
                    </a:cubicBezTo>
                    <a:cubicBezTo>
                      <a:pt x="58" y="43"/>
                      <a:pt x="58" y="43"/>
                      <a:pt x="58" y="43"/>
                    </a:cubicBezTo>
                    <a:cubicBezTo>
                      <a:pt x="58" y="43"/>
                      <a:pt x="60" y="43"/>
                      <a:pt x="61" y="43"/>
                    </a:cubicBezTo>
                    <a:cubicBezTo>
                      <a:pt x="62" y="42"/>
                      <a:pt x="63" y="42"/>
                      <a:pt x="63" y="4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48" name="Italy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4491038" y="4529138"/>
                <a:ext cx="1255712" cy="1443037"/>
              </a:xfrm>
              <a:custGeom>
                <a:avLst/>
                <a:gdLst/>
                <a:ahLst/>
                <a:cxnLst>
                  <a:cxn ang="0">
                    <a:pos x="173" y="282"/>
                  </a:cxn>
                  <a:cxn ang="0">
                    <a:pos x="150" y="269"/>
                  </a:cxn>
                  <a:cxn ang="0">
                    <a:pos x="126" y="392"/>
                  </a:cxn>
                  <a:cxn ang="0">
                    <a:pos x="63" y="407"/>
                  </a:cxn>
                  <a:cxn ang="0">
                    <a:pos x="70" y="460"/>
                  </a:cxn>
                  <a:cxn ang="0">
                    <a:pos x="73" y="519"/>
                  </a:cxn>
                  <a:cxn ang="0">
                    <a:pos x="104" y="525"/>
                  </a:cxn>
                  <a:cxn ang="0">
                    <a:pos x="140" y="458"/>
                  </a:cxn>
                  <a:cxn ang="0">
                    <a:pos x="70" y="394"/>
                  </a:cxn>
                  <a:cxn ang="0">
                    <a:pos x="271" y="599"/>
                  </a:cxn>
                  <a:cxn ang="0">
                    <a:pos x="263" y="595"/>
                  </a:cxn>
                  <a:cxn ang="0">
                    <a:pos x="549" y="402"/>
                  </a:cxn>
                  <a:cxn ang="0">
                    <a:pos x="489" y="378"/>
                  </a:cxn>
                  <a:cxn ang="0">
                    <a:pos x="432" y="333"/>
                  </a:cxn>
                  <a:cxn ang="0">
                    <a:pos x="363" y="300"/>
                  </a:cxn>
                  <a:cxn ang="0">
                    <a:pos x="327" y="230"/>
                  </a:cxn>
                  <a:cxn ang="0">
                    <a:pos x="278" y="141"/>
                  </a:cxn>
                  <a:cxn ang="0">
                    <a:pos x="286" y="106"/>
                  </a:cxn>
                  <a:cxn ang="0">
                    <a:pos x="329" y="91"/>
                  </a:cxn>
                  <a:cxn ang="0">
                    <a:pos x="319" y="59"/>
                  </a:cxn>
                  <a:cxn ang="0">
                    <a:pos x="290" y="34"/>
                  </a:cxn>
                  <a:cxn ang="0">
                    <a:pos x="262" y="2"/>
                  </a:cxn>
                  <a:cxn ang="0">
                    <a:pos x="206" y="26"/>
                  </a:cxn>
                  <a:cxn ang="0">
                    <a:pos x="172" y="38"/>
                  </a:cxn>
                  <a:cxn ang="0">
                    <a:pos x="163" y="60"/>
                  </a:cxn>
                  <a:cxn ang="0">
                    <a:pos x="128" y="41"/>
                  </a:cxn>
                  <a:cxn ang="0">
                    <a:pos x="115" y="79"/>
                  </a:cxn>
                  <a:cxn ang="0">
                    <a:pos x="93" y="60"/>
                  </a:cxn>
                  <a:cxn ang="0">
                    <a:pos x="72" y="54"/>
                  </a:cxn>
                  <a:cxn ang="0">
                    <a:pos x="33" y="75"/>
                  </a:cxn>
                  <a:cxn ang="0">
                    <a:pos x="10" y="126"/>
                  </a:cxn>
                  <a:cxn ang="0">
                    <a:pos x="14" y="178"/>
                  </a:cxn>
                  <a:cxn ang="0">
                    <a:pos x="76" y="195"/>
                  </a:cxn>
                  <a:cxn ang="0">
                    <a:pos x="168" y="211"/>
                  </a:cxn>
                  <a:cxn ang="0">
                    <a:pos x="201" y="286"/>
                  </a:cxn>
                  <a:cxn ang="0">
                    <a:pos x="246" y="333"/>
                  </a:cxn>
                  <a:cxn ang="0">
                    <a:pos x="303" y="375"/>
                  </a:cxn>
                  <a:cxn ang="0">
                    <a:pos x="359" y="410"/>
                  </a:cxn>
                  <a:cxn ang="0">
                    <a:pos x="375" y="423"/>
                  </a:cxn>
                  <a:cxn ang="0">
                    <a:pos x="404" y="437"/>
                  </a:cxn>
                  <a:cxn ang="0">
                    <a:pos x="449" y="464"/>
                  </a:cxn>
                  <a:cxn ang="0">
                    <a:pos x="457" y="544"/>
                  </a:cxn>
                  <a:cxn ang="0">
                    <a:pos x="475" y="588"/>
                  </a:cxn>
                  <a:cxn ang="0">
                    <a:pos x="522" y="501"/>
                  </a:cxn>
                  <a:cxn ang="0">
                    <a:pos x="492" y="456"/>
                  </a:cxn>
                  <a:cxn ang="0">
                    <a:pos x="523" y="425"/>
                  </a:cxn>
                  <a:cxn ang="0">
                    <a:pos x="589" y="436"/>
                  </a:cxn>
                  <a:cxn ang="0">
                    <a:pos x="280" y="207"/>
                  </a:cxn>
                  <a:cxn ang="0">
                    <a:pos x="421" y="580"/>
                  </a:cxn>
                  <a:cxn ang="0">
                    <a:pos x="384" y="589"/>
                  </a:cxn>
                  <a:cxn ang="0">
                    <a:pos x="327" y="579"/>
                  </a:cxn>
                  <a:cxn ang="0">
                    <a:pos x="294" y="583"/>
                  </a:cxn>
                  <a:cxn ang="0">
                    <a:pos x="295" y="622"/>
                  </a:cxn>
                  <a:cxn ang="0">
                    <a:pos x="384" y="656"/>
                  </a:cxn>
                  <a:cxn ang="0">
                    <a:pos x="427" y="662"/>
                  </a:cxn>
                  <a:cxn ang="0">
                    <a:pos x="427" y="634"/>
                  </a:cxn>
                  <a:cxn ang="0">
                    <a:pos x="446" y="568"/>
                  </a:cxn>
                </a:cxnLst>
                <a:rect l="0" t="0" r="r" b="b"/>
                <a:pathLst>
                  <a:path w="589" h="678">
                    <a:moveTo>
                      <a:pt x="173" y="282"/>
                    </a:moveTo>
                    <a:cubicBezTo>
                      <a:pt x="161" y="283"/>
                      <a:pt x="161" y="283"/>
                      <a:pt x="161" y="283"/>
                    </a:cubicBezTo>
                    <a:cubicBezTo>
                      <a:pt x="162" y="289"/>
                      <a:pt x="162" y="289"/>
                      <a:pt x="162" y="289"/>
                    </a:cubicBezTo>
                    <a:cubicBezTo>
                      <a:pt x="172" y="285"/>
                      <a:pt x="172" y="285"/>
                      <a:pt x="172" y="285"/>
                    </a:cubicBezTo>
                    <a:cubicBezTo>
                      <a:pt x="178" y="288"/>
                      <a:pt x="178" y="288"/>
                      <a:pt x="178" y="288"/>
                    </a:cubicBezTo>
                    <a:cubicBezTo>
                      <a:pt x="179" y="281"/>
                      <a:pt x="179" y="281"/>
                      <a:pt x="179" y="281"/>
                    </a:cubicBezTo>
                    <a:cubicBezTo>
                      <a:pt x="177" y="279"/>
                      <a:pt x="177" y="279"/>
                      <a:pt x="177" y="279"/>
                    </a:cubicBezTo>
                    <a:lnTo>
                      <a:pt x="173" y="282"/>
                    </a:lnTo>
                    <a:close/>
                    <a:moveTo>
                      <a:pt x="201" y="310"/>
                    </a:moveTo>
                    <a:cubicBezTo>
                      <a:pt x="196" y="311"/>
                      <a:pt x="200" y="315"/>
                      <a:pt x="200" y="315"/>
                    </a:cubicBezTo>
                    <a:cubicBezTo>
                      <a:pt x="203" y="315"/>
                      <a:pt x="205" y="310"/>
                      <a:pt x="201" y="310"/>
                    </a:cubicBezTo>
                    <a:close/>
                    <a:moveTo>
                      <a:pt x="158" y="294"/>
                    </a:moveTo>
                    <a:cubicBezTo>
                      <a:pt x="154" y="297"/>
                      <a:pt x="159" y="300"/>
                      <a:pt x="159" y="300"/>
                    </a:cubicBezTo>
                    <a:cubicBezTo>
                      <a:pt x="164" y="299"/>
                      <a:pt x="163" y="291"/>
                      <a:pt x="158" y="294"/>
                    </a:cubicBezTo>
                    <a:close/>
                    <a:moveTo>
                      <a:pt x="151" y="265"/>
                    </a:moveTo>
                    <a:cubicBezTo>
                      <a:pt x="147" y="265"/>
                      <a:pt x="150" y="269"/>
                      <a:pt x="150" y="269"/>
                    </a:cubicBezTo>
                    <a:cubicBezTo>
                      <a:pt x="154" y="268"/>
                      <a:pt x="154" y="264"/>
                      <a:pt x="151" y="265"/>
                    </a:cubicBezTo>
                    <a:close/>
                    <a:moveTo>
                      <a:pt x="142" y="408"/>
                    </a:moveTo>
                    <a:cubicBezTo>
                      <a:pt x="136" y="402"/>
                      <a:pt x="136" y="402"/>
                      <a:pt x="136" y="402"/>
                    </a:cubicBezTo>
                    <a:cubicBezTo>
                      <a:pt x="138" y="396"/>
                      <a:pt x="138" y="396"/>
                      <a:pt x="138" y="396"/>
                    </a:cubicBezTo>
                    <a:cubicBezTo>
                      <a:pt x="134" y="395"/>
                      <a:pt x="134" y="395"/>
                      <a:pt x="134" y="395"/>
                    </a:cubicBezTo>
                    <a:cubicBezTo>
                      <a:pt x="134" y="392"/>
                      <a:pt x="134" y="392"/>
                      <a:pt x="134" y="392"/>
                    </a:cubicBezTo>
                    <a:cubicBezTo>
                      <a:pt x="132" y="389"/>
                      <a:pt x="132" y="389"/>
                      <a:pt x="132" y="389"/>
                    </a:cubicBezTo>
                    <a:cubicBezTo>
                      <a:pt x="126" y="392"/>
                      <a:pt x="126" y="392"/>
                      <a:pt x="126" y="392"/>
                    </a:cubicBezTo>
                    <a:cubicBezTo>
                      <a:pt x="126" y="392"/>
                      <a:pt x="125" y="389"/>
                      <a:pt x="121" y="386"/>
                    </a:cubicBezTo>
                    <a:cubicBezTo>
                      <a:pt x="118" y="383"/>
                      <a:pt x="113" y="382"/>
                      <a:pt x="113" y="382"/>
                    </a:cubicBezTo>
                    <a:cubicBezTo>
                      <a:pt x="113" y="390"/>
                      <a:pt x="113" y="390"/>
                      <a:pt x="113" y="390"/>
                    </a:cubicBezTo>
                    <a:cubicBezTo>
                      <a:pt x="106" y="389"/>
                      <a:pt x="106" y="389"/>
                      <a:pt x="106" y="389"/>
                    </a:cubicBezTo>
                    <a:cubicBezTo>
                      <a:pt x="106" y="389"/>
                      <a:pt x="91" y="407"/>
                      <a:pt x="80" y="408"/>
                    </a:cubicBezTo>
                    <a:cubicBezTo>
                      <a:pt x="67" y="410"/>
                      <a:pt x="65" y="400"/>
                      <a:pt x="65" y="400"/>
                    </a:cubicBezTo>
                    <a:cubicBezTo>
                      <a:pt x="59" y="401"/>
                      <a:pt x="59" y="401"/>
                      <a:pt x="59" y="401"/>
                    </a:cubicBezTo>
                    <a:cubicBezTo>
                      <a:pt x="63" y="407"/>
                      <a:pt x="63" y="407"/>
                      <a:pt x="63" y="407"/>
                    </a:cubicBezTo>
                    <a:cubicBezTo>
                      <a:pt x="60" y="415"/>
                      <a:pt x="60" y="415"/>
                      <a:pt x="60" y="415"/>
                    </a:cubicBezTo>
                    <a:cubicBezTo>
                      <a:pt x="60" y="415"/>
                      <a:pt x="58" y="421"/>
                      <a:pt x="59" y="425"/>
                    </a:cubicBezTo>
                    <a:cubicBezTo>
                      <a:pt x="61" y="429"/>
                      <a:pt x="67" y="426"/>
                      <a:pt x="67" y="426"/>
                    </a:cubicBezTo>
                    <a:cubicBezTo>
                      <a:pt x="73" y="431"/>
                      <a:pt x="73" y="431"/>
                      <a:pt x="73" y="431"/>
                    </a:cubicBezTo>
                    <a:cubicBezTo>
                      <a:pt x="72" y="440"/>
                      <a:pt x="72" y="440"/>
                      <a:pt x="72" y="440"/>
                    </a:cubicBezTo>
                    <a:cubicBezTo>
                      <a:pt x="76" y="443"/>
                      <a:pt x="76" y="443"/>
                      <a:pt x="76" y="443"/>
                    </a:cubicBezTo>
                    <a:cubicBezTo>
                      <a:pt x="75" y="458"/>
                      <a:pt x="75" y="458"/>
                      <a:pt x="75" y="458"/>
                    </a:cubicBezTo>
                    <a:cubicBezTo>
                      <a:pt x="70" y="460"/>
                      <a:pt x="70" y="460"/>
                      <a:pt x="70" y="460"/>
                    </a:cubicBezTo>
                    <a:cubicBezTo>
                      <a:pt x="73" y="472"/>
                      <a:pt x="73" y="472"/>
                      <a:pt x="73" y="472"/>
                    </a:cubicBezTo>
                    <a:cubicBezTo>
                      <a:pt x="73" y="472"/>
                      <a:pt x="77" y="471"/>
                      <a:pt x="80" y="473"/>
                    </a:cubicBezTo>
                    <a:cubicBezTo>
                      <a:pt x="82" y="475"/>
                      <a:pt x="77" y="483"/>
                      <a:pt x="77" y="483"/>
                    </a:cubicBezTo>
                    <a:cubicBezTo>
                      <a:pt x="74" y="478"/>
                      <a:pt x="74" y="478"/>
                      <a:pt x="74" y="478"/>
                    </a:cubicBezTo>
                    <a:cubicBezTo>
                      <a:pt x="69" y="504"/>
                      <a:pt x="69" y="504"/>
                      <a:pt x="69" y="504"/>
                    </a:cubicBezTo>
                    <a:cubicBezTo>
                      <a:pt x="73" y="509"/>
                      <a:pt x="73" y="509"/>
                      <a:pt x="73" y="509"/>
                    </a:cubicBezTo>
                    <a:cubicBezTo>
                      <a:pt x="69" y="515"/>
                      <a:pt x="69" y="515"/>
                      <a:pt x="69" y="515"/>
                    </a:cubicBezTo>
                    <a:cubicBezTo>
                      <a:pt x="69" y="515"/>
                      <a:pt x="73" y="518"/>
                      <a:pt x="73" y="519"/>
                    </a:cubicBezTo>
                    <a:cubicBezTo>
                      <a:pt x="73" y="521"/>
                      <a:pt x="68" y="520"/>
                      <a:pt x="68" y="520"/>
                    </a:cubicBezTo>
                    <a:cubicBezTo>
                      <a:pt x="66" y="523"/>
                      <a:pt x="66" y="523"/>
                      <a:pt x="66" y="523"/>
                    </a:cubicBezTo>
                    <a:cubicBezTo>
                      <a:pt x="71" y="531"/>
                      <a:pt x="71" y="531"/>
                      <a:pt x="71" y="531"/>
                    </a:cubicBezTo>
                    <a:cubicBezTo>
                      <a:pt x="71" y="531"/>
                      <a:pt x="74" y="525"/>
                      <a:pt x="76" y="525"/>
                    </a:cubicBezTo>
                    <a:cubicBezTo>
                      <a:pt x="79" y="525"/>
                      <a:pt x="81" y="536"/>
                      <a:pt x="81" y="536"/>
                    </a:cubicBezTo>
                    <a:cubicBezTo>
                      <a:pt x="81" y="536"/>
                      <a:pt x="85" y="534"/>
                      <a:pt x="87" y="534"/>
                    </a:cubicBezTo>
                    <a:cubicBezTo>
                      <a:pt x="89" y="534"/>
                      <a:pt x="93" y="535"/>
                      <a:pt x="93" y="535"/>
                    </a:cubicBezTo>
                    <a:cubicBezTo>
                      <a:pt x="104" y="525"/>
                      <a:pt x="104" y="525"/>
                      <a:pt x="104" y="525"/>
                    </a:cubicBezTo>
                    <a:cubicBezTo>
                      <a:pt x="103" y="521"/>
                      <a:pt x="103" y="521"/>
                      <a:pt x="103" y="521"/>
                    </a:cubicBezTo>
                    <a:cubicBezTo>
                      <a:pt x="103" y="521"/>
                      <a:pt x="105" y="517"/>
                      <a:pt x="113" y="516"/>
                    </a:cubicBezTo>
                    <a:cubicBezTo>
                      <a:pt x="119" y="516"/>
                      <a:pt x="123" y="520"/>
                      <a:pt x="123" y="520"/>
                    </a:cubicBezTo>
                    <a:cubicBezTo>
                      <a:pt x="131" y="523"/>
                      <a:pt x="131" y="523"/>
                      <a:pt x="131" y="523"/>
                    </a:cubicBezTo>
                    <a:cubicBezTo>
                      <a:pt x="134" y="511"/>
                      <a:pt x="134" y="511"/>
                      <a:pt x="134" y="511"/>
                    </a:cubicBezTo>
                    <a:cubicBezTo>
                      <a:pt x="137" y="508"/>
                      <a:pt x="137" y="508"/>
                      <a:pt x="137" y="508"/>
                    </a:cubicBezTo>
                    <a:cubicBezTo>
                      <a:pt x="134" y="501"/>
                      <a:pt x="134" y="501"/>
                      <a:pt x="134" y="501"/>
                    </a:cubicBezTo>
                    <a:cubicBezTo>
                      <a:pt x="140" y="458"/>
                      <a:pt x="140" y="458"/>
                      <a:pt x="140" y="458"/>
                    </a:cubicBezTo>
                    <a:cubicBezTo>
                      <a:pt x="140" y="458"/>
                      <a:pt x="136" y="452"/>
                      <a:pt x="137" y="446"/>
                    </a:cubicBezTo>
                    <a:cubicBezTo>
                      <a:pt x="137" y="440"/>
                      <a:pt x="148" y="430"/>
                      <a:pt x="148" y="430"/>
                    </a:cubicBezTo>
                    <a:cubicBezTo>
                      <a:pt x="138" y="412"/>
                      <a:pt x="138" y="412"/>
                      <a:pt x="138" y="412"/>
                    </a:cubicBezTo>
                    <a:lnTo>
                      <a:pt x="142" y="408"/>
                    </a:lnTo>
                    <a:close/>
                    <a:moveTo>
                      <a:pt x="63" y="515"/>
                    </a:moveTo>
                    <a:cubicBezTo>
                      <a:pt x="55" y="516"/>
                      <a:pt x="63" y="520"/>
                      <a:pt x="63" y="520"/>
                    </a:cubicBezTo>
                    <a:cubicBezTo>
                      <a:pt x="70" y="520"/>
                      <a:pt x="71" y="514"/>
                      <a:pt x="63" y="515"/>
                    </a:cubicBezTo>
                    <a:close/>
                    <a:moveTo>
                      <a:pt x="70" y="394"/>
                    </a:moveTo>
                    <a:cubicBezTo>
                      <a:pt x="75" y="390"/>
                      <a:pt x="71" y="383"/>
                      <a:pt x="68" y="390"/>
                    </a:cubicBezTo>
                    <a:cubicBezTo>
                      <a:pt x="65" y="396"/>
                      <a:pt x="70" y="394"/>
                      <a:pt x="70" y="394"/>
                    </a:cubicBezTo>
                    <a:close/>
                    <a:moveTo>
                      <a:pt x="261" y="671"/>
                    </a:moveTo>
                    <a:cubicBezTo>
                      <a:pt x="255" y="666"/>
                      <a:pt x="256" y="671"/>
                      <a:pt x="256" y="671"/>
                    </a:cubicBezTo>
                    <a:cubicBezTo>
                      <a:pt x="256" y="675"/>
                      <a:pt x="256" y="675"/>
                      <a:pt x="256" y="675"/>
                    </a:cubicBezTo>
                    <a:cubicBezTo>
                      <a:pt x="264" y="678"/>
                      <a:pt x="266" y="675"/>
                      <a:pt x="261" y="671"/>
                    </a:cubicBezTo>
                    <a:close/>
                    <a:moveTo>
                      <a:pt x="277" y="598"/>
                    </a:moveTo>
                    <a:cubicBezTo>
                      <a:pt x="271" y="597"/>
                      <a:pt x="271" y="599"/>
                      <a:pt x="271" y="599"/>
                    </a:cubicBezTo>
                    <a:cubicBezTo>
                      <a:pt x="274" y="600"/>
                      <a:pt x="274" y="600"/>
                      <a:pt x="274" y="600"/>
                    </a:cubicBezTo>
                    <a:cubicBezTo>
                      <a:pt x="277" y="601"/>
                      <a:pt x="281" y="598"/>
                      <a:pt x="277" y="598"/>
                    </a:cubicBezTo>
                    <a:close/>
                    <a:moveTo>
                      <a:pt x="413" y="564"/>
                    </a:moveTo>
                    <a:cubicBezTo>
                      <a:pt x="415" y="564"/>
                      <a:pt x="418" y="562"/>
                      <a:pt x="413" y="562"/>
                    </a:cubicBezTo>
                    <a:cubicBezTo>
                      <a:pt x="409" y="562"/>
                      <a:pt x="413" y="564"/>
                      <a:pt x="413" y="564"/>
                    </a:cubicBezTo>
                    <a:close/>
                    <a:moveTo>
                      <a:pt x="263" y="595"/>
                    </a:moveTo>
                    <a:cubicBezTo>
                      <a:pt x="261" y="595"/>
                      <a:pt x="261" y="598"/>
                      <a:pt x="261" y="598"/>
                    </a:cubicBezTo>
                    <a:cubicBezTo>
                      <a:pt x="264" y="599"/>
                      <a:pt x="265" y="596"/>
                      <a:pt x="263" y="595"/>
                    </a:cubicBezTo>
                    <a:close/>
                    <a:moveTo>
                      <a:pt x="589" y="436"/>
                    </a:moveTo>
                    <a:cubicBezTo>
                      <a:pt x="585" y="435"/>
                      <a:pt x="585" y="435"/>
                      <a:pt x="585" y="435"/>
                    </a:cubicBezTo>
                    <a:cubicBezTo>
                      <a:pt x="581" y="427"/>
                      <a:pt x="581" y="427"/>
                      <a:pt x="581" y="427"/>
                    </a:cubicBezTo>
                    <a:cubicBezTo>
                      <a:pt x="573" y="416"/>
                      <a:pt x="573" y="416"/>
                      <a:pt x="573" y="416"/>
                    </a:cubicBezTo>
                    <a:cubicBezTo>
                      <a:pt x="567" y="417"/>
                      <a:pt x="567" y="417"/>
                      <a:pt x="567" y="417"/>
                    </a:cubicBezTo>
                    <a:cubicBezTo>
                      <a:pt x="560" y="410"/>
                      <a:pt x="560" y="410"/>
                      <a:pt x="560" y="410"/>
                    </a:cubicBezTo>
                    <a:cubicBezTo>
                      <a:pt x="560" y="410"/>
                      <a:pt x="562" y="407"/>
                      <a:pt x="558" y="405"/>
                    </a:cubicBezTo>
                    <a:cubicBezTo>
                      <a:pt x="552" y="402"/>
                      <a:pt x="549" y="402"/>
                      <a:pt x="549" y="402"/>
                    </a:cubicBezTo>
                    <a:cubicBezTo>
                      <a:pt x="543" y="398"/>
                      <a:pt x="543" y="398"/>
                      <a:pt x="543" y="398"/>
                    </a:cubicBezTo>
                    <a:cubicBezTo>
                      <a:pt x="540" y="399"/>
                      <a:pt x="540" y="399"/>
                      <a:pt x="540" y="399"/>
                    </a:cubicBezTo>
                    <a:cubicBezTo>
                      <a:pt x="528" y="394"/>
                      <a:pt x="528" y="394"/>
                      <a:pt x="528" y="394"/>
                    </a:cubicBezTo>
                    <a:cubicBezTo>
                      <a:pt x="525" y="390"/>
                      <a:pt x="525" y="390"/>
                      <a:pt x="525" y="390"/>
                    </a:cubicBezTo>
                    <a:cubicBezTo>
                      <a:pt x="516" y="386"/>
                      <a:pt x="516" y="386"/>
                      <a:pt x="516" y="386"/>
                    </a:cubicBezTo>
                    <a:cubicBezTo>
                      <a:pt x="513" y="383"/>
                      <a:pt x="513" y="383"/>
                      <a:pt x="513" y="383"/>
                    </a:cubicBezTo>
                    <a:cubicBezTo>
                      <a:pt x="492" y="377"/>
                      <a:pt x="492" y="377"/>
                      <a:pt x="492" y="377"/>
                    </a:cubicBezTo>
                    <a:cubicBezTo>
                      <a:pt x="489" y="378"/>
                      <a:pt x="489" y="378"/>
                      <a:pt x="489" y="378"/>
                    </a:cubicBezTo>
                    <a:cubicBezTo>
                      <a:pt x="472" y="369"/>
                      <a:pt x="472" y="369"/>
                      <a:pt x="472" y="369"/>
                    </a:cubicBezTo>
                    <a:cubicBezTo>
                      <a:pt x="467" y="369"/>
                      <a:pt x="467" y="369"/>
                      <a:pt x="467" y="369"/>
                    </a:cubicBezTo>
                    <a:cubicBezTo>
                      <a:pt x="467" y="369"/>
                      <a:pt x="450" y="361"/>
                      <a:pt x="448" y="357"/>
                    </a:cubicBezTo>
                    <a:cubicBezTo>
                      <a:pt x="447" y="352"/>
                      <a:pt x="451" y="349"/>
                      <a:pt x="454" y="347"/>
                    </a:cubicBezTo>
                    <a:cubicBezTo>
                      <a:pt x="458" y="345"/>
                      <a:pt x="462" y="341"/>
                      <a:pt x="462" y="341"/>
                    </a:cubicBezTo>
                    <a:cubicBezTo>
                      <a:pt x="461" y="334"/>
                      <a:pt x="461" y="334"/>
                      <a:pt x="461" y="334"/>
                    </a:cubicBezTo>
                    <a:cubicBezTo>
                      <a:pt x="461" y="334"/>
                      <a:pt x="457" y="330"/>
                      <a:pt x="452" y="330"/>
                    </a:cubicBezTo>
                    <a:cubicBezTo>
                      <a:pt x="448" y="329"/>
                      <a:pt x="437" y="332"/>
                      <a:pt x="432" y="333"/>
                    </a:cubicBezTo>
                    <a:cubicBezTo>
                      <a:pt x="407" y="333"/>
                      <a:pt x="407" y="333"/>
                      <a:pt x="407" y="333"/>
                    </a:cubicBezTo>
                    <a:cubicBezTo>
                      <a:pt x="405" y="331"/>
                      <a:pt x="405" y="331"/>
                      <a:pt x="405" y="331"/>
                    </a:cubicBezTo>
                    <a:cubicBezTo>
                      <a:pt x="390" y="323"/>
                      <a:pt x="390" y="323"/>
                      <a:pt x="390" y="323"/>
                    </a:cubicBezTo>
                    <a:cubicBezTo>
                      <a:pt x="388" y="318"/>
                      <a:pt x="388" y="318"/>
                      <a:pt x="388" y="318"/>
                    </a:cubicBezTo>
                    <a:cubicBezTo>
                      <a:pt x="380" y="316"/>
                      <a:pt x="380" y="316"/>
                      <a:pt x="380" y="316"/>
                    </a:cubicBezTo>
                    <a:cubicBezTo>
                      <a:pt x="371" y="306"/>
                      <a:pt x="371" y="306"/>
                      <a:pt x="371" y="306"/>
                    </a:cubicBezTo>
                    <a:cubicBezTo>
                      <a:pt x="366" y="304"/>
                      <a:pt x="366" y="304"/>
                      <a:pt x="366" y="304"/>
                    </a:cubicBezTo>
                    <a:cubicBezTo>
                      <a:pt x="363" y="300"/>
                      <a:pt x="363" y="300"/>
                      <a:pt x="363" y="300"/>
                    </a:cubicBezTo>
                    <a:cubicBezTo>
                      <a:pt x="356" y="296"/>
                      <a:pt x="356" y="296"/>
                      <a:pt x="356" y="296"/>
                    </a:cubicBezTo>
                    <a:cubicBezTo>
                      <a:pt x="350" y="285"/>
                      <a:pt x="350" y="285"/>
                      <a:pt x="350" y="285"/>
                    </a:cubicBezTo>
                    <a:cubicBezTo>
                      <a:pt x="350" y="278"/>
                      <a:pt x="350" y="278"/>
                      <a:pt x="350" y="278"/>
                    </a:cubicBezTo>
                    <a:cubicBezTo>
                      <a:pt x="346" y="273"/>
                      <a:pt x="346" y="273"/>
                      <a:pt x="346" y="273"/>
                    </a:cubicBezTo>
                    <a:cubicBezTo>
                      <a:pt x="346" y="273"/>
                      <a:pt x="346" y="262"/>
                      <a:pt x="343" y="257"/>
                    </a:cubicBezTo>
                    <a:cubicBezTo>
                      <a:pt x="341" y="252"/>
                      <a:pt x="332" y="235"/>
                      <a:pt x="332" y="235"/>
                    </a:cubicBezTo>
                    <a:cubicBezTo>
                      <a:pt x="333" y="233"/>
                      <a:pt x="333" y="233"/>
                      <a:pt x="333" y="233"/>
                    </a:cubicBezTo>
                    <a:cubicBezTo>
                      <a:pt x="327" y="230"/>
                      <a:pt x="327" y="230"/>
                      <a:pt x="327" y="230"/>
                    </a:cubicBezTo>
                    <a:cubicBezTo>
                      <a:pt x="318" y="227"/>
                      <a:pt x="318" y="227"/>
                      <a:pt x="318" y="227"/>
                    </a:cubicBezTo>
                    <a:cubicBezTo>
                      <a:pt x="297" y="209"/>
                      <a:pt x="297" y="209"/>
                      <a:pt x="297" y="209"/>
                    </a:cubicBezTo>
                    <a:cubicBezTo>
                      <a:pt x="287" y="206"/>
                      <a:pt x="287" y="206"/>
                      <a:pt x="287" y="206"/>
                    </a:cubicBezTo>
                    <a:cubicBezTo>
                      <a:pt x="271" y="189"/>
                      <a:pt x="271" y="189"/>
                      <a:pt x="271" y="189"/>
                    </a:cubicBezTo>
                    <a:cubicBezTo>
                      <a:pt x="268" y="164"/>
                      <a:pt x="268" y="164"/>
                      <a:pt x="268" y="164"/>
                    </a:cubicBezTo>
                    <a:cubicBezTo>
                      <a:pt x="265" y="160"/>
                      <a:pt x="265" y="160"/>
                      <a:pt x="265" y="160"/>
                    </a:cubicBezTo>
                    <a:cubicBezTo>
                      <a:pt x="270" y="148"/>
                      <a:pt x="270" y="148"/>
                      <a:pt x="270" y="148"/>
                    </a:cubicBezTo>
                    <a:cubicBezTo>
                      <a:pt x="270" y="148"/>
                      <a:pt x="277" y="146"/>
                      <a:pt x="278" y="141"/>
                    </a:cubicBezTo>
                    <a:cubicBezTo>
                      <a:pt x="279" y="136"/>
                      <a:pt x="269" y="134"/>
                      <a:pt x="269" y="134"/>
                    </a:cubicBezTo>
                    <a:cubicBezTo>
                      <a:pt x="269" y="134"/>
                      <a:pt x="269" y="129"/>
                      <a:pt x="267" y="127"/>
                    </a:cubicBezTo>
                    <a:cubicBezTo>
                      <a:pt x="266" y="124"/>
                      <a:pt x="261" y="121"/>
                      <a:pt x="261" y="121"/>
                    </a:cubicBezTo>
                    <a:cubicBezTo>
                      <a:pt x="261" y="121"/>
                      <a:pt x="265" y="118"/>
                      <a:pt x="266" y="117"/>
                    </a:cubicBezTo>
                    <a:cubicBezTo>
                      <a:pt x="268" y="116"/>
                      <a:pt x="267" y="111"/>
                      <a:pt x="267" y="111"/>
                    </a:cubicBezTo>
                    <a:cubicBezTo>
                      <a:pt x="271" y="109"/>
                      <a:pt x="271" y="109"/>
                      <a:pt x="271" y="109"/>
                    </a:cubicBezTo>
                    <a:cubicBezTo>
                      <a:pt x="271" y="111"/>
                      <a:pt x="271" y="111"/>
                      <a:pt x="271" y="111"/>
                    </a:cubicBezTo>
                    <a:cubicBezTo>
                      <a:pt x="271" y="111"/>
                      <a:pt x="281" y="109"/>
                      <a:pt x="286" y="106"/>
                    </a:cubicBezTo>
                    <a:cubicBezTo>
                      <a:pt x="293" y="102"/>
                      <a:pt x="296" y="97"/>
                      <a:pt x="296" y="97"/>
                    </a:cubicBezTo>
                    <a:cubicBezTo>
                      <a:pt x="303" y="97"/>
                      <a:pt x="303" y="97"/>
                      <a:pt x="303" y="97"/>
                    </a:cubicBezTo>
                    <a:cubicBezTo>
                      <a:pt x="306" y="94"/>
                      <a:pt x="306" y="94"/>
                      <a:pt x="306" y="94"/>
                    </a:cubicBezTo>
                    <a:cubicBezTo>
                      <a:pt x="302" y="93"/>
                      <a:pt x="302" y="93"/>
                      <a:pt x="302" y="93"/>
                    </a:cubicBezTo>
                    <a:cubicBezTo>
                      <a:pt x="305" y="89"/>
                      <a:pt x="305" y="89"/>
                      <a:pt x="305" y="89"/>
                    </a:cubicBezTo>
                    <a:cubicBezTo>
                      <a:pt x="323" y="93"/>
                      <a:pt x="323" y="93"/>
                      <a:pt x="323" y="93"/>
                    </a:cubicBezTo>
                    <a:cubicBezTo>
                      <a:pt x="322" y="90"/>
                      <a:pt x="322" y="90"/>
                      <a:pt x="322" y="90"/>
                    </a:cubicBezTo>
                    <a:cubicBezTo>
                      <a:pt x="322" y="90"/>
                      <a:pt x="326" y="90"/>
                      <a:pt x="329" y="91"/>
                    </a:cubicBezTo>
                    <a:cubicBezTo>
                      <a:pt x="332" y="91"/>
                      <a:pt x="334" y="99"/>
                      <a:pt x="334" y="99"/>
                    </a:cubicBezTo>
                    <a:cubicBezTo>
                      <a:pt x="334" y="99"/>
                      <a:pt x="339" y="96"/>
                      <a:pt x="339" y="92"/>
                    </a:cubicBezTo>
                    <a:cubicBezTo>
                      <a:pt x="339" y="86"/>
                      <a:pt x="327" y="86"/>
                      <a:pt x="327" y="86"/>
                    </a:cubicBezTo>
                    <a:cubicBezTo>
                      <a:pt x="327" y="86"/>
                      <a:pt x="331" y="75"/>
                      <a:pt x="330" y="73"/>
                    </a:cubicBezTo>
                    <a:cubicBezTo>
                      <a:pt x="329" y="70"/>
                      <a:pt x="321" y="76"/>
                      <a:pt x="321" y="76"/>
                    </a:cubicBezTo>
                    <a:cubicBezTo>
                      <a:pt x="320" y="70"/>
                      <a:pt x="320" y="70"/>
                      <a:pt x="320" y="70"/>
                    </a:cubicBezTo>
                    <a:cubicBezTo>
                      <a:pt x="320" y="70"/>
                      <a:pt x="330" y="65"/>
                      <a:pt x="330" y="61"/>
                    </a:cubicBezTo>
                    <a:cubicBezTo>
                      <a:pt x="329" y="55"/>
                      <a:pt x="319" y="59"/>
                      <a:pt x="319" y="59"/>
                    </a:cubicBezTo>
                    <a:cubicBezTo>
                      <a:pt x="316" y="53"/>
                      <a:pt x="316" y="53"/>
                      <a:pt x="316" y="53"/>
                    </a:cubicBezTo>
                    <a:cubicBezTo>
                      <a:pt x="326" y="44"/>
                      <a:pt x="326" y="44"/>
                      <a:pt x="326" y="44"/>
                    </a:cubicBezTo>
                    <a:cubicBezTo>
                      <a:pt x="331" y="44"/>
                      <a:pt x="331" y="44"/>
                      <a:pt x="331" y="44"/>
                    </a:cubicBezTo>
                    <a:cubicBezTo>
                      <a:pt x="332" y="43"/>
                      <a:pt x="331" y="39"/>
                      <a:pt x="330" y="38"/>
                    </a:cubicBezTo>
                    <a:cubicBezTo>
                      <a:pt x="315" y="35"/>
                      <a:pt x="315" y="35"/>
                      <a:pt x="315" y="35"/>
                    </a:cubicBezTo>
                    <a:cubicBezTo>
                      <a:pt x="309" y="37"/>
                      <a:pt x="309" y="37"/>
                      <a:pt x="309" y="37"/>
                    </a:cubicBezTo>
                    <a:cubicBezTo>
                      <a:pt x="306" y="34"/>
                      <a:pt x="306" y="34"/>
                      <a:pt x="306" y="34"/>
                    </a:cubicBezTo>
                    <a:cubicBezTo>
                      <a:pt x="290" y="34"/>
                      <a:pt x="290" y="34"/>
                      <a:pt x="290" y="34"/>
                    </a:cubicBezTo>
                    <a:cubicBezTo>
                      <a:pt x="288" y="31"/>
                      <a:pt x="288" y="31"/>
                      <a:pt x="288" y="31"/>
                    </a:cubicBezTo>
                    <a:cubicBezTo>
                      <a:pt x="271" y="30"/>
                      <a:pt x="271" y="30"/>
                      <a:pt x="271" y="30"/>
                    </a:cubicBezTo>
                    <a:cubicBezTo>
                      <a:pt x="268" y="22"/>
                      <a:pt x="268" y="22"/>
                      <a:pt x="268" y="22"/>
                    </a:cubicBezTo>
                    <a:cubicBezTo>
                      <a:pt x="265" y="21"/>
                      <a:pt x="265" y="21"/>
                      <a:pt x="265" y="21"/>
                    </a:cubicBezTo>
                    <a:cubicBezTo>
                      <a:pt x="265" y="21"/>
                      <a:pt x="266" y="17"/>
                      <a:pt x="264" y="16"/>
                    </a:cubicBezTo>
                    <a:cubicBezTo>
                      <a:pt x="262" y="15"/>
                      <a:pt x="260" y="17"/>
                      <a:pt x="260" y="17"/>
                    </a:cubicBezTo>
                    <a:cubicBezTo>
                      <a:pt x="257" y="8"/>
                      <a:pt x="257" y="8"/>
                      <a:pt x="257" y="8"/>
                    </a:cubicBezTo>
                    <a:cubicBezTo>
                      <a:pt x="257" y="8"/>
                      <a:pt x="264" y="4"/>
                      <a:pt x="262" y="2"/>
                    </a:cubicBezTo>
                    <a:cubicBezTo>
                      <a:pt x="260" y="0"/>
                      <a:pt x="254" y="6"/>
                      <a:pt x="254" y="6"/>
                    </a:cubicBezTo>
                    <a:cubicBezTo>
                      <a:pt x="250" y="4"/>
                      <a:pt x="250" y="4"/>
                      <a:pt x="250" y="4"/>
                    </a:cubicBezTo>
                    <a:cubicBezTo>
                      <a:pt x="241" y="13"/>
                      <a:pt x="241" y="13"/>
                      <a:pt x="241" y="13"/>
                    </a:cubicBezTo>
                    <a:cubicBezTo>
                      <a:pt x="227" y="7"/>
                      <a:pt x="227" y="7"/>
                      <a:pt x="227" y="7"/>
                    </a:cubicBezTo>
                    <a:cubicBezTo>
                      <a:pt x="224" y="12"/>
                      <a:pt x="224" y="12"/>
                      <a:pt x="224" y="12"/>
                    </a:cubicBezTo>
                    <a:cubicBezTo>
                      <a:pt x="224" y="12"/>
                      <a:pt x="222" y="11"/>
                      <a:pt x="213" y="12"/>
                    </a:cubicBezTo>
                    <a:cubicBezTo>
                      <a:pt x="204" y="13"/>
                      <a:pt x="210" y="21"/>
                      <a:pt x="210" y="21"/>
                    </a:cubicBezTo>
                    <a:cubicBezTo>
                      <a:pt x="206" y="26"/>
                      <a:pt x="206" y="26"/>
                      <a:pt x="206" y="26"/>
                    </a:cubicBezTo>
                    <a:cubicBezTo>
                      <a:pt x="194" y="23"/>
                      <a:pt x="194" y="23"/>
                      <a:pt x="194" y="23"/>
                    </a:cubicBezTo>
                    <a:cubicBezTo>
                      <a:pt x="194" y="23"/>
                      <a:pt x="194" y="19"/>
                      <a:pt x="190" y="17"/>
                    </a:cubicBezTo>
                    <a:cubicBezTo>
                      <a:pt x="187" y="16"/>
                      <a:pt x="185" y="20"/>
                      <a:pt x="185" y="20"/>
                    </a:cubicBezTo>
                    <a:cubicBezTo>
                      <a:pt x="182" y="20"/>
                      <a:pt x="182" y="20"/>
                      <a:pt x="182" y="20"/>
                    </a:cubicBezTo>
                    <a:cubicBezTo>
                      <a:pt x="179" y="34"/>
                      <a:pt x="179" y="34"/>
                      <a:pt x="179" y="34"/>
                    </a:cubicBezTo>
                    <a:cubicBezTo>
                      <a:pt x="182" y="34"/>
                      <a:pt x="182" y="34"/>
                      <a:pt x="182" y="34"/>
                    </a:cubicBezTo>
                    <a:cubicBezTo>
                      <a:pt x="182" y="41"/>
                      <a:pt x="182" y="41"/>
                      <a:pt x="182" y="41"/>
                    </a:cubicBezTo>
                    <a:cubicBezTo>
                      <a:pt x="172" y="38"/>
                      <a:pt x="172" y="38"/>
                      <a:pt x="172" y="38"/>
                    </a:cubicBezTo>
                    <a:cubicBezTo>
                      <a:pt x="171" y="32"/>
                      <a:pt x="171" y="32"/>
                      <a:pt x="171" y="32"/>
                    </a:cubicBezTo>
                    <a:cubicBezTo>
                      <a:pt x="171" y="32"/>
                      <a:pt x="169" y="31"/>
                      <a:pt x="163" y="37"/>
                    </a:cubicBezTo>
                    <a:cubicBezTo>
                      <a:pt x="157" y="43"/>
                      <a:pt x="163" y="47"/>
                      <a:pt x="163" y="47"/>
                    </a:cubicBezTo>
                    <a:cubicBezTo>
                      <a:pt x="166" y="47"/>
                      <a:pt x="166" y="47"/>
                      <a:pt x="166" y="47"/>
                    </a:cubicBezTo>
                    <a:cubicBezTo>
                      <a:pt x="168" y="48"/>
                      <a:pt x="168" y="48"/>
                      <a:pt x="168" y="48"/>
                    </a:cubicBezTo>
                    <a:cubicBezTo>
                      <a:pt x="165" y="53"/>
                      <a:pt x="165" y="53"/>
                      <a:pt x="165" y="53"/>
                    </a:cubicBezTo>
                    <a:cubicBezTo>
                      <a:pt x="165" y="60"/>
                      <a:pt x="165" y="60"/>
                      <a:pt x="165" y="60"/>
                    </a:cubicBezTo>
                    <a:cubicBezTo>
                      <a:pt x="163" y="60"/>
                      <a:pt x="163" y="60"/>
                      <a:pt x="163" y="60"/>
                    </a:cubicBezTo>
                    <a:cubicBezTo>
                      <a:pt x="162" y="58"/>
                      <a:pt x="162" y="58"/>
                      <a:pt x="162" y="58"/>
                    </a:cubicBezTo>
                    <a:cubicBezTo>
                      <a:pt x="159" y="54"/>
                      <a:pt x="159" y="54"/>
                      <a:pt x="159" y="54"/>
                    </a:cubicBezTo>
                    <a:cubicBezTo>
                      <a:pt x="157" y="50"/>
                      <a:pt x="157" y="50"/>
                      <a:pt x="157" y="50"/>
                    </a:cubicBezTo>
                    <a:cubicBezTo>
                      <a:pt x="148" y="52"/>
                      <a:pt x="148" y="52"/>
                      <a:pt x="148" y="52"/>
                    </a:cubicBezTo>
                    <a:cubicBezTo>
                      <a:pt x="148" y="52"/>
                      <a:pt x="145" y="57"/>
                      <a:pt x="139" y="54"/>
                    </a:cubicBezTo>
                    <a:cubicBezTo>
                      <a:pt x="134" y="51"/>
                      <a:pt x="135" y="41"/>
                      <a:pt x="135" y="41"/>
                    </a:cubicBezTo>
                    <a:cubicBezTo>
                      <a:pt x="132" y="43"/>
                      <a:pt x="132" y="43"/>
                      <a:pt x="132" y="43"/>
                    </a:cubicBezTo>
                    <a:cubicBezTo>
                      <a:pt x="128" y="41"/>
                      <a:pt x="128" y="41"/>
                      <a:pt x="128" y="41"/>
                    </a:cubicBezTo>
                    <a:cubicBezTo>
                      <a:pt x="125" y="46"/>
                      <a:pt x="125" y="46"/>
                      <a:pt x="125" y="46"/>
                    </a:cubicBezTo>
                    <a:cubicBezTo>
                      <a:pt x="128" y="48"/>
                      <a:pt x="128" y="48"/>
                      <a:pt x="128" y="48"/>
                    </a:cubicBezTo>
                    <a:cubicBezTo>
                      <a:pt x="128" y="48"/>
                      <a:pt x="128" y="51"/>
                      <a:pt x="125" y="57"/>
                    </a:cubicBezTo>
                    <a:cubicBezTo>
                      <a:pt x="123" y="62"/>
                      <a:pt x="117" y="66"/>
                      <a:pt x="117" y="66"/>
                    </a:cubicBezTo>
                    <a:cubicBezTo>
                      <a:pt x="116" y="69"/>
                      <a:pt x="116" y="69"/>
                      <a:pt x="116" y="69"/>
                    </a:cubicBezTo>
                    <a:cubicBezTo>
                      <a:pt x="112" y="73"/>
                      <a:pt x="112" y="73"/>
                      <a:pt x="112" y="73"/>
                    </a:cubicBezTo>
                    <a:cubicBezTo>
                      <a:pt x="113" y="77"/>
                      <a:pt x="113" y="77"/>
                      <a:pt x="113" y="77"/>
                    </a:cubicBezTo>
                    <a:cubicBezTo>
                      <a:pt x="115" y="79"/>
                      <a:pt x="115" y="79"/>
                      <a:pt x="115" y="79"/>
                    </a:cubicBezTo>
                    <a:cubicBezTo>
                      <a:pt x="114" y="84"/>
                      <a:pt x="114" y="84"/>
                      <a:pt x="114" y="84"/>
                    </a:cubicBezTo>
                    <a:cubicBezTo>
                      <a:pt x="110" y="83"/>
                      <a:pt x="110" y="83"/>
                      <a:pt x="110" y="83"/>
                    </a:cubicBezTo>
                    <a:cubicBezTo>
                      <a:pt x="106" y="74"/>
                      <a:pt x="106" y="74"/>
                      <a:pt x="106" y="74"/>
                    </a:cubicBezTo>
                    <a:cubicBezTo>
                      <a:pt x="104" y="71"/>
                      <a:pt x="104" y="71"/>
                      <a:pt x="104" y="71"/>
                    </a:cubicBezTo>
                    <a:cubicBezTo>
                      <a:pt x="107" y="69"/>
                      <a:pt x="107" y="69"/>
                      <a:pt x="107" y="69"/>
                    </a:cubicBezTo>
                    <a:cubicBezTo>
                      <a:pt x="104" y="66"/>
                      <a:pt x="104" y="66"/>
                      <a:pt x="104" y="66"/>
                    </a:cubicBezTo>
                    <a:cubicBezTo>
                      <a:pt x="104" y="66"/>
                      <a:pt x="99" y="67"/>
                      <a:pt x="96" y="65"/>
                    </a:cubicBezTo>
                    <a:cubicBezTo>
                      <a:pt x="92" y="63"/>
                      <a:pt x="93" y="61"/>
                      <a:pt x="93" y="60"/>
                    </a:cubicBezTo>
                    <a:cubicBezTo>
                      <a:pt x="93" y="59"/>
                      <a:pt x="89" y="58"/>
                      <a:pt x="87" y="54"/>
                    </a:cubicBezTo>
                    <a:cubicBezTo>
                      <a:pt x="85" y="51"/>
                      <a:pt x="91" y="45"/>
                      <a:pt x="91" y="45"/>
                    </a:cubicBezTo>
                    <a:cubicBezTo>
                      <a:pt x="87" y="43"/>
                      <a:pt x="87" y="43"/>
                      <a:pt x="87" y="43"/>
                    </a:cubicBezTo>
                    <a:cubicBezTo>
                      <a:pt x="80" y="45"/>
                      <a:pt x="80" y="45"/>
                      <a:pt x="80" y="45"/>
                    </a:cubicBezTo>
                    <a:cubicBezTo>
                      <a:pt x="82" y="48"/>
                      <a:pt x="82" y="48"/>
                      <a:pt x="82" y="48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4" y="51"/>
                      <a:pt x="74" y="51"/>
                      <a:pt x="74" y="51"/>
                    </a:cubicBezTo>
                    <a:cubicBezTo>
                      <a:pt x="72" y="54"/>
                      <a:pt x="72" y="54"/>
                      <a:pt x="72" y="54"/>
                    </a:cubicBezTo>
                    <a:cubicBezTo>
                      <a:pt x="75" y="62"/>
                      <a:pt x="75" y="62"/>
                      <a:pt x="75" y="62"/>
                    </a:cubicBezTo>
                    <a:cubicBezTo>
                      <a:pt x="75" y="62"/>
                      <a:pt x="72" y="65"/>
                      <a:pt x="69" y="66"/>
                    </a:cubicBezTo>
                    <a:cubicBezTo>
                      <a:pt x="67" y="67"/>
                      <a:pt x="68" y="70"/>
                      <a:pt x="67" y="71"/>
                    </a:cubicBezTo>
                    <a:cubicBezTo>
                      <a:pt x="66" y="73"/>
                      <a:pt x="63" y="73"/>
                      <a:pt x="61" y="73"/>
                    </a:cubicBezTo>
                    <a:cubicBezTo>
                      <a:pt x="60" y="73"/>
                      <a:pt x="61" y="77"/>
                      <a:pt x="57" y="77"/>
                    </a:cubicBezTo>
                    <a:cubicBezTo>
                      <a:pt x="54" y="77"/>
                      <a:pt x="47" y="71"/>
                      <a:pt x="46" y="71"/>
                    </a:cubicBezTo>
                    <a:cubicBezTo>
                      <a:pt x="43" y="71"/>
                      <a:pt x="42" y="76"/>
                      <a:pt x="39" y="76"/>
                    </a:cubicBezTo>
                    <a:cubicBezTo>
                      <a:pt x="36" y="77"/>
                      <a:pt x="35" y="76"/>
                      <a:pt x="33" y="75"/>
                    </a:cubicBezTo>
                    <a:cubicBezTo>
                      <a:pt x="32" y="75"/>
                      <a:pt x="32" y="78"/>
                      <a:pt x="27" y="79"/>
                    </a:cubicBezTo>
                    <a:cubicBezTo>
                      <a:pt x="25" y="79"/>
                      <a:pt x="23" y="78"/>
                      <a:pt x="23" y="77"/>
                    </a:cubicBezTo>
                    <a:cubicBezTo>
                      <a:pt x="21" y="80"/>
                      <a:pt x="15" y="79"/>
                      <a:pt x="11" y="84"/>
                    </a:cubicBezTo>
                    <a:cubicBezTo>
                      <a:pt x="8" y="91"/>
                      <a:pt x="19" y="92"/>
                      <a:pt x="19" y="92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9" y="106"/>
                      <a:pt x="21" y="104"/>
                      <a:pt x="24" y="106"/>
                    </a:cubicBezTo>
                    <a:cubicBezTo>
                      <a:pt x="26" y="108"/>
                      <a:pt x="26" y="109"/>
                      <a:pt x="24" y="116"/>
                    </a:cubicBezTo>
                    <a:cubicBezTo>
                      <a:pt x="23" y="123"/>
                      <a:pt x="10" y="126"/>
                      <a:pt x="10" y="126"/>
                    </a:cubicBezTo>
                    <a:cubicBezTo>
                      <a:pt x="6" y="125"/>
                      <a:pt x="6" y="125"/>
                      <a:pt x="6" y="125"/>
                    </a:cubicBezTo>
                    <a:cubicBezTo>
                      <a:pt x="6" y="125"/>
                      <a:pt x="1" y="126"/>
                      <a:pt x="1" y="131"/>
                    </a:cubicBezTo>
                    <a:cubicBezTo>
                      <a:pt x="0" y="138"/>
                      <a:pt x="5" y="132"/>
                      <a:pt x="5" y="132"/>
                    </a:cubicBezTo>
                    <a:cubicBezTo>
                      <a:pt x="5" y="132"/>
                      <a:pt x="5" y="133"/>
                      <a:pt x="8" y="141"/>
                    </a:cubicBezTo>
                    <a:cubicBezTo>
                      <a:pt x="10" y="147"/>
                      <a:pt x="17" y="143"/>
                      <a:pt x="17" y="143"/>
                    </a:cubicBezTo>
                    <a:cubicBezTo>
                      <a:pt x="18" y="155"/>
                      <a:pt x="18" y="155"/>
                      <a:pt x="18" y="155"/>
                    </a:cubicBezTo>
                    <a:cubicBezTo>
                      <a:pt x="18" y="155"/>
                      <a:pt x="17" y="158"/>
                      <a:pt x="14" y="159"/>
                    </a:cubicBezTo>
                    <a:cubicBezTo>
                      <a:pt x="11" y="161"/>
                      <a:pt x="8" y="170"/>
                      <a:pt x="14" y="178"/>
                    </a:cubicBezTo>
                    <a:cubicBezTo>
                      <a:pt x="18" y="187"/>
                      <a:pt x="23" y="190"/>
                      <a:pt x="30" y="192"/>
                    </a:cubicBezTo>
                    <a:cubicBezTo>
                      <a:pt x="35" y="194"/>
                      <a:pt x="43" y="190"/>
                      <a:pt x="46" y="190"/>
                    </a:cubicBezTo>
                    <a:cubicBezTo>
                      <a:pt x="47" y="190"/>
                      <a:pt x="49" y="192"/>
                      <a:pt x="47" y="200"/>
                    </a:cubicBezTo>
                    <a:cubicBezTo>
                      <a:pt x="43" y="208"/>
                      <a:pt x="36" y="209"/>
                      <a:pt x="36" y="209"/>
                    </a:cubicBezTo>
                    <a:cubicBezTo>
                      <a:pt x="40" y="218"/>
                      <a:pt x="40" y="218"/>
                      <a:pt x="40" y="218"/>
                    </a:cubicBezTo>
                    <a:cubicBezTo>
                      <a:pt x="40" y="218"/>
                      <a:pt x="51" y="218"/>
                      <a:pt x="57" y="216"/>
                    </a:cubicBezTo>
                    <a:cubicBezTo>
                      <a:pt x="63" y="213"/>
                      <a:pt x="71" y="208"/>
                      <a:pt x="71" y="208"/>
                    </a:cubicBezTo>
                    <a:cubicBezTo>
                      <a:pt x="71" y="208"/>
                      <a:pt x="73" y="200"/>
                      <a:pt x="76" y="195"/>
                    </a:cubicBezTo>
                    <a:cubicBezTo>
                      <a:pt x="79" y="191"/>
                      <a:pt x="89" y="180"/>
                      <a:pt x="97" y="177"/>
                    </a:cubicBezTo>
                    <a:cubicBezTo>
                      <a:pt x="104" y="175"/>
                      <a:pt x="116" y="180"/>
                      <a:pt x="116" y="180"/>
                    </a:cubicBezTo>
                    <a:cubicBezTo>
                      <a:pt x="118" y="184"/>
                      <a:pt x="118" y="184"/>
                      <a:pt x="118" y="184"/>
                    </a:cubicBezTo>
                    <a:cubicBezTo>
                      <a:pt x="122" y="183"/>
                      <a:pt x="122" y="183"/>
                      <a:pt x="122" y="183"/>
                    </a:cubicBezTo>
                    <a:cubicBezTo>
                      <a:pt x="133" y="189"/>
                      <a:pt x="133" y="189"/>
                      <a:pt x="133" y="189"/>
                    </a:cubicBezTo>
                    <a:cubicBezTo>
                      <a:pt x="149" y="199"/>
                      <a:pt x="149" y="199"/>
                      <a:pt x="149" y="199"/>
                    </a:cubicBezTo>
                    <a:cubicBezTo>
                      <a:pt x="152" y="197"/>
                      <a:pt x="152" y="197"/>
                      <a:pt x="152" y="197"/>
                    </a:cubicBezTo>
                    <a:cubicBezTo>
                      <a:pt x="168" y="211"/>
                      <a:pt x="168" y="211"/>
                      <a:pt x="168" y="211"/>
                    </a:cubicBezTo>
                    <a:cubicBezTo>
                      <a:pt x="168" y="217"/>
                      <a:pt x="168" y="217"/>
                      <a:pt x="168" y="217"/>
                    </a:cubicBezTo>
                    <a:cubicBezTo>
                      <a:pt x="171" y="238"/>
                      <a:pt x="171" y="238"/>
                      <a:pt x="171" y="238"/>
                    </a:cubicBezTo>
                    <a:cubicBezTo>
                      <a:pt x="171" y="238"/>
                      <a:pt x="179" y="248"/>
                      <a:pt x="182" y="257"/>
                    </a:cubicBezTo>
                    <a:cubicBezTo>
                      <a:pt x="186" y="267"/>
                      <a:pt x="179" y="271"/>
                      <a:pt x="179" y="271"/>
                    </a:cubicBezTo>
                    <a:cubicBezTo>
                      <a:pt x="182" y="275"/>
                      <a:pt x="182" y="275"/>
                      <a:pt x="182" y="275"/>
                    </a:cubicBezTo>
                    <a:cubicBezTo>
                      <a:pt x="182" y="275"/>
                      <a:pt x="188" y="273"/>
                      <a:pt x="192" y="275"/>
                    </a:cubicBezTo>
                    <a:cubicBezTo>
                      <a:pt x="198" y="278"/>
                      <a:pt x="192" y="284"/>
                      <a:pt x="192" y="284"/>
                    </a:cubicBezTo>
                    <a:cubicBezTo>
                      <a:pt x="201" y="286"/>
                      <a:pt x="201" y="286"/>
                      <a:pt x="201" y="286"/>
                    </a:cubicBezTo>
                    <a:cubicBezTo>
                      <a:pt x="212" y="298"/>
                      <a:pt x="212" y="298"/>
                      <a:pt x="212" y="298"/>
                    </a:cubicBezTo>
                    <a:cubicBezTo>
                      <a:pt x="217" y="303"/>
                      <a:pt x="217" y="303"/>
                      <a:pt x="217" y="303"/>
                    </a:cubicBezTo>
                    <a:cubicBezTo>
                      <a:pt x="217" y="303"/>
                      <a:pt x="214" y="303"/>
                      <a:pt x="211" y="306"/>
                    </a:cubicBezTo>
                    <a:cubicBezTo>
                      <a:pt x="208" y="310"/>
                      <a:pt x="215" y="312"/>
                      <a:pt x="215" y="312"/>
                    </a:cubicBezTo>
                    <a:cubicBezTo>
                      <a:pt x="216" y="306"/>
                      <a:pt x="216" y="306"/>
                      <a:pt x="216" y="306"/>
                    </a:cubicBezTo>
                    <a:cubicBezTo>
                      <a:pt x="220" y="306"/>
                      <a:pt x="220" y="306"/>
                      <a:pt x="220" y="306"/>
                    </a:cubicBezTo>
                    <a:cubicBezTo>
                      <a:pt x="220" y="306"/>
                      <a:pt x="227" y="310"/>
                      <a:pt x="233" y="314"/>
                    </a:cubicBezTo>
                    <a:cubicBezTo>
                      <a:pt x="240" y="318"/>
                      <a:pt x="246" y="333"/>
                      <a:pt x="246" y="333"/>
                    </a:cubicBezTo>
                    <a:cubicBezTo>
                      <a:pt x="250" y="332"/>
                      <a:pt x="250" y="332"/>
                      <a:pt x="250" y="332"/>
                    </a:cubicBezTo>
                    <a:cubicBezTo>
                      <a:pt x="252" y="334"/>
                      <a:pt x="252" y="334"/>
                      <a:pt x="252" y="334"/>
                    </a:cubicBezTo>
                    <a:cubicBezTo>
                      <a:pt x="252" y="334"/>
                      <a:pt x="257" y="335"/>
                      <a:pt x="263" y="341"/>
                    </a:cubicBezTo>
                    <a:cubicBezTo>
                      <a:pt x="267" y="345"/>
                      <a:pt x="266" y="351"/>
                      <a:pt x="266" y="351"/>
                    </a:cubicBezTo>
                    <a:cubicBezTo>
                      <a:pt x="266" y="351"/>
                      <a:pt x="273" y="353"/>
                      <a:pt x="277" y="356"/>
                    </a:cubicBezTo>
                    <a:cubicBezTo>
                      <a:pt x="280" y="359"/>
                      <a:pt x="286" y="369"/>
                      <a:pt x="286" y="369"/>
                    </a:cubicBezTo>
                    <a:cubicBezTo>
                      <a:pt x="290" y="369"/>
                      <a:pt x="290" y="369"/>
                      <a:pt x="290" y="369"/>
                    </a:cubicBezTo>
                    <a:cubicBezTo>
                      <a:pt x="290" y="369"/>
                      <a:pt x="300" y="373"/>
                      <a:pt x="303" y="375"/>
                    </a:cubicBezTo>
                    <a:cubicBezTo>
                      <a:pt x="305" y="376"/>
                      <a:pt x="309" y="383"/>
                      <a:pt x="309" y="383"/>
                    </a:cubicBezTo>
                    <a:cubicBezTo>
                      <a:pt x="310" y="384"/>
                      <a:pt x="310" y="384"/>
                      <a:pt x="310" y="384"/>
                    </a:cubicBezTo>
                    <a:cubicBezTo>
                      <a:pt x="310" y="384"/>
                      <a:pt x="314" y="380"/>
                      <a:pt x="319" y="378"/>
                    </a:cubicBezTo>
                    <a:cubicBezTo>
                      <a:pt x="325" y="377"/>
                      <a:pt x="335" y="383"/>
                      <a:pt x="335" y="383"/>
                    </a:cubicBezTo>
                    <a:cubicBezTo>
                      <a:pt x="335" y="383"/>
                      <a:pt x="338" y="377"/>
                      <a:pt x="346" y="384"/>
                    </a:cubicBezTo>
                    <a:cubicBezTo>
                      <a:pt x="353" y="391"/>
                      <a:pt x="354" y="398"/>
                      <a:pt x="354" y="398"/>
                    </a:cubicBezTo>
                    <a:cubicBezTo>
                      <a:pt x="354" y="398"/>
                      <a:pt x="359" y="400"/>
                      <a:pt x="360" y="402"/>
                    </a:cubicBezTo>
                    <a:cubicBezTo>
                      <a:pt x="361" y="405"/>
                      <a:pt x="359" y="410"/>
                      <a:pt x="359" y="410"/>
                    </a:cubicBezTo>
                    <a:cubicBezTo>
                      <a:pt x="361" y="411"/>
                      <a:pt x="361" y="411"/>
                      <a:pt x="361" y="411"/>
                    </a:cubicBezTo>
                    <a:cubicBezTo>
                      <a:pt x="362" y="408"/>
                      <a:pt x="362" y="408"/>
                      <a:pt x="362" y="408"/>
                    </a:cubicBezTo>
                    <a:cubicBezTo>
                      <a:pt x="367" y="410"/>
                      <a:pt x="367" y="410"/>
                      <a:pt x="367" y="410"/>
                    </a:cubicBezTo>
                    <a:cubicBezTo>
                      <a:pt x="371" y="406"/>
                      <a:pt x="371" y="406"/>
                      <a:pt x="371" y="406"/>
                    </a:cubicBezTo>
                    <a:cubicBezTo>
                      <a:pt x="378" y="413"/>
                      <a:pt x="378" y="413"/>
                      <a:pt x="378" y="413"/>
                    </a:cubicBezTo>
                    <a:cubicBezTo>
                      <a:pt x="381" y="414"/>
                      <a:pt x="381" y="414"/>
                      <a:pt x="381" y="414"/>
                    </a:cubicBezTo>
                    <a:cubicBezTo>
                      <a:pt x="372" y="422"/>
                      <a:pt x="372" y="422"/>
                      <a:pt x="372" y="422"/>
                    </a:cubicBezTo>
                    <a:cubicBezTo>
                      <a:pt x="375" y="423"/>
                      <a:pt x="375" y="423"/>
                      <a:pt x="375" y="423"/>
                    </a:cubicBezTo>
                    <a:cubicBezTo>
                      <a:pt x="381" y="420"/>
                      <a:pt x="381" y="420"/>
                      <a:pt x="381" y="420"/>
                    </a:cubicBezTo>
                    <a:cubicBezTo>
                      <a:pt x="384" y="421"/>
                      <a:pt x="384" y="421"/>
                      <a:pt x="384" y="421"/>
                    </a:cubicBezTo>
                    <a:cubicBezTo>
                      <a:pt x="388" y="419"/>
                      <a:pt x="388" y="419"/>
                      <a:pt x="388" y="419"/>
                    </a:cubicBezTo>
                    <a:cubicBezTo>
                      <a:pt x="391" y="420"/>
                      <a:pt x="391" y="420"/>
                      <a:pt x="391" y="420"/>
                    </a:cubicBezTo>
                    <a:cubicBezTo>
                      <a:pt x="395" y="416"/>
                      <a:pt x="395" y="416"/>
                      <a:pt x="395" y="416"/>
                    </a:cubicBezTo>
                    <a:cubicBezTo>
                      <a:pt x="395" y="416"/>
                      <a:pt x="400" y="420"/>
                      <a:pt x="404" y="424"/>
                    </a:cubicBezTo>
                    <a:cubicBezTo>
                      <a:pt x="408" y="428"/>
                      <a:pt x="408" y="437"/>
                      <a:pt x="408" y="437"/>
                    </a:cubicBezTo>
                    <a:cubicBezTo>
                      <a:pt x="404" y="437"/>
                      <a:pt x="404" y="437"/>
                      <a:pt x="404" y="437"/>
                    </a:cubicBezTo>
                    <a:cubicBezTo>
                      <a:pt x="404" y="444"/>
                      <a:pt x="404" y="444"/>
                      <a:pt x="404" y="444"/>
                    </a:cubicBezTo>
                    <a:cubicBezTo>
                      <a:pt x="413" y="448"/>
                      <a:pt x="413" y="448"/>
                      <a:pt x="413" y="448"/>
                    </a:cubicBezTo>
                    <a:cubicBezTo>
                      <a:pt x="413" y="448"/>
                      <a:pt x="416" y="448"/>
                      <a:pt x="419" y="449"/>
                    </a:cubicBezTo>
                    <a:cubicBezTo>
                      <a:pt x="423" y="451"/>
                      <a:pt x="425" y="456"/>
                      <a:pt x="425" y="456"/>
                    </a:cubicBezTo>
                    <a:cubicBezTo>
                      <a:pt x="429" y="459"/>
                      <a:pt x="429" y="459"/>
                      <a:pt x="429" y="459"/>
                    </a:cubicBezTo>
                    <a:cubicBezTo>
                      <a:pt x="429" y="459"/>
                      <a:pt x="435" y="452"/>
                      <a:pt x="440" y="452"/>
                    </a:cubicBezTo>
                    <a:cubicBezTo>
                      <a:pt x="444" y="451"/>
                      <a:pt x="445" y="459"/>
                      <a:pt x="445" y="459"/>
                    </a:cubicBezTo>
                    <a:cubicBezTo>
                      <a:pt x="449" y="464"/>
                      <a:pt x="449" y="464"/>
                      <a:pt x="449" y="464"/>
                    </a:cubicBezTo>
                    <a:cubicBezTo>
                      <a:pt x="449" y="464"/>
                      <a:pt x="452" y="478"/>
                      <a:pt x="456" y="484"/>
                    </a:cubicBezTo>
                    <a:cubicBezTo>
                      <a:pt x="459" y="489"/>
                      <a:pt x="462" y="490"/>
                      <a:pt x="465" y="498"/>
                    </a:cubicBezTo>
                    <a:cubicBezTo>
                      <a:pt x="468" y="505"/>
                      <a:pt x="469" y="518"/>
                      <a:pt x="469" y="518"/>
                    </a:cubicBezTo>
                    <a:cubicBezTo>
                      <a:pt x="473" y="523"/>
                      <a:pt x="473" y="523"/>
                      <a:pt x="473" y="523"/>
                    </a:cubicBezTo>
                    <a:cubicBezTo>
                      <a:pt x="473" y="523"/>
                      <a:pt x="475" y="523"/>
                      <a:pt x="476" y="527"/>
                    </a:cubicBezTo>
                    <a:cubicBezTo>
                      <a:pt x="477" y="532"/>
                      <a:pt x="473" y="537"/>
                      <a:pt x="473" y="537"/>
                    </a:cubicBezTo>
                    <a:cubicBezTo>
                      <a:pt x="465" y="537"/>
                      <a:pt x="465" y="537"/>
                      <a:pt x="465" y="537"/>
                    </a:cubicBezTo>
                    <a:cubicBezTo>
                      <a:pt x="465" y="537"/>
                      <a:pt x="458" y="542"/>
                      <a:pt x="457" y="544"/>
                    </a:cubicBezTo>
                    <a:cubicBezTo>
                      <a:pt x="454" y="548"/>
                      <a:pt x="461" y="550"/>
                      <a:pt x="462" y="552"/>
                    </a:cubicBezTo>
                    <a:cubicBezTo>
                      <a:pt x="464" y="554"/>
                      <a:pt x="461" y="555"/>
                      <a:pt x="459" y="559"/>
                    </a:cubicBezTo>
                    <a:cubicBezTo>
                      <a:pt x="456" y="564"/>
                      <a:pt x="457" y="568"/>
                      <a:pt x="457" y="568"/>
                    </a:cubicBezTo>
                    <a:cubicBezTo>
                      <a:pt x="448" y="573"/>
                      <a:pt x="448" y="573"/>
                      <a:pt x="448" y="573"/>
                    </a:cubicBezTo>
                    <a:cubicBezTo>
                      <a:pt x="450" y="579"/>
                      <a:pt x="450" y="579"/>
                      <a:pt x="450" y="579"/>
                    </a:cubicBezTo>
                    <a:cubicBezTo>
                      <a:pt x="450" y="579"/>
                      <a:pt x="449" y="586"/>
                      <a:pt x="452" y="590"/>
                    </a:cubicBezTo>
                    <a:cubicBezTo>
                      <a:pt x="457" y="595"/>
                      <a:pt x="464" y="590"/>
                      <a:pt x="464" y="590"/>
                    </a:cubicBezTo>
                    <a:cubicBezTo>
                      <a:pt x="464" y="590"/>
                      <a:pt x="470" y="590"/>
                      <a:pt x="475" y="588"/>
                    </a:cubicBezTo>
                    <a:cubicBezTo>
                      <a:pt x="479" y="587"/>
                      <a:pt x="478" y="571"/>
                      <a:pt x="482" y="567"/>
                    </a:cubicBezTo>
                    <a:cubicBezTo>
                      <a:pt x="486" y="563"/>
                      <a:pt x="494" y="558"/>
                      <a:pt x="497" y="556"/>
                    </a:cubicBezTo>
                    <a:cubicBezTo>
                      <a:pt x="500" y="553"/>
                      <a:pt x="495" y="541"/>
                      <a:pt x="495" y="535"/>
                    </a:cubicBezTo>
                    <a:cubicBezTo>
                      <a:pt x="494" y="528"/>
                      <a:pt x="508" y="523"/>
                      <a:pt x="511" y="522"/>
                    </a:cubicBezTo>
                    <a:cubicBezTo>
                      <a:pt x="515" y="521"/>
                      <a:pt x="519" y="522"/>
                      <a:pt x="523" y="521"/>
                    </a:cubicBezTo>
                    <a:cubicBezTo>
                      <a:pt x="526" y="520"/>
                      <a:pt x="526" y="514"/>
                      <a:pt x="526" y="514"/>
                    </a:cubicBezTo>
                    <a:cubicBezTo>
                      <a:pt x="521" y="507"/>
                      <a:pt x="521" y="507"/>
                      <a:pt x="521" y="507"/>
                    </a:cubicBezTo>
                    <a:cubicBezTo>
                      <a:pt x="522" y="501"/>
                      <a:pt x="522" y="501"/>
                      <a:pt x="522" y="501"/>
                    </a:cubicBezTo>
                    <a:cubicBezTo>
                      <a:pt x="519" y="498"/>
                      <a:pt x="519" y="498"/>
                      <a:pt x="519" y="498"/>
                    </a:cubicBezTo>
                    <a:cubicBezTo>
                      <a:pt x="521" y="490"/>
                      <a:pt x="521" y="490"/>
                      <a:pt x="521" y="490"/>
                    </a:cubicBezTo>
                    <a:cubicBezTo>
                      <a:pt x="512" y="483"/>
                      <a:pt x="512" y="483"/>
                      <a:pt x="512" y="483"/>
                    </a:cubicBezTo>
                    <a:cubicBezTo>
                      <a:pt x="509" y="483"/>
                      <a:pt x="509" y="483"/>
                      <a:pt x="509" y="483"/>
                    </a:cubicBezTo>
                    <a:cubicBezTo>
                      <a:pt x="502" y="475"/>
                      <a:pt x="502" y="475"/>
                      <a:pt x="502" y="475"/>
                    </a:cubicBezTo>
                    <a:cubicBezTo>
                      <a:pt x="502" y="475"/>
                      <a:pt x="496" y="477"/>
                      <a:pt x="489" y="476"/>
                    </a:cubicBezTo>
                    <a:cubicBezTo>
                      <a:pt x="482" y="475"/>
                      <a:pt x="486" y="464"/>
                      <a:pt x="486" y="464"/>
                    </a:cubicBezTo>
                    <a:cubicBezTo>
                      <a:pt x="486" y="464"/>
                      <a:pt x="491" y="458"/>
                      <a:pt x="492" y="456"/>
                    </a:cubicBezTo>
                    <a:cubicBezTo>
                      <a:pt x="494" y="453"/>
                      <a:pt x="491" y="449"/>
                      <a:pt x="491" y="449"/>
                    </a:cubicBezTo>
                    <a:cubicBezTo>
                      <a:pt x="495" y="444"/>
                      <a:pt x="495" y="444"/>
                      <a:pt x="495" y="444"/>
                    </a:cubicBezTo>
                    <a:cubicBezTo>
                      <a:pt x="498" y="436"/>
                      <a:pt x="498" y="436"/>
                      <a:pt x="498" y="436"/>
                    </a:cubicBezTo>
                    <a:cubicBezTo>
                      <a:pt x="498" y="436"/>
                      <a:pt x="503" y="424"/>
                      <a:pt x="507" y="422"/>
                    </a:cubicBezTo>
                    <a:cubicBezTo>
                      <a:pt x="509" y="420"/>
                      <a:pt x="516" y="417"/>
                      <a:pt x="516" y="417"/>
                    </a:cubicBezTo>
                    <a:cubicBezTo>
                      <a:pt x="518" y="421"/>
                      <a:pt x="518" y="421"/>
                      <a:pt x="518" y="421"/>
                    </a:cubicBezTo>
                    <a:cubicBezTo>
                      <a:pt x="523" y="422"/>
                      <a:pt x="523" y="422"/>
                      <a:pt x="523" y="422"/>
                    </a:cubicBezTo>
                    <a:cubicBezTo>
                      <a:pt x="523" y="425"/>
                      <a:pt x="523" y="425"/>
                      <a:pt x="523" y="425"/>
                    </a:cubicBezTo>
                    <a:cubicBezTo>
                      <a:pt x="523" y="425"/>
                      <a:pt x="533" y="430"/>
                      <a:pt x="538" y="430"/>
                    </a:cubicBezTo>
                    <a:cubicBezTo>
                      <a:pt x="542" y="431"/>
                      <a:pt x="545" y="428"/>
                      <a:pt x="545" y="428"/>
                    </a:cubicBezTo>
                    <a:cubicBezTo>
                      <a:pt x="545" y="428"/>
                      <a:pt x="550" y="429"/>
                      <a:pt x="556" y="432"/>
                    </a:cubicBezTo>
                    <a:cubicBezTo>
                      <a:pt x="562" y="437"/>
                      <a:pt x="562" y="446"/>
                      <a:pt x="562" y="451"/>
                    </a:cubicBezTo>
                    <a:cubicBezTo>
                      <a:pt x="563" y="455"/>
                      <a:pt x="575" y="456"/>
                      <a:pt x="575" y="456"/>
                    </a:cubicBezTo>
                    <a:cubicBezTo>
                      <a:pt x="575" y="456"/>
                      <a:pt x="580" y="460"/>
                      <a:pt x="583" y="458"/>
                    </a:cubicBezTo>
                    <a:cubicBezTo>
                      <a:pt x="587" y="456"/>
                      <a:pt x="582" y="446"/>
                      <a:pt x="582" y="446"/>
                    </a:cubicBezTo>
                    <a:lnTo>
                      <a:pt x="589" y="436"/>
                    </a:lnTo>
                    <a:close/>
                    <a:moveTo>
                      <a:pt x="280" y="207"/>
                    </a:moveTo>
                    <a:cubicBezTo>
                      <a:pt x="279" y="208"/>
                      <a:pt x="278" y="213"/>
                      <a:pt x="278" y="213"/>
                    </a:cubicBezTo>
                    <a:cubicBezTo>
                      <a:pt x="278" y="213"/>
                      <a:pt x="274" y="216"/>
                      <a:pt x="273" y="215"/>
                    </a:cubicBezTo>
                    <a:cubicBezTo>
                      <a:pt x="271" y="214"/>
                      <a:pt x="271" y="214"/>
                      <a:pt x="271" y="214"/>
                    </a:cubicBezTo>
                    <a:cubicBezTo>
                      <a:pt x="271" y="210"/>
                      <a:pt x="271" y="210"/>
                      <a:pt x="271" y="210"/>
                    </a:cubicBezTo>
                    <a:cubicBezTo>
                      <a:pt x="275" y="209"/>
                      <a:pt x="275" y="209"/>
                      <a:pt x="275" y="209"/>
                    </a:cubicBezTo>
                    <a:cubicBezTo>
                      <a:pt x="275" y="209"/>
                      <a:pt x="275" y="207"/>
                      <a:pt x="278" y="206"/>
                    </a:cubicBezTo>
                    <a:cubicBezTo>
                      <a:pt x="281" y="205"/>
                      <a:pt x="280" y="206"/>
                      <a:pt x="280" y="207"/>
                    </a:cubicBezTo>
                    <a:close/>
                    <a:moveTo>
                      <a:pt x="412" y="554"/>
                    </a:moveTo>
                    <a:cubicBezTo>
                      <a:pt x="409" y="551"/>
                      <a:pt x="409" y="556"/>
                      <a:pt x="409" y="556"/>
                    </a:cubicBezTo>
                    <a:cubicBezTo>
                      <a:pt x="412" y="559"/>
                      <a:pt x="416" y="557"/>
                      <a:pt x="412" y="554"/>
                    </a:cubicBezTo>
                    <a:close/>
                    <a:moveTo>
                      <a:pt x="446" y="568"/>
                    </a:moveTo>
                    <a:cubicBezTo>
                      <a:pt x="445" y="567"/>
                      <a:pt x="445" y="567"/>
                      <a:pt x="445" y="567"/>
                    </a:cubicBezTo>
                    <a:cubicBezTo>
                      <a:pt x="445" y="567"/>
                      <a:pt x="434" y="574"/>
                      <a:pt x="432" y="574"/>
                    </a:cubicBezTo>
                    <a:cubicBezTo>
                      <a:pt x="430" y="574"/>
                      <a:pt x="427" y="572"/>
                      <a:pt x="427" y="572"/>
                    </a:cubicBezTo>
                    <a:cubicBezTo>
                      <a:pt x="427" y="572"/>
                      <a:pt x="423" y="579"/>
                      <a:pt x="421" y="580"/>
                    </a:cubicBezTo>
                    <a:cubicBezTo>
                      <a:pt x="419" y="580"/>
                      <a:pt x="418" y="579"/>
                      <a:pt x="418" y="579"/>
                    </a:cubicBezTo>
                    <a:cubicBezTo>
                      <a:pt x="414" y="578"/>
                      <a:pt x="414" y="578"/>
                      <a:pt x="414" y="578"/>
                    </a:cubicBezTo>
                    <a:cubicBezTo>
                      <a:pt x="411" y="577"/>
                      <a:pt x="411" y="577"/>
                      <a:pt x="411" y="577"/>
                    </a:cubicBezTo>
                    <a:cubicBezTo>
                      <a:pt x="411" y="577"/>
                      <a:pt x="409" y="580"/>
                      <a:pt x="408" y="580"/>
                    </a:cubicBezTo>
                    <a:cubicBezTo>
                      <a:pt x="405" y="579"/>
                      <a:pt x="403" y="578"/>
                      <a:pt x="403" y="578"/>
                    </a:cubicBezTo>
                    <a:cubicBezTo>
                      <a:pt x="403" y="578"/>
                      <a:pt x="397" y="583"/>
                      <a:pt x="395" y="585"/>
                    </a:cubicBezTo>
                    <a:cubicBezTo>
                      <a:pt x="393" y="586"/>
                      <a:pt x="388" y="586"/>
                      <a:pt x="388" y="586"/>
                    </a:cubicBezTo>
                    <a:cubicBezTo>
                      <a:pt x="384" y="589"/>
                      <a:pt x="384" y="589"/>
                      <a:pt x="384" y="589"/>
                    </a:cubicBezTo>
                    <a:cubicBezTo>
                      <a:pt x="370" y="590"/>
                      <a:pt x="370" y="590"/>
                      <a:pt x="370" y="590"/>
                    </a:cubicBezTo>
                    <a:cubicBezTo>
                      <a:pt x="370" y="590"/>
                      <a:pt x="368" y="588"/>
                      <a:pt x="365" y="588"/>
                    </a:cubicBezTo>
                    <a:cubicBezTo>
                      <a:pt x="362" y="588"/>
                      <a:pt x="355" y="594"/>
                      <a:pt x="352" y="594"/>
                    </a:cubicBezTo>
                    <a:cubicBezTo>
                      <a:pt x="348" y="594"/>
                      <a:pt x="341" y="589"/>
                      <a:pt x="341" y="589"/>
                    </a:cubicBezTo>
                    <a:cubicBezTo>
                      <a:pt x="339" y="585"/>
                      <a:pt x="339" y="585"/>
                      <a:pt x="339" y="585"/>
                    </a:cubicBezTo>
                    <a:cubicBezTo>
                      <a:pt x="339" y="585"/>
                      <a:pt x="332" y="587"/>
                      <a:pt x="331" y="586"/>
                    </a:cubicBezTo>
                    <a:cubicBezTo>
                      <a:pt x="330" y="584"/>
                      <a:pt x="331" y="581"/>
                      <a:pt x="331" y="581"/>
                    </a:cubicBezTo>
                    <a:cubicBezTo>
                      <a:pt x="327" y="579"/>
                      <a:pt x="327" y="579"/>
                      <a:pt x="327" y="579"/>
                    </a:cubicBezTo>
                    <a:cubicBezTo>
                      <a:pt x="316" y="581"/>
                      <a:pt x="316" y="581"/>
                      <a:pt x="316" y="581"/>
                    </a:cubicBezTo>
                    <a:cubicBezTo>
                      <a:pt x="314" y="583"/>
                      <a:pt x="314" y="583"/>
                      <a:pt x="314" y="583"/>
                    </a:cubicBezTo>
                    <a:cubicBezTo>
                      <a:pt x="315" y="587"/>
                      <a:pt x="315" y="587"/>
                      <a:pt x="315" y="587"/>
                    </a:cubicBezTo>
                    <a:cubicBezTo>
                      <a:pt x="306" y="591"/>
                      <a:pt x="306" y="591"/>
                      <a:pt x="306" y="591"/>
                    </a:cubicBezTo>
                    <a:cubicBezTo>
                      <a:pt x="301" y="588"/>
                      <a:pt x="301" y="588"/>
                      <a:pt x="301" y="588"/>
                    </a:cubicBezTo>
                    <a:cubicBezTo>
                      <a:pt x="301" y="588"/>
                      <a:pt x="301" y="585"/>
                      <a:pt x="299" y="583"/>
                    </a:cubicBezTo>
                    <a:cubicBezTo>
                      <a:pt x="296" y="581"/>
                      <a:pt x="294" y="581"/>
                      <a:pt x="294" y="581"/>
                    </a:cubicBezTo>
                    <a:cubicBezTo>
                      <a:pt x="294" y="583"/>
                      <a:pt x="294" y="583"/>
                      <a:pt x="294" y="583"/>
                    </a:cubicBezTo>
                    <a:cubicBezTo>
                      <a:pt x="294" y="583"/>
                      <a:pt x="297" y="584"/>
                      <a:pt x="297" y="585"/>
                    </a:cubicBezTo>
                    <a:cubicBezTo>
                      <a:pt x="296" y="586"/>
                      <a:pt x="288" y="588"/>
                      <a:pt x="288" y="588"/>
                    </a:cubicBezTo>
                    <a:cubicBezTo>
                      <a:pt x="284" y="595"/>
                      <a:pt x="284" y="595"/>
                      <a:pt x="284" y="595"/>
                    </a:cubicBezTo>
                    <a:cubicBezTo>
                      <a:pt x="285" y="602"/>
                      <a:pt x="285" y="602"/>
                      <a:pt x="285" y="602"/>
                    </a:cubicBezTo>
                    <a:cubicBezTo>
                      <a:pt x="282" y="606"/>
                      <a:pt x="282" y="606"/>
                      <a:pt x="282" y="606"/>
                    </a:cubicBezTo>
                    <a:cubicBezTo>
                      <a:pt x="285" y="616"/>
                      <a:pt x="285" y="616"/>
                      <a:pt x="285" y="616"/>
                    </a:cubicBezTo>
                    <a:cubicBezTo>
                      <a:pt x="292" y="615"/>
                      <a:pt x="292" y="615"/>
                      <a:pt x="292" y="615"/>
                    </a:cubicBezTo>
                    <a:cubicBezTo>
                      <a:pt x="295" y="622"/>
                      <a:pt x="295" y="622"/>
                      <a:pt x="295" y="622"/>
                    </a:cubicBezTo>
                    <a:cubicBezTo>
                      <a:pt x="295" y="622"/>
                      <a:pt x="303" y="620"/>
                      <a:pt x="310" y="622"/>
                    </a:cubicBezTo>
                    <a:cubicBezTo>
                      <a:pt x="312" y="624"/>
                      <a:pt x="313" y="625"/>
                      <a:pt x="315" y="626"/>
                    </a:cubicBezTo>
                    <a:cubicBezTo>
                      <a:pt x="319" y="627"/>
                      <a:pt x="321" y="626"/>
                      <a:pt x="321" y="626"/>
                    </a:cubicBezTo>
                    <a:cubicBezTo>
                      <a:pt x="321" y="626"/>
                      <a:pt x="333" y="638"/>
                      <a:pt x="335" y="638"/>
                    </a:cubicBezTo>
                    <a:cubicBezTo>
                      <a:pt x="337" y="638"/>
                      <a:pt x="341" y="637"/>
                      <a:pt x="343" y="640"/>
                    </a:cubicBezTo>
                    <a:cubicBezTo>
                      <a:pt x="344" y="641"/>
                      <a:pt x="346" y="644"/>
                      <a:pt x="350" y="646"/>
                    </a:cubicBezTo>
                    <a:cubicBezTo>
                      <a:pt x="354" y="649"/>
                      <a:pt x="362" y="650"/>
                      <a:pt x="366" y="650"/>
                    </a:cubicBezTo>
                    <a:cubicBezTo>
                      <a:pt x="370" y="650"/>
                      <a:pt x="381" y="650"/>
                      <a:pt x="384" y="656"/>
                    </a:cubicBezTo>
                    <a:cubicBezTo>
                      <a:pt x="388" y="660"/>
                      <a:pt x="391" y="667"/>
                      <a:pt x="392" y="668"/>
                    </a:cubicBezTo>
                    <a:cubicBezTo>
                      <a:pt x="394" y="669"/>
                      <a:pt x="398" y="667"/>
                      <a:pt x="401" y="669"/>
                    </a:cubicBezTo>
                    <a:cubicBezTo>
                      <a:pt x="403" y="672"/>
                      <a:pt x="404" y="673"/>
                      <a:pt x="404" y="673"/>
                    </a:cubicBezTo>
                    <a:cubicBezTo>
                      <a:pt x="404" y="673"/>
                      <a:pt x="411" y="672"/>
                      <a:pt x="414" y="672"/>
                    </a:cubicBezTo>
                    <a:cubicBezTo>
                      <a:pt x="416" y="672"/>
                      <a:pt x="419" y="674"/>
                      <a:pt x="419" y="674"/>
                    </a:cubicBezTo>
                    <a:cubicBezTo>
                      <a:pt x="420" y="673"/>
                      <a:pt x="420" y="673"/>
                      <a:pt x="420" y="673"/>
                    </a:cubicBezTo>
                    <a:cubicBezTo>
                      <a:pt x="420" y="673"/>
                      <a:pt x="426" y="677"/>
                      <a:pt x="427" y="675"/>
                    </a:cubicBezTo>
                    <a:cubicBezTo>
                      <a:pt x="428" y="673"/>
                      <a:pt x="425" y="669"/>
                      <a:pt x="427" y="662"/>
                    </a:cubicBezTo>
                    <a:cubicBezTo>
                      <a:pt x="430" y="654"/>
                      <a:pt x="436" y="652"/>
                      <a:pt x="436" y="652"/>
                    </a:cubicBezTo>
                    <a:cubicBezTo>
                      <a:pt x="436" y="649"/>
                      <a:pt x="436" y="649"/>
                      <a:pt x="436" y="649"/>
                    </a:cubicBezTo>
                    <a:cubicBezTo>
                      <a:pt x="434" y="649"/>
                      <a:pt x="434" y="649"/>
                      <a:pt x="434" y="649"/>
                    </a:cubicBezTo>
                    <a:cubicBezTo>
                      <a:pt x="434" y="646"/>
                      <a:pt x="434" y="646"/>
                      <a:pt x="434" y="646"/>
                    </a:cubicBezTo>
                    <a:cubicBezTo>
                      <a:pt x="429" y="640"/>
                      <a:pt x="429" y="640"/>
                      <a:pt x="429" y="640"/>
                    </a:cubicBezTo>
                    <a:cubicBezTo>
                      <a:pt x="431" y="638"/>
                      <a:pt x="431" y="638"/>
                      <a:pt x="431" y="638"/>
                    </a:cubicBezTo>
                    <a:cubicBezTo>
                      <a:pt x="429" y="633"/>
                      <a:pt x="429" y="633"/>
                      <a:pt x="429" y="633"/>
                    </a:cubicBezTo>
                    <a:cubicBezTo>
                      <a:pt x="427" y="634"/>
                      <a:pt x="427" y="634"/>
                      <a:pt x="427" y="634"/>
                    </a:cubicBezTo>
                    <a:cubicBezTo>
                      <a:pt x="427" y="634"/>
                      <a:pt x="423" y="631"/>
                      <a:pt x="423" y="626"/>
                    </a:cubicBezTo>
                    <a:cubicBezTo>
                      <a:pt x="423" y="620"/>
                      <a:pt x="425" y="618"/>
                      <a:pt x="425" y="618"/>
                    </a:cubicBezTo>
                    <a:cubicBezTo>
                      <a:pt x="428" y="603"/>
                      <a:pt x="428" y="603"/>
                      <a:pt x="428" y="603"/>
                    </a:cubicBezTo>
                    <a:cubicBezTo>
                      <a:pt x="428" y="603"/>
                      <a:pt x="436" y="590"/>
                      <a:pt x="440" y="585"/>
                    </a:cubicBezTo>
                    <a:cubicBezTo>
                      <a:pt x="444" y="580"/>
                      <a:pt x="445" y="575"/>
                      <a:pt x="445" y="575"/>
                    </a:cubicBezTo>
                    <a:cubicBezTo>
                      <a:pt x="445" y="573"/>
                      <a:pt x="445" y="573"/>
                      <a:pt x="445" y="573"/>
                    </a:cubicBezTo>
                    <a:cubicBezTo>
                      <a:pt x="448" y="569"/>
                      <a:pt x="448" y="569"/>
                      <a:pt x="448" y="569"/>
                    </a:cubicBezTo>
                    <a:lnTo>
                      <a:pt x="446" y="568"/>
                    </a:lnTo>
                    <a:close/>
                    <a:moveTo>
                      <a:pt x="405" y="550"/>
                    </a:moveTo>
                    <a:cubicBezTo>
                      <a:pt x="401" y="550"/>
                      <a:pt x="404" y="553"/>
                      <a:pt x="404" y="553"/>
                    </a:cubicBezTo>
                    <a:cubicBezTo>
                      <a:pt x="407" y="554"/>
                      <a:pt x="410" y="550"/>
                      <a:pt x="405" y="550"/>
                    </a:cubicBez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49" name="Ireland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3089275" y="3200400"/>
                <a:ext cx="434975" cy="493712"/>
              </a:xfrm>
              <a:custGeom>
                <a:avLst/>
                <a:gdLst/>
                <a:ahLst/>
                <a:cxnLst>
                  <a:cxn ang="0">
                    <a:pos x="55" y="68"/>
                  </a:cxn>
                  <a:cxn ang="0">
                    <a:pos x="52" y="60"/>
                  </a:cxn>
                  <a:cxn ang="0">
                    <a:pos x="57" y="74"/>
                  </a:cxn>
                  <a:cxn ang="0">
                    <a:pos x="45" y="85"/>
                  </a:cxn>
                  <a:cxn ang="0">
                    <a:pos x="56" y="117"/>
                  </a:cxn>
                  <a:cxn ang="0">
                    <a:pos x="49" y="119"/>
                  </a:cxn>
                  <a:cxn ang="0">
                    <a:pos x="201" y="95"/>
                  </a:cxn>
                  <a:cxn ang="0">
                    <a:pos x="183" y="84"/>
                  </a:cxn>
                  <a:cxn ang="0">
                    <a:pos x="159" y="82"/>
                  </a:cxn>
                  <a:cxn ang="0">
                    <a:pos x="142" y="53"/>
                  </a:cxn>
                  <a:cxn ang="0">
                    <a:pos x="149" y="43"/>
                  </a:cxn>
                  <a:cxn ang="0">
                    <a:pos x="170" y="36"/>
                  </a:cxn>
                  <a:cxn ang="0">
                    <a:pos x="186" y="20"/>
                  </a:cxn>
                  <a:cxn ang="0">
                    <a:pos x="184" y="9"/>
                  </a:cxn>
                  <a:cxn ang="0">
                    <a:pos x="174" y="22"/>
                  </a:cxn>
                  <a:cxn ang="0">
                    <a:pos x="172" y="17"/>
                  </a:cxn>
                  <a:cxn ang="0">
                    <a:pos x="168" y="13"/>
                  </a:cxn>
                  <a:cxn ang="0">
                    <a:pos x="161" y="13"/>
                  </a:cxn>
                  <a:cxn ang="0">
                    <a:pos x="145" y="8"/>
                  </a:cxn>
                  <a:cxn ang="0">
                    <a:pos x="131" y="26"/>
                  </a:cxn>
                  <a:cxn ang="0">
                    <a:pos x="126" y="44"/>
                  </a:cxn>
                  <a:cxn ang="0">
                    <a:pos x="125" y="52"/>
                  </a:cxn>
                  <a:cxn ang="0">
                    <a:pos x="103" y="56"/>
                  </a:cxn>
                  <a:cxn ang="0">
                    <a:pos x="84" y="51"/>
                  </a:cxn>
                  <a:cxn ang="0">
                    <a:pos x="67" y="47"/>
                  </a:cxn>
                  <a:cxn ang="0">
                    <a:pos x="63" y="57"/>
                  </a:cxn>
                  <a:cxn ang="0">
                    <a:pos x="64" y="70"/>
                  </a:cxn>
                  <a:cxn ang="0">
                    <a:pos x="58" y="79"/>
                  </a:cxn>
                  <a:cxn ang="0">
                    <a:pos x="44" y="90"/>
                  </a:cxn>
                  <a:cxn ang="0">
                    <a:pos x="55" y="104"/>
                  </a:cxn>
                  <a:cxn ang="0">
                    <a:pos x="62" y="107"/>
                  </a:cxn>
                  <a:cxn ang="0">
                    <a:pos x="84" y="121"/>
                  </a:cxn>
                  <a:cxn ang="0">
                    <a:pos x="60" y="135"/>
                  </a:cxn>
                  <a:cxn ang="0">
                    <a:pos x="47" y="150"/>
                  </a:cxn>
                  <a:cxn ang="0">
                    <a:pos x="71" y="152"/>
                  </a:cxn>
                  <a:cxn ang="0">
                    <a:pos x="75" y="159"/>
                  </a:cxn>
                  <a:cxn ang="0">
                    <a:pos x="34" y="164"/>
                  </a:cxn>
                  <a:cxn ang="0">
                    <a:pos x="21" y="172"/>
                  </a:cxn>
                  <a:cxn ang="0">
                    <a:pos x="19" y="181"/>
                  </a:cxn>
                  <a:cxn ang="0">
                    <a:pos x="2" y="199"/>
                  </a:cxn>
                  <a:cxn ang="0">
                    <a:pos x="14" y="210"/>
                  </a:cxn>
                  <a:cxn ang="0">
                    <a:pos x="33" y="211"/>
                  </a:cxn>
                  <a:cxn ang="0">
                    <a:pos x="22" y="224"/>
                  </a:cxn>
                  <a:cxn ang="0">
                    <a:pos x="35" y="230"/>
                  </a:cxn>
                  <a:cxn ang="0">
                    <a:pos x="61" y="230"/>
                  </a:cxn>
                  <a:cxn ang="0">
                    <a:pos x="87" y="215"/>
                  </a:cxn>
                  <a:cxn ang="0">
                    <a:pos x="112" y="218"/>
                  </a:cxn>
                  <a:cxn ang="0">
                    <a:pos x="141" y="204"/>
                  </a:cxn>
                  <a:cxn ang="0">
                    <a:pos x="150" y="210"/>
                  </a:cxn>
                  <a:cxn ang="0">
                    <a:pos x="164" y="201"/>
                  </a:cxn>
                  <a:cxn ang="0">
                    <a:pos x="184" y="177"/>
                  </a:cxn>
                  <a:cxn ang="0">
                    <a:pos x="195" y="135"/>
                  </a:cxn>
                  <a:cxn ang="0">
                    <a:pos x="204" y="102"/>
                  </a:cxn>
                </a:cxnLst>
                <a:rect l="0" t="0" r="r" b="b"/>
                <a:pathLst>
                  <a:path w="204" h="232">
                    <a:moveTo>
                      <a:pt x="134" y="14"/>
                    </a:moveTo>
                    <a:cubicBezTo>
                      <a:pt x="131" y="17"/>
                      <a:pt x="131" y="17"/>
                      <a:pt x="131" y="17"/>
                    </a:cubicBezTo>
                    <a:cubicBezTo>
                      <a:pt x="135" y="19"/>
                      <a:pt x="135" y="19"/>
                      <a:pt x="135" y="19"/>
                    </a:cubicBezTo>
                    <a:lnTo>
                      <a:pt x="134" y="14"/>
                    </a:lnTo>
                    <a:close/>
                    <a:moveTo>
                      <a:pt x="55" y="68"/>
                    </a:moveTo>
                    <a:cubicBezTo>
                      <a:pt x="55" y="70"/>
                      <a:pt x="57" y="71"/>
                      <a:pt x="57" y="71"/>
                    </a:cubicBezTo>
                    <a:cubicBezTo>
                      <a:pt x="60" y="67"/>
                      <a:pt x="60" y="67"/>
                      <a:pt x="60" y="67"/>
                    </a:cubicBezTo>
                    <a:cubicBezTo>
                      <a:pt x="60" y="60"/>
                      <a:pt x="60" y="60"/>
                      <a:pt x="60" y="60"/>
                    </a:cubicBezTo>
                    <a:cubicBezTo>
                      <a:pt x="56" y="62"/>
                      <a:pt x="56" y="62"/>
                      <a:pt x="56" y="62"/>
                    </a:cubicBezTo>
                    <a:cubicBezTo>
                      <a:pt x="52" y="60"/>
                      <a:pt x="52" y="60"/>
                      <a:pt x="52" y="60"/>
                    </a:cubicBezTo>
                    <a:cubicBezTo>
                      <a:pt x="49" y="61"/>
                      <a:pt x="49" y="61"/>
                      <a:pt x="49" y="61"/>
                    </a:cubicBezTo>
                    <a:cubicBezTo>
                      <a:pt x="49" y="61"/>
                      <a:pt x="51" y="64"/>
                      <a:pt x="52" y="64"/>
                    </a:cubicBezTo>
                    <a:cubicBezTo>
                      <a:pt x="53" y="64"/>
                      <a:pt x="55" y="66"/>
                      <a:pt x="55" y="68"/>
                    </a:cubicBezTo>
                    <a:close/>
                    <a:moveTo>
                      <a:pt x="57" y="77"/>
                    </a:moveTo>
                    <a:cubicBezTo>
                      <a:pt x="57" y="74"/>
                      <a:pt x="57" y="74"/>
                      <a:pt x="57" y="74"/>
                    </a:cubicBezTo>
                    <a:cubicBezTo>
                      <a:pt x="53" y="76"/>
                      <a:pt x="53" y="76"/>
                      <a:pt x="53" y="76"/>
                    </a:cubicBezTo>
                    <a:lnTo>
                      <a:pt x="57" y="77"/>
                    </a:lnTo>
                    <a:close/>
                    <a:moveTo>
                      <a:pt x="42" y="84"/>
                    </a:moveTo>
                    <a:cubicBezTo>
                      <a:pt x="42" y="86"/>
                      <a:pt x="42" y="86"/>
                      <a:pt x="42" y="86"/>
                    </a:cubicBezTo>
                    <a:cubicBezTo>
                      <a:pt x="45" y="85"/>
                      <a:pt x="45" y="85"/>
                      <a:pt x="45" y="85"/>
                    </a:cubicBezTo>
                    <a:lnTo>
                      <a:pt x="42" y="84"/>
                    </a:lnTo>
                    <a:close/>
                    <a:moveTo>
                      <a:pt x="56" y="117"/>
                    </a:moveTo>
                    <a:cubicBezTo>
                      <a:pt x="57" y="112"/>
                      <a:pt x="57" y="112"/>
                      <a:pt x="57" y="112"/>
                    </a:cubicBezTo>
                    <a:cubicBezTo>
                      <a:pt x="55" y="112"/>
                      <a:pt x="55" y="112"/>
                      <a:pt x="55" y="112"/>
                    </a:cubicBezTo>
                    <a:lnTo>
                      <a:pt x="56" y="117"/>
                    </a:lnTo>
                    <a:close/>
                    <a:moveTo>
                      <a:pt x="49" y="119"/>
                    </a:moveTo>
                    <a:cubicBezTo>
                      <a:pt x="55" y="123"/>
                      <a:pt x="55" y="123"/>
                      <a:pt x="55" y="123"/>
                    </a:cubicBezTo>
                    <a:cubicBezTo>
                      <a:pt x="55" y="122"/>
                      <a:pt x="55" y="122"/>
                      <a:pt x="55" y="122"/>
                    </a:cubicBezTo>
                    <a:cubicBezTo>
                      <a:pt x="51" y="119"/>
                      <a:pt x="51" y="119"/>
                      <a:pt x="51" y="119"/>
                    </a:cubicBezTo>
                    <a:lnTo>
                      <a:pt x="49" y="119"/>
                    </a:lnTo>
                    <a:close/>
                    <a:moveTo>
                      <a:pt x="55" y="126"/>
                    </a:moveTo>
                    <a:cubicBezTo>
                      <a:pt x="58" y="126"/>
                      <a:pt x="58" y="126"/>
                      <a:pt x="58" y="126"/>
                    </a:cubicBezTo>
                    <a:cubicBezTo>
                      <a:pt x="56" y="124"/>
                      <a:pt x="56" y="124"/>
                      <a:pt x="56" y="124"/>
                    </a:cubicBezTo>
                    <a:lnTo>
                      <a:pt x="55" y="126"/>
                    </a:lnTo>
                    <a:close/>
                    <a:moveTo>
                      <a:pt x="201" y="95"/>
                    </a:moveTo>
                    <a:cubicBezTo>
                      <a:pt x="199" y="91"/>
                      <a:pt x="199" y="91"/>
                      <a:pt x="199" y="91"/>
                    </a:cubicBezTo>
                    <a:cubicBezTo>
                      <a:pt x="197" y="95"/>
                      <a:pt x="197" y="95"/>
                      <a:pt x="197" y="95"/>
                    </a:cubicBezTo>
                    <a:cubicBezTo>
                      <a:pt x="197" y="95"/>
                      <a:pt x="192" y="94"/>
                      <a:pt x="186" y="94"/>
                    </a:cubicBezTo>
                    <a:cubicBezTo>
                      <a:pt x="181" y="94"/>
                      <a:pt x="188" y="85"/>
                      <a:pt x="188" y="85"/>
                    </a:cubicBezTo>
                    <a:cubicBezTo>
                      <a:pt x="183" y="84"/>
                      <a:pt x="183" y="84"/>
                      <a:pt x="183" y="84"/>
                    </a:cubicBezTo>
                    <a:cubicBezTo>
                      <a:pt x="183" y="76"/>
                      <a:pt x="183" y="76"/>
                      <a:pt x="183" y="76"/>
                    </a:cubicBezTo>
                    <a:cubicBezTo>
                      <a:pt x="183" y="76"/>
                      <a:pt x="182" y="68"/>
                      <a:pt x="177" y="67"/>
                    </a:cubicBezTo>
                    <a:cubicBezTo>
                      <a:pt x="172" y="66"/>
                      <a:pt x="169" y="73"/>
                      <a:pt x="169" y="73"/>
                    </a:cubicBezTo>
                    <a:cubicBezTo>
                      <a:pt x="170" y="77"/>
                      <a:pt x="170" y="77"/>
                      <a:pt x="170" y="77"/>
                    </a:cubicBezTo>
                    <a:cubicBezTo>
                      <a:pt x="170" y="77"/>
                      <a:pt x="167" y="83"/>
                      <a:pt x="159" y="82"/>
                    </a:cubicBezTo>
                    <a:cubicBezTo>
                      <a:pt x="152" y="82"/>
                      <a:pt x="150" y="75"/>
                      <a:pt x="150" y="75"/>
                    </a:cubicBezTo>
                    <a:cubicBezTo>
                      <a:pt x="143" y="74"/>
                      <a:pt x="143" y="74"/>
                      <a:pt x="143" y="74"/>
                    </a:cubicBezTo>
                    <a:cubicBezTo>
                      <a:pt x="144" y="68"/>
                      <a:pt x="144" y="68"/>
                      <a:pt x="144" y="68"/>
                    </a:cubicBezTo>
                    <a:cubicBezTo>
                      <a:pt x="144" y="68"/>
                      <a:pt x="137" y="57"/>
                      <a:pt x="137" y="54"/>
                    </a:cubicBezTo>
                    <a:cubicBezTo>
                      <a:pt x="137" y="51"/>
                      <a:pt x="142" y="53"/>
                      <a:pt x="142" y="53"/>
                    </a:cubicBezTo>
                    <a:cubicBezTo>
                      <a:pt x="144" y="48"/>
                      <a:pt x="144" y="48"/>
                      <a:pt x="144" y="48"/>
                    </a:cubicBezTo>
                    <a:cubicBezTo>
                      <a:pt x="150" y="51"/>
                      <a:pt x="150" y="51"/>
                      <a:pt x="150" y="51"/>
                    </a:cubicBezTo>
                    <a:cubicBezTo>
                      <a:pt x="154" y="48"/>
                      <a:pt x="154" y="48"/>
                      <a:pt x="154" y="48"/>
                    </a:cubicBezTo>
                    <a:cubicBezTo>
                      <a:pt x="157" y="47"/>
                      <a:pt x="157" y="47"/>
                      <a:pt x="157" y="47"/>
                    </a:cubicBezTo>
                    <a:cubicBezTo>
                      <a:pt x="157" y="47"/>
                      <a:pt x="149" y="45"/>
                      <a:pt x="149" y="43"/>
                    </a:cubicBezTo>
                    <a:cubicBezTo>
                      <a:pt x="149" y="40"/>
                      <a:pt x="153" y="39"/>
                      <a:pt x="154" y="39"/>
                    </a:cubicBezTo>
                    <a:cubicBezTo>
                      <a:pt x="156" y="39"/>
                      <a:pt x="157" y="43"/>
                      <a:pt x="157" y="43"/>
                    </a:cubicBezTo>
                    <a:cubicBezTo>
                      <a:pt x="157" y="43"/>
                      <a:pt x="159" y="41"/>
                      <a:pt x="161" y="41"/>
                    </a:cubicBezTo>
                    <a:cubicBezTo>
                      <a:pt x="165" y="41"/>
                      <a:pt x="164" y="43"/>
                      <a:pt x="164" y="43"/>
                    </a:cubicBezTo>
                    <a:cubicBezTo>
                      <a:pt x="170" y="36"/>
                      <a:pt x="170" y="36"/>
                      <a:pt x="170" y="36"/>
                    </a:cubicBezTo>
                    <a:cubicBezTo>
                      <a:pt x="171" y="30"/>
                      <a:pt x="171" y="30"/>
                      <a:pt x="171" y="30"/>
                    </a:cubicBezTo>
                    <a:cubicBezTo>
                      <a:pt x="173" y="30"/>
                      <a:pt x="173" y="30"/>
                      <a:pt x="173" y="30"/>
                    </a:cubicBezTo>
                    <a:cubicBezTo>
                      <a:pt x="176" y="23"/>
                      <a:pt x="176" y="23"/>
                      <a:pt x="176" y="23"/>
                    </a:cubicBezTo>
                    <a:cubicBezTo>
                      <a:pt x="182" y="24"/>
                      <a:pt x="182" y="24"/>
                      <a:pt x="182" y="24"/>
                    </a:cubicBezTo>
                    <a:cubicBezTo>
                      <a:pt x="186" y="20"/>
                      <a:pt x="186" y="20"/>
                      <a:pt x="186" y="20"/>
                    </a:cubicBezTo>
                    <a:cubicBezTo>
                      <a:pt x="186" y="20"/>
                      <a:pt x="194" y="17"/>
                      <a:pt x="194" y="15"/>
                    </a:cubicBezTo>
                    <a:cubicBezTo>
                      <a:pt x="195" y="13"/>
                      <a:pt x="189" y="9"/>
                      <a:pt x="189" y="9"/>
                    </a:cubicBezTo>
                    <a:cubicBezTo>
                      <a:pt x="189" y="6"/>
                      <a:pt x="189" y="6"/>
                      <a:pt x="189" y="6"/>
                    </a:cubicBezTo>
                    <a:cubicBezTo>
                      <a:pt x="189" y="6"/>
                      <a:pt x="183" y="0"/>
                      <a:pt x="182" y="1"/>
                    </a:cubicBezTo>
                    <a:cubicBezTo>
                      <a:pt x="181" y="3"/>
                      <a:pt x="185" y="9"/>
                      <a:pt x="184" y="9"/>
                    </a:cubicBezTo>
                    <a:cubicBezTo>
                      <a:pt x="184" y="10"/>
                      <a:pt x="182" y="7"/>
                      <a:pt x="182" y="7"/>
                    </a:cubicBezTo>
                    <a:cubicBezTo>
                      <a:pt x="175" y="6"/>
                      <a:pt x="175" y="6"/>
                      <a:pt x="175" y="6"/>
                    </a:cubicBezTo>
                    <a:cubicBezTo>
                      <a:pt x="173" y="11"/>
                      <a:pt x="173" y="11"/>
                      <a:pt x="173" y="11"/>
                    </a:cubicBezTo>
                    <a:cubicBezTo>
                      <a:pt x="174" y="13"/>
                      <a:pt x="174" y="13"/>
                      <a:pt x="174" y="13"/>
                    </a:cubicBezTo>
                    <a:cubicBezTo>
                      <a:pt x="174" y="22"/>
                      <a:pt x="174" y="22"/>
                      <a:pt x="174" y="22"/>
                    </a:cubicBezTo>
                    <a:cubicBezTo>
                      <a:pt x="166" y="26"/>
                      <a:pt x="166" y="26"/>
                      <a:pt x="166" y="26"/>
                    </a:cubicBezTo>
                    <a:cubicBezTo>
                      <a:pt x="165" y="26"/>
                      <a:pt x="165" y="26"/>
                      <a:pt x="165" y="26"/>
                    </a:cubicBezTo>
                    <a:cubicBezTo>
                      <a:pt x="168" y="22"/>
                      <a:pt x="168" y="22"/>
                      <a:pt x="168" y="22"/>
                    </a:cubicBezTo>
                    <a:cubicBezTo>
                      <a:pt x="167" y="21"/>
                      <a:pt x="167" y="21"/>
                      <a:pt x="167" y="21"/>
                    </a:cubicBezTo>
                    <a:cubicBezTo>
                      <a:pt x="167" y="21"/>
                      <a:pt x="171" y="21"/>
                      <a:pt x="172" y="17"/>
                    </a:cubicBezTo>
                    <a:cubicBezTo>
                      <a:pt x="172" y="15"/>
                      <a:pt x="170" y="12"/>
                      <a:pt x="170" y="11"/>
                    </a:cubicBezTo>
                    <a:cubicBezTo>
                      <a:pt x="170" y="9"/>
                      <a:pt x="171" y="7"/>
                      <a:pt x="171" y="7"/>
                    </a:cubicBezTo>
                    <a:cubicBezTo>
                      <a:pt x="166" y="7"/>
                      <a:pt x="166" y="7"/>
                      <a:pt x="166" y="7"/>
                    </a:cubicBezTo>
                    <a:cubicBezTo>
                      <a:pt x="166" y="10"/>
                      <a:pt x="166" y="10"/>
                      <a:pt x="166" y="10"/>
                    </a:cubicBezTo>
                    <a:cubicBezTo>
                      <a:pt x="166" y="10"/>
                      <a:pt x="169" y="11"/>
                      <a:pt x="168" y="13"/>
                    </a:cubicBezTo>
                    <a:cubicBezTo>
                      <a:pt x="168" y="15"/>
                      <a:pt x="166" y="16"/>
                      <a:pt x="166" y="16"/>
                    </a:cubicBezTo>
                    <a:cubicBezTo>
                      <a:pt x="166" y="16"/>
                      <a:pt x="166" y="13"/>
                      <a:pt x="165" y="12"/>
                    </a:cubicBezTo>
                    <a:cubicBezTo>
                      <a:pt x="164" y="11"/>
                      <a:pt x="164" y="7"/>
                      <a:pt x="164" y="7"/>
                    </a:cubicBezTo>
                    <a:cubicBezTo>
                      <a:pt x="161" y="7"/>
                      <a:pt x="161" y="7"/>
                      <a:pt x="161" y="7"/>
                    </a:cubicBezTo>
                    <a:cubicBezTo>
                      <a:pt x="161" y="7"/>
                      <a:pt x="162" y="13"/>
                      <a:pt x="161" y="13"/>
                    </a:cubicBezTo>
                    <a:cubicBezTo>
                      <a:pt x="160" y="14"/>
                      <a:pt x="159" y="11"/>
                      <a:pt x="159" y="11"/>
                    </a:cubicBezTo>
                    <a:cubicBezTo>
                      <a:pt x="157" y="9"/>
                      <a:pt x="157" y="9"/>
                      <a:pt x="157" y="9"/>
                    </a:cubicBezTo>
                    <a:cubicBezTo>
                      <a:pt x="157" y="7"/>
                      <a:pt x="157" y="7"/>
                      <a:pt x="157" y="7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5" y="8"/>
                      <a:pt x="145" y="8"/>
                      <a:pt x="145" y="8"/>
                    </a:cubicBezTo>
                    <a:cubicBezTo>
                      <a:pt x="145" y="8"/>
                      <a:pt x="143" y="13"/>
                      <a:pt x="142" y="14"/>
                    </a:cubicBezTo>
                    <a:cubicBezTo>
                      <a:pt x="140" y="15"/>
                      <a:pt x="138" y="15"/>
                      <a:pt x="138" y="15"/>
                    </a:cubicBezTo>
                    <a:cubicBezTo>
                      <a:pt x="136" y="21"/>
                      <a:pt x="136" y="21"/>
                      <a:pt x="136" y="21"/>
                    </a:cubicBezTo>
                    <a:cubicBezTo>
                      <a:pt x="138" y="25"/>
                      <a:pt x="138" y="25"/>
                      <a:pt x="138" y="25"/>
                    </a:cubicBezTo>
                    <a:cubicBezTo>
                      <a:pt x="131" y="26"/>
                      <a:pt x="131" y="26"/>
                      <a:pt x="131" y="26"/>
                    </a:cubicBezTo>
                    <a:cubicBezTo>
                      <a:pt x="132" y="29"/>
                      <a:pt x="132" y="29"/>
                      <a:pt x="132" y="29"/>
                    </a:cubicBezTo>
                    <a:cubicBezTo>
                      <a:pt x="132" y="29"/>
                      <a:pt x="124" y="27"/>
                      <a:pt x="121" y="30"/>
                    </a:cubicBezTo>
                    <a:cubicBezTo>
                      <a:pt x="118" y="32"/>
                      <a:pt x="118" y="40"/>
                      <a:pt x="124" y="40"/>
                    </a:cubicBezTo>
                    <a:cubicBezTo>
                      <a:pt x="131" y="40"/>
                      <a:pt x="129" y="42"/>
                      <a:pt x="129" y="42"/>
                    </a:cubicBezTo>
                    <a:cubicBezTo>
                      <a:pt x="126" y="44"/>
                      <a:pt x="126" y="44"/>
                      <a:pt x="126" y="44"/>
                    </a:cubicBezTo>
                    <a:cubicBezTo>
                      <a:pt x="129" y="45"/>
                      <a:pt x="129" y="45"/>
                      <a:pt x="129" y="45"/>
                    </a:cubicBezTo>
                    <a:cubicBezTo>
                      <a:pt x="134" y="42"/>
                      <a:pt x="134" y="42"/>
                      <a:pt x="134" y="42"/>
                    </a:cubicBezTo>
                    <a:cubicBezTo>
                      <a:pt x="139" y="43"/>
                      <a:pt x="139" y="43"/>
                      <a:pt x="139" y="43"/>
                    </a:cubicBezTo>
                    <a:cubicBezTo>
                      <a:pt x="132" y="51"/>
                      <a:pt x="132" y="51"/>
                      <a:pt x="132" y="51"/>
                    </a:cubicBezTo>
                    <a:cubicBezTo>
                      <a:pt x="125" y="52"/>
                      <a:pt x="125" y="52"/>
                      <a:pt x="125" y="52"/>
                    </a:cubicBezTo>
                    <a:cubicBezTo>
                      <a:pt x="117" y="56"/>
                      <a:pt x="117" y="56"/>
                      <a:pt x="117" y="56"/>
                    </a:cubicBezTo>
                    <a:cubicBezTo>
                      <a:pt x="117" y="56"/>
                      <a:pt x="119" y="62"/>
                      <a:pt x="118" y="63"/>
                    </a:cubicBezTo>
                    <a:cubicBezTo>
                      <a:pt x="117" y="64"/>
                      <a:pt x="115" y="66"/>
                      <a:pt x="115" y="66"/>
                    </a:cubicBezTo>
                    <a:cubicBezTo>
                      <a:pt x="115" y="63"/>
                      <a:pt x="115" y="63"/>
                      <a:pt x="115" y="63"/>
                    </a:cubicBezTo>
                    <a:cubicBezTo>
                      <a:pt x="115" y="63"/>
                      <a:pt x="105" y="56"/>
                      <a:pt x="103" y="56"/>
                    </a:cubicBezTo>
                    <a:cubicBezTo>
                      <a:pt x="100" y="56"/>
                      <a:pt x="95" y="61"/>
                      <a:pt x="95" y="61"/>
                    </a:cubicBezTo>
                    <a:cubicBezTo>
                      <a:pt x="93" y="59"/>
                      <a:pt x="93" y="59"/>
                      <a:pt x="93" y="59"/>
                    </a:cubicBezTo>
                    <a:cubicBezTo>
                      <a:pt x="93" y="55"/>
                      <a:pt x="93" y="55"/>
                      <a:pt x="93" y="55"/>
                    </a:cubicBezTo>
                    <a:cubicBezTo>
                      <a:pt x="91" y="52"/>
                      <a:pt x="91" y="52"/>
                      <a:pt x="91" y="52"/>
                    </a:cubicBezTo>
                    <a:cubicBezTo>
                      <a:pt x="91" y="52"/>
                      <a:pt x="86" y="51"/>
                      <a:pt x="84" y="51"/>
                    </a:cubicBezTo>
                    <a:cubicBezTo>
                      <a:pt x="80" y="49"/>
                      <a:pt x="75" y="44"/>
                      <a:pt x="73" y="45"/>
                    </a:cubicBezTo>
                    <a:cubicBezTo>
                      <a:pt x="72" y="45"/>
                      <a:pt x="70" y="46"/>
                      <a:pt x="70" y="46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67" y="52"/>
                      <a:pt x="67" y="52"/>
                      <a:pt x="67" y="52"/>
                    </a:cubicBezTo>
                    <a:cubicBezTo>
                      <a:pt x="67" y="47"/>
                      <a:pt x="67" y="47"/>
                      <a:pt x="67" y="47"/>
                    </a:cubicBezTo>
                    <a:cubicBezTo>
                      <a:pt x="62" y="46"/>
                      <a:pt x="62" y="46"/>
                      <a:pt x="62" y="46"/>
                    </a:cubicBezTo>
                    <a:cubicBezTo>
                      <a:pt x="57" y="56"/>
                      <a:pt x="57" y="56"/>
                      <a:pt x="57" y="56"/>
                    </a:cubicBezTo>
                    <a:cubicBezTo>
                      <a:pt x="58" y="56"/>
                      <a:pt x="58" y="56"/>
                      <a:pt x="58" y="56"/>
                    </a:cubicBezTo>
                    <a:cubicBezTo>
                      <a:pt x="62" y="51"/>
                      <a:pt x="62" y="51"/>
                      <a:pt x="62" y="51"/>
                    </a:cubicBezTo>
                    <a:cubicBezTo>
                      <a:pt x="63" y="57"/>
                      <a:pt x="63" y="57"/>
                      <a:pt x="63" y="57"/>
                    </a:cubicBezTo>
                    <a:cubicBezTo>
                      <a:pt x="61" y="57"/>
                      <a:pt x="61" y="57"/>
                      <a:pt x="61" y="57"/>
                    </a:cubicBezTo>
                    <a:cubicBezTo>
                      <a:pt x="62" y="59"/>
                      <a:pt x="62" y="59"/>
                      <a:pt x="62" y="59"/>
                    </a:cubicBezTo>
                    <a:cubicBezTo>
                      <a:pt x="67" y="58"/>
                      <a:pt x="67" y="58"/>
                      <a:pt x="67" y="58"/>
                    </a:cubicBezTo>
                    <a:cubicBezTo>
                      <a:pt x="64" y="63"/>
                      <a:pt x="64" y="63"/>
                      <a:pt x="64" y="63"/>
                    </a:cubicBezTo>
                    <a:cubicBezTo>
                      <a:pt x="64" y="70"/>
                      <a:pt x="64" y="70"/>
                      <a:pt x="64" y="70"/>
                    </a:cubicBezTo>
                    <a:cubicBezTo>
                      <a:pt x="62" y="68"/>
                      <a:pt x="62" y="68"/>
                      <a:pt x="62" y="68"/>
                    </a:cubicBezTo>
                    <a:cubicBezTo>
                      <a:pt x="62" y="68"/>
                      <a:pt x="55" y="73"/>
                      <a:pt x="60" y="73"/>
                    </a:cubicBezTo>
                    <a:cubicBezTo>
                      <a:pt x="64" y="74"/>
                      <a:pt x="73" y="74"/>
                      <a:pt x="73" y="74"/>
                    </a:cubicBezTo>
                    <a:cubicBezTo>
                      <a:pt x="70" y="80"/>
                      <a:pt x="70" y="80"/>
                      <a:pt x="70" y="80"/>
                    </a:cubicBezTo>
                    <a:cubicBezTo>
                      <a:pt x="58" y="79"/>
                      <a:pt x="58" y="79"/>
                      <a:pt x="58" y="79"/>
                    </a:cubicBezTo>
                    <a:cubicBezTo>
                      <a:pt x="56" y="87"/>
                      <a:pt x="56" y="87"/>
                      <a:pt x="56" y="87"/>
                    </a:cubicBezTo>
                    <a:cubicBezTo>
                      <a:pt x="62" y="93"/>
                      <a:pt x="62" y="93"/>
                      <a:pt x="62" y="93"/>
                    </a:cubicBezTo>
                    <a:cubicBezTo>
                      <a:pt x="51" y="88"/>
                      <a:pt x="51" y="88"/>
                      <a:pt x="51" y="88"/>
                    </a:cubicBezTo>
                    <a:cubicBezTo>
                      <a:pt x="51" y="91"/>
                      <a:pt x="51" y="91"/>
                      <a:pt x="51" y="91"/>
                    </a:cubicBezTo>
                    <a:cubicBezTo>
                      <a:pt x="44" y="90"/>
                      <a:pt x="44" y="90"/>
                      <a:pt x="44" y="90"/>
                    </a:cubicBezTo>
                    <a:cubicBezTo>
                      <a:pt x="44" y="90"/>
                      <a:pt x="47" y="93"/>
                      <a:pt x="46" y="95"/>
                    </a:cubicBezTo>
                    <a:cubicBezTo>
                      <a:pt x="44" y="99"/>
                      <a:pt x="42" y="98"/>
                      <a:pt x="42" y="98"/>
                    </a:cubicBezTo>
                    <a:cubicBezTo>
                      <a:pt x="49" y="104"/>
                      <a:pt x="49" y="104"/>
                      <a:pt x="49" y="104"/>
                    </a:cubicBezTo>
                    <a:cubicBezTo>
                      <a:pt x="52" y="102"/>
                      <a:pt x="52" y="102"/>
                      <a:pt x="52" y="102"/>
                    </a:cubicBezTo>
                    <a:cubicBezTo>
                      <a:pt x="55" y="104"/>
                      <a:pt x="55" y="104"/>
                      <a:pt x="55" y="104"/>
                    </a:cubicBezTo>
                    <a:cubicBezTo>
                      <a:pt x="49" y="106"/>
                      <a:pt x="49" y="106"/>
                      <a:pt x="49" y="106"/>
                    </a:cubicBezTo>
                    <a:cubicBezTo>
                      <a:pt x="55" y="110"/>
                      <a:pt x="55" y="110"/>
                      <a:pt x="55" y="110"/>
                    </a:cubicBezTo>
                    <a:cubicBezTo>
                      <a:pt x="59" y="106"/>
                      <a:pt x="59" y="106"/>
                      <a:pt x="59" y="106"/>
                    </a:cubicBezTo>
                    <a:cubicBezTo>
                      <a:pt x="60" y="108"/>
                      <a:pt x="60" y="108"/>
                      <a:pt x="60" y="108"/>
                    </a:cubicBezTo>
                    <a:cubicBezTo>
                      <a:pt x="62" y="107"/>
                      <a:pt x="62" y="107"/>
                      <a:pt x="62" y="107"/>
                    </a:cubicBezTo>
                    <a:cubicBezTo>
                      <a:pt x="63" y="111"/>
                      <a:pt x="63" y="111"/>
                      <a:pt x="63" y="111"/>
                    </a:cubicBezTo>
                    <a:cubicBezTo>
                      <a:pt x="59" y="111"/>
                      <a:pt x="59" y="111"/>
                      <a:pt x="59" y="111"/>
                    </a:cubicBezTo>
                    <a:cubicBezTo>
                      <a:pt x="59" y="116"/>
                      <a:pt x="59" y="116"/>
                      <a:pt x="59" y="116"/>
                    </a:cubicBezTo>
                    <a:cubicBezTo>
                      <a:pt x="59" y="116"/>
                      <a:pt x="64" y="119"/>
                      <a:pt x="69" y="119"/>
                    </a:cubicBezTo>
                    <a:cubicBezTo>
                      <a:pt x="74" y="119"/>
                      <a:pt x="84" y="121"/>
                      <a:pt x="84" y="121"/>
                    </a:cubicBezTo>
                    <a:cubicBezTo>
                      <a:pt x="83" y="127"/>
                      <a:pt x="83" y="127"/>
                      <a:pt x="83" y="127"/>
                    </a:cubicBezTo>
                    <a:cubicBezTo>
                      <a:pt x="83" y="127"/>
                      <a:pt x="78" y="129"/>
                      <a:pt x="76" y="129"/>
                    </a:cubicBezTo>
                    <a:cubicBezTo>
                      <a:pt x="74" y="129"/>
                      <a:pt x="70" y="124"/>
                      <a:pt x="70" y="124"/>
                    </a:cubicBezTo>
                    <a:cubicBezTo>
                      <a:pt x="70" y="124"/>
                      <a:pt x="67" y="129"/>
                      <a:pt x="64" y="131"/>
                    </a:cubicBezTo>
                    <a:cubicBezTo>
                      <a:pt x="62" y="132"/>
                      <a:pt x="60" y="135"/>
                      <a:pt x="60" y="135"/>
                    </a:cubicBezTo>
                    <a:cubicBezTo>
                      <a:pt x="64" y="139"/>
                      <a:pt x="64" y="139"/>
                      <a:pt x="64" y="139"/>
                    </a:cubicBezTo>
                    <a:cubicBezTo>
                      <a:pt x="64" y="139"/>
                      <a:pt x="61" y="140"/>
                      <a:pt x="58" y="142"/>
                    </a:cubicBezTo>
                    <a:cubicBezTo>
                      <a:pt x="56" y="145"/>
                      <a:pt x="54" y="148"/>
                      <a:pt x="54" y="148"/>
                    </a:cubicBezTo>
                    <a:cubicBezTo>
                      <a:pt x="50" y="147"/>
                      <a:pt x="50" y="147"/>
                      <a:pt x="50" y="147"/>
                    </a:cubicBezTo>
                    <a:cubicBezTo>
                      <a:pt x="47" y="150"/>
                      <a:pt x="47" y="150"/>
                      <a:pt x="47" y="150"/>
                    </a:cubicBezTo>
                    <a:cubicBezTo>
                      <a:pt x="35" y="155"/>
                      <a:pt x="35" y="155"/>
                      <a:pt x="35" y="155"/>
                    </a:cubicBezTo>
                    <a:cubicBezTo>
                      <a:pt x="47" y="155"/>
                      <a:pt x="47" y="155"/>
                      <a:pt x="47" y="155"/>
                    </a:cubicBezTo>
                    <a:cubicBezTo>
                      <a:pt x="49" y="153"/>
                      <a:pt x="49" y="153"/>
                      <a:pt x="49" y="153"/>
                    </a:cubicBezTo>
                    <a:cubicBezTo>
                      <a:pt x="49" y="153"/>
                      <a:pt x="53" y="159"/>
                      <a:pt x="60" y="157"/>
                    </a:cubicBezTo>
                    <a:cubicBezTo>
                      <a:pt x="67" y="156"/>
                      <a:pt x="71" y="152"/>
                      <a:pt x="71" y="152"/>
                    </a:cubicBezTo>
                    <a:cubicBezTo>
                      <a:pt x="73" y="151"/>
                      <a:pt x="73" y="151"/>
                      <a:pt x="73" y="151"/>
                    </a:cubicBezTo>
                    <a:cubicBezTo>
                      <a:pt x="73" y="157"/>
                      <a:pt x="73" y="157"/>
                      <a:pt x="73" y="157"/>
                    </a:cubicBezTo>
                    <a:cubicBezTo>
                      <a:pt x="79" y="158"/>
                      <a:pt x="79" y="158"/>
                      <a:pt x="79" y="158"/>
                    </a:cubicBezTo>
                    <a:cubicBezTo>
                      <a:pt x="82" y="161"/>
                      <a:pt x="82" y="161"/>
                      <a:pt x="82" y="161"/>
                    </a:cubicBezTo>
                    <a:cubicBezTo>
                      <a:pt x="75" y="159"/>
                      <a:pt x="75" y="159"/>
                      <a:pt x="75" y="159"/>
                    </a:cubicBezTo>
                    <a:cubicBezTo>
                      <a:pt x="67" y="159"/>
                      <a:pt x="67" y="159"/>
                      <a:pt x="67" y="159"/>
                    </a:cubicBezTo>
                    <a:cubicBezTo>
                      <a:pt x="55" y="161"/>
                      <a:pt x="55" y="161"/>
                      <a:pt x="55" y="161"/>
                    </a:cubicBezTo>
                    <a:cubicBezTo>
                      <a:pt x="46" y="157"/>
                      <a:pt x="46" y="157"/>
                      <a:pt x="46" y="157"/>
                    </a:cubicBezTo>
                    <a:cubicBezTo>
                      <a:pt x="39" y="163"/>
                      <a:pt x="39" y="163"/>
                      <a:pt x="39" y="163"/>
                    </a:cubicBezTo>
                    <a:cubicBezTo>
                      <a:pt x="34" y="164"/>
                      <a:pt x="34" y="164"/>
                      <a:pt x="34" y="164"/>
                    </a:cubicBezTo>
                    <a:cubicBezTo>
                      <a:pt x="31" y="173"/>
                      <a:pt x="31" y="173"/>
                      <a:pt x="31" y="173"/>
                    </a:cubicBezTo>
                    <a:cubicBezTo>
                      <a:pt x="35" y="175"/>
                      <a:pt x="35" y="175"/>
                      <a:pt x="35" y="175"/>
                    </a:cubicBezTo>
                    <a:cubicBezTo>
                      <a:pt x="26" y="173"/>
                      <a:pt x="26" y="173"/>
                      <a:pt x="26" y="173"/>
                    </a:cubicBezTo>
                    <a:cubicBezTo>
                      <a:pt x="26" y="169"/>
                      <a:pt x="26" y="169"/>
                      <a:pt x="26" y="169"/>
                    </a:cubicBezTo>
                    <a:cubicBezTo>
                      <a:pt x="21" y="172"/>
                      <a:pt x="21" y="172"/>
                      <a:pt x="21" y="172"/>
                    </a:cubicBezTo>
                    <a:cubicBezTo>
                      <a:pt x="19" y="171"/>
                      <a:pt x="19" y="171"/>
                      <a:pt x="19" y="171"/>
                    </a:cubicBezTo>
                    <a:cubicBezTo>
                      <a:pt x="19" y="169"/>
                      <a:pt x="19" y="169"/>
                      <a:pt x="19" y="169"/>
                    </a:cubicBezTo>
                    <a:cubicBezTo>
                      <a:pt x="19" y="169"/>
                      <a:pt x="14" y="169"/>
                      <a:pt x="9" y="171"/>
                    </a:cubicBezTo>
                    <a:cubicBezTo>
                      <a:pt x="5" y="173"/>
                      <a:pt x="0" y="175"/>
                      <a:pt x="4" y="178"/>
                    </a:cubicBezTo>
                    <a:cubicBezTo>
                      <a:pt x="9" y="179"/>
                      <a:pt x="17" y="181"/>
                      <a:pt x="19" y="181"/>
                    </a:cubicBezTo>
                    <a:cubicBezTo>
                      <a:pt x="21" y="181"/>
                      <a:pt x="30" y="180"/>
                      <a:pt x="29" y="182"/>
                    </a:cubicBezTo>
                    <a:cubicBezTo>
                      <a:pt x="28" y="184"/>
                      <a:pt x="22" y="188"/>
                      <a:pt x="16" y="188"/>
                    </a:cubicBezTo>
                    <a:cubicBezTo>
                      <a:pt x="10" y="188"/>
                      <a:pt x="10" y="190"/>
                      <a:pt x="9" y="192"/>
                    </a:cubicBezTo>
                    <a:cubicBezTo>
                      <a:pt x="7" y="193"/>
                      <a:pt x="2" y="193"/>
                      <a:pt x="2" y="193"/>
                    </a:cubicBezTo>
                    <a:cubicBezTo>
                      <a:pt x="2" y="199"/>
                      <a:pt x="2" y="199"/>
                      <a:pt x="2" y="199"/>
                    </a:cubicBezTo>
                    <a:cubicBezTo>
                      <a:pt x="2" y="199"/>
                      <a:pt x="8" y="196"/>
                      <a:pt x="8" y="198"/>
                    </a:cubicBezTo>
                    <a:cubicBezTo>
                      <a:pt x="8" y="200"/>
                      <a:pt x="10" y="204"/>
                      <a:pt x="10" y="204"/>
                    </a:cubicBezTo>
                    <a:cubicBezTo>
                      <a:pt x="30" y="202"/>
                      <a:pt x="30" y="202"/>
                      <a:pt x="30" y="202"/>
                    </a:cubicBezTo>
                    <a:cubicBezTo>
                      <a:pt x="16" y="206"/>
                      <a:pt x="16" y="206"/>
                      <a:pt x="16" y="206"/>
                    </a:cubicBezTo>
                    <a:cubicBezTo>
                      <a:pt x="14" y="210"/>
                      <a:pt x="14" y="210"/>
                      <a:pt x="14" y="210"/>
                    </a:cubicBezTo>
                    <a:cubicBezTo>
                      <a:pt x="9" y="210"/>
                      <a:pt x="9" y="210"/>
                      <a:pt x="9" y="210"/>
                    </a:cubicBezTo>
                    <a:cubicBezTo>
                      <a:pt x="7" y="214"/>
                      <a:pt x="7" y="214"/>
                      <a:pt x="7" y="214"/>
                    </a:cubicBezTo>
                    <a:cubicBezTo>
                      <a:pt x="22" y="212"/>
                      <a:pt x="22" y="212"/>
                      <a:pt x="22" y="212"/>
                    </a:cubicBezTo>
                    <a:cubicBezTo>
                      <a:pt x="26" y="213"/>
                      <a:pt x="26" y="213"/>
                      <a:pt x="26" y="213"/>
                    </a:cubicBezTo>
                    <a:cubicBezTo>
                      <a:pt x="33" y="211"/>
                      <a:pt x="33" y="211"/>
                      <a:pt x="33" y="211"/>
                    </a:cubicBezTo>
                    <a:cubicBezTo>
                      <a:pt x="35" y="214"/>
                      <a:pt x="35" y="214"/>
                      <a:pt x="35" y="214"/>
                    </a:cubicBezTo>
                    <a:cubicBezTo>
                      <a:pt x="35" y="214"/>
                      <a:pt x="29" y="215"/>
                      <a:pt x="26" y="216"/>
                    </a:cubicBezTo>
                    <a:cubicBezTo>
                      <a:pt x="23" y="216"/>
                      <a:pt x="18" y="220"/>
                      <a:pt x="18" y="220"/>
                    </a:cubicBezTo>
                    <a:cubicBezTo>
                      <a:pt x="28" y="219"/>
                      <a:pt x="28" y="219"/>
                      <a:pt x="28" y="219"/>
                    </a:cubicBezTo>
                    <a:cubicBezTo>
                      <a:pt x="28" y="219"/>
                      <a:pt x="23" y="224"/>
                      <a:pt x="22" y="224"/>
                    </a:cubicBezTo>
                    <a:cubicBezTo>
                      <a:pt x="20" y="224"/>
                      <a:pt x="16" y="225"/>
                      <a:pt x="16" y="225"/>
                    </a:cubicBezTo>
                    <a:cubicBezTo>
                      <a:pt x="18" y="226"/>
                      <a:pt x="18" y="226"/>
                      <a:pt x="18" y="226"/>
                    </a:cubicBezTo>
                    <a:cubicBezTo>
                      <a:pt x="34" y="225"/>
                      <a:pt x="34" y="225"/>
                      <a:pt x="34" y="225"/>
                    </a:cubicBezTo>
                    <a:cubicBezTo>
                      <a:pt x="37" y="226"/>
                      <a:pt x="37" y="226"/>
                      <a:pt x="37" y="226"/>
                    </a:cubicBezTo>
                    <a:cubicBezTo>
                      <a:pt x="35" y="230"/>
                      <a:pt x="35" y="230"/>
                      <a:pt x="35" y="230"/>
                    </a:cubicBezTo>
                    <a:cubicBezTo>
                      <a:pt x="35" y="230"/>
                      <a:pt x="40" y="232"/>
                      <a:pt x="42" y="231"/>
                    </a:cubicBezTo>
                    <a:cubicBezTo>
                      <a:pt x="44" y="229"/>
                      <a:pt x="46" y="228"/>
                      <a:pt x="46" y="228"/>
                    </a:cubicBezTo>
                    <a:cubicBezTo>
                      <a:pt x="53" y="231"/>
                      <a:pt x="53" y="231"/>
                      <a:pt x="53" y="231"/>
                    </a:cubicBezTo>
                    <a:cubicBezTo>
                      <a:pt x="57" y="228"/>
                      <a:pt x="57" y="228"/>
                      <a:pt x="57" y="228"/>
                    </a:cubicBezTo>
                    <a:cubicBezTo>
                      <a:pt x="61" y="230"/>
                      <a:pt x="61" y="230"/>
                      <a:pt x="61" y="230"/>
                    </a:cubicBezTo>
                    <a:cubicBezTo>
                      <a:pt x="66" y="227"/>
                      <a:pt x="66" y="227"/>
                      <a:pt x="66" y="227"/>
                    </a:cubicBezTo>
                    <a:cubicBezTo>
                      <a:pt x="69" y="228"/>
                      <a:pt x="69" y="228"/>
                      <a:pt x="69" y="228"/>
                    </a:cubicBezTo>
                    <a:cubicBezTo>
                      <a:pt x="69" y="228"/>
                      <a:pt x="83" y="228"/>
                      <a:pt x="82" y="222"/>
                    </a:cubicBezTo>
                    <a:cubicBezTo>
                      <a:pt x="82" y="213"/>
                      <a:pt x="82" y="213"/>
                      <a:pt x="82" y="213"/>
                    </a:cubicBezTo>
                    <a:cubicBezTo>
                      <a:pt x="82" y="213"/>
                      <a:pt x="85" y="212"/>
                      <a:pt x="87" y="215"/>
                    </a:cubicBezTo>
                    <a:cubicBezTo>
                      <a:pt x="90" y="219"/>
                      <a:pt x="85" y="218"/>
                      <a:pt x="85" y="220"/>
                    </a:cubicBezTo>
                    <a:cubicBezTo>
                      <a:pt x="85" y="222"/>
                      <a:pt x="87" y="224"/>
                      <a:pt x="91" y="222"/>
                    </a:cubicBezTo>
                    <a:cubicBezTo>
                      <a:pt x="96" y="222"/>
                      <a:pt x="103" y="218"/>
                      <a:pt x="103" y="218"/>
                    </a:cubicBezTo>
                    <a:cubicBezTo>
                      <a:pt x="103" y="214"/>
                      <a:pt x="103" y="214"/>
                      <a:pt x="103" y="214"/>
                    </a:cubicBezTo>
                    <a:cubicBezTo>
                      <a:pt x="103" y="214"/>
                      <a:pt x="109" y="220"/>
                      <a:pt x="112" y="218"/>
                    </a:cubicBezTo>
                    <a:cubicBezTo>
                      <a:pt x="117" y="216"/>
                      <a:pt x="116" y="210"/>
                      <a:pt x="116" y="210"/>
                    </a:cubicBezTo>
                    <a:cubicBezTo>
                      <a:pt x="119" y="211"/>
                      <a:pt x="119" y="211"/>
                      <a:pt x="119" y="211"/>
                    </a:cubicBezTo>
                    <a:cubicBezTo>
                      <a:pt x="125" y="208"/>
                      <a:pt x="125" y="208"/>
                      <a:pt x="125" y="208"/>
                    </a:cubicBezTo>
                    <a:cubicBezTo>
                      <a:pt x="139" y="212"/>
                      <a:pt x="139" y="212"/>
                      <a:pt x="139" y="212"/>
                    </a:cubicBezTo>
                    <a:cubicBezTo>
                      <a:pt x="141" y="204"/>
                      <a:pt x="141" y="204"/>
                      <a:pt x="141" y="204"/>
                    </a:cubicBezTo>
                    <a:cubicBezTo>
                      <a:pt x="144" y="206"/>
                      <a:pt x="144" y="206"/>
                      <a:pt x="144" y="206"/>
                    </a:cubicBezTo>
                    <a:cubicBezTo>
                      <a:pt x="143" y="213"/>
                      <a:pt x="143" y="213"/>
                      <a:pt x="143" y="213"/>
                    </a:cubicBezTo>
                    <a:cubicBezTo>
                      <a:pt x="148" y="212"/>
                      <a:pt x="148" y="212"/>
                      <a:pt x="148" y="212"/>
                    </a:cubicBezTo>
                    <a:cubicBezTo>
                      <a:pt x="150" y="206"/>
                      <a:pt x="150" y="206"/>
                      <a:pt x="150" y="206"/>
                    </a:cubicBezTo>
                    <a:cubicBezTo>
                      <a:pt x="150" y="210"/>
                      <a:pt x="150" y="210"/>
                      <a:pt x="150" y="210"/>
                    </a:cubicBezTo>
                    <a:cubicBezTo>
                      <a:pt x="150" y="210"/>
                      <a:pt x="153" y="214"/>
                      <a:pt x="157" y="214"/>
                    </a:cubicBezTo>
                    <a:cubicBezTo>
                      <a:pt x="161" y="214"/>
                      <a:pt x="169" y="213"/>
                      <a:pt x="169" y="213"/>
                    </a:cubicBezTo>
                    <a:cubicBezTo>
                      <a:pt x="168" y="208"/>
                      <a:pt x="168" y="208"/>
                      <a:pt x="168" y="208"/>
                    </a:cubicBezTo>
                    <a:cubicBezTo>
                      <a:pt x="162" y="202"/>
                      <a:pt x="162" y="202"/>
                      <a:pt x="162" y="202"/>
                    </a:cubicBezTo>
                    <a:cubicBezTo>
                      <a:pt x="164" y="201"/>
                      <a:pt x="164" y="201"/>
                      <a:pt x="164" y="201"/>
                    </a:cubicBezTo>
                    <a:cubicBezTo>
                      <a:pt x="169" y="203"/>
                      <a:pt x="169" y="203"/>
                      <a:pt x="169" y="203"/>
                    </a:cubicBezTo>
                    <a:cubicBezTo>
                      <a:pt x="169" y="201"/>
                      <a:pt x="169" y="201"/>
                      <a:pt x="169" y="201"/>
                    </a:cubicBezTo>
                    <a:cubicBezTo>
                      <a:pt x="178" y="193"/>
                      <a:pt x="178" y="193"/>
                      <a:pt x="178" y="193"/>
                    </a:cubicBezTo>
                    <a:cubicBezTo>
                      <a:pt x="178" y="187"/>
                      <a:pt x="178" y="187"/>
                      <a:pt x="178" y="187"/>
                    </a:cubicBezTo>
                    <a:cubicBezTo>
                      <a:pt x="178" y="187"/>
                      <a:pt x="182" y="178"/>
                      <a:pt x="184" y="177"/>
                    </a:cubicBezTo>
                    <a:cubicBezTo>
                      <a:pt x="187" y="175"/>
                      <a:pt x="192" y="170"/>
                      <a:pt x="193" y="161"/>
                    </a:cubicBezTo>
                    <a:cubicBezTo>
                      <a:pt x="193" y="149"/>
                      <a:pt x="193" y="149"/>
                      <a:pt x="193" y="149"/>
                    </a:cubicBezTo>
                    <a:cubicBezTo>
                      <a:pt x="193" y="149"/>
                      <a:pt x="186" y="145"/>
                      <a:pt x="188" y="142"/>
                    </a:cubicBezTo>
                    <a:cubicBezTo>
                      <a:pt x="191" y="140"/>
                      <a:pt x="194" y="141"/>
                      <a:pt x="194" y="141"/>
                    </a:cubicBezTo>
                    <a:cubicBezTo>
                      <a:pt x="194" y="141"/>
                      <a:pt x="194" y="137"/>
                      <a:pt x="195" y="135"/>
                    </a:cubicBezTo>
                    <a:cubicBezTo>
                      <a:pt x="197" y="134"/>
                      <a:pt x="200" y="132"/>
                      <a:pt x="199" y="130"/>
                    </a:cubicBezTo>
                    <a:cubicBezTo>
                      <a:pt x="197" y="127"/>
                      <a:pt x="194" y="119"/>
                      <a:pt x="194" y="119"/>
                    </a:cubicBezTo>
                    <a:cubicBezTo>
                      <a:pt x="194" y="119"/>
                      <a:pt x="197" y="117"/>
                      <a:pt x="197" y="112"/>
                    </a:cubicBezTo>
                    <a:cubicBezTo>
                      <a:pt x="197" y="107"/>
                      <a:pt x="190" y="104"/>
                      <a:pt x="193" y="102"/>
                    </a:cubicBezTo>
                    <a:cubicBezTo>
                      <a:pt x="197" y="99"/>
                      <a:pt x="203" y="103"/>
                      <a:pt x="204" y="102"/>
                    </a:cubicBezTo>
                    <a:cubicBezTo>
                      <a:pt x="204" y="101"/>
                      <a:pt x="201" y="95"/>
                      <a:pt x="201" y="95"/>
                    </a:cubicBezTo>
                    <a:close/>
                  </a:path>
                </a:pathLst>
              </a:custGeom>
              <a:solidFill>
                <a:srgbClr val="FDC795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50" name="Iceland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2936875" y="1406525"/>
                <a:ext cx="608012" cy="500062"/>
              </a:xfrm>
              <a:custGeom>
                <a:avLst/>
                <a:gdLst/>
                <a:ahLst/>
                <a:cxnLst>
                  <a:cxn ang="0">
                    <a:pos x="273" y="136"/>
                  </a:cxn>
                  <a:cxn ang="0">
                    <a:pos x="262" y="113"/>
                  </a:cxn>
                  <a:cxn ang="0">
                    <a:pos x="268" y="98"/>
                  </a:cxn>
                  <a:cxn ang="0">
                    <a:pos x="252" y="81"/>
                  </a:cxn>
                  <a:cxn ang="0">
                    <a:pos x="229" y="89"/>
                  </a:cxn>
                  <a:cxn ang="0">
                    <a:pos x="206" y="89"/>
                  </a:cxn>
                  <a:cxn ang="0">
                    <a:pos x="189" y="71"/>
                  </a:cxn>
                  <a:cxn ang="0">
                    <a:pos x="178" y="102"/>
                  </a:cxn>
                  <a:cxn ang="0">
                    <a:pos x="177" y="75"/>
                  </a:cxn>
                  <a:cxn ang="0">
                    <a:pos x="170" y="63"/>
                  </a:cxn>
                  <a:cxn ang="0">
                    <a:pos x="144" y="81"/>
                  </a:cxn>
                  <a:cxn ang="0">
                    <a:pos x="141" y="52"/>
                  </a:cxn>
                  <a:cxn ang="0">
                    <a:pos x="133" y="54"/>
                  </a:cxn>
                  <a:cxn ang="0">
                    <a:pos x="115" y="81"/>
                  </a:cxn>
                  <a:cxn ang="0">
                    <a:pos x="110" y="75"/>
                  </a:cxn>
                  <a:cxn ang="0">
                    <a:pos x="95" y="81"/>
                  </a:cxn>
                  <a:cxn ang="0">
                    <a:pos x="90" y="75"/>
                  </a:cxn>
                  <a:cxn ang="0">
                    <a:pos x="92" y="54"/>
                  </a:cxn>
                  <a:cxn ang="0">
                    <a:pos x="109" y="44"/>
                  </a:cxn>
                  <a:cxn ang="0">
                    <a:pos x="104" y="23"/>
                  </a:cxn>
                  <a:cxn ang="0">
                    <a:pos x="97" y="10"/>
                  </a:cxn>
                  <a:cxn ang="0">
                    <a:pos x="81" y="5"/>
                  </a:cxn>
                  <a:cxn ang="0">
                    <a:pos x="88" y="13"/>
                  </a:cxn>
                  <a:cxn ang="0">
                    <a:pos x="87" y="29"/>
                  </a:cxn>
                  <a:cxn ang="0">
                    <a:pos x="79" y="32"/>
                  </a:cxn>
                  <a:cxn ang="0">
                    <a:pos x="73" y="27"/>
                  </a:cxn>
                  <a:cxn ang="0">
                    <a:pos x="71" y="13"/>
                  </a:cxn>
                  <a:cxn ang="0">
                    <a:pos x="53" y="22"/>
                  </a:cxn>
                  <a:cxn ang="0">
                    <a:pos x="57" y="38"/>
                  </a:cxn>
                  <a:cxn ang="0">
                    <a:pos x="38" y="23"/>
                  </a:cxn>
                  <a:cxn ang="0">
                    <a:pos x="30" y="36"/>
                  </a:cxn>
                  <a:cxn ang="0">
                    <a:pos x="30" y="49"/>
                  </a:cxn>
                  <a:cxn ang="0">
                    <a:pos x="60" y="50"/>
                  </a:cxn>
                  <a:cxn ang="0">
                    <a:pos x="72" y="64"/>
                  </a:cxn>
                  <a:cxn ang="0">
                    <a:pos x="72" y="75"/>
                  </a:cxn>
                  <a:cxn ang="0">
                    <a:pos x="69" y="87"/>
                  </a:cxn>
                  <a:cxn ang="0">
                    <a:pos x="45" y="87"/>
                  </a:cxn>
                  <a:cxn ang="0">
                    <a:pos x="31" y="83"/>
                  </a:cxn>
                  <a:cxn ang="0">
                    <a:pos x="4" y="84"/>
                  </a:cxn>
                  <a:cxn ang="0">
                    <a:pos x="34" y="97"/>
                  </a:cxn>
                  <a:cxn ang="0">
                    <a:pos x="36" y="117"/>
                  </a:cxn>
                  <a:cxn ang="0">
                    <a:pos x="48" y="121"/>
                  </a:cxn>
                  <a:cxn ang="0">
                    <a:pos x="36" y="132"/>
                  </a:cxn>
                  <a:cxn ang="0">
                    <a:pos x="36" y="141"/>
                  </a:cxn>
                  <a:cxn ang="0">
                    <a:pos x="14" y="149"/>
                  </a:cxn>
                  <a:cxn ang="0">
                    <a:pos x="0" y="154"/>
                  </a:cxn>
                  <a:cxn ang="0">
                    <a:pos x="28" y="168"/>
                  </a:cxn>
                  <a:cxn ang="0">
                    <a:pos x="45" y="177"/>
                  </a:cxn>
                  <a:cxn ang="0">
                    <a:pos x="55" y="194"/>
                  </a:cxn>
                  <a:cxn ang="0">
                    <a:pos x="79" y="224"/>
                  </a:cxn>
                  <a:cxn ang="0">
                    <a:pos x="123" y="221"/>
                  </a:cxn>
                  <a:cxn ang="0">
                    <a:pos x="155" y="227"/>
                  </a:cxn>
                  <a:cxn ang="0">
                    <a:pos x="195" y="217"/>
                  </a:cxn>
                  <a:cxn ang="0">
                    <a:pos x="212" y="218"/>
                  </a:cxn>
                  <a:cxn ang="0">
                    <a:pos x="240" y="207"/>
                  </a:cxn>
                  <a:cxn ang="0">
                    <a:pos x="243" y="194"/>
                  </a:cxn>
                  <a:cxn ang="0">
                    <a:pos x="258" y="190"/>
                  </a:cxn>
                  <a:cxn ang="0">
                    <a:pos x="263" y="183"/>
                  </a:cxn>
                  <a:cxn ang="0">
                    <a:pos x="272" y="183"/>
                  </a:cxn>
                  <a:cxn ang="0">
                    <a:pos x="278" y="173"/>
                  </a:cxn>
                  <a:cxn ang="0">
                    <a:pos x="284" y="155"/>
                  </a:cxn>
                  <a:cxn ang="0">
                    <a:pos x="50" y="205"/>
                  </a:cxn>
                </a:cxnLst>
                <a:rect l="0" t="0" r="r" b="b"/>
                <a:pathLst>
                  <a:path w="285" h="235">
                    <a:moveTo>
                      <a:pt x="284" y="155"/>
                    </a:moveTo>
                    <a:cubicBezTo>
                      <a:pt x="280" y="156"/>
                      <a:pt x="280" y="156"/>
                      <a:pt x="280" y="156"/>
                    </a:cubicBezTo>
                    <a:cubicBezTo>
                      <a:pt x="280" y="153"/>
                      <a:pt x="280" y="153"/>
                      <a:pt x="280" y="153"/>
                    </a:cubicBezTo>
                    <a:cubicBezTo>
                      <a:pt x="279" y="153"/>
                      <a:pt x="279" y="153"/>
                      <a:pt x="279" y="153"/>
                    </a:cubicBezTo>
                    <a:cubicBezTo>
                      <a:pt x="281" y="150"/>
                      <a:pt x="281" y="150"/>
                      <a:pt x="281" y="150"/>
                    </a:cubicBezTo>
                    <a:cubicBezTo>
                      <a:pt x="280" y="149"/>
                      <a:pt x="280" y="149"/>
                      <a:pt x="280" y="149"/>
                    </a:cubicBezTo>
                    <a:cubicBezTo>
                      <a:pt x="280" y="149"/>
                      <a:pt x="275" y="147"/>
                      <a:pt x="272" y="143"/>
                    </a:cubicBezTo>
                    <a:cubicBezTo>
                      <a:pt x="270" y="139"/>
                      <a:pt x="273" y="136"/>
                      <a:pt x="273" y="136"/>
                    </a:cubicBezTo>
                    <a:cubicBezTo>
                      <a:pt x="260" y="133"/>
                      <a:pt x="260" y="133"/>
                      <a:pt x="260" y="133"/>
                    </a:cubicBezTo>
                    <a:cubicBezTo>
                      <a:pt x="261" y="130"/>
                      <a:pt x="261" y="130"/>
                      <a:pt x="261" y="130"/>
                    </a:cubicBezTo>
                    <a:cubicBezTo>
                      <a:pt x="259" y="130"/>
                      <a:pt x="259" y="130"/>
                      <a:pt x="259" y="130"/>
                    </a:cubicBezTo>
                    <a:cubicBezTo>
                      <a:pt x="259" y="130"/>
                      <a:pt x="260" y="128"/>
                      <a:pt x="262" y="128"/>
                    </a:cubicBezTo>
                    <a:cubicBezTo>
                      <a:pt x="264" y="127"/>
                      <a:pt x="265" y="127"/>
                      <a:pt x="269" y="124"/>
                    </a:cubicBezTo>
                    <a:cubicBezTo>
                      <a:pt x="273" y="122"/>
                      <a:pt x="272" y="116"/>
                      <a:pt x="271" y="115"/>
                    </a:cubicBezTo>
                    <a:cubicBezTo>
                      <a:pt x="270" y="113"/>
                      <a:pt x="268" y="115"/>
                      <a:pt x="265" y="115"/>
                    </a:cubicBezTo>
                    <a:cubicBezTo>
                      <a:pt x="264" y="115"/>
                      <a:pt x="262" y="113"/>
                      <a:pt x="262" y="113"/>
                    </a:cubicBezTo>
                    <a:cubicBezTo>
                      <a:pt x="262" y="113"/>
                      <a:pt x="263" y="112"/>
                      <a:pt x="263" y="110"/>
                    </a:cubicBezTo>
                    <a:cubicBezTo>
                      <a:pt x="263" y="108"/>
                      <a:pt x="260" y="107"/>
                      <a:pt x="260" y="107"/>
                    </a:cubicBezTo>
                    <a:cubicBezTo>
                      <a:pt x="260" y="107"/>
                      <a:pt x="269" y="106"/>
                      <a:pt x="270" y="105"/>
                    </a:cubicBezTo>
                    <a:cubicBezTo>
                      <a:pt x="271" y="102"/>
                      <a:pt x="271" y="99"/>
                      <a:pt x="271" y="99"/>
                    </a:cubicBezTo>
                    <a:cubicBezTo>
                      <a:pt x="284" y="97"/>
                      <a:pt x="284" y="97"/>
                      <a:pt x="284" y="97"/>
                    </a:cubicBezTo>
                    <a:cubicBezTo>
                      <a:pt x="284" y="97"/>
                      <a:pt x="280" y="96"/>
                      <a:pt x="278" y="96"/>
                    </a:cubicBezTo>
                    <a:cubicBezTo>
                      <a:pt x="277" y="95"/>
                      <a:pt x="279" y="94"/>
                      <a:pt x="276" y="93"/>
                    </a:cubicBezTo>
                    <a:cubicBezTo>
                      <a:pt x="274" y="92"/>
                      <a:pt x="270" y="97"/>
                      <a:pt x="268" y="98"/>
                    </a:cubicBezTo>
                    <a:cubicBezTo>
                      <a:pt x="264" y="99"/>
                      <a:pt x="265" y="96"/>
                      <a:pt x="262" y="97"/>
                    </a:cubicBezTo>
                    <a:cubicBezTo>
                      <a:pt x="258" y="97"/>
                      <a:pt x="259" y="101"/>
                      <a:pt x="258" y="102"/>
                    </a:cubicBezTo>
                    <a:cubicBezTo>
                      <a:pt x="257" y="102"/>
                      <a:pt x="256" y="99"/>
                      <a:pt x="256" y="97"/>
                    </a:cubicBezTo>
                    <a:cubicBezTo>
                      <a:pt x="255" y="96"/>
                      <a:pt x="253" y="95"/>
                      <a:pt x="253" y="95"/>
                    </a:cubicBezTo>
                    <a:cubicBezTo>
                      <a:pt x="254" y="93"/>
                      <a:pt x="254" y="93"/>
                      <a:pt x="254" y="93"/>
                    </a:cubicBezTo>
                    <a:cubicBezTo>
                      <a:pt x="252" y="92"/>
                      <a:pt x="252" y="92"/>
                      <a:pt x="252" y="92"/>
                    </a:cubicBezTo>
                    <a:cubicBezTo>
                      <a:pt x="252" y="92"/>
                      <a:pt x="255" y="90"/>
                      <a:pt x="256" y="86"/>
                    </a:cubicBezTo>
                    <a:cubicBezTo>
                      <a:pt x="258" y="84"/>
                      <a:pt x="252" y="81"/>
                      <a:pt x="252" y="81"/>
                    </a:cubicBezTo>
                    <a:cubicBezTo>
                      <a:pt x="252" y="81"/>
                      <a:pt x="255" y="79"/>
                      <a:pt x="253" y="74"/>
                    </a:cubicBezTo>
                    <a:cubicBezTo>
                      <a:pt x="251" y="69"/>
                      <a:pt x="245" y="74"/>
                      <a:pt x="245" y="74"/>
                    </a:cubicBezTo>
                    <a:cubicBezTo>
                      <a:pt x="245" y="74"/>
                      <a:pt x="242" y="69"/>
                      <a:pt x="240" y="69"/>
                    </a:cubicBezTo>
                    <a:cubicBezTo>
                      <a:pt x="238" y="69"/>
                      <a:pt x="238" y="75"/>
                      <a:pt x="238" y="77"/>
                    </a:cubicBezTo>
                    <a:cubicBezTo>
                      <a:pt x="238" y="79"/>
                      <a:pt x="236" y="80"/>
                      <a:pt x="236" y="80"/>
                    </a:cubicBezTo>
                    <a:cubicBezTo>
                      <a:pt x="236" y="80"/>
                      <a:pt x="236" y="86"/>
                      <a:pt x="235" y="89"/>
                    </a:cubicBezTo>
                    <a:cubicBezTo>
                      <a:pt x="232" y="90"/>
                      <a:pt x="230" y="90"/>
                      <a:pt x="230" y="90"/>
                    </a:cubicBezTo>
                    <a:cubicBezTo>
                      <a:pt x="229" y="89"/>
                      <a:pt x="229" y="89"/>
                      <a:pt x="229" y="89"/>
                    </a:cubicBezTo>
                    <a:cubicBezTo>
                      <a:pt x="226" y="89"/>
                      <a:pt x="226" y="89"/>
                      <a:pt x="226" y="89"/>
                    </a:cubicBezTo>
                    <a:cubicBezTo>
                      <a:pt x="226" y="89"/>
                      <a:pt x="224" y="90"/>
                      <a:pt x="223" y="91"/>
                    </a:cubicBezTo>
                    <a:cubicBezTo>
                      <a:pt x="222" y="91"/>
                      <a:pt x="219" y="89"/>
                      <a:pt x="219" y="89"/>
                    </a:cubicBezTo>
                    <a:cubicBezTo>
                      <a:pt x="220" y="84"/>
                      <a:pt x="220" y="84"/>
                      <a:pt x="220" y="84"/>
                    </a:cubicBezTo>
                    <a:cubicBezTo>
                      <a:pt x="220" y="84"/>
                      <a:pt x="217" y="81"/>
                      <a:pt x="214" y="82"/>
                    </a:cubicBezTo>
                    <a:cubicBezTo>
                      <a:pt x="210" y="82"/>
                      <a:pt x="210" y="84"/>
                      <a:pt x="210" y="86"/>
                    </a:cubicBezTo>
                    <a:cubicBezTo>
                      <a:pt x="209" y="87"/>
                      <a:pt x="206" y="87"/>
                      <a:pt x="206" y="87"/>
                    </a:cubicBezTo>
                    <a:cubicBezTo>
                      <a:pt x="206" y="89"/>
                      <a:pt x="206" y="89"/>
                      <a:pt x="206" y="89"/>
                    </a:cubicBezTo>
                    <a:cubicBezTo>
                      <a:pt x="203" y="93"/>
                      <a:pt x="203" y="93"/>
                      <a:pt x="203" y="93"/>
                    </a:cubicBezTo>
                    <a:cubicBezTo>
                      <a:pt x="203" y="93"/>
                      <a:pt x="202" y="91"/>
                      <a:pt x="199" y="90"/>
                    </a:cubicBezTo>
                    <a:cubicBezTo>
                      <a:pt x="198" y="89"/>
                      <a:pt x="197" y="90"/>
                      <a:pt x="197" y="90"/>
                    </a:cubicBezTo>
                    <a:cubicBezTo>
                      <a:pt x="196" y="80"/>
                      <a:pt x="196" y="80"/>
                      <a:pt x="196" y="80"/>
                    </a:cubicBezTo>
                    <a:cubicBezTo>
                      <a:pt x="195" y="79"/>
                      <a:pt x="195" y="79"/>
                      <a:pt x="195" y="79"/>
                    </a:cubicBezTo>
                    <a:cubicBezTo>
                      <a:pt x="195" y="76"/>
                      <a:pt x="195" y="76"/>
                      <a:pt x="195" y="76"/>
                    </a:cubicBezTo>
                    <a:cubicBezTo>
                      <a:pt x="191" y="74"/>
                      <a:pt x="191" y="74"/>
                      <a:pt x="191" y="74"/>
                    </a:cubicBezTo>
                    <a:cubicBezTo>
                      <a:pt x="189" y="71"/>
                      <a:pt x="189" y="71"/>
                      <a:pt x="189" y="71"/>
                    </a:cubicBezTo>
                    <a:cubicBezTo>
                      <a:pt x="189" y="71"/>
                      <a:pt x="184" y="71"/>
                      <a:pt x="183" y="78"/>
                    </a:cubicBezTo>
                    <a:cubicBezTo>
                      <a:pt x="181" y="84"/>
                      <a:pt x="183" y="85"/>
                      <a:pt x="183" y="85"/>
                    </a:cubicBezTo>
                    <a:cubicBezTo>
                      <a:pt x="181" y="86"/>
                      <a:pt x="181" y="86"/>
                      <a:pt x="181" y="86"/>
                    </a:cubicBezTo>
                    <a:cubicBezTo>
                      <a:pt x="181" y="87"/>
                      <a:pt x="181" y="87"/>
                      <a:pt x="181" y="87"/>
                    </a:cubicBezTo>
                    <a:cubicBezTo>
                      <a:pt x="183" y="87"/>
                      <a:pt x="183" y="87"/>
                      <a:pt x="183" y="87"/>
                    </a:cubicBezTo>
                    <a:cubicBezTo>
                      <a:pt x="182" y="93"/>
                      <a:pt x="182" y="93"/>
                      <a:pt x="182" y="93"/>
                    </a:cubicBezTo>
                    <a:cubicBezTo>
                      <a:pt x="178" y="99"/>
                      <a:pt x="178" y="99"/>
                      <a:pt x="178" y="99"/>
                    </a:cubicBezTo>
                    <a:cubicBezTo>
                      <a:pt x="178" y="102"/>
                      <a:pt x="178" y="102"/>
                      <a:pt x="178" y="102"/>
                    </a:cubicBezTo>
                    <a:cubicBezTo>
                      <a:pt x="176" y="105"/>
                      <a:pt x="176" y="105"/>
                      <a:pt x="176" y="105"/>
                    </a:cubicBezTo>
                    <a:cubicBezTo>
                      <a:pt x="177" y="102"/>
                      <a:pt x="177" y="102"/>
                      <a:pt x="177" y="102"/>
                    </a:cubicBezTo>
                    <a:cubicBezTo>
                      <a:pt x="177" y="98"/>
                      <a:pt x="177" y="98"/>
                      <a:pt x="177" y="98"/>
                    </a:cubicBezTo>
                    <a:cubicBezTo>
                      <a:pt x="177" y="98"/>
                      <a:pt x="177" y="96"/>
                      <a:pt x="178" y="95"/>
                    </a:cubicBezTo>
                    <a:cubicBezTo>
                      <a:pt x="179" y="94"/>
                      <a:pt x="179" y="92"/>
                      <a:pt x="179" y="92"/>
                    </a:cubicBezTo>
                    <a:cubicBezTo>
                      <a:pt x="178" y="83"/>
                      <a:pt x="178" y="83"/>
                      <a:pt x="178" y="83"/>
                    </a:cubicBezTo>
                    <a:cubicBezTo>
                      <a:pt x="178" y="83"/>
                      <a:pt x="175" y="81"/>
                      <a:pt x="175" y="80"/>
                    </a:cubicBezTo>
                    <a:cubicBezTo>
                      <a:pt x="175" y="78"/>
                      <a:pt x="177" y="77"/>
                      <a:pt x="177" y="75"/>
                    </a:cubicBezTo>
                    <a:cubicBezTo>
                      <a:pt x="178" y="74"/>
                      <a:pt x="177" y="71"/>
                      <a:pt x="177" y="71"/>
                    </a:cubicBezTo>
                    <a:cubicBezTo>
                      <a:pt x="178" y="69"/>
                      <a:pt x="178" y="69"/>
                      <a:pt x="178" y="69"/>
                    </a:cubicBezTo>
                    <a:cubicBezTo>
                      <a:pt x="177" y="67"/>
                      <a:pt x="177" y="67"/>
                      <a:pt x="177" y="67"/>
                    </a:cubicBezTo>
                    <a:cubicBezTo>
                      <a:pt x="175" y="67"/>
                      <a:pt x="175" y="67"/>
                      <a:pt x="175" y="67"/>
                    </a:cubicBezTo>
                    <a:cubicBezTo>
                      <a:pt x="176" y="65"/>
                      <a:pt x="176" y="65"/>
                      <a:pt x="176" y="65"/>
                    </a:cubicBezTo>
                    <a:cubicBezTo>
                      <a:pt x="175" y="64"/>
                      <a:pt x="175" y="64"/>
                      <a:pt x="175" y="64"/>
                    </a:cubicBezTo>
                    <a:cubicBezTo>
                      <a:pt x="172" y="66"/>
                      <a:pt x="172" y="66"/>
                      <a:pt x="172" y="66"/>
                    </a:cubicBezTo>
                    <a:cubicBezTo>
                      <a:pt x="172" y="66"/>
                      <a:pt x="173" y="63"/>
                      <a:pt x="170" y="63"/>
                    </a:cubicBezTo>
                    <a:cubicBezTo>
                      <a:pt x="167" y="62"/>
                      <a:pt x="166" y="66"/>
                      <a:pt x="164" y="66"/>
                    </a:cubicBezTo>
                    <a:cubicBezTo>
                      <a:pt x="162" y="67"/>
                      <a:pt x="161" y="65"/>
                      <a:pt x="159" y="64"/>
                    </a:cubicBezTo>
                    <a:cubicBezTo>
                      <a:pt x="156" y="64"/>
                      <a:pt x="155" y="67"/>
                      <a:pt x="155" y="68"/>
                    </a:cubicBezTo>
                    <a:cubicBezTo>
                      <a:pt x="154" y="69"/>
                      <a:pt x="153" y="68"/>
                      <a:pt x="150" y="70"/>
                    </a:cubicBezTo>
                    <a:cubicBezTo>
                      <a:pt x="149" y="73"/>
                      <a:pt x="151" y="76"/>
                      <a:pt x="150" y="79"/>
                    </a:cubicBezTo>
                    <a:cubicBezTo>
                      <a:pt x="149" y="82"/>
                      <a:pt x="145" y="83"/>
                      <a:pt x="145" y="83"/>
                    </a:cubicBezTo>
                    <a:cubicBezTo>
                      <a:pt x="145" y="81"/>
                      <a:pt x="145" y="81"/>
                      <a:pt x="145" y="81"/>
                    </a:cubicBezTo>
                    <a:cubicBezTo>
                      <a:pt x="144" y="81"/>
                      <a:pt x="144" y="81"/>
                      <a:pt x="144" y="81"/>
                    </a:cubicBezTo>
                    <a:cubicBezTo>
                      <a:pt x="142" y="82"/>
                      <a:pt x="142" y="82"/>
                      <a:pt x="142" y="82"/>
                    </a:cubicBezTo>
                    <a:cubicBezTo>
                      <a:pt x="141" y="80"/>
                      <a:pt x="141" y="80"/>
                      <a:pt x="141" y="80"/>
                    </a:cubicBezTo>
                    <a:cubicBezTo>
                      <a:pt x="141" y="80"/>
                      <a:pt x="143" y="75"/>
                      <a:pt x="143" y="73"/>
                    </a:cubicBezTo>
                    <a:cubicBezTo>
                      <a:pt x="144" y="71"/>
                      <a:pt x="141" y="69"/>
                      <a:pt x="141" y="69"/>
                    </a:cubicBezTo>
                    <a:cubicBezTo>
                      <a:pt x="141" y="69"/>
                      <a:pt x="141" y="66"/>
                      <a:pt x="142" y="64"/>
                    </a:cubicBezTo>
                    <a:cubicBezTo>
                      <a:pt x="142" y="59"/>
                      <a:pt x="142" y="59"/>
                      <a:pt x="142" y="59"/>
                    </a:cubicBezTo>
                    <a:cubicBezTo>
                      <a:pt x="142" y="59"/>
                      <a:pt x="143" y="57"/>
                      <a:pt x="143" y="54"/>
                    </a:cubicBezTo>
                    <a:cubicBezTo>
                      <a:pt x="143" y="53"/>
                      <a:pt x="141" y="52"/>
                      <a:pt x="141" y="52"/>
                    </a:cubicBezTo>
                    <a:cubicBezTo>
                      <a:pt x="141" y="51"/>
                      <a:pt x="141" y="51"/>
                      <a:pt x="141" y="51"/>
                    </a:cubicBezTo>
                    <a:cubicBezTo>
                      <a:pt x="139" y="53"/>
                      <a:pt x="139" y="53"/>
                      <a:pt x="139" y="53"/>
                    </a:cubicBezTo>
                    <a:cubicBezTo>
                      <a:pt x="138" y="52"/>
                      <a:pt x="138" y="52"/>
                      <a:pt x="138" y="52"/>
                    </a:cubicBezTo>
                    <a:cubicBezTo>
                      <a:pt x="135" y="52"/>
                      <a:pt x="135" y="52"/>
                      <a:pt x="135" y="52"/>
                    </a:cubicBezTo>
                    <a:cubicBezTo>
                      <a:pt x="134" y="53"/>
                      <a:pt x="134" y="53"/>
                      <a:pt x="134" y="53"/>
                    </a:cubicBezTo>
                    <a:cubicBezTo>
                      <a:pt x="134" y="52"/>
                      <a:pt x="134" y="52"/>
                      <a:pt x="134" y="52"/>
                    </a:cubicBezTo>
                    <a:cubicBezTo>
                      <a:pt x="133" y="52"/>
                      <a:pt x="133" y="52"/>
                      <a:pt x="133" y="52"/>
                    </a:cubicBezTo>
                    <a:cubicBezTo>
                      <a:pt x="133" y="54"/>
                      <a:pt x="133" y="54"/>
                      <a:pt x="133" y="54"/>
                    </a:cubicBezTo>
                    <a:cubicBezTo>
                      <a:pt x="131" y="57"/>
                      <a:pt x="131" y="57"/>
                      <a:pt x="131" y="57"/>
                    </a:cubicBezTo>
                    <a:cubicBezTo>
                      <a:pt x="131" y="59"/>
                      <a:pt x="131" y="59"/>
                      <a:pt x="131" y="59"/>
                    </a:cubicBezTo>
                    <a:cubicBezTo>
                      <a:pt x="131" y="59"/>
                      <a:pt x="130" y="63"/>
                      <a:pt x="128" y="66"/>
                    </a:cubicBezTo>
                    <a:cubicBezTo>
                      <a:pt x="126" y="70"/>
                      <a:pt x="126" y="76"/>
                      <a:pt x="126" y="76"/>
                    </a:cubicBezTo>
                    <a:cubicBezTo>
                      <a:pt x="123" y="79"/>
                      <a:pt x="123" y="79"/>
                      <a:pt x="123" y="79"/>
                    </a:cubicBezTo>
                    <a:cubicBezTo>
                      <a:pt x="122" y="79"/>
                      <a:pt x="122" y="79"/>
                      <a:pt x="122" y="79"/>
                    </a:cubicBezTo>
                    <a:cubicBezTo>
                      <a:pt x="118" y="81"/>
                      <a:pt x="118" y="81"/>
                      <a:pt x="118" y="81"/>
                    </a:cubicBezTo>
                    <a:cubicBezTo>
                      <a:pt x="115" y="81"/>
                      <a:pt x="115" y="81"/>
                      <a:pt x="115" y="81"/>
                    </a:cubicBezTo>
                    <a:cubicBezTo>
                      <a:pt x="115" y="82"/>
                      <a:pt x="115" y="82"/>
                      <a:pt x="115" y="82"/>
                    </a:cubicBezTo>
                    <a:cubicBezTo>
                      <a:pt x="115" y="82"/>
                      <a:pt x="114" y="85"/>
                      <a:pt x="112" y="85"/>
                    </a:cubicBezTo>
                    <a:cubicBezTo>
                      <a:pt x="110" y="84"/>
                      <a:pt x="113" y="79"/>
                      <a:pt x="113" y="79"/>
                    </a:cubicBezTo>
                    <a:cubicBezTo>
                      <a:pt x="111" y="79"/>
                      <a:pt x="111" y="79"/>
                      <a:pt x="111" y="79"/>
                    </a:cubicBezTo>
                    <a:cubicBezTo>
                      <a:pt x="115" y="74"/>
                      <a:pt x="115" y="74"/>
                      <a:pt x="115" y="74"/>
                    </a:cubicBezTo>
                    <a:cubicBezTo>
                      <a:pt x="113" y="71"/>
                      <a:pt x="113" y="71"/>
                      <a:pt x="113" y="71"/>
                    </a:cubicBezTo>
                    <a:cubicBezTo>
                      <a:pt x="110" y="73"/>
                      <a:pt x="110" y="73"/>
                      <a:pt x="110" y="73"/>
                    </a:cubicBezTo>
                    <a:cubicBezTo>
                      <a:pt x="110" y="75"/>
                      <a:pt x="110" y="75"/>
                      <a:pt x="110" y="75"/>
                    </a:cubicBezTo>
                    <a:cubicBezTo>
                      <a:pt x="106" y="75"/>
                      <a:pt x="106" y="75"/>
                      <a:pt x="106" y="75"/>
                    </a:cubicBezTo>
                    <a:cubicBezTo>
                      <a:pt x="104" y="75"/>
                      <a:pt x="102" y="77"/>
                      <a:pt x="102" y="77"/>
                    </a:cubicBezTo>
                    <a:cubicBezTo>
                      <a:pt x="102" y="77"/>
                      <a:pt x="101" y="78"/>
                      <a:pt x="100" y="80"/>
                    </a:cubicBezTo>
                    <a:cubicBezTo>
                      <a:pt x="99" y="82"/>
                      <a:pt x="98" y="89"/>
                      <a:pt x="98" y="89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3"/>
                      <a:pt x="97" y="83"/>
                      <a:pt x="97" y="83"/>
                    </a:cubicBezTo>
                    <a:cubicBezTo>
                      <a:pt x="98" y="80"/>
                      <a:pt x="98" y="80"/>
                      <a:pt x="98" y="80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4" y="86"/>
                      <a:pt x="94" y="86"/>
                      <a:pt x="94" y="86"/>
                    </a:cubicBezTo>
                    <a:cubicBezTo>
                      <a:pt x="94" y="86"/>
                      <a:pt x="92" y="89"/>
                      <a:pt x="91" y="90"/>
                    </a:cubicBezTo>
                    <a:cubicBezTo>
                      <a:pt x="90" y="91"/>
                      <a:pt x="90" y="95"/>
                      <a:pt x="90" y="95"/>
                    </a:cubicBezTo>
                    <a:cubicBezTo>
                      <a:pt x="88" y="97"/>
                      <a:pt x="88" y="97"/>
                      <a:pt x="88" y="97"/>
                    </a:cubicBezTo>
                    <a:cubicBezTo>
                      <a:pt x="88" y="97"/>
                      <a:pt x="88" y="92"/>
                      <a:pt x="89" y="89"/>
                    </a:cubicBezTo>
                    <a:cubicBezTo>
                      <a:pt x="89" y="85"/>
                      <a:pt x="93" y="82"/>
                      <a:pt x="93" y="82"/>
                    </a:cubicBezTo>
                    <a:cubicBezTo>
                      <a:pt x="94" y="76"/>
                      <a:pt x="94" y="76"/>
                      <a:pt x="94" y="76"/>
                    </a:cubicBezTo>
                    <a:cubicBezTo>
                      <a:pt x="90" y="75"/>
                      <a:pt x="90" y="75"/>
                      <a:pt x="90" y="75"/>
                    </a:cubicBezTo>
                    <a:cubicBezTo>
                      <a:pt x="94" y="74"/>
                      <a:pt x="94" y="74"/>
                      <a:pt x="94" y="74"/>
                    </a:cubicBezTo>
                    <a:cubicBezTo>
                      <a:pt x="96" y="69"/>
                      <a:pt x="96" y="69"/>
                      <a:pt x="96" y="69"/>
                    </a:cubicBezTo>
                    <a:cubicBezTo>
                      <a:pt x="92" y="68"/>
                      <a:pt x="92" y="68"/>
                      <a:pt x="92" y="68"/>
                    </a:cubicBezTo>
                    <a:cubicBezTo>
                      <a:pt x="95" y="67"/>
                      <a:pt x="95" y="67"/>
                      <a:pt x="95" y="67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6" y="65"/>
                      <a:pt x="92" y="64"/>
                      <a:pt x="91" y="62"/>
                    </a:cubicBezTo>
                    <a:cubicBezTo>
                      <a:pt x="90" y="60"/>
                      <a:pt x="91" y="60"/>
                      <a:pt x="92" y="59"/>
                    </a:cubicBezTo>
                    <a:cubicBezTo>
                      <a:pt x="92" y="54"/>
                      <a:pt x="92" y="54"/>
                      <a:pt x="92" y="54"/>
                    </a:cubicBezTo>
                    <a:cubicBezTo>
                      <a:pt x="93" y="54"/>
                      <a:pt x="93" y="54"/>
                      <a:pt x="93" y="54"/>
                    </a:cubicBezTo>
                    <a:cubicBezTo>
                      <a:pt x="93" y="54"/>
                      <a:pt x="93" y="59"/>
                      <a:pt x="94" y="60"/>
                    </a:cubicBezTo>
                    <a:cubicBezTo>
                      <a:pt x="94" y="62"/>
                      <a:pt x="97" y="62"/>
                      <a:pt x="98" y="62"/>
                    </a:cubicBezTo>
                    <a:cubicBezTo>
                      <a:pt x="100" y="62"/>
                      <a:pt x="99" y="59"/>
                      <a:pt x="99" y="59"/>
                    </a:cubicBezTo>
                    <a:cubicBezTo>
                      <a:pt x="99" y="59"/>
                      <a:pt x="101" y="60"/>
                      <a:pt x="107" y="54"/>
                    </a:cubicBezTo>
                    <a:cubicBezTo>
                      <a:pt x="112" y="49"/>
                      <a:pt x="101" y="47"/>
                      <a:pt x="102" y="46"/>
                    </a:cubicBezTo>
                    <a:cubicBezTo>
                      <a:pt x="102" y="44"/>
                      <a:pt x="109" y="46"/>
                      <a:pt x="109" y="46"/>
                    </a:cubicBezTo>
                    <a:cubicBezTo>
                      <a:pt x="109" y="44"/>
                      <a:pt x="109" y="44"/>
                      <a:pt x="109" y="44"/>
                    </a:cubicBezTo>
                    <a:cubicBezTo>
                      <a:pt x="107" y="42"/>
                      <a:pt x="107" y="42"/>
                      <a:pt x="107" y="42"/>
                    </a:cubicBezTo>
                    <a:cubicBezTo>
                      <a:pt x="108" y="38"/>
                      <a:pt x="108" y="38"/>
                      <a:pt x="108" y="38"/>
                    </a:cubicBezTo>
                    <a:cubicBezTo>
                      <a:pt x="106" y="38"/>
                      <a:pt x="106" y="38"/>
                      <a:pt x="106" y="38"/>
                    </a:cubicBezTo>
                    <a:cubicBezTo>
                      <a:pt x="104" y="42"/>
                      <a:pt x="104" y="42"/>
                      <a:pt x="104" y="42"/>
                    </a:cubicBezTo>
                    <a:cubicBezTo>
                      <a:pt x="104" y="38"/>
                      <a:pt x="104" y="38"/>
                      <a:pt x="104" y="38"/>
                    </a:cubicBezTo>
                    <a:cubicBezTo>
                      <a:pt x="102" y="37"/>
                      <a:pt x="105" y="35"/>
                      <a:pt x="106" y="33"/>
                    </a:cubicBezTo>
                    <a:cubicBezTo>
                      <a:pt x="107" y="30"/>
                      <a:pt x="104" y="30"/>
                      <a:pt x="102" y="28"/>
                    </a:cubicBezTo>
                    <a:cubicBezTo>
                      <a:pt x="101" y="26"/>
                      <a:pt x="104" y="23"/>
                      <a:pt x="104" y="23"/>
                    </a:cubicBezTo>
                    <a:cubicBezTo>
                      <a:pt x="100" y="22"/>
                      <a:pt x="100" y="22"/>
                      <a:pt x="100" y="22"/>
                    </a:cubicBezTo>
                    <a:cubicBezTo>
                      <a:pt x="100" y="19"/>
                      <a:pt x="100" y="19"/>
                      <a:pt x="100" y="19"/>
                    </a:cubicBezTo>
                    <a:cubicBezTo>
                      <a:pt x="98" y="19"/>
                      <a:pt x="98" y="19"/>
                      <a:pt x="98" y="19"/>
                    </a:cubicBezTo>
                    <a:cubicBezTo>
                      <a:pt x="98" y="19"/>
                      <a:pt x="99" y="17"/>
                      <a:pt x="100" y="16"/>
                    </a:cubicBezTo>
                    <a:cubicBezTo>
                      <a:pt x="102" y="14"/>
                      <a:pt x="98" y="12"/>
                      <a:pt x="98" y="12"/>
                    </a:cubicBezTo>
                    <a:cubicBezTo>
                      <a:pt x="100" y="7"/>
                      <a:pt x="100" y="7"/>
                      <a:pt x="100" y="7"/>
                    </a:cubicBezTo>
                    <a:cubicBezTo>
                      <a:pt x="99" y="5"/>
                      <a:pt x="99" y="5"/>
                      <a:pt x="99" y="5"/>
                    </a:cubicBezTo>
                    <a:cubicBezTo>
                      <a:pt x="97" y="10"/>
                      <a:pt x="97" y="10"/>
                      <a:pt x="97" y="10"/>
                    </a:cubicBezTo>
                    <a:cubicBezTo>
                      <a:pt x="95" y="5"/>
                      <a:pt x="95" y="5"/>
                      <a:pt x="95" y="5"/>
                    </a:cubicBezTo>
                    <a:cubicBezTo>
                      <a:pt x="93" y="6"/>
                      <a:pt x="93" y="6"/>
                      <a:pt x="93" y="6"/>
                    </a:cubicBezTo>
                    <a:cubicBezTo>
                      <a:pt x="89" y="0"/>
                      <a:pt x="89" y="0"/>
                      <a:pt x="89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87" y="3"/>
                      <a:pt x="87" y="3"/>
                      <a:pt x="87" y="3"/>
                    </a:cubicBezTo>
                    <a:cubicBezTo>
                      <a:pt x="83" y="1"/>
                      <a:pt x="83" y="1"/>
                      <a:pt x="83" y="1"/>
                    </a:cubicBezTo>
                    <a:cubicBezTo>
                      <a:pt x="82" y="1"/>
                      <a:pt x="82" y="1"/>
                      <a:pt x="82" y="1"/>
                    </a:cubicBezTo>
                    <a:cubicBezTo>
                      <a:pt x="82" y="1"/>
                      <a:pt x="83" y="5"/>
                      <a:pt x="81" y="5"/>
                    </a:cubicBezTo>
                    <a:cubicBezTo>
                      <a:pt x="80" y="6"/>
                      <a:pt x="79" y="3"/>
                      <a:pt x="79" y="3"/>
                    </a:cubicBezTo>
                    <a:cubicBezTo>
                      <a:pt x="77" y="3"/>
                      <a:pt x="77" y="3"/>
                      <a:pt x="77" y="3"/>
                    </a:cubicBezTo>
                    <a:cubicBezTo>
                      <a:pt x="77" y="3"/>
                      <a:pt x="77" y="6"/>
                      <a:pt x="80" y="8"/>
                    </a:cubicBezTo>
                    <a:cubicBezTo>
                      <a:pt x="83" y="11"/>
                      <a:pt x="87" y="8"/>
                      <a:pt x="87" y="8"/>
                    </a:cubicBezTo>
                    <a:cubicBezTo>
                      <a:pt x="85" y="11"/>
                      <a:pt x="85" y="11"/>
                      <a:pt x="85" y="11"/>
                    </a:cubicBezTo>
                    <a:cubicBezTo>
                      <a:pt x="87" y="11"/>
                      <a:pt x="87" y="11"/>
                      <a:pt x="87" y="11"/>
                    </a:cubicBezTo>
                    <a:cubicBezTo>
                      <a:pt x="91" y="10"/>
                      <a:pt x="91" y="10"/>
                      <a:pt x="91" y="10"/>
                    </a:cubicBezTo>
                    <a:cubicBezTo>
                      <a:pt x="88" y="13"/>
                      <a:pt x="88" y="13"/>
                      <a:pt x="88" y="13"/>
                    </a:cubicBezTo>
                    <a:cubicBezTo>
                      <a:pt x="89" y="15"/>
                      <a:pt x="89" y="15"/>
                      <a:pt x="89" y="15"/>
                    </a:cubicBezTo>
                    <a:cubicBezTo>
                      <a:pt x="92" y="15"/>
                      <a:pt x="92" y="15"/>
                      <a:pt x="92" y="15"/>
                    </a:cubicBezTo>
                    <a:cubicBezTo>
                      <a:pt x="91" y="16"/>
                      <a:pt x="91" y="16"/>
                      <a:pt x="91" y="16"/>
                    </a:cubicBezTo>
                    <a:cubicBezTo>
                      <a:pt x="91" y="16"/>
                      <a:pt x="92" y="19"/>
                      <a:pt x="91" y="18"/>
                    </a:cubicBezTo>
                    <a:cubicBezTo>
                      <a:pt x="89" y="17"/>
                      <a:pt x="87" y="17"/>
                      <a:pt x="85" y="15"/>
                    </a:cubicBezTo>
                    <a:cubicBezTo>
                      <a:pt x="84" y="13"/>
                      <a:pt x="81" y="13"/>
                      <a:pt x="79" y="14"/>
                    </a:cubicBezTo>
                    <a:cubicBezTo>
                      <a:pt x="76" y="16"/>
                      <a:pt x="81" y="22"/>
                      <a:pt x="82" y="23"/>
                    </a:cubicBezTo>
                    <a:cubicBezTo>
                      <a:pt x="83" y="24"/>
                      <a:pt x="87" y="29"/>
                      <a:pt x="87" y="29"/>
                    </a:cubicBezTo>
                    <a:cubicBezTo>
                      <a:pt x="87" y="29"/>
                      <a:pt x="84" y="30"/>
                      <a:pt x="83" y="31"/>
                    </a:cubicBezTo>
                    <a:cubicBezTo>
                      <a:pt x="82" y="32"/>
                      <a:pt x="83" y="34"/>
                      <a:pt x="82" y="37"/>
                    </a:cubicBezTo>
                    <a:cubicBezTo>
                      <a:pt x="82" y="41"/>
                      <a:pt x="78" y="43"/>
                      <a:pt x="78" y="43"/>
                    </a:cubicBezTo>
                    <a:cubicBezTo>
                      <a:pt x="77" y="42"/>
                      <a:pt x="77" y="42"/>
                      <a:pt x="77" y="42"/>
                    </a:cubicBezTo>
                    <a:cubicBezTo>
                      <a:pt x="77" y="42"/>
                      <a:pt x="80" y="38"/>
                      <a:pt x="80" y="34"/>
                    </a:cubicBezTo>
                    <a:cubicBezTo>
                      <a:pt x="80" y="31"/>
                      <a:pt x="75" y="38"/>
                      <a:pt x="75" y="38"/>
                    </a:cubicBezTo>
                    <a:cubicBezTo>
                      <a:pt x="75" y="37"/>
                      <a:pt x="75" y="37"/>
                      <a:pt x="75" y="37"/>
                    </a:cubicBezTo>
                    <a:cubicBezTo>
                      <a:pt x="79" y="32"/>
                      <a:pt x="79" y="32"/>
                      <a:pt x="79" y="32"/>
                    </a:cubicBezTo>
                    <a:cubicBezTo>
                      <a:pt x="78" y="29"/>
                      <a:pt x="78" y="29"/>
                      <a:pt x="78" y="29"/>
                    </a:cubicBezTo>
                    <a:cubicBezTo>
                      <a:pt x="79" y="27"/>
                      <a:pt x="79" y="27"/>
                      <a:pt x="79" y="27"/>
                    </a:cubicBezTo>
                    <a:cubicBezTo>
                      <a:pt x="77" y="27"/>
                      <a:pt x="77" y="27"/>
                      <a:pt x="77" y="27"/>
                    </a:cubicBezTo>
                    <a:cubicBezTo>
                      <a:pt x="72" y="33"/>
                      <a:pt x="72" y="33"/>
                      <a:pt x="72" y="33"/>
                    </a:cubicBezTo>
                    <a:cubicBezTo>
                      <a:pt x="74" y="29"/>
                      <a:pt x="74" y="29"/>
                      <a:pt x="74" y="29"/>
                    </a:cubicBezTo>
                    <a:cubicBezTo>
                      <a:pt x="73" y="29"/>
                      <a:pt x="73" y="29"/>
                      <a:pt x="73" y="29"/>
                    </a:cubicBezTo>
                    <a:cubicBezTo>
                      <a:pt x="71" y="30"/>
                      <a:pt x="71" y="30"/>
                      <a:pt x="71" y="30"/>
                    </a:cubicBezTo>
                    <a:cubicBezTo>
                      <a:pt x="73" y="27"/>
                      <a:pt x="73" y="27"/>
                      <a:pt x="73" y="27"/>
                    </a:cubicBezTo>
                    <a:cubicBezTo>
                      <a:pt x="72" y="26"/>
                      <a:pt x="72" y="26"/>
                      <a:pt x="72" y="26"/>
                    </a:cubicBezTo>
                    <a:cubicBezTo>
                      <a:pt x="68" y="27"/>
                      <a:pt x="68" y="27"/>
                      <a:pt x="68" y="27"/>
                    </a:cubicBezTo>
                    <a:cubicBezTo>
                      <a:pt x="73" y="22"/>
                      <a:pt x="73" y="22"/>
                      <a:pt x="73" y="22"/>
                    </a:cubicBezTo>
                    <a:cubicBezTo>
                      <a:pt x="73" y="20"/>
                      <a:pt x="73" y="20"/>
                      <a:pt x="73" y="20"/>
                    </a:cubicBezTo>
                    <a:cubicBezTo>
                      <a:pt x="73" y="20"/>
                      <a:pt x="69" y="22"/>
                      <a:pt x="68" y="21"/>
                    </a:cubicBezTo>
                    <a:cubicBezTo>
                      <a:pt x="68" y="20"/>
                      <a:pt x="72" y="19"/>
                      <a:pt x="72" y="19"/>
                    </a:cubicBezTo>
                    <a:cubicBezTo>
                      <a:pt x="71" y="16"/>
                      <a:pt x="71" y="16"/>
                      <a:pt x="71" y="16"/>
                    </a:cubicBezTo>
                    <a:cubicBezTo>
                      <a:pt x="71" y="13"/>
                      <a:pt x="71" y="13"/>
                      <a:pt x="71" y="13"/>
                    </a:cubicBezTo>
                    <a:cubicBezTo>
                      <a:pt x="71" y="13"/>
                      <a:pt x="68" y="10"/>
                      <a:pt x="64" y="10"/>
                    </a:cubicBezTo>
                    <a:cubicBezTo>
                      <a:pt x="60" y="11"/>
                      <a:pt x="65" y="14"/>
                      <a:pt x="65" y="14"/>
                    </a:cubicBezTo>
                    <a:cubicBezTo>
                      <a:pt x="65" y="14"/>
                      <a:pt x="63" y="13"/>
                      <a:pt x="61" y="13"/>
                    </a:cubicBezTo>
                    <a:cubicBezTo>
                      <a:pt x="60" y="13"/>
                      <a:pt x="59" y="13"/>
                      <a:pt x="61" y="16"/>
                    </a:cubicBezTo>
                    <a:cubicBezTo>
                      <a:pt x="62" y="20"/>
                      <a:pt x="63" y="21"/>
                      <a:pt x="62" y="21"/>
                    </a:cubicBezTo>
                    <a:cubicBezTo>
                      <a:pt x="61" y="22"/>
                      <a:pt x="60" y="20"/>
                      <a:pt x="59" y="18"/>
                    </a:cubicBezTo>
                    <a:cubicBezTo>
                      <a:pt x="58" y="15"/>
                      <a:pt x="56" y="13"/>
                      <a:pt x="53" y="14"/>
                    </a:cubicBezTo>
                    <a:cubicBezTo>
                      <a:pt x="50" y="16"/>
                      <a:pt x="53" y="21"/>
                      <a:pt x="53" y="22"/>
                    </a:cubicBezTo>
                    <a:cubicBezTo>
                      <a:pt x="55" y="24"/>
                      <a:pt x="52" y="24"/>
                      <a:pt x="52" y="24"/>
                    </a:cubicBezTo>
                    <a:cubicBezTo>
                      <a:pt x="55" y="27"/>
                      <a:pt x="55" y="27"/>
                      <a:pt x="55" y="27"/>
                    </a:cubicBezTo>
                    <a:cubicBezTo>
                      <a:pt x="57" y="27"/>
                      <a:pt x="57" y="27"/>
                      <a:pt x="57" y="27"/>
                    </a:cubicBezTo>
                    <a:cubicBezTo>
                      <a:pt x="58" y="31"/>
                      <a:pt x="58" y="31"/>
                      <a:pt x="58" y="31"/>
                    </a:cubicBezTo>
                    <a:cubicBezTo>
                      <a:pt x="58" y="31"/>
                      <a:pt x="50" y="23"/>
                      <a:pt x="47" y="21"/>
                    </a:cubicBezTo>
                    <a:cubicBezTo>
                      <a:pt x="45" y="20"/>
                      <a:pt x="45" y="29"/>
                      <a:pt x="48" y="32"/>
                    </a:cubicBezTo>
                    <a:cubicBezTo>
                      <a:pt x="51" y="36"/>
                      <a:pt x="58" y="36"/>
                      <a:pt x="58" y="36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48" y="36"/>
                      <a:pt x="48" y="36"/>
                      <a:pt x="48" y="36"/>
                    </a:cubicBezTo>
                    <a:cubicBezTo>
                      <a:pt x="49" y="39"/>
                      <a:pt x="49" y="39"/>
                      <a:pt x="49" y="39"/>
                    </a:cubicBezTo>
                    <a:cubicBezTo>
                      <a:pt x="52" y="42"/>
                      <a:pt x="52" y="42"/>
                      <a:pt x="52" y="42"/>
                    </a:cubicBezTo>
                    <a:cubicBezTo>
                      <a:pt x="48" y="42"/>
                      <a:pt x="48" y="42"/>
                      <a:pt x="48" y="42"/>
                    </a:cubicBezTo>
                    <a:cubicBezTo>
                      <a:pt x="47" y="41"/>
                      <a:pt x="47" y="41"/>
                      <a:pt x="47" y="41"/>
                    </a:cubicBezTo>
                    <a:cubicBezTo>
                      <a:pt x="44" y="42"/>
                      <a:pt x="44" y="42"/>
                      <a:pt x="44" y="42"/>
                    </a:cubicBezTo>
                    <a:cubicBezTo>
                      <a:pt x="44" y="42"/>
                      <a:pt x="45" y="41"/>
                      <a:pt x="46" y="37"/>
                    </a:cubicBezTo>
                    <a:cubicBezTo>
                      <a:pt x="46" y="34"/>
                      <a:pt x="38" y="23"/>
                      <a:pt x="38" y="23"/>
                    </a:cubicBezTo>
                    <a:cubicBezTo>
                      <a:pt x="38" y="23"/>
                      <a:pt x="35" y="26"/>
                      <a:pt x="35" y="29"/>
                    </a:cubicBezTo>
                    <a:cubicBezTo>
                      <a:pt x="35" y="32"/>
                      <a:pt x="38" y="37"/>
                      <a:pt x="38" y="37"/>
                    </a:cubicBezTo>
                    <a:cubicBezTo>
                      <a:pt x="33" y="32"/>
                      <a:pt x="33" y="32"/>
                      <a:pt x="33" y="32"/>
                    </a:cubicBezTo>
                    <a:cubicBezTo>
                      <a:pt x="33" y="38"/>
                      <a:pt x="33" y="38"/>
                      <a:pt x="33" y="38"/>
                    </a:cubicBezTo>
                    <a:cubicBezTo>
                      <a:pt x="34" y="41"/>
                      <a:pt x="36" y="43"/>
                      <a:pt x="36" y="43"/>
                    </a:cubicBezTo>
                    <a:cubicBezTo>
                      <a:pt x="33" y="43"/>
                      <a:pt x="33" y="43"/>
                      <a:pt x="33" y="43"/>
                    </a:cubicBezTo>
                    <a:cubicBezTo>
                      <a:pt x="32" y="43"/>
                      <a:pt x="32" y="39"/>
                      <a:pt x="32" y="38"/>
                    </a:cubicBezTo>
                    <a:cubicBezTo>
                      <a:pt x="32" y="37"/>
                      <a:pt x="30" y="38"/>
                      <a:pt x="30" y="36"/>
                    </a:cubicBezTo>
                    <a:cubicBezTo>
                      <a:pt x="30" y="34"/>
                      <a:pt x="30" y="31"/>
                      <a:pt x="27" y="30"/>
                    </a:cubicBezTo>
                    <a:cubicBezTo>
                      <a:pt x="24" y="29"/>
                      <a:pt x="23" y="33"/>
                      <a:pt x="22" y="34"/>
                    </a:cubicBezTo>
                    <a:cubicBezTo>
                      <a:pt x="20" y="35"/>
                      <a:pt x="18" y="35"/>
                      <a:pt x="17" y="36"/>
                    </a:cubicBezTo>
                    <a:cubicBezTo>
                      <a:pt x="16" y="37"/>
                      <a:pt x="19" y="37"/>
                      <a:pt x="23" y="38"/>
                    </a:cubicBezTo>
                    <a:cubicBezTo>
                      <a:pt x="25" y="38"/>
                      <a:pt x="25" y="41"/>
                      <a:pt x="26" y="42"/>
                    </a:cubicBezTo>
                    <a:cubicBezTo>
                      <a:pt x="29" y="45"/>
                      <a:pt x="29" y="45"/>
                      <a:pt x="29" y="45"/>
                    </a:cubicBezTo>
                    <a:cubicBezTo>
                      <a:pt x="27" y="47"/>
                      <a:pt x="27" y="47"/>
                      <a:pt x="27" y="47"/>
                    </a:cubicBezTo>
                    <a:cubicBezTo>
                      <a:pt x="27" y="47"/>
                      <a:pt x="26" y="48"/>
                      <a:pt x="30" y="49"/>
                    </a:cubicBezTo>
                    <a:cubicBezTo>
                      <a:pt x="33" y="51"/>
                      <a:pt x="36" y="48"/>
                      <a:pt x="41" y="49"/>
                    </a:cubicBezTo>
                    <a:cubicBezTo>
                      <a:pt x="45" y="50"/>
                      <a:pt x="46" y="52"/>
                      <a:pt x="48" y="52"/>
                    </a:cubicBezTo>
                    <a:cubicBezTo>
                      <a:pt x="49" y="52"/>
                      <a:pt x="51" y="48"/>
                      <a:pt x="51" y="48"/>
                    </a:cubicBezTo>
                    <a:cubicBezTo>
                      <a:pt x="51" y="50"/>
                      <a:pt x="51" y="50"/>
                      <a:pt x="51" y="50"/>
                    </a:cubicBezTo>
                    <a:cubicBezTo>
                      <a:pt x="53" y="52"/>
                      <a:pt x="53" y="52"/>
                      <a:pt x="53" y="52"/>
                    </a:cubicBezTo>
                    <a:cubicBezTo>
                      <a:pt x="58" y="49"/>
                      <a:pt x="58" y="49"/>
                      <a:pt x="58" y="49"/>
                    </a:cubicBezTo>
                    <a:cubicBezTo>
                      <a:pt x="58" y="52"/>
                      <a:pt x="58" y="52"/>
                      <a:pt x="58" y="52"/>
                    </a:cubicBezTo>
                    <a:cubicBezTo>
                      <a:pt x="60" y="50"/>
                      <a:pt x="60" y="50"/>
                      <a:pt x="60" y="50"/>
                    </a:cubicBezTo>
                    <a:cubicBezTo>
                      <a:pt x="63" y="51"/>
                      <a:pt x="63" y="51"/>
                      <a:pt x="63" y="51"/>
                    </a:cubicBezTo>
                    <a:cubicBezTo>
                      <a:pt x="61" y="58"/>
                      <a:pt x="61" y="58"/>
                      <a:pt x="61" y="58"/>
                    </a:cubicBezTo>
                    <a:cubicBezTo>
                      <a:pt x="64" y="55"/>
                      <a:pt x="64" y="55"/>
                      <a:pt x="64" y="55"/>
                    </a:cubicBezTo>
                    <a:cubicBezTo>
                      <a:pt x="65" y="57"/>
                      <a:pt x="65" y="57"/>
                      <a:pt x="65" y="57"/>
                    </a:cubicBezTo>
                    <a:cubicBezTo>
                      <a:pt x="67" y="54"/>
                      <a:pt x="67" y="54"/>
                      <a:pt x="67" y="54"/>
                    </a:cubicBezTo>
                    <a:cubicBezTo>
                      <a:pt x="66" y="62"/>
                      <a:pt x="66" y="62"/>
                      <a:pt x="66" y="62"/>
                    </a:cubicBezTo>
                    <a:cubicBezTo>
                      <a:pt x="75" y="62"/>
                      <a:pt x="75" y="62"/>
                      <a:pt x="75" y="62"/>
                    </a:cubicBezTo>
                    <a:cubicBezTo>
                      <a:pt x="72" y="64"/>
                      <a:pt x="72" y="64"/>
                      <a:pt x="72" y="64"/>
                    </a:cubicBezTo>
                    <a:cubicBezTo>
                      <a:pt x="67" y="64"/>
                      <a:pt x="67" y="64"/>
                      <a:pt x="67" y="64"/>
                    </a:cubicBezTo>
                    <a:cubicBezTo>
                      <a:pt x="69" y="69"/>
                      <a:pt x="69" y="69"/>
                      <a:pt x="69" y="69"/>
                    </a:cubicBezTo>
                    <a:cubicBezTo>
                      <a:pt x="74" y="66"/>
                      <a:pt x="74" y="66"/>
                      <a:pt x="74" y="66"/>
                    </a:cubicBezTo>
                    <a:cubicBezTo>
                      <a:pt x="74" y="66"/>
                      <a:pt x="76" y="66"/>
                      <a:pt x="77" y="68"/>
                    </a:cubicBezTo>
                    <a:cubicBezTo>
                      <a:pt x="78" y="70"/>
                      <a:pt x="77" y="71"/>
                      <a:pt x="77" y="71"/>
                    </a:cubicBezTo>
                    <a:cubicBezTo>
                      <a:pt x="82" y="74"/>
                      <a:pt x="82" y="74"/>
                      <a:pt x="82" y="74"/>
                    </a:cubicBezTo>
                    <a:cubicBezTo>
                      <a:pt x="74" y="74"/>
                      <a:pt x="74" y="74"/>
                      <a:pt x="74" y="74"/>
                    </a:cubicBezTo>
                    <a:cubicBezTo>
                      <a:pt x="72" y="75"/>
                      <a:pt x="72" y="75"/>
                      <a:pt x="72" y="75"/>
                    </a:cubicBezTo>
                    <a:cubicBezTo>
                      <a:pt x="72" y="75"/>
                      <a:pt x="64" y="75"/>
                      <a:pt x="58" y="76"/>
                    </a:cubicBezTo>
                    <a:cubicBezTo>
                      <a:pt x="50" y="76"/>
                      <a:pt x="56" y="79"/>
                      <a:pt x="56" y="79"/>
                    </a:cubicBezTo>
                    <a:cubicBezTo>
                      <a:pt x="52" y="80"/>
                      <a:pt x="52" y="80"/>
                      <a:pt x="52" y="80"/>
                    </a:cubicBezTo>
                    <a:cubicBezTo>
                      <a:pt x="57" y="82"/>
                      <a:pt x="57" y="82"/>
                      <a:pt x="57" y="82"/>
                    </a:cubicBezTo>
                    <a:cubicBezTo>
                      <a:pt x="57" y="85"/>
                      <a:pt x="57" y="85"/>
                      <a:pt x="57" y="85"/>
                    </a:cubicBezTo>
                    <a:cubicBezTo>
                      <a:pt x="58" y="86"/>
                      <a:pt x="60" y="85"/>
                      <a:pt x="60" y="85"/>
                    </a:cubicBezTo>
                    <a:cubicBezTo>
                      <a:pt x="60" y="85"/>
                      <a:pt x="61" y="90"/>
                      <a:pt x="62" y="90"/>
                    </a:cubicBezTo>
                    <a:cubicBezTo>
                      <a:pt x="64" y="90"/>
                      <a:pt x="69" y="87"/>
                      <a:pt x="69" y="87"/>
                    </a:cubicBezTo>
                    <a:cubicBezTo>
                      <a:pt x="69" y="87"/>
                      <a:pt x="72" y="86"/>
                      <a:pt x="73" y="89"/>
                    </a:cubicBezTo>
                    <a:cubicBezTo>
                      <a:pt x="74" y="92"/>
                      <a:pt x="66" y="93"/>
                      <a:pt x="66" y="93"/>
                    </a:cubicBezTo>
                    <a:cubicBezTo>
                      <a:pt x="65" y="96"/>
                      <a:pt x="65" y="96"/>
                      <a:pt x="65" y="96"/>
                    </a:cubicBezTo>
                    <a:cubicBezTo>
                      <a:pt x="62" y="96"/>
                      <a:pt x="62" y="96"/>
                      <a:pt x="62" y="96"/>
                    </a:cubicBezTo>
                    <a:cubicBezTo>
                      <a:pt x="60" y="96"/>
                      <a:pt x="59" y="92"/>
                      <a:pt x="59" y="92"/>
                    </a:cubicBezTo>
                    <a:cubicBezTo>
                      <a:pt x="59" y="92"/>
                      <a:pt x="58" y="91"/>
                      <a:pt x="57" y="92"/>
                    </a:cubicBezTo>
                    <a:cubicBezTo>
                      <a:pt x="55" y="92"/>
                      <a:pt x="55" y="89"/>
                      <a:pt x="51" y="86"/>
                    </a:cubicBezTo>
                    <a:cubicBezTo>
                      <a:pt x="48" y="84"/>
                      <a:pt x="45" y="87"/>
                      <a:pt x="45" y="87"/>
                    </a:cubicBezTo>
                    <a:cubicBezTo>
                      <a:pt x="46" y="83"/>
                      <a:pt x="46" y="83"/>
                      <a:pt x="46" y="83"/>
                    </a:cubicBezTo>
                    <a:cubicBezTo>
                      <a:pt x="44" y="81"/>
                      <a:pt x="44" y="81"/>
                      <a:pt x="44" y="81"/>
                    </a:cubicBezTo>
                    <a:cubicBezTo>
                      <a:pt x="40" y="82"/>
                      <a:pt x="40" y="82"/>
                      <a:pt x="40" y="82"/>
                    </a:cubicBezTo>
                    <a:cubicBezTo>
                      <a:pt x="41" y="84"/>
                      <a:pt x="41" y="84"/>
                      <a:pt x="41" y="84"/>
                    </a:cubicBezTo>
                    <a:cubicBezTo>
                      <a:pt x="41" y="84"/>
                      <a:pt x="40" y="85"/>
                      <a:pt x="38" y="85"/>
                    </a:cubicBezTo>
                    <a:cubicBezTo>
                      <a:pt x="36" y="85"/>
                      <a:pt x="36" y="84"/>
                      <a:pt x="35" y="82"/>
                    </a:cubicBezTo>
                    <a:cubicBezTo>
                      <a:pt x="34" y="81"/>
                      <a:pt x="33" y="83"/>
                      <a:pt x="31" y="85"/>
                    </a:cubicBezTo>
                    <a:cubicBezTo>
                      <a:pt x="29" y="87"/>
                      <a:pt x="30" y="83"/>
                      <a:pt x="31" y="83"/>
                    </a:cubicBezTo>
                    <a:cubicBezTo>
                      <a:pt x="32" y="82"/>
                      <a:pt x="32" y="80"/>
                      <a:pt x="30" y="80"/>
                    </a:cubicBezTo>
                    <a:cubicBezTo>
                      <a:pt x="28" y="79"/>
                      <a:pt x="28" y="83"/>
                      <a:pt x="26" y="83"/>
                    </a:cubicBezTo>
                    <a:cubicBezTo>
                      <a:pt x="24" y="83"/>
                      <a:pt x="25" y="81"/>
                      <a:pt x="25" y="81"/>
                    </a:cubicBezTo>
                    <a:cubicBezTo>
                      <a:pt x="23" y="81"/>
                      <a:pt x="23" y="81"/>
                      <a:pt x="23" y="81"/>
                    </a:cubicBezTo>
                    <a:cubicBezTo>
                      <a:pt x="22" y="80"/>
                      <a:pt x="22" y="80"/>
                      <a:pt x="22" y="80"/>
                    </a:cubicBezTo>
                    <a:cubicBezTo>
                      <a:pt x="22" y="80"/>
                      <a:pt x="16" y="81"/>
                      <a:pt x="14" y="81"/>
                    </a:cubicBezTo>
                    <a:cubicBezTo>
                      <a:pt x="12" y="80"/>
                      <a:pt x="13" y="76"/>
                      <a:pt x="9" y="76"/>
                    </a:cubicBezTo>
                    <a:cubicBezTo>
                      <a:pt x="4" y="76"/>
                      <a:pt x="3" y="81"/>
                      <a:pt x="4" y="84"/>
                    </a:cubicBezTo>
                    <a:cubicBezTo>
                      <a:pt x="4" y="89"/>
                      <a:pt x="8" y="90"/>
                      <a:pt x="10" y="90"/>
                    </a:cubicBezTo>
                    <a:cubicBezTo>
                      <a:pt x="12" y="90"/>
                      <a:pt x="11" y="87"/>
                      <a:pt x="13" y="86"/>
                    </a:cubicBezTo>
                    <a:cubicBezTo>
                      <a:pt x="15" y="86"/>
                      <a:pt x="16" y="89"/>
                      <a:pt x="17" y="90"/>
                    </a:cubicBezTo>
                    <a:cubicBezTo>
                      <a:pt x="18" y="90"/>
                      <a:pt x="19" y="89"/>
                      <a:pt x="19" y="89"/>
                    </a:cubicBezTo>
                    <a:cubicBezTo>
                      <a:pt x="27" y="95"/>
                      <a:pt x="27" y="95"/>
                      <a:pt x="27" y="95"/>
                    </a:cubicBezTo>
                    <a:cubicBezTo>
                      <a:pt x="29" y="95"/>
                      <a:pt x="29" y="95"/>
                      <a:pt x="29" y="95"/>
                    </a:cubicBezTo>
                    <a:cubicBezTo>
                      <a:pt x="32" y="98"/>
                      <a:pt x="32" y="98"/>
                      <a:pt x="32" y="98"/>
                    </a:cubicBezTo>
                    <a:cubicBezTo>
                      <a:pt x="33" y="98"/>
                      <a:pt x="33" y="97"/>
                      <a:pt x="34" y="97"/>
                    </a:cubicBezTo>
                    <a:cubicBezTo>
                      <a:pt x="36" y="98"/>
                      <a:pt x="35" y="99"/>
                      <a:pt x="36" y="100"/>
                    </a:cubicBezTo>
                    <a:cubicBezTo>
                      <a:pt x="38" y="101"/>
                      <a:pt x="40" y="99"/>
                      <a:pt x="41" y="100"/>
                    </a:cubicBezTo>
                    <a:cubicBezTo>
                      <a:pt x="43" y="102"/>
                      <a:pt x="41" y="103"/>
                      <a:pt x="41" y="103"/>
                    </a:cubicBezTo>
                    <a:cubicBezTo>
                      <a:pt x="43" y="106"/>
                      <a:pt x="43" y="106"/>
                      <a:pt x="43" y="106"/>
                    </a:cubicBezTo>
                    <a:cubicBezTo>
                      <a:pt x="40" y="108"/>
                      <a:pt x="40" y="108"/>
                      <a:pt x="40" y="108"/>
                    </a:cubicBezTo>
                    <a:cubicBezTo>
                      <a:pt x="41" y="110"/>
                      <a:pt x="41" y="110"/>
                      <a:pt x="41" y="110"/>
                    </a:cubicBezTo>
                    <a:cubicBezTo>
                      <a:pt x="36" y="110"/>
                      <a:pt x="36" y="110"/>
                      <a:pt x="36" y="110"/>
                    </a:cubicBezTo>
                    <a:cubicBezTo>
                      <a:pt x="36" y="117"/>
                      <a:pt x="36" y="117"/>
                      <a:pt x="36" y="117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5" y="122"/>
                      <a:pt x="35" y="122"/>
                      <a:pt x="35" y="122"/>
                    </a:cubicBezTo>
                    <a:cubicBezTo>
                      <a:pt x="36" y="122"/>
                      <a:pt x="36" y="122"/>
                      <a:pt x="36" y="122"/>
                    </a:cubicBezTo>
                    <a:cubicBezTo>
                      <a:pt x="36" y="122"/>
                      <a:pt x="36" y="124"/>
                      <a:pt x="39" y="124"/>
                    </a:cubicBezTo>
                    <a:cubicBezTo>
                      <a:pt x="40" y="124"/>
                      <a:pt x="42" y="122"/>
                      <a:pt x="42" y="122"/>
                    </a:cubicBezTo>
                    <a:cubicBezTo>
                      <a:pt x="43" y="123"/>
                      <a:pt x="43" y="123"/>
                      <a:pt x="43" y="123"/>
                    </a:cubicBezTo>
                    <a:cubicBezTo>
                      <a:pt x="46" y="123"/>
                      <a:pt x="46" y="123"/>
                      <a:pt x="46" y="123"/>
                    </a:cubicBezTo>
                    <a:cubicBezTo>
                      <a:pt x="48" y="121"/>
                      <a:pt x="48" y="121"/>
                      <a:pt x="48" y="121"/>
                    </a:cubicBezTo>
                    <a:cubicBezTo>
                      <a:pt x="49" y="123"/>
                      <a:pt x="49" y="123"/>
                      <a:pt x="49" y="123"/>
                    </a:cubicBezTo>
                    <a:cubicBezTo>
                      <a:pt x="48" y="125"/>
                      <a:pt x="48" y="125"/>
                      <a:pt x="48" y="125"/>
                    </a:cubicBezTo>
                    <a:cubicBezTo>
                      <a:pt x="44" y="125"/>
                      <a:pt x="44" y="125"/>
                      <a:pt x="44" y="125"/>
                    </a:cubicBezTo>
                    <a:cubicBezTo>
                      <a:pt x="42" y="125"/>
                      <a:pt x="38" y="128"/>
                      <a:pt x="38" y="128"/>
                    </a:cubicBezTo>
                    <a:cubicBezTo>
                      <a:pt x="38" y="130"/>
                      <a:pt x="38" y="130"/>
                      <a:pt x="38" y="130"/>
                    </a:cubicBezTo>
                    <a:cubicBezTo>
                      <a:pt x="41" y="130"/>
                      <a:pt x="41" y="130"/>
                      <a:pt x="41" y="130"/>
                    </a:cubicBezTo>
                    <a:cubicBezTo>
                      <a:pt x="41" y="132"/>
                      <a:pt x="41" y="132"/>
                      <a:pt x="41" y="132"/>
                    </a:cubicBezTo>
                    <a:cubicBezTo>
                      <a:pt x="36" y="132"/>
                      <a:pt x="36" y="132"/>
                      <a:pt x="36" y="132"/>
                    </a:cubicBezTo>
                    <a:cubicBezTo>
                      <a:pt x="33" y="134"/>
                      <a:pt x="33" y="134"/>
                      <a:pt x="33" y="134"/>
                    </a:cubicBezTo>
                    <a:cubicBezTo>
                      <a:pt x="36" y="136"/>
                      <a:pt x="36" y="136"/>
                      <a:pt x="36" y="136"/>
                    </a:cubicBezTo>
                    <a:cubicBezTo>
                      <a:pt x="43" y="136"/>
                      <a:pt x="43" y="136"/>
                      <a:pt x="43" y="136"/>
                    </a:cubicBezTo>
                    <a:cubicBezTo>
                      <a:pt x="43" y="136"/>
                      <a:pt x="45" y="133"/>
                      <a:pt x="49" y="136"/>
                    </a:cubicBezTo>
                    <a:cubicBezTo>
                      <a:pt x="52" y="137"/>
                      <a:pt x="50" y="140"/>
                      <a:pt x="50" y="140"/>
                    </a:cubicBezTo>
                    <a:cubicBezTo>
                      <a:pt x="47" y="137"/>
                      <a:pt x="47" y="137"/>
                      <a:pt x="47" y="137"/>
                    </a:cubicBezTo>
                    <a:cubicBezTo>
                      <a:pt x="47" y="137"/>
                      <a:pt x="44" y="138"/>
                      <a:pt x="41" y="138"/>
                    </a:cubicBezTo>
                    <a:cubicBezTo>
                      <a:pt x="38" y="138"/>
                      <a:pt x="36" y="138"/>
                      <a:pt x="36" y="141"/>
                    </a:cubicBezTo>
                    <a:cubicBezTo>
                      <a:pt x="35" y="143"/>
                      <a:pt x="38" y="147"/>
                      <a:pt x="38" y="147"/>
                    </a:cubicBezTo>
                    <a:cubicBezTo>
                      <a:pt x="33" y="148"/>
                      <a:pt x="33" y="148"/>
                      <a:pt x="33" y="148"/>
                    </a:cubicBezTo>
                    <a:cubicBezTo>
                      <a:pt x="31" y="145"/>
                      <a:pt x="31" y="145"/>
                      <a:pt x="31" y="145"/>
                    </a:cubicBezTo>
                    <a:cubicBezTo>
                      <a:pt x="27" y="146"/>
                      <a:pt x="27" y="146"/>
                      <a:pt x="27" y="146"/>
                    </a:cubicBezTo>
                    <a:cubicBezTo>
                      <a:pt x="28" y="149"/>
                      <a:pt x="28" y="149"/>
                      <a:pt x="28" y="149"/>
                    </a:cubicBezTo>
                    <a:cubicBezTo>
                      <a:pt x="23" y="150"/>
                      <a:pt x="23" y="150"/>
                      <a:pt x="23" y="150"/>
                    </a:cubicBezTo>
                    <a:cubicBezTo>
                      <a:pt x="23" y="150"/>
                      <a:pt x="22" y="149"/>
                      <a:pt x="19" y="149"/>
                    </a:cubicBezTo>
                    <a:cubicBezTo>
                      <a:pt x="17" y="148"/>
                      <a:pt x="15" y="149"/>
                      <a:pt x="14" y="149"/>
                    </a:cubicBezTo>
                    <a:cubicBezTo>
                      <a:pt x="12" y="149"/>
                      <a:pt x="10" y="147"/>
                      <a:pt x="10" y="147"/>
                    </a:cubicBezTo>
                    <a:cubicBezTo>
                      <a:pt x="12" y="144"/>
                      <a:pt x="12" y="144"/>
                      <a:pt x="12" y="144"/>
                    </a:cubicBezTo>
                    <a:cubicBezTo>
                      <a:pt x="9" y="140"/>
                      <a:pt x="9" y="140"/>
                      <a:pt x="9" y="140"/>
                    </a:cubicBezTo>
                    <a:cubicBezTo>
                      <a:pt x="4" y="144"/>
                      <a:pt x="4" y="144"/>
                      <a:pt x="4" y="144"/>
                    </a:cubicBezTo>
                    <a:cubicBezTo>
                      <a:pt x="4" y="148"/>
                      <a:pt x="4" y="148"/>
                      <a:pt x="4" y="148"/>
                    </a:cubicBezTo>
                    <a:cubicBezTo>
                      <a:pt x="2" y="149"/>
                      <a:pt x="2" y="149"/>
                      <a:pt x="2" y="149"/>
                    </a:cubicBezTo>
                    <a:cubicBezTo>
                      <a:pt x="2" y="152"/>
                      <a:pt x="2" y="152"/>
                      <a:pt x="2" y="152"/>
                    </a:cubicBezTo>
                    <a:cubicBezTo>
                      <a:pt x="0" y="154"/>
                      <a:pt x="0" y="154"/>
                      <a:pt x="0" y="154"/>
                    </a:cubicBezTo>
                    <a:cubicBezTo>
                      <a:pt x="4" y="157"/>
                      <a:pt x="4" y="157"/>
                      <a:pt x="4" y="157"/>
                    </a:cubicBezTo>
                    <a:cubicBezTo>
                      <a:pt x="7" y="157"/>
                      <a:pt x="7" y="157"/>
                      <a:pt x="7" y="157"/>
                    </a:cubicBezTo>
                    <a:cubicBezTo>
                      <a:pt x="9" y="158"/>
                      <a:pt x="9" y="158"/>
                      <a:pt x="9" y="158"/>
                    </a:cubicBezTo>
                    <a:cubicBezTo>
                      <a:pt x="11" y="157"/>
                      <a:pt x="11" y="157"/>
                      <a:pt x="11" y="157"/>
                    </a:cubicBezTo>
                    <a:cubicBezTo>
                      <a:pt x="11" y="157"/>
                      <a:pt x="12" y="159"/>
                      <a:pt x="13" y="160"/>
                    </a:cubicBezTo>
                    <a:cubicBezTo>
                      <a:pt x="14" y="161"/>
                      <a:pt x="19" y="163"/>
                      <a:pt x="19" y="163"/>
                    </a:cubicBezTo>
                    <a:cubicBezTo>
                      <a:pt x="19" y="163"/>
                      <a:pt x="24" y="163"/>
                      <a:pt x="26" y="164"/>
                    </a:cubicBezTo>
                    <a:cubicBezTo>
                      <a:pt x="28" y="165"/>
                      <a:pt x="28" y="168"/>
                      <a:pt x="28" y="168"/>
                    </a:cubicBezTo>
                    <a:cubicBezTo>
                      <a:pt x="35" y="171"/>
                      <a:pt x="35" y="171"/>
                      <a:pt x="35" y="171"/>
                    </a:cubicBezTo>
                    <a:cubicBezTo>
                      <a:pt x="36" y="170"/>
                      <a:pt x="36" y="170"/>
                      <a:pt x="36" y="170"/>
                    </a:cubicBezTo>
                    <a:cubicBezTo>
                      <a:pt x="41" y="170"/>
                      <a:pt x="41" y="170"/>
                      <a:pt x="41" y="170"/>
                    </a:cubicBezTo>
                    <a:cubicBezTo>
                      <a:pt x="39" y="166"/>
                      <a:pt x="39" y="166"/>
                      <a:pt x="39" y="166"/>
                    </a:cubicBezTo>
                    <a:cubicBezTo>
                      <a:pt x="39" y="166"/>
                      <a:pt x="42" y="165"/>
                      <a:pt x="44" y="166"/>
                    </a:cubicBezTo>
                    <a:cubicBezTo>
                      <a:pt x="46" y="168"/>
                      <a:pt x="41" y="169"/>
                      <a:pt x="41" y="169"/>
                    </a:cubicBezTo>
                    <a:cubicBezTo>
                      <a:pt x="41" y="169"/>
                      <a:pt x="42" y="170"/>
                      <a:pt x="43" y="172"/>
                    </a:cubicBezTo>
                    <a:cubicBezTo>
                      <a:pt x="43" y="174"/>
                      <a:pt x="43" y="175"/>
                      <a:pt x="45" y="177"/>
                    </a:cubicBezTo>
                    <a:cubicBezTo>
                      <a:pt x="47" y="178"/>
                      <a:pt x="47" y="181"/>
                      <a:pt x="47" y="181"/>
                    </a:cubicBezTo>
                    <a:cubicBezTo>
                      <a:pt x="52" y="179"/>
                      <a:pt x="52" y="179"/>
                      <a:pt x="52" y="179"/>
                    </a:cubicBezTo>
                    <a:cubicBezTo>
                      <a:pt x="52" y="179"/>
                      <a:pt x="51" y="183"/>
                      <a:pt x="50" y="183"/>
                    </a:cubicBezTo>
                    <a:cubicBezTo>
                      <a:pt x="49" y="184"/>
                      <a:pt x="49" y="184"/>
                      <a:pt x="49" y="184"/>
                    </a:cubicBezTo>
                    <a:cubicBezTo>
                      <a:pt x="50" y="189"/>
                      <a:pt x="50" y="189"/>
                      <a:pt x="50" y="189"/>
                    </a:cubicBezTo>
                    <a:cubicBezTo>
                      <a:pt x="51" y="189"/>
                      <a:pt x="51" y="189"/>
                      <a:pt x="51" y="189"/>
                    </a:cubicBezTo>
                    <a:cubicBezTo>
                      <a:pt x="51" y="194"/>
                      <a:pt x="51" y="194"/>
                      <a:pt x="51" y="194"/>
                    </a:cubicBezTo>
                    <a:cubicBezTo>
                      <a:pt x="55" y="194"/>
                      <a:pt x="55" y="194"/>
                      <a:pt x="55" y="194"/>
                    </a:cubicBezTo>
                    <a:cubicBezTo>
                      <a:pt x="53" y="196"/>
                      <a:pt x="53" y="196"/>
                      <a:pt x="53" y="196"/>
                    </a:cubicBezTo>
                    <a:cubicBezTo>
                      <a:pt x="53" y="196"/>
                      <a:pt x="55" y="202"/>
                      <a:pt x="56" y="204"/>
                    </a:cubicBezTo>
                    <a:cubicBezTo>
                      <a:pt x="58" y="206"/>
                      <a:pt x="60" y="205"/>
                      <a:pt x="61" y="205"/>
                    </a:cubicBezTo>
                    <a:cubicBezTo>
                      <a:pt x="62" y="205"/>
                      <a:pt x="64" y="208"/>
                      <a:pt x="65" y="208"/>
                    </a:cubicBezTo>
                    <a:cubicBezTo>
                      <a:pt x="66" y="209"/>
                      <a:pt x="67" y="208"/>
                      <a:pt x="67" y="208"/>
                    </a:cubicBezTo>
                    <a:cubicBezTo>
                      <a:pt x="67" y="211"/>
                      <a:pt x="67" y="211"/>
                      <a:pt x="67" y="211"/>
                    </a:cubicBezTo>
                    <a:cubicBezTo>
                      <a:pt x="67" y="211"/>
                      <a:pt x="72" y="216"/>
                      <a:pt x="74" y="218"/>
                    </a:cubicBezTo>
                    <a:cubicBezTo>
                      <a:pt x="76" y="220"/>
                      <a:pt x="79" y="224"/>
                      <a:pt x="79" y="224"/>
                    </a:cubicBezTo>
                    <a:cubicBezTo>
                      <a:pt x="79" y="224"/>
                      <a:pt x="83" y="224"/>
                      <a:pt x="85" y="226"/>
                    </a:cubicBezTo>
                    <a:cubicBezTo>
                      <a:pt x="89" y="229"/>
                      <a:pt x="91" y="229"/>
                      <a:pt x="91" y="229"/>
                    </a:cubicBezTo>
                    <a:cubicBezTo>
                      <a:pt x="91" y="229"/>
                      <a:pt x="99" y="232"/>
                      <a:pt x="106" y="233"/>
                    </a:cubicBezTo>
                    <a:cubicBezTo>
                      <a:pt x="112" y="235"/>
                      <a:pt x="118" y="227"/>
                      <a:pt x="118" y="227"/>
                    </a:cubicBezTo>
                    <a:cubicBezTo>
                      <a:pt x="117" y="226"/>
                      <a:pt x="117" y="226"/>
                      <a:pt x="117" y="226"/>
                    </a:cubicBezTo>
                    <a:cubicBezTo>
                      <a:pt x="123" y="226"/>
                      <a:pt x="123" y="226"/>
                      <a:pt x="123" y="226"/>
                    </a:cubicBezTo>
                    <a:cubicBezTo>
                      <a:pt x="120" y="224"/>
                      <a:pt x="120" y="224"/>
                      <a:pt x="120" y="224"/>
                    </a:cubicBezTo>
                    <a:cubicBezTo>
                      <a:pt x="120" y="224"/>
                      <a:pt x="120" y="221"/>
                      <a:pt x="123" y="221"/>
                    </a:cubicBezTo>
                    <a:cubicBezTo>
                      <a:pt x="127" y="221"/>
                      <a:pt x="126" y="224"/>
                      <a:pt x="126" y="224"/>
                    </a:cubicBezTo>
                    <a:cubicBezTo>
                      <a:pt x="133" y="223"/>
                      <a:pt x="133" y="223"/>
                      <a:pt x="133" y="223"/>
                    </a:cubicBezTo>
                    <a:cubicBezTo>
                      <a:pt x="133" y="225"/>
                      <a:pt x="133" y="225"/>
                      <a:pt x="133" y="225"/>
                    </a:cubicBezTo>
                    <a:cubicBezTo>
                      <a:pt x="142" y="225"/>
                      <a:pt x="142" y="225"/>
                      <a:pt x="142" y="225"/>
                    </a:cubicBezTo>
                    <a:cubicBezTo>
                      <a:pt x="144" y="225"/>
                      <a:pt x="148" y="228"/>
                      <a:pt x="148" y="228"/>
                    </a:cubicBezTo>
                    <a:cubicBezTo>
                      <a:pt x="153" y="224"/>
                      <a:pt x="153" y="224"/>
                      <a:pt x="153" y="224"/>
                    </a:cubicBezTo>
                    <a:cubicBezTo>
                      <a:pt x="153" y="228"/>
                      <a:pt x="153" y="228"/>
                      <a:pt x="153" y="228"/>
                    </a:cubicBezTo>
                    <a:cubicBezTo>
                      <a:pt x="155" y="227"/>
                      <a:pt x="155" y="227"/>
                      <a:pt x="155" y="227"/>
                    </a:cubicBezTo>
                    <a:cubicBezTo>
                      <a:pt x="161" y="226"/>
                      <a:pt x="161" y="226"/>
                      <a:pt x="161" y="226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9"/>
                      <a:pt x="160" y="229"/>
                      <a:pt x="160" y="229"/>
                    </a:cubicBezTo>
                    <a:cubicBezTo>
                      <a:pt x="160" y="229"/>
                      <a:pt x="172" y="222"/>
                      <a:pt x="177" y="220"/>
                    </a:cubicBezTo>
                    <a:cubicBezTo>
                      <a:pt x="181" y="219"/>
                      <a:pt x="193" y="218"/>
                      <a:pt x="193" y="218"/>
                    </a:cubicBezTo>
                    <a:cubicBezTo>
                      <a:pt x="192" y="216"/>
                      <a:pt x="192" y="216"/>
                      <a:pt x="192" y="216"/>
                    </a:cubicBezTo>
                    <a:cubicBezTo>
                      <a:pt x="195" y="216"/>
                      <a:pt x="195" y="216"/>
                      <a:pt x="195" y="216"/>
                    </a:cubicBezTo>
                    <a:cubicBezTo>
                      <a:pt x="195" y="217"/>
                      <a:pt x="195" y="217"/>
                      <a:pt x="195" y="217"/>
                    </a:cubicBezTo>
                    <a:cubicBezTo>
                      <a:pt x="200" y="217"/>
                      <a:pt x="200" y="217"/>
                      <a:pt x="200" y="217"/>
                    </a:cubicBezTo>
                    <a:cubicBezTo>
                      <a:pt x="207" y="220"/>
                      <a:pt x="207" y="220"/>
                      <a:pt x="207" y="220"/>
                    </a:cubicBezTo>
                    <a:cubicBezTo>
                      <a:pt x="207" y="219"/>
                      <a:pt x="207" y="219"/>
                      <a:pt x="207" y="219"/>
                    </a:cubicBezTo>
                    <a:cubicBezTo>
                      <a:pt x="203" y="216"/>
                      <a:pt x="203" y="216"/>
                      <a:pt x="203" y="216"/>
                    </a:cubicBezTo>
                    <a:cubicBezTo>
                      <a:pt x="206" y="211"/>
                      <a:pt x="206" y="211"/>
                      <a:pt x="206" y="211"/>
                    </a:cubicBezTo>
                    <a:cubicBezTo>
                      <a:pt x="206" y="211"/>
                      <a:pt x="207" y="215"/>
                      <a:pt x="209" y="216"/>
                    </a:cubicBezTo>
                    <a:cubicBezTo>
                      <a:pt x="210" y="217"/>
                      <a:pt x="208" y="218"/>
                      <a:pt x="208" y="218"/>
                    </a:cubicBezTo>
                    <a:cubicBezTo>
                      <a:pt x="208" y="218"/>
                      <a:pt x="210" y="217"/>
                      <a:pt x="212" y="218"/>
                    </a:cubicBezTo>
                    <a:cubicBezTo>
                      <a:pt x="213" y="219"/>
                      <a:pt x="212" y="222"/>
                      <a:pt x="212" y="222"/>
                    </a:cubicBezTo>
                    <a:cubicBezTo>
                      <a:pt x="214" y="222"/>
                      <a:pt x="214" y="222"/>
                      <a:pt x="214" y="222"/>
                    </a:cubicBezTo>
                    <a:cubicBezTo>
                      <a:pt x="216" y="221"/>
                      <a:pt x="216" y="219"/>
                      <a:pt x="216" y="219"/>
                    </a:cubicBezTo>
                    <a:cubicBezTo>
                      <a:pt x="216" y="219"/>
                      <a:pt x="221" y="218"/>
                      <a:pt x="223" y="217"/>
                    </a:cubicBezTo>
                    <a:cubicBezTo>
                      <a:pt x="225" y="216"/>
                      <a:pt x="226" y="212"/>
                      <a:pt x="228" y="213"/>
                    </a:cubicBezTo>
                    <a:cubicBezTo>
                      <a:pt x="229" y="213"/>
                      <a:pt x="227" y="216"/>
                      <a:pt x="227" y="216"/>
                    </a:cubicBezTo>
                    <a:cubicBezTo>
                      <a:pt x="230" y="217"/>
                      <a:pt x="230" y="217"/>
                      <a:pt x="230" y="217"/>
                    </a:cubicBezTo>
                    <a:cubicBezTo>
                      <a:pt x="240" y="207"/>
                      <a:pt x="240" y="207"/>
                      <a:pt x="240" y="207"/>
                    </a:cubicBezTo>
                    <a:cubicBezTo>
                      <a:pt x="236" y="208"/>
                      <a:pt x="236" y="208"/>
                      <a:pt x="236" y="208"/>
                    </a:cubicBezTo>
                    <a:cubicBezTo>
                      <a:pt x="236" y="205"/>
                      <a:pt x="236" y="205"/>
                      <a:pt x="236" y="205"/>
                    </a:cubicBezTo>
                    <a:cubicBezTo>
                      <a:pt x="240" y="205"/>
                      <a:pt x="240" y="205"/>
                      <a:pt x="240" y="205"/>
                    </a:cubicBezTo>
                    <a:cubicBezTo>
                      <a:pt x="240" y="202"/>
                      <a:pt x="240" y="202"/>
                      <a:pt x="240" y="202"/>
                    </a:cubicBezTo>
                    <a:cubicBezTo>
                      <a:pt x="243" y="206"/>
                      <a:pt x="243" y="206"/>
                      <a:pt x="243" y="206"/>
                    </a:cubicBezTo>
                    <a:cubicBezTo>
                      <a:pt x="245" y="204"/>
                      <a:pt x="245" y="204"/>
                      <a:pt x="245" y="204"/>
                    </a:cubicBezTo>
                    <a:cubicBezTo>
                      <a:pt x="243" y="201"/>
                      <a:pt x="243" y="201"/>
                      <a:pt x="243" y="201"/>
                    </a:cubicBezTo>
                    <a:cubicBezTo>
                      <a:pt x="243" y="201"/>
                      <a:pt x="242" y="193"/>
                      <a:pt x="243" y="194"/>
                    </a:cubicBezTo>
                    <a:cubicBezTo>
                      <a:pt x="244" y="194"/>
                      <a:pt x="244" y="199"/>
                      <a:pt x="245" y="201"/>
                    </a:cubicBezTo>
                    <a:cubicBezTo>
                      <a:pt x="245" y="204"/>
                      <a:pt x="254" y="202"/>
                      <a:pt x="254" y="202"/>
                    </a:cubicBezTo>
                    <a:cubicBezTo>
                      <a:pt x="254" y="200"/>
                      <a:pt x="254" y="200"/>
                      <a:pt x="254" y="200"/>
                    </a:cubicBezTo>
                    <a:cubicBezTo>
                      <a:pt x="260" y="199"/>
                      <a:pt x="260" y="199"/>
                      <a:pt x="260" y="199"/>
                    </a:cubicBezTo>
                    <a:cubicBezTo>
                      <a:pt x="258" y="195"/>
                      <a:pt x="258" y="195"/>
                      <a:pt x="258" y="195"/>
                    </a:cubicBezTo>
                    <a:cubicBezTo>
                      <a:pt x="262" y="197"/>
                      <a:pt x="262" y="197"/>
                      <a:pt x="262" y="197"/>
                    </a:cubicBezTo>
                    <a:cubicBezTo>
                      <a:pt x="264" y="195"/>
                      <a:pt x="264" y="195"/>
                      <a:pt x="264" y="195"/>
                    </a:cubicBezTo>
                    <a:cubicBezTo>
                      <a:pt x="258" y="190"/>
                      <a:pt x="258" y="190"/>
                      <a:pt x="258" y="190"/>
                    </a:cubicBezTo>
                    <a:cubicBezTo>
                      <a:pt x="259" y="189"/>
                      <a:pt x="261" y="191"/>
                      <a:pt x="262" y="192"/>
                    </a:cubicBezTo>
                    <a:cubicBezTo>
                      <a:pt x="263" y="193"/>
                      <a:pt x="268" y="193"/>
                      <a:pt x="268" y="193"/>
                    </a:cubicBezTo>
                    <a:cubicBezTo>
                      <a:pt x="268" y="191"/>
                      <a:pt x="268" y="191"/>
                      <a:pt x="268" y="191"/>
                    </a:cubicBezTo>
                    <a:cubicBezTo>
                      <a:pt x="268" y="191"/>
                      <a:pt x="265" y="191"/>
                      <a:pt x="264" y="190"/>
                    </a:cubicBezTo>
                    <a:cubicBezTo>
                      <a:pt x="263" y="190"/>
                      <a:pt x="264" y="189"/>
                      <a:pt x="263" y="187"/>
                    </a:cubicBezTo>
                    <a:cubicBezTo>
                      <a:pt x="263" y="186"/>
                      <a:pt x="257" y="181"/>
                      <a:pt x="257" y="181"/>
                    </a:cubicBezTo>
                    <a:cubicBezTo>
                      <a:pt x="262" y="183"/>
                      <a:pt x="262" y="183"/>
                      <a:pt x="262" y="183"/>
                    </a:cubicBezTo>
                    <a:cubicBezTo>
                      <a:pt x="263" y="183"/>
                      <a:pt x="263" y="183"/>
                      <a:pt x="263" y="183"/>
                    </a:cubicBezTo>
                    <a:cubicBezTo>
                      <a:pt x="263" y="183"/>
                      <a:pt x="265" y="189"/>
                      <a:pt x="269" y="190"/>
                    </a:cubicBezTo>
                    <a:cubicBezTo>
                      <a:pt x="273" y="191"/>
                      <a:pt x="273" y="187"/>
                      <a:pt x="273" y="187"/>
                    </a:cubicBezTo>
                    <a:cubicBezTo>
                      <a:pt x="276" y="187"/>
                      <a:pt x="276" y="187"/>
                      <a:pt x="276" y="187"/>
                    </a:cubicBezTo>
                    <a:cubicBezTo>
                      <a:pt x="276" y="184"/>
                      <a:pt x="276" y="184"/>
                      <a:pt x="276" y="184"/>
                    </a:cubicBezTo>
                    <a:cubicBezTo>
                      <a:pt x="278" y="181"/>
                      <a:pt x="278" y="181"/>
                      <a:pt x="278" y="181"/>
                    </a:cubicBezTo>
                    <a:cubicBezTo>
                      <a:pt x="277" y="180"/>
                      <a:pt x="277" y="180"/>
                      <a:pt x="277" y="180"/>
                    </a:cubicBezTo>
                    <a:cubicBezTo>
                      <a:pt x="273" y="184"/>
                      <a:pt x="273" y="184"/>
                      <a:pt x="273" y="184"/>
                    </a:cubicBezTo>
                    <a:cubicBezTo>
                      <a:pt x="272" y="183"/>
                      <a:pt x="272" y="183"/>
                      <a:pt x="272" y="183"/>
                    </a:cubicBezTo>
                    <a:cubicBezTo>
                      <a:pt x="273" y="181"/>
                      <a:pt x="273" y="181"/>
                      <a:pt x="273" y="181"/>
                    </a:cubicBezTo>
                    <a:cubicBezTo>
                      <a:pt x="272" y="180"/>
                      <a:pt x="272" y="180"/>
                      <a:pt x="272" y="180"/>
                    </a:cubicBezTo>
                    <a:cubicBezTo>
                      <a:pt x="276" y="178"/>
                      <a:pt x="276" y="178"/>
                      <a:pt x="276" y="178"/>
                    </a:cubicBezTo>
                    <a:cubicBezTo>
                      <a:pt x="276" y="177"/>
                      <a:pt x="276" y="177"/>
                      <a:pt x="276" y="177"/>
                    </a:cubicBezTo>
                    <a:cubicBezTo>
                      <a:pt x="271" y="177"/>
                      <a:pt x="271" y="177"/>
                      <a:pt x="271" y="177"/>
                    </a:cubicBezTo>
                    <a:cubicBezTo>
                      <a:pt x="269" y="174"/>
                      <a:pt x="269" y="174"/>
                      <a:pt x="269" y="174"/>
                    </a:cubicBezTo>
                    <a:cubicBezTo>
                      <a:pt x="274" y="175"/>
                      <a:pt x="274" y="175"/>
                      <a:pt x="274" y="175"/>
                    </a:cubicBezTo>
                    <a:cubicBezTo>
                      <a:pt x="274" y="175"/>
                      <a:pt x="278" y="176"/>
                      <a:pt x="278" y="173"/>
                    </a:cubicBezTo>
                    <a:cubicBezTo>
                      <a:pt x="279" y="170"/>
                      <a:pt x="269" y="170"/>
                      <a:pt x="269" y="170"/>
                    </a:cubicBezTo>
                    <a:cubicBezTo>
                      <a:pt x="268" y="169"/>
                      <a:pt x="268" y="169"/>
                      <a:pt x="268" y="169"/>
                    </a:cubicBezTo>
                    <a:cubicBezTo>
                      <a:pt x="274" y="169"/>
                      <a:pt x="274" y="169"/>
                      <a:pt x="274" y="169"/>
                    </a:cubicBezTo>
                    <a:cubicBezTo>
                      <a:pt x="276" y="169"/>
                      <a:pt x="275" y="165"/>
                      <a:pt x="275" y="165"/>
                    </a:cubicBezTo>
                    <a:cubicBezTo>
                      <a:pt x="275" y="165"/>
                      <a:pt x="277" y="166"/>
                      <a:pt x="279" y="166"/>
                    </a:cubicBezTo>
                    <a:cubicBezTo>
                      <a:pt x="281" y="166"/>
                      <a:pt x="281" y="162"/>
                      <a:pt x="281" y="162"/>
                    </a:cubicBezTo>
                    <a:cubicBezTo>
                      <a:pt x="284" y="160"/>
                      <a:pt x="284" y="160"/>
                      <a:pt x="284" y="160"/>
                    </a:cubicBezTo>
                    <a:cubicBezTo>
                      <a:pt x="285" y="160"/>
                      <a:pt x="284" y="155"/>
                      <a:pt x="284" y="155"/>
                    </a:cubicBezTo>
                    <a:close/>
                    <a:moveTo>
                      <a:pt x="61" y="51"/>
                    </a:moveTo>
                    <a:cubicBezTo>
                      <a:pt x="60" y="51"/>
                      <a:pt x="60" y="51"/>
                      <a:pt x="60" y="51"/>
                    </a:cubicBezTo>
                    <a:cubicBezTo>
                      <a:pt x="56" y="57"/>
                      <a:pt x="56" y="57"/>
                      <a:pt x="56" y="57"/>
                    </a:cubicBezTo>
                    <a:cubicBezTo>
                      <a:pt x="59" y="59"/>
                      <a:pt x="59" y="59"/>
                      <a:pt x="59" y="59"/>
                    </a:cubicBezTo>
                    <a:lnTo>
                      <a:pt x="61" y="51"/>
                    </a:lnTo>
                    <a:close/>
                    <a:moveTo>
                      <a:pt x="48" y="210"/>
                    </a:moveTo>
                    <a:cubicBezTo>
                      <a:pt x="52" y="208"/>
                      <a:pt x="52" y="208"/>
                      <a:pt x="52" y="208"/>
                    </a:cubicBezTo>
                    <a:cubicBezTo>
                      <a:pt x="50" y="205"/>
                      <a:pt x="50" y="205"/>
                      <a:pt x="50" y="205"/>
                    </a:cubicBezTo>
                    <a:lnTo>
                      <a:pt x="48" y="210"/>
                    </a:lnTo>
                    <a:close/>
                    <a:moveTo>
                      <a:pt x="122" y="222"/>
                    </a:moveTo>
                    <a:cubicBezTo>
                      <a:pt x="122" y="222"/>
                      <a:pt x="121" y="225"/>
                      <a:pt x="124" y="224"/>
                    </a:cubicBezTo>
                    <a:cubicBezTo>
                      <a:pt x="126" y="224"/>
                      <a:pt x="125" y="221"/>
                      <a:pt x="122" y="222"/>
                    </a:cubicBezTo>
                    <a:close/>
                  </a:path>
                </a:pathLst>
              </a:custGeom>
              <a:solidFill>
                <a:srgbClr val="FDC795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51" name="Hungary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429250" y="4264025"/>
                <a:ext cx="639762" cy="427037"/>
              </a:xfrm>
              <a:custGeom>
                <a:avLst/>
                <a:gdLst/>
                <a:ahLst/>
                <a:cxnLst>
                  <a:cxn ang="0">
                    <a:pos x="292" y="23"/>
                  </a:cxn>
                  <a:cxn ang="0">
                    <a:pos x="276" y="15"/>
                  </a:cxn>
                  <a:cxn ang="0">
                    <a:pos x="265" y="10"/>
                  </a:cxn>
                  <a:cxn ang="0">
                    <a:pos x="250" y="9"/>
                  </a:cxn>
                  <a:cxn ang="0">
                    <a:pos x="235" y="5"/>
                  </a:cxn>
                  <a:cxn ang="0">
                    <a:pos x="210" y="5"/>
                  </a:cxn>
                  <a:cxn ang="0">
                    <a:pos x="180" y="25"/>
                  </a:cxn>
                  <a:cxn ang="0">
                    <a:pos x="148" y="31"/>
                  </a:cxn>
                  <a:cxn ang="0">
                    <a:pos x="127" y="46"/>
                  </a:cxn>
                  <a:cxn ang="0">
                    <a:pos x="118" y="60"/>
                  </a:cxn>
                  <a:cxn ang="0">
                    <a:pos x="101" y="68"/>
                  </a:cxn>
                  <a:cxn ang="0">
                    <a:pos x="81" y="71"/>
                  </a:cxn>
                  <a:cxn ang="0">
                    <a:pos x="62" y="68"/>
                  </a:cxn>
                  <a:cxn ang="0">
                    <a:pos x="39" y="59"/>
                  </a:cxn>
                  <a:cxn ang="0">
                    <a:pos x="36" y="67"/>
                  </a:cxn>
                  <a:cxn ang="0">
                    <a:pos x="38" y="76"/>
                  </a:cxn>
                  <a:cxn ang="0">
                    <a:pos x="19" y="75"/>
                  </a:cxn>
                  <a:cxn ang="0">
                    <a:pos x="14" y="84"/>
                  </a:cxn>
                  <a:cxn ang="0">
                    <a:pos x="23" y="90"/>
                  </a:cxn>
                  <a:cxn ang="0">
                    <a:pos x="14" y="107"/>
                  </a:cxn>
                  <a:cxn ang="0">
                    <a:pos x="17" y="116"/>
                  </a:cxn>
                  <a:cxn ang="0">
                    <a:pos x="6" y="126"/>
                  </a:cxn>
                  <a:cxn ang="0">
                    <a:pos x="9" y="135"/>
                  </a:cxn>
                  <a:cxn ang="0">
                    <a:pos x="13" y="143"/>
                  </a:cxn>
                  <a:cxn ang="0">
                    <a:pos x="21" y="152"/>
                  </a:cxn>
                  <a:cxn ang="0">
                    <a:pos x="27" y="160"/>
                  </a:cxn>
                  <a:cxn ang="0">
                    <a:pos x="38" y="166"/>
                  </a:cxn>
                  <a:cxn ang="0">
                    <a:pos x="60" y="189"/>
                  </a:cxn>
                  <a:cxn ang="0">
                    <a:pos x="76" y="198"/>
                  </a:cxn>
                  <a:cxn ang="0">
                    <a:pos x="115" y="199"/>
                  </a:cxn>
                  <a:cxn ang="0">
                    <a:pos x="129" y="188"/>
                  </a:cxn>
                  <a:cxn ang="0">
                    <a:pos x="140" y="179"/>
                  </a:cxn>
                  <a:cxn ang="0">
                    <a:pos x="157" y="173"/>
                  </a:cxn>
                  <a:cxn ang="0">
                    <a:pos x="173" y="168"/>
                  </a:cxn>
                  <a:cxn ang="0">
                    <a:pos x="202" y="163"/>
                  </a:cxn>
                  <a:cxn ang="0">
                    <a:pos x="213" y="162"/>
                  </a:cxn>
                  <a:cxn ang="0">
                    <a:pos x="234" y="152"/>
                  </a:cxn>
                  <a:cxn ang="0">
                    <a:pos x="239" y="140"/>
                  </a:cxn>
                  <a:cxn ang="0">
                    <a:pos x="241" y="127"/>
                  </a:cxn>
                  <a:cxn ang="0">
                    <a:pos x="245" y="114"/>
                  </a:cxn>
                  <a:cxn ang="0">
                    <a:pos x="250" y="98"/>
                  </a:cxn>
                  <a:cxn ang="0">
                    <a:pos x="259" y="76"/>
                  </a:cxn>
                  <a:cxn ang="0">
                    <a:pos x="262" y="66"/>
                  </a:cxn>
                  <a:cxn ang="0">
                    <a:pos x="276" y="46"/>
                  </a:cxn>
                  <a:cxn ang="0">
                    <a:pos x="297" y="31"/>
                  </a:cxn>
                </a:cxnLst>
                <a:rect l="0" t="0" r="r" b="b"/>
                <a:pathLst>
                  <a:path w="300" h="200">
                    <a:moveTo>
                      <a:pt x="294" y="30"/>
                    </a:moveTo>
                    <a:cubicBezTo>
                      <a:pt x="294" y="30"/>
                      <a:pt x="300" y="25"/>
                      <a:pt x="292" y="23"/>
                    </a:cubicBezTo>
                    <a:cubicBezTo>
                      <a:pt x="285" y="21"/>
                      <a:pt x="283" y="25"/>
                      <a:pt x="281" y="21"/>
                    </a:cubicBezTo>
                    <a:cubicBezTo>
                      <a:pt x="279" y="19"/>
                      <a:pt x="279" y="16"/>
                      <a:pt x="276" y="15"/>
                    </a:cubicBezTo>
                    <a:cubicBezTo>
                      <a:pt x="273" y="15"/>
                      <a:pt x="270" y="16"/>
                      <a:pt x="270" y="16"/>
                    </a:cubicBezTo>
                    <a:cubicBezTo>
                      <a:pt x="270" y="16"/>
                      <a:pt x="267" y="11"/>
                      <a:pt x="265" y="10"/>
                    </a:cubicBezTo>
                    <a:cubicBezTo>
                      <a:pt x="263" y="8"/>
                      <a:pt x="259" y="8"/>
                      <a:pt x="259" y="8"/>
                    </a:cubicBezTo>
                    <a:cubicBezTo>
                      <a:pt x="259" y="8"/>
                      <a:pt x="253" y="6"/>
                      <a:pt x="250" y="9"/>
                    </a:cubicBezTo>
                    <a:cubicBezTo>
                      <a:pt x="247" y="11"/>
                      <a:pt x="247" y="15"/>
                      <a:pt x="241" y="14"/>
                    </a:cubicBezTo>
                    <a:cubicBezTo>
                      <a:pt x="236" y="13"/>
                      <a:pt x="235" y="5"/>
                      <a:pt x="235" y="5"/>
                    </a:cubicBezTo>
                    <a:cubicBezTo>
                      <a:pt x="226" y="0"/>
                      <a:pt x="226" y="0"/>
                      <a:pt x="226" y="0"/>
                    </a:cubicBezTo>
                    <a:cubicBezTo>
                      <a:pt x="226" y="0"/>
                      <a:pt x="219" y="9"/>
                      <a:pt x="210" y="5"/>
                    </a:cubicBezTo>
                    <a:cubicBezTo>
                      <a:pt x="201" y="3"/>
                      <a:pt x="193" y="4"/>
                      <a:pt x="188" y="8"/>
                    </a:cubicBezTo>
                    <a:cubicBezTo>
                      <a:pt x="183" y="11"/>
                      <a:pt x="184" y="21"/>
                      <a:pt x="180" y="25"/>
                    </a:cubicBezTo>
                    <a:cubicBezTo>
                      <a:pt x="175" y="29"/>
                      <a:pt x="163" y="36"/>
                      <a:pt x="163" y="36"/>
                    </a:cubicBezTo>
                    <a:cubicBezTo>
                      <a:pt x="163" y="36"/>
                      <a:pt x="152" y="30"/>
                      <a:pt x="148" y="31"/>
                    </a:cubicBezTo>
                    <a:cubicBezTo>
                      <a:pt x="143" y="32"/>
                      <a:pt x="144" y="40"/>
                      <a:pt x="144" y="40"/>
                    </a:cubicBezTo>
                    <a:cubicBezTo>
                      <a:pt x="127" y="46"/>
                      <a:pt x="127" y="46"/>
                      <a:pt x="127" y="46"/>
                    </a:cubicBezTo>
                    <a:cubicBezTo>
                      <a:pt x="127" y="46"/>
                      <a:pt x="118" y="43"/>
                      <a:pt x="115" y="48"/>
                    </a:cubicBezTo>
                    <a:cubicBezTo>
                      <a:pt x="111" y="55"/>
                      <a:pt x="118" y="60"/>
                      <a:pt x="118" y="60"/>
                    </a:cubicBezTo>
                    <a:cubicBezTo>
                      <a:pt x="111" y="67"/>
                      <a:pt x="111" y="67"/>
                      <a:pt x="111" y="67"/>
                    </a:cubicBezTo>
                    <a:cubicBezTo>
                      <a:pt x="101" y="68"/>
                      <a:pt x="101" y="68"/>
                      <a:pt x="101" y="68"/>
                    </a:cubicBezTo>
                    <a:cubicBezTo>
                      <a:pt x="88" y="71"/>
                      <a:pt x="88" y="71"/>
                      <a:pt x="88" y="71"/>
                    </a:cubicBezTo>
                    <a:cubicBezTo>
                      <a:pt x="81" y="71"/>
                      <a:pt x="81" y="71"/>
                      <a:pt x="81" y="71"/>
                    </a:cubicBezTo>
                    <a:cubicBezTo>
                      <a:pt x="81" y="71"/>
                      <a:pt x="75" y="72"/>
                      <a:pt x="71" y="72"/>
                    </a:cubicBezTo>
                    <a:cubicBezTo>
                      <a:pt x="66" y="72"/>
                      <a:pt x="62" y="68"/>
                      <a:pt x="62" y="68"/>
                    </a:cubicBezTo>
                    <a:cubicBezTo>
                      <a:pt x="62" y="68"/>
                      <a:pt x="55" y="60"/>
                      <a:pt x="50" y="59"/>
                    </a:cubicBezTo>
                    <a:cubicBezTo>
                      <a:pt x="47" y="58"/>
                      <a:pt x="43" y="58"/>
                      <a:pt x="39" y="59"/>
                    </a:cubicBezTo>
                    <a:cubicBezTo>
                      <a:pt x="39" y="65"/>
                      <a:pt x="39" y="65"/>
                      <a:pt x="39" y="65"/>
                    </a:cubicBezTo>
                    <a:cubicBezTo>
                      <a:pt x="36" y="67"/>
                      <a:pt x="36" y="67"/>
                      <a:pt x="36" y="67"/>
                    </a:cubicBezTo>
                    <a:cubicBezTo>
                      <a:pt x="38" y="68"/>
                      <a:pt x="38" y="68"/>
                      <a:pt x="38" y="68"/>
                    </a:cubicBezTo>
                    <a:cubicBezTo>
                      <a:pt x="38" y="76"/>
                      <a:pt x="38" y="76"/>
                      <a:pt x="38" y="76"/>
                    </a:cubicBezTo>
                    <a:cubicBezTo>
                      <a:pt x="25" y="80"/>
                      <a:pt x="25" y="80"/>
                      <a:pt x="25" y="80"/>
                    </a:cubicBezTo>
                    <a:cubicBezTo>
                      <a:pt x="25" y="80"/>
                      <a:pt x="21" y="75"/>
                      <a:pt x="19" y="75"/>
                    </a:cubicBezTo>
                    <a:cubicBezTo>
                      <a:pt x="17" y="76"/>
                      <a:pt x="12" y="77"/>
                      <a:pt x="11" y="81"/>
                    </a:cubicBezTo>
                    <a:cubicBezTo>
                      <a:pt x="9" y="86"/>
                      <a:pt x="14" y="84"/>
                      <a:pt x="14" y="84"/>
                    </a:cubicBezTo>
                    <a:cubicBezTo>
                      <a:pt x="19" y="83"/>
                      <a:pt x="19" y="83"/>
                      <a:pt x="19" y="83"/>
                    </a:cubicBezTo>
                    <a:cubicBezTo>
                      <a:pt x="19" y="83"/>
                      <a:pt x="21" y="83"/>
                      <a:pt x="23" y="90"/>
                    </a:cubicBezTo>
                    <a:cubicBezTo>
                      <a:pt x="25" y="96"/>
                      <a:pt x="11" y="99"/>
                      <a:pt x="10" y="102"/>
                    </a:cubicBezTo>
                    <a:cubicBezTo>
                      <a:pt x="10" y="105"/>
                      <a:pt x="14" y="105"/>
                      <a:pt x="14" y="107"/>
                    </a:cubicBezTo>
                    <a:cubicBezTo>
                      <a:pt x="14" y="108"/>
                      <a:pt x="11" y="110"/>
                      <a:pt x="12" y="113"/>
                    </a:cubicBezTo>
                    <a:cubicBezTo>
                      <a:pt x="12" y="115"/>
                      <a:pt x="17" y="116"/>
                      <a:pt x="17" y="116"/>
                    </a:cubicBezTo>
                    <a:cubicBezTo>
                      <a:pt x="16" y="125"/>
                      <a:pt x="16" y="125"/>
                      <a:pt x="16" y="125"/>
                    </a:cubicBezTo>
                    <a:cubicBezTo>
                      <a:pt x="6" y="126"/>
                      <a:pt x="6" y="126"/>
                      <a:pt x="6" y="126"/>
                    </a:cubicBezTo>
                    <a:cubicBezTo>
                      <a:pt x="0" y="132"/>
                      <a:pt x="0" y="132"/>
                      <a:pt x="0" y="132"/>
                    </a:cubicBezTo>
                    <a:cubicBezTo>
                      <a:pt x="4" y="134"/>
                      <a:pt x="8" y="135"/>
                      <a:pt x="9" y="135"/>
                    </a:cubicBezTo>
                    <a:cubicBezTo>
                      <a:pt x="13" y="137"/>
                      <a:pt x="10" y="139"/>
                      <a:pt x="9" y="141"/>
                    </a:cubicBezTo>
                    <a:cubicBezTo>
                      <a:pt x="9" y="144"/>
                      <a:pt x="13" y="143"/>
                      <a:pt x="13" y="143"/>
                    </a:cubicBezTo>
                    <a:cubicBezTo>
                      <a:pt x="13" y="150"/>
                      <a:pt x="13" y="150"/>
                      <a:pt x="13" y="150"/>
                    </a:cubicBezTo>
                    <a:cubicBezTo>
                      <a:pt x="13" y="153"/>
                      <a:pt x="21" y="152"/>
                      <a:pt x="21" y="152"/>
                    </a:cubicBezTo>
                    <a:cubicBezTo>
                      <a:pt x="21" y="157"/>
                      <a:pt x="21" y="157"/>
                      <a:pt x="21" y="157"/>
                    </a:cubicBezTo>
                    <a:cubicBezTo>
                      <a:pt x="27" y="160"/>
                      <a:pt x="27" y="160"/>
                      <a:pt x="27" y="160"/>
                    </a:cubicBezTo>
                    <a:cubicBezTo>
                      <a:pt x="29" y="165"/>
                      <a:pt x="29" y="165"/>
                      <a:pt x="29" y="165"/>
                    </a:cubicBezTo>
                    <a:cubicBezTo>
                      <a:pt x="29" y="165"/>
                      <a:pt x="36" y="163"/>
                      <a:pt x="38" y="166"/>
                    </a:cubicBezTo>
                    <a:cubicBezTo>
                      <a:pt x="40" y="169"/>
                      <a:pt x="42" y="174"/>
                      <a:pt x="42" y="174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0" y="189"/>
                      <a:pt x="67" y="188"/>
                      <a:pt x="71" y="190"/>
                    </a:cubicBezTo>
                    <a:cubicBezTo>
                      <a:pt x="75" y="192"/>
                      <a:pt x="76" y="198"/>
                      <a:pt x="76" y="198"/>
                    </a:cubicBezTo>
                    <a:cubicBezTo>
                      <a:pt x="76" y="198"/>
                      <a:pt x="94" y="200"/>
                      <a:pt x="99" y="200"/>
                    </a:cubicBezTo>
                    <a:cubicBezTo>
                      <a:pt x="104" y="200"/>
                      <a:pt x="115" y="199"/>
                      <a:pt x="115" y="199"/>
                    </a:cubicBezTo>
                    <a:cubicBezTo>
                      <a:pt x="122" y="189"/>
                      <a:pt x="122" y="189"/>
                      <a:pt x="122" y="189"/>
                    </a:cubicBezTo>
                    <a:cubicBezTo>
                      <a:pt x="129" y="188"/>
                      <a:pt x="129" y="188"/>
                      <a:pt x="129" y="188"/>
                    </a:cubicBezTo>
                    <a:cubicBezTo>
                      <a:pt x="139" y="183"/>
                      <a:pt x="139" y="183"/>
                      <a:pt x="139" y="183"/>
                    </a:cubicBezTo>
                    <a:cubicBezTo>
                      <a:pt x="140" y="179"/>
                      <a:pt x="140" y="179"/>
                      <a:pt x="140" y="179"/>
                    </a:cubicBezTo>
                    <a:cubicBezTo>
                      <a:pt x="145" y="181"/>
                      <a:pt x="145" y="181"/>
                      <a:pt x="145" y="181"/>
                    </a:cubicBezTo>
                    <a:cubicBezTo>
                      <a:pt x="145" y="181"/>
                      <a:pt x="154" y="176"/>
                      <a:pt x="157" y="173"/>
                    </a:cubicBezTo>
                    <a:cubicBezTo>
                      <a:pt x="159" y="170"/>
                      <a:pt x="164" y="165"/>
                      <a:pt x="166" y="165"/>
                    </a:cubicBezTo>
                    <a:cubicBezTo>
                      <a:pt x="169" y="165"/>
                      <a:pt x="173" y="168"/>
                      <a:pt x="173" y="168"/>
                    </a:cubicBezTo>
                    <a:cubicBezTo>
                      <a:pt x="173" y="168"/>
                      <a:pt x="175" y="162"/>
                      <a:pt x="184" y="163"/>
                    </a:cubicBezTo>
                    <a:cubicBezTo>
                      <a:pt x="202" y="163"/>
                      <a:pt x="202" y="163"/>
                      <a:pt x="202" y="163"/>
                    </a:cubicBezTo>
                    <a:cubicBezTo>
                      <a:pt x="204" y="160"/>
                      <a:pt x="204" y="160"/>
                      <a:pt x="204" y="160"/>
                    </a:cubicBezTo>
                    <a:cubicBezTo>
                      <a:pt x="204" y="160"/>
                      <a:pt x="209" y="163"/>
                      <a:pt x="213" y="162"/>
                    </a:cubicBezTo>
                    <a:cubicBezTo>
                      <a:pt x="216" y="161"/>
                      <a:pt x="214" y="154"/>
                      <a:pt x="219" y="153"/>
                    </a:cubicBezTo>
                    <a:cubicBezTo>
                      <a:pt x="225" y="152"/>
                      <a:pt x="231" y="156"/>
                      <a:pt x="234" y="152"/>
                    </a:cubicBezTo>
                    <a:cubicBezTo>
                      <a:pt x="237" y="149"/>
                      <a:pt x="235" y="143"/>
                      <a:pt x="235" y="143"/>
                    </a:cubicBezTo>
                    <a:cubicBezTo>
                      <a:pt x="239" y="140"/>
                      <a:pt x="239" y="140"/>
                      <a:pt x="239" y="140"/>
                    </a:cubicBezTo>
                    <a:cubicBezTo>
                      <a:pt x="237" y="127"/>
                      <a:pt x="237" y="127"/>
                      <a:pt x="237" y="127"/>
                    </a:cubicBezTo>
                    <a:cubicBezTo>
                      <a:pt x="241" y="127"/>
                      <a:pt x="241" y="127"/>
                      <a:pt x="241" y="127"/>
                    </a:cubicBezTo>
                    <a:cubicBezTo>
                      <a:pt x="247" y="119"/>
                      <a:pt x="247" y="119"/>
                      <a:pt x="247" y="119"/>
                    </a:cubicBezTo>
                    <a:cubicBezTo>
                      <a:pt x="245" y="114"/>
                      <a:pt x="245" y="114"/>
                      <a:pt x="245" y="114"/>
                    </a:cubicBezTo>
                    <a:cubicBezTo>
                      <a:pt x="251" y="104"/>
                      <a:pt x="251" y="104"/>
                      <a:pt x="251" y="104"/>
                    </a:cubicBezTo>
                    <a:cubicBezTo>
                      <a:pt x="250" y="98"/>
                      <a:pt x="250" y="98"/>
                      <a:pt x="250" y="98"/>
                    </a:cubicBezTo>
                    <a:cubicBezTo>
                      <a:pt x="257" y="87"/>
                      <a:pt x="257" y="87"/>
                      <a:pt x="257" y="87"/>
                    </a:cubicBezTo>
                    <a:cubicBezTo>
                      <a:pt x="259" y="76"/>
                      <a:pt x="259" y="76"/>
                      <a:pt x="259" y="76"/>
                    </a:cubicBezTo>
                    <a:cubicBezTo>
                      <a:pt x="263" y="73"/>
                      <a:pt x="263" y="73"/>
                      <a:pt x="263" y="73"/>
                    </a:cubicBezTo>
                    <a:cubicBezTo>
                      <a:pt x="262" y="66"/>
                      <a:pt x="262" y="66"/>
                      <a:pt x="262" y="66"/>
                    </a:cubicBezTo>
                    <a:cubicBezTo>
                      <a:pt x="273" y="49"/>
                      <a:pt x="273" y="49"/>
                      <a:pt x="273" y="49"/>
                    </a:cubicBezTo>
                    <a:cubicBezTo>
                      <a:pt x="276" y="46"/>
                      <a:pt x="276" y="46"/>
                      <a:pt x="276" y="46"/>
                    </a:cubicBezTo>
                    <a:cubicBezTo>
                      <a:pt x="285" y="46"/>
                      <a:pt x="285" y="46"/>
                      <a:pt x="285" y="46"/>
                    </a:cubicBezTo>
                    <a:cubicBezTo>
                      <a:pt x="297" y="31"/>
                      <a:pt x="297" y="31"/>
                      <a:pt x="297" y="31"/>
                    </a:cubicBezTo>
                    <a:lnTo>
                      <a:pt x="294" y="30"/>
                    </a:ln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52" name="Greece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5875338" y="5122863"/>
                <a:ext cx="1027112" cy="962025"/>
              </a:xfrm>
              <a:custGeom>
                <a:avLst/>
                <a:gdLst/>
                <a:ahLst/>
                <a:cxnLst>
                  <a:cxn ang="0">
                    <a:pos x="168" y="214"/>
                  </a:cxn>
                  <a:cxn ang="0">
                    <a:pos x="269" y="244"/>
                  </a:cxn>
                  <a:cxn ang="0">
                    <a:pos x="168" y="189"/>
                  </a:cxn>
                  <a:cxn ang="0">
                    <a:pos x="156" y="148"/>
                  </a:cxn>
                  <a:cxn ang="0">
                    <a:pos x="161" y="113"/>
                  </a:cxn>
                  <a:cxn ang="0">
                    <a:pos x="194" y="117"/>
                  </a:cxn>
                  <a:cxn ang="0">
                    <a:pos x="236" y="119"/>
                  </a:cxn>
                  <a:cxn ang="0">
                    <a:pos x="228" y="73"/>
                  </a:cxn>
                  <a:cxn ang="0">
                    <a:pos x="279" y="58"/>
                  </a:cxn>
                  <a:cxn ang="0">
                    <a:pos x="317" y="0"/>
                  </a:cxn>
                  <a:cxn ang="0">
                    <a:pos x="230" y="26"/>
                  </a:cxn>
                  <a:cxn ang="0">
                    <a:pos x="177" y="46"/>
                  </a:cxn>
                  <a:cxn ang="0">
                    <a:pos x="111" y="71"/>
                  </a:cxn>
                  <a:cxn ang="0">
                    <a:pos x="55" y="132"/>
                  </a:cxn>
                  <a:cxn ang="0">
                    <a:pos x="29" y="182"/>
                  </a:cxn>
                  <a:cxn ang="0">
                    <a:pos x="59" y="230"/>
                  </a:cxn>
                  <a:cxn ang="0">
                    <a:pos x="113" y="255"/>
                  </a:cxn>
                  <a:cxn ang="0">
                    <a:pos x="171" y="245"/>
                  </a:cxn>
                  <a:cxn ang="0">
                    <a:pos x="116" y="267"/>
                  </a:cxn>
                  <a:cxn ang="0">
                    <a:pos x="144" y="353"/>
                  </a:cxn>
                  <a:cxn ang="0">
                    <a:pos x="205" y="353"/>
                  </a:cxn>
                  <a:cxn ang="0">
                    <a:pos x="216" y="296"/>
                  </a:cxn>
                  <a:cxn ang="0">
                    <a:pos x="253" y="275"/>
                  </a:cxn>
                  <a:cxn ang="0">
                    <a:pos x="285" y="129"/>
                  </a:cxn>
                  <a:cxn ang="0">
                    <a:pos x="337" y="172"/>
                  </a:cxn>
                  <a:cxn ang="0">
                    <a:pos x="214" y="193"/>
                  </a:cxn>
                  <a:cxn ang="0">
                    <a:pos x="228" y="180"/>
                  </a:cxn>
                  <a:cxn ang="0">
                    <a:pos x="268" y="198"/>
                  </a:cxn>
                  <a:cxn ang="0">
                    <a:pos x="317" y="213"/>
                  </a:cxn>
                  <a:cxn ang="0">
                    <a:pos x="286" y="255"/>
                  </a:cxn>
                  <a:cxn ang="0">
                    <a:pos x="295" y="273"/>
                  </a:cxn>
                  <a:cxn ang="0">
                    <a:pos x="311" y="283"/>
                  </a:cxn>
                  <a:cxn ang="0">
                    <a:pos x="310" y="303"/>
                  </a:cxn>
                  <a:cxn ang="0">
                    <a:pos x="283" y="316"/>
                  </a:cxn>
                  <a:cxn ang="0">
                    <a:pos x="266" y="290"/>
                  </a:cxn>
                  <a:cxn ang="0">
                    <a:pos x="352" y="262"/>
                  </a:cxn>
                  <a:cxn ang="0">
                    <a:pos x="398" y="246"/>
                  </a:cxn>
                  <a:cxn ang="0">
                    <a:pos x="382" y="274"/>
                  </a:cxn>
                  <a:cxn ang="0">
                    <a:pos x="393" y="285"/>
                  </a:cxn>
                  <a:cxn ang="0">
                    <a:pos x="421" y="296"/>
                  </a:cxn>
                  <a:cxn ang="0">
                    <a:pos x="328" y="330"/>
                  </a:cxn>
                  <a:cxn ang="0">
                    <a:pos x="378" y="333"/>
                  </a:cxn>
                  <a:cxn ang="0">
                    <a:pos x="213" y="278"/>
                  </a:cxn>
                  <a:cxn ang="0">
                    <a:pos x="273" y="334"/>
                  </a:cxn>
                  <a:cxn ang="0">
                    <a:pos x="316" y="332"/>
                  </a:cxn>
                  <a:cxn ang="0">
                    <a:pos x="304" y="339"/>
                  </a:cxn>
                  <a:cxn ang="0">
                    <a:pos x="63" y="291"/>
                  </a:cxn>
                  <a:cxn ang="0">
                    <a:pos x="55" y="260"/>
                  </a:cxn>
                  <a:cxn ang="0">
                    <a:pos x="18" y="190"/>
                  </a:cxn>
                  <a:cxn ang="0">
                    <a:pos x="392" y="415"/>
                  </a:cxn>
                  <a:cxn ang="0">
                    <a:pos x="324" y="420"/>
                  </a:cxn>
                  <a:cxn ang="0">
                    <a:pos x="276" y="414"/>
                  </a:cxn>
                  <a:cxn ang="0">
                    <a:pos x="273" y="440"/>
                  </a:cxn>
                  <a:cxn ang="0">
                    <a:pos x="389" y="429"/>
                  </a:cxn>
                  <a:cxn ang="0">
                    <a:pos x="459" y="352"/>
                  </a:cxn>
                  <a:cxn ang="0">
                    <a:pos x="448" y="337"/>
                  </a:cxn>
                  <a:cxn ang="0">
                    <a:pos x="422" y="322"/>
                  </a:cxn>
                  <a:cxn ang="0">
                    <a:pos x="437" y="390"/>
                  </a:cxn>
                  <a:cxn ang="0">
                    <a:pos x="420" y="398"/>
                  </a:cxn>
                </a:cxnLst>
                <a:rect l="0" t="0" r="r" b="b"/>
                <a:pathLst>
                  <a:path w="482" h="452">
                    <a:moveTo>
                      <a:pt x="253" y="275"/>
                    </a:moveTo>
                    <a:cubicBezTo>
                      <a:pt x="253" y="275"/>
                      <a:pt x="245" y="270"/>
                      <a:pt x="243" y="261"/>
                    </a:cubicBezTo>
                    <a:cubicBezTo>
                      <a:pt x="241" y="254"/>
                      <a:pt x="243" y="248"/>
                      <a:pt x="243" y="244"/>
                    </a:cubicBezTo>
                    <a:cubicBezTo>
                      <a:pt x="243" y="240"/>
                      <a:pt x="223" y="239"/>
                      <a:pt x="219" y="239"/>
                    </a:cubicBezTo>
                    <a:cubicBezTo>
                      <a:pt x="214" y="238"/>
                      <a:pt x="214" y="232"/>
                      <a:pt x="214" y="232"/>
                    </a:cubicBezTo>
                    <a:cubicBezTo>
                      <a:pt x="214" y="232"/>
                      <a:pt x="210" y="235"/>
                      <a:pt x="207" y="232"/>
                    </a:cubicBezTo>
                    <a:cubicBezTo>
                      <a:pt x="204" y="231"/>
                      <a:pt x="193" y="222"/>
                      <a:pt x="193" y="222"/>
                    </a:cubicBezTo>
                    <a:cubicBezTo>
                      <a:pt x="193" y="222"/>
                      <a:pt x="190" y="226"/>
                      <a:pt x="189" y="226"/>
                    </a:cubicBezTo>
                    <a:cubicBezTo>
                      <a:pt x="187" y="226"/>
                      <a:pt x="185" y="220"/>
                      <a:pt x="185" y="220"/>
                    </a:cubicBezTo>
                    <a:cubicBezTo>
                      <a:pt x="169" y="219"/>
                      <a:pt x="169" y="219"/>
                      <a:pt x="169" y="219"/>
                    </a:cubicBezTo>
                    <a:cubicBezTo>
                      <a:pt x="168" y="214"/>
                      <a:pt x="168" y="214"/>
                      <a:pt x="168" y="214"/>
                    </a:cubicBezTo>
                    <a:cubicBezTo>
                      <a:pt x="168" y="214"/>
                      <a:pt x="160" y="217"/>
                      <a:pt x="160" y="213"/>
                    </a:cubicBezTo>
                    <a:cubicBezTo>
                      <a:pt x="160" y="209"/>
                      <a:pt x="174" y="211"/>
                      <a:pt x="174" y="211"/>
                    </a:cubicBezTo>
                    <a:cubicBezTo>
                      <a:pt x="174" y="211"/>
                      <a:pt x="184" y="211"/>
                      <a:pt x="193" y="213"/>
                    </a:cubicBezTo>
                    <a:cubicBezTo>
                      <a:pt x="203" y="216"/>
                      <a:pt x="210" y="224"/>
                      <a:pt x="210" y="224"/>
                    </a:cubicBezTo>
                    <a:cubicBezTo>
                      <a:pt x="216" y="225"/>
                      <a:pt x="216" y="225"/>
                      <a:pt x="216" y="225"/>
                    </a:cubicBezTo>
                    <a:cubicBezTo>
                      <a:pt x="216" y="225"/>
                      <a:pt x="217" y="232"/>
                      <a:pt x="219" y="235"/>
                    </a:cubicBezTo>
                    <a:cubicBezTo>
                      <a:pt x="221" y="237"/>
                      <a:pt x="225" y="235"/>
                      <a:pt x="227" y="235"/>
                    </a:cubicBezTo>
                    <a:cubicBezTo>
                      <a:pt x="229" y="235"/>
                      <a:pt x="238" y="235"/>
                      <a:pt x="244" y="239"/>
                    </a:cubicBezTo>
                    <a:cubicBezTo>
                      <a:pt x="251" y="244"/>
                      <a:pt x="258" y="258"/>
                      <a:pt x="258" y="258"/>
                    </a:cubicBezTo>
                    <a:cubicBezTo>
                      <a:pt x="258" y="258"/>
                      <a:pt x="267" y="259"/>
                      <a:pt x="269" y="257"/>
                    </a:cubicBezTo>
                    <a:cubicBezTo>
                      <a:pt x="271" y="256"/>
                      <a:pt x="269" y="244"/>
                      <a:pt x="269" y="244"/>
                    </a:cubicBezTo>
                    <a:cubicBezTo>
                      <a:pt x="269" y="244"/>
                      <a:pt x="257" y="246"/>
                      <a:pt x="253" y="239"/>
                    </a:cubicBezTo>
                    <a:cubicBezTo>
                      <a:pt x="247" y="231"/>
                      <a:pt x="249" y="224"/>
                      <a:pt x="249" y="224"/>
                    </a:cubicBezTo>
                    <a:cubicBezTo>
                      <a:pt x="242" y="222"/>
                      <a:pt x="242" y="222"/>
                      <a:pt x="242" y="222"/>
                    </a:cubicBezTo>
                    <a:cubicBezTo>
                      <a:pt x="240" y="214"/>
                      <a:pt x="240" y="214"/>
                      <a:pt x="240" y="214"/>
                    </a:cubicBezTo>
                    <a:cubicBezTo>
                      <a:pt x="240" y="214"/>
                      <a:pt x="236" y="216"/>
                      <a:pt x="229" y="216"/>
                    </a:cubicBezTo>
                    <a:cubicBezTo>
                      <a:pt x="222" y="216"/>
                      <a:pt x="220" y="212"/>
                      <a:pt x="220" y="212"/>
                    </a:cubicBezTo>
                    <a:cubicBezTo>
                      <a:pt x="217" y="214"/>
                      <a:pt x="217" y="214"/>
                      <a:pt x="217" y="214"/>
                    </a:cubicBezTo>
                    <a:cubicBezTo>
                      <a:pt x="204" y="207"/>
                      <a:pt x="204" y="207"/>
                      <a:pt x="204" y="207"/>
                    </a:cubicBezTo>
                    <a:cubicBezTo>
                      <a:pt x="204" y="207"/>
                      <a:pt x="200" y="197"/>
                      <a:pt x="196" y="196"/>
                    </a:cubicBezTo>
                    <a:cubicBezTo>
                      <a:pt x="192" y="195"/>
                      <a:pt x="185" y="201"/>
                      <a:pt x="180" y="200"/>
                    </a:cubicBezTo>
                    <a:cubicBezTo>
                      <a:pt x="176" y="199"/>
                      <a:pt x="169" y="192"/>
                      <a:pt x="168" y="189"/>
                    </a:cubicBezTo>
                    <a:cubicBezTo>
                      <a:pt x="167" y="185"/>
                      <a:pt x="174" y="184"/>
                      <a:pt x="174" y="184"/>
                    </a:cubicBezTo>
                    <a:cubicBezTo>
                      <a:pt x="173" y="182"/>
                      <a:pt x="173" y="182"/>
                      <a:pt x="173" y="182"/>
                    </a:cubicBezTo>
                    <a:cubicBezTo>
                      <a:pt x="173" y="182"/>
                      <a:pt x="184" y="181"/>
                      <a:pt x="187" y="186"/>
                    </a:cubicBezTo>
                    <a:cubicBezTo>
                      <a:pt x="191" y="192"/>
                      <a:pt x="182" y="193"/>
                      <a:pt x="182" y="193"/>
                    </a:cubicBezTo>
                    <a:cubicBezTo>
                      <a:pt x="184" y="197"/>
                      <a:pt x="184" y="197"/>
                      <a:pt x="184" y="197"/>
                    </a:cubicBezTo>
                    <a:cubicBezTo>
                      <a:pt x="193" y="193"/>
                      <a:pt x="193" y="193"/>
                      <a:pt x="193" y="193"/>
                    </a:cubicBezTo>
                    <a:cubicBezTo>
                      <a:pt x="193" y="184"/>
                      <a:pt x="193" y="184"/>
                      <a:pt x="193" y="184"/>
                    </a:cubicBezTo>
                    <a:cubicBezTo>
                      <a:pt x="179" y="169"/>
                      <a:pt x="179" y="169"/>
                      <a:pt x="179" y="169"/>
                    </a:cubicBezTo>
                    <a:cubicBezTo>
                      <a:pt x="170" y="166"/>
                      <a:pt x="170" y="166"/>
                      <a:pt x="170" y="166"/>
                    </a:cubicBezTo>
                    <a:cubicBezTo>
                      <a:pt x="170" y="166"/>
                      <a:pt x="167" y="159"/>
                      <a:pt x="167" y="154"/>
                    </a:cubicBezTo>
                    <a:cubicBezTo>
                      <a:pt x="167" y="149"/>
                      <a:pt x="156" y="148"/>
                      <a:pt x="156" y="148"/>
                    </a:cubicBezTo>
                    <a:cubicBezTo>
                      <a:pt x="156" y="143"/>
                      <a:pt x="156" y="143"/>
                      <a:pt x="156" y="143"/>
                    </a:cubicBezTo>
                    <a:cubicBezTo>
                      <a:pt x="156" y="143"/>
                      <a:pt x="151" y="141"/>
                      <a:pt x="147" y="134"/>
                    </a:cubicBezTo>
                    <a:cubicBezTo>
                      <a:pt x="143" y="129"/>
                      <a:pt x="149" y="117"/>
                      <a:pt x="149" y="117"/>
                    </a:cubicBezTo>
                    <a:cubicBezTo>
                      <a:pt x="147" y="112"/>
                      <a:pt x="147" y="112"/>
                      <a:pt x="147" y="112"/>
                    </a:cubicBezTo>
                    <a:cubicBezTo>
                      <a:pt x="148" y="106"/>
                      <a:pt x="148" y="106"/>
                      <a:pt x="148" y="106"/>
                    </a:cubicBezTo>
                    <a:cubicBezTo>
                      <a:pt x="154" y="106"/>
                      <a:pt x="154" y="106"/>
                      <a:pt x="154" y="106"/>
                    </a:cubicBezTo>
                    <a:cubicBezTo>
                      <a:pt x="159" y="100"/>
                      <a:pt x="159" y="100"/>
                      <a:pt x="159" y="100"/>
                    </a:cubicBezTo>
                    <a:cubicBezTo>
                      <a:pt x="159" y="97"/>
                      <a:pt x="159" y="97"/>
                      <a:pt x="159" y="97"/>
                    </a:cubicBezTo>
                    <a:cubicBezTo>
                      <a:pt x="164" y="102"/>
                      <a:pt x="164" y="102"/>
                      <a:pt x="164" y="102"/>
                    </a:cubicBezTo>
                    <a:cubicBezTo>
                      <a:pt x="158" y="106"/>
                      <a:pt x="158" y="106"/>
                      <a:pt x="158" y="106"/>
                    </a:cubicBezTo>
                    <a:cubicBezTo>
                      <a:pt x="161" y="113"/>
                      <a:pt x="161" y="113"/>
                      <a:pt x="161" y="113"/>
                    </a:cubicBezTo>
                    <a:cubicBezTo>
                      <a:pt x="168" y="113"/>
                      <a:pt x="168" y="113"/>
                      <a:pt x="168" y="113"/>
                    </a:cubicBezTo>
                    <a:cubicBezTo>
                      <a:pt x="174" y="117"/>
                      <a:pt x="174" y="117"/>
                      <a:pt x="174" y="117"/>
                    </a:cubicBezTo>
                    <a:cubicBezTo>
                      <a:pt x="174" y="117"/>
                      <a:pt x="182" y="118"/>
                      <a:pt x="186" y="120"/>
                    </a:cubicBezTo>
                    <a:cubicBezTo>
                      <a:pt x="189" y="121"/>
                      <a:pt x="188" y="126"/>
                      <a:pt x="188" y="129"/>
                    </a:cubicBezTo>
                    <a:cubicBezTo>
                      <a:pt x="188" y="132"/>
                      <a:pt x="191" y="134"/>
                      <a:pt x="191" y="134"/>
                    </a:cubicBezTo>
                    <a:cubicBezTo>
                      <a:pt x="192" y="138"/>
                      <a:pt x="192" y="138"/>
                      <a:pt x="192" y="138"/>
                    </a:cubicBezTo>
                    <a:cubicBezTo>
                      <a:pt x="206" y="138"/>
                      <a:pt x="206" y="138"/>
                      <a:pt x="206" y="138"/>
                    </a:cubicBezTo>
                    <a:cubicBezTo>
                      <a:pt x="210" y="138"/>
                      <a:pt x="212" y="135"/>
                      <a:pt x="209" y="134"/>
                    </a:cubicBezTo>
                    <a:cubicBezTo>
                      <a:pt x="205" y="132"/>
                      <a:pt x="195" y="130"/>
                      <a:pt x="195" y="130"/>
                    </a:cubicBezTo>
                    <a:cubicBezTo>
                      <a:pt x="195" y="130"/>
                      <a:pt x="189" y="122"/>
                      <a:pt x="189" y="118"/>
                    </a:cubicBezTo>
                    <a:cubicBezTo>
                      <a:pt x="189" y="114"/>
                      <a:pt x="194" y="117"/>
                      <a:pt x="194" y="117"/>
                    </a:cubicBezTo>
                    <a:cubicBezTo>
                      <a:pt x="202" y="117"/>
                      <a:pt x="202" y="117"/>
                      <a:pt x="202" y="117"/>
                    </a:cubicBezTo>
                    <a:cubicBezTo>
                      <a:pt x="212" y="127"/>
                      <a:pt x="212" y="127"/>
                      <a:pt x="212" y="127"/>
                    </a:cubicBezTo>
                    <a:cubicBezTo>
                      <a:pt x="221" y="134"/>
                      <a:pt x="221" y="134"/>
                      <a:pt x="221" y="134"/>
                    </a:cubicBezTo>
                    <a:cubicBezTo>
                      <a:pt x="221" y="134"/>
                      <a:pt x="225" y="130"/>
                      <a:pt x="222" y="125"/>
                    </a:cubicBezTo>
                    <a:cubicBezTo>
                      <a:pt x="220" y="119"/>
                      <a:pt x="214" y="118"/>
                      <a:pt x="212" y="118"/>
                    </a:cubicBezTo>
                    <a:cubicBezTo>
                      <a:pt x="209" y="117"/>
                      <a:pt x="206" y="115"/>
                      <a:pt x="206" y="111"/>
                    </a:cubicBezTo>
                    <a:cubicBezTo>
                      <a:pt x="205" y="107"/>
                      <a:pt x="209" y="106"/>
                      <a:pt x="209" y="106"/>
                    </a:cubicBezTo>
                    <a:cubicBezTo>
                      <a:pt x="225" y="110"/>
                      <a:pt x="225" y="110"/>
                      <a:pt x="225" y="110"/>
                    </a:cubicBezTo>
                    <a:cubicBezTo>
                      <a:pt x="229" y="111"/>
                      <a:pt x="229" y="111"/>
                      <a:pt x="229" y="111"/>
                    </a:cubicBezTo>
                    <a:cubicBezTo>
                      <a:pt x="230" y="113"/>
                      <a:pt x="230" y="113"/>
                      <a:pt x="230" y="113"/>
                    </a:cubicBezTo>
                    <a:cubicBezTo>
                      <a:pt x="236" y="119"/>
                      <a:pt x="236" y="119"/>
                      <a:pt x="236" y="119"/>
                    </a:cubicBezTo>
                    <a:cubicBezTo>
                      <a:pt x="240" y="114"/>
                      <a:pt x="240" y="114"/>
                      <a:pt x="240" y="114"/>
                    </a:cubicBezTo>
                    <a:cubicBezTo>
                      <a:pt x="227" y="103"/>
                      <a:pt x="227" y="103"/>
                      <a:pt x="227" y="103"/>
                    </a:cubicBezTo>
                    <a:cubicBezTo>
                      <a:pt x="224" y="103"/>
                      <a:pt x="224" y="103"/>
                      <a:pt x="224" y="103"/>
                    </a:cubicBezTo>
                    <a:cubicBezTo>
                      <a:pt x="217" y="100"/>
                      <a:pt x="217" y="100"/>
                      <a:pt x="217" y="100"/>
                    </a:cubicBezTo>
                    <a:cubicBezTo>
                      <a:pt x="217" y="104"/>
                      <a:pt x="217" y="104"/>
                      <a:pt x="217" y="104"/>
                    </a:cubicBezTo>
                    <a:cubicBezTo>
                      <a:pt x="217" y="104"/>
                      <a:pt x="213" y="102"/>
                      <a:pt x="210" y="102"/>
                    </a:cubicBezTo>
                    <a:cubicBezTo>
                      <a:pt x="207" y="101"/>
                      <a:pt x="210" y="95"/>
                      <a:pt x="210" y="95"/>
                    </a:cubicBezTo>
                    <a:cubicBezTo>
                      <a:pt x="210" y="95"/>
                      <a:pt x="200" y="88"/>
                      <a:pt x="200" y="86"/>
                    </a:cubicBezTo>
                    <a:cubicBezTo>
                      <a:pt x="200" y="84"/>
                      <a:pt x="206" y="81"/>
                      <a:pt x="206" y="81"/>
                    </a:cubicBezTo>
                    <a:cubicBezTo>
                      <a:pt x="206" y="81"/>
                      <a:pt x="214" y="82"/>
                      <a:pt x="218" y="82"/>
                    </a:cubicBezTo>
                    <a:cubicBezTo>
                      <a:pt x="221" y="82"/>
                      <a:pt x="228" y="73"/>
                      <a:pt x="228" y="73"/>
                    </a:cubicBezTo>
                    <a:cubicBezTo>
                      <a:pt x="229" y="68"/>
                      <a:pt x="229" y="68"/>
                      <a:pt x="229" y="68"/>
                    </a:cubicBezTo>
                    <a:cubicBezTo>
                      <a:pt x="229" y="68"/>
                      <a:pt x="234" y="64"/>
                      <a:pt x="236" y="64"/>
                    </a:cubicBezTo>
                    <a:cubicBezTo>
                      <a:pt x="239" y="63"/>
                      <a:pt x="244" y="67"/>
                      <a:pt x="250" y="67"/>
                    </a:cubicBezTo>
                    <a:cubicBezTo>
                      <a:pt x="256" y="66"/>
                      <a:pt x="259" y="64"/>
                      <a:pt x="260" y="63"/>
                    </a:cubicBezTo>
                    <a:cubicBezTo>
                      <a:pt x="262" y="60"/>
                      <a:pt x="267" y="55"/>
                      <a:pt x="267" y="55"/>
                    </a:cubicBezTo>
                    <a:cubicBezTo>
                      <a:pt x="263" y="51"/>
                      <a:pt x="263" y="51"/>
                      <a:pt x="263" y="51"/>
                    </a:cubicBezTo>
                    <a:cubicBezTo>
                      <a:pt x="265" y="50"/>
                      <a:pt x="265" y="50"/>
                      <a:pt x="265" y="50"/>
                    </a:cubicBezTo>
                    <a:cubicBezTo>
                      <a:pt x="269" y="54"/>
                      <a:pt x="269" y="54"/>
                      <a:pt x="269" y="54"/>
                    </a:cubicBezTo>
                    <a:cubicBezTo>
                      <a:pt x="269" y="58"/>
                      <a:pt x="269" y="58"/>
                      <a:pt x="269" y="58"/>
                    </a:cubicBezTo>
                    <a:cubicBezTo>
                      <a:pt x="275" y="60"/>
                      <a:pt x="275" y="60"/>
                      <a:pt x="275" y="60"/>
                    </a:cubicBezTo>
                    <a:cubicBezTo>
                      <a:pt x="279" y="58"/>
                      <a:pt x="279" y="58"/>
                      <a:pt x="279" y="58"/>
                    </a:cubicBezTo>
                    <a:cubicBezTo>
                      <a:pt x="279" y="58"/>
                      <a:pt x="305" y="59"/>
                      <a:pt x="310" y="59"/>
                    </a:cubicBezTo>
                    <a:cubicBezTo>
                      <a:pt x="315" y="60"/>
                      <a:pt x="316" y="66"/>
                      <a:pt x="316" y="66"/>
                    </a:cubicBezTo>
                    <a:cubicBezTo>
                      <a:pt x="316" y="66"/>
                      <a:pt x="326" y="55"/>
                      <a:pt x="328" y="50"/>
                    </a:cubicBezTo>
                    <a:cubicBezTo>
                      <a:pt x="331" y="46"/>
                      <a:pt x="323" y="40"/>
                      <a:pt x="323" y="40"/>
                    </a:cubicBezTo>
                    <a:cubicBezTo>
                      <a:pt x="322" y="31"/>
                      <a:pt x="322" y="31"/>
                      <a:pt x="322" y="31"/>
                    </a:cubicBezTo>
                    <a:cubicBezTo>
                      <a:pt x="329" y="24"/>
                      <a:pt x="329" y="24"/>
                      <a:pt x="329" y="24"/>
                    </a:cubicBezTo>
                    <a:cubicBezTo>
                      <a:pt x="329" y="24"/>
                      <a:pt x="335" y="25"/>
                      <a:pt x="337" y="23"/>
                    </a:cubicBezTo>
                    <a:cubicBezTo>
                      <a:pt x="339" y="21"/>
                      <a:pt x="333" y="16"/>
                      <a:pt x="332" y="14"/>
                    </a:cubicBezTo>
                    <a:cubicBezTo>
                      <a:pt x="331" y="11"/>
                      <a:pt x="331" y="5"/>
                      <a:pt x="331" y="5"/>
                    </a:cubicBezTo>
                    <a:cubicBezTo>
                      <a:pt x="324" y="2"/>
                      <a:pt x="324" y="2"/>
                      <a:pt x="324" y="2"/>
                    </a:cubicBezTo>
                    <a:cubicBezTo>
                      <a:pt x="317" y="0"/>
                      <a:pt x="317" y="0"/>
                      <a:pt x="317" y="0"/>
                    </a:cubicBezTo>
                    <a:cubicBezTo>
                      <a:pt x="317" y="0"/>
                      <a:pt x="306" y="1"/>
                      <a:pt x="303" y="3"/>
                    </a:cubicBezTo>
                    <a:cubicBezTo>
                      <a:pt x="301" y="6"/>
                      <a:pt x="311" y="11"/>
                      <a:pt x="311" y="20"/>
                    </a:cubicBezTo>
                    <a:cubicBezTo>
                      <a:pt x="310" y="27"/>
                      <a:pt x="301" y="31"/>
                      <a:pt x="301" y="31"/>
                    </a:cubicBezTo>
                    <a:cubicBezTo>
                      <a:pt x="294" y="30"/>
                      <a:pt x="294" y="30"/>
                      <a:pt x="294" y="30"/>
                    </a:cubicBezTo>
                    <a:cubicBezTo>
                      <a:pt x="294" y="30"/>
                      <a:pt x="271" y="41"/>
                      <a:pt x="270" y="41"/>
                    </a:cubicBezTo>
                    <a:cubicBezTo>
                      <a:pt x="268" y="42"/>
                      <a:pt x="265" y="37"/>
                      <a:pt x="265" y="37"/>
                    </a:cubicBezTo>
                    <a:cubicBezTo>
                      <a:pt x="251" y="33"/>
                      <a:pt x="251" y="33"/>
                      <a:pt x="251" y="33"/>
                    </a:cubicBezTo>
                    <a:cubicBezTo>
                      <a:pt x="245" y="38"/>
                      <a:pt x="245" y="38"/>
                      <a:pt x="245" y="38"/>
                    </a:cubicBezTo>
                    <a:cubicBezTo>
                      <a:pt x="240" y="32"/>
                      <a:pt x="240" y="32"/>
                      <a:pt x="240" y="32"/>
                    </a:cubicBezTo>
                    <a:cubicBezTo>
                      <a:pt x="236" y="33"/>
                      <a:pt x="236" y="33"/>
                      <a:pt x="236" y="33"/>
                    </a:cubicBezTo>
                    <a:cubicBezTo>
                      <a:pt x="230" y="26"/>
                      <a:pt x="230" y="26"/>
                      <a:pt x="230" y="26"/>
                    </a:cubicBezTo>
                    <a:cubicBezTo>
                      <a:pt x="230" y="26"/>
                      <a:pt x="223" y="30"/>
                      <a:pt x="221" y="32"/>
                    </a:cubicBezTo>
                    <a:cubicBezTo>
                      <a:pt x="219" y="33"/>
                      <a:pt x="216" y="27"/>
                      <a:pt x="216" y="27"/>
                    </a:cubicBezTo>
                    <a:cubicBezTo>
                      <a:pt x="213" y="31"/>
                      <a:pt x="213" y="31"/>
                      <a:pt x="213" y="31"/>
                    </a:cubicBezTo>
                    <a:cubicBezTo>
                      <a:pt x="207" y="31"/>
                      <a:pt x="207" y="31"/>
                      <a:pt x="207" y="31"/>
                    </a:cubicBezTo>
                    <a:cubicBezTo>
                      <a:pt x="208" y="36"/>
                      <a:pt x="208" y="36"/>
                      <a:pt x="208" y="36"/>
                    </a:cubicBezTo>
                    <a:cubicBezTo>
                      <a:pt x="203" y="40"/>
                      <a:pt x="203" y="40"/>
                      <a:pt x="203" y="40"/>
                    </a:cubicBezTo>
                    <a:cubicBezTo>
                      <a:pt x="201" y="37"/>
                      <a:pt x="201" y="37"/>
                      <a:pt x="201" y="37"/>
                    </a:cubicBezTo>
                    <a:cubicBezTo>
                      <a:pt x="194" y="42"/>
                      <a:pt x="194" y="42"/>
                      <a:pt x="194" y="42"/>
                    </a:cubicBezTo>
                    <a:cubicBezTo>
                      <a:pt x="191" y="43"/>
                      <a:pt x="191" y="43"/>
                      <a:pt x="191" y="43"/>
                    </a:cubicBezTo>
                    <a:cubicBezTo>
                      <a:pt x="189" y="46"/>
                      <a:pt x="189" y="46"/>
                      <a:pt x="189" y="46"/>
                    </a:cubicBezTo>
                    <a:cubicBezTo>
                      <a:pt x="177" y="46"/>
                      <a:pt x="177" y="46"/>
                      <a:pt x="177" y="46"/>
                    </a:cubicBezTo>
                    <a:cubicBezTo>
                      <a:pt x="175" y="50"/>
                      <a:pt x="175" y="50"/>
                      <a:pt x="175" y="50"/>
                    </a:cubicBezTo>
                    <a:cubicBezTo>
                      <a:pt x="170" y="48"/>
                      <a:pt x="170" y="48"/>
                      <a:pt x="170" y="48"/>
                    </a:cubicBezTo>
                    <a:cubicBezTo>
                      <a:pt x="165" y="53"/>
                      <a:pt x="165" y="53"/>
                      <a:pt x="165" y="53"/>
                    </a:cubicBezTo>
                    <a:cubicBezTo>
                      <a:pt x="155" y="54"/>
                      <a:pt x="155" y="54"/>
                      <a:pt x="155" y="54"/>
                    </a:cubicBezTo>
                    <a:cubicBezTo>
                      <a:pt x="155" y="54"/>
                      <a:pt x="146" y="52"/>
                      <a:pt x="146" y="55"/>
                    </a:cubicBezTo>
                    <a:cubicBezTo>
                      <a:pt x="145" y="59"/>
                      <a:pt x="146" y="69"/>
                      <a:pt x="146" y="69"/>
                    </a:cubicBezTo>
                    <a:cubicBezTo>
                      <a:pt x="142" y="66"/>
                      <a:pt x="142" y="66"/>
                      <a:pt x="142" y="66"/>
                    </a:cubicBezTo>
                    <a:cubicBezTo>
                      <a:pt x="141" y="70"/>
                      <a:pt x="141" y="70"/>
                      <a:pt x="141" y="70"/>
                    </a:cubicBezTo>
                    <a:cubicBezTo>
                      <a:pt x="122" y="69"/>
                      <a:pt x="122" y="69"/>
                      <a:pt x="122" y="69"/>
                    </a:cubicBezTo>
                    <a:cubicBezTo>
                      <a:pt x="118" y="72"/>
                      <a:pt x="118" y="72"/>
                      <a:pt x="118" y="72"/>
                    </a:cubicBezTo>
                    <a:cubicBezTo>
                      <a:pt x="111" y="71"/>
                      <a:pt x="111" y="71"/>
                      <a:pt x="111" y="71"/>
                    </a:cubicBezTo>
                    <a:cubicBezTo>
                      <a:pt x="111" y="71"/>
                      <a:pt x="107" y="72"/>
                      <a:pt x="105" y="75"/>
                    </a:cubicBezTo>
                    <a:cubicBezTo>
                      <a:pt x="103" y="80"/>
                      <a:pt x="105" y="84"/>
                      <a:pt x="102" y="87"/>
                    </a:cubicBezTo>
                    <a:cubicBezTo>
                      <a:pt x="98" y="89"/>
                      <a:pt x="92" y="93"/>
                      <a:pt x="92" y="93"/>
                    </a:cubicBezTo>
                    <a:cubicBezTo>
                      <a:pt x="92" y="93"/>
                      <a:pt x="88" y="91"/>
                      <a:pt x="86" y="91"/>
                    </a:cubicBezTo>
                    <a:cubicBezTo>
                      <a:pt x="82" y="91"/>
                      <a:pt x="77" y="97"/>
                      <a:pt x="77" y="97"/>
                    </a:cubicBezTo>
                    <a:cubicBezTo>
                      <a:pt x="61" y="98"/>
                      <a:pt x="61" y="98"/>
                      <a:pt x="61" y="98"/>
                    </a:cubicBezTo>
                    <a:cubicBezTo>
                      <a:pt x="61" y="105"/>
                      <a:pt x="61" y="105"/>
                      <a:pt x="61" y="105"/>
                    </a:cubicBezTo>
                    <a:cubicBezTo>
                      <a:pt x="61" y="105"/>
                      <a:pt x="65" y="109"/>
                      <a:pt x="66" y="113"/>
                    </a:cubicBezTo>
                    <a:cubicBezTo>
                      <a:pt x="66" y="117"/>
                      <a:pt x="61" y="122"/>
                      <a:pt x="61" y="122"/>
                    </a:cubicBezTo>
                    <a:cubicBezTo>
                      <a:pt x="61" y="122"/>
                      <a:pt x="58" y="122"/>
                      <a:pt x="56" y="123"/>
                    </a:cubicBezTo>
                    <a:cubicBezTo>
                      <a:pt x="53" y="126"/>
                      <a:pt x="55" y="132"/>
                      <a:pt x="55" y="132"/>
                    </a:cubicBezTo>
                    <a:cubicBezTo>
                      <a:pt x="51" y="137"/>
                      <a:pt x="51" y="137"/>
                      <a:pt x="51" y="137"/>
                    </a:cubicBezTo>
                    <a:cubicBezTo>
                      <a:pt x="51" y="137"/>
                      <a:pt x="54" y="144"/>
                      <a:pt x="49" y="149"/>
                    </a:cubicBezTo>
                    <a:cubicBezTo>
                      <a:pt x="44" y="153"/>
                      <a:pt x="42" y="150"/>
                      <a:pt x="39" y="151"/>
                    </a:cubicBezTo>
                    <a:cubicBezTo>
                      <a:pt x="36" y="152"/>
                      <a:pt x="37" y="156"/>
                      <a:pt x="37" y="156"/>
                    </a:cubicBezTo>
                    <a:cubicBezTo>
                      <a:pt x="37" y="156"/>
                      <a:pt x="33" y="154"/>
                      <a:pt x="32" y="159"/>
                    </a:cubicBezTo>
                    <a:cubicBezTo>
                      <a:pt x="31" y="162"/>
                      <a:pt x="37" y="165"/>
                      <a:pt x="37" y="165"/>
                    </a:cubicBezTo>
                    <a:cubicBezTo>
                      <a:pt x="38" y="169"/>
                      <a:pt x="38" y="169"/>
                      <a:pt x="38" y="169"/>
                    </a:cubicBezTo>
                    <a:cubicBezTo>
                      <a:pt x="38" y="169"/>
                      <a:pt x="33" y="168"/>
                      <a:pt x="33" y="169"/>
                    </a:cubicBezTo>
                    <a:cubicBezTo>
                      <a:pt x="32" y="172"/>
                      <a:pt x="33" y="175"/>
                      <a:pt x="33" y="175"/>
                    </a:cubicBezTo>
                    <a:cubicBezTo>
                      <a:pt x="33" y="175"/>
                      <a:pt x="28" y="180"/>
                      <a:pt x="26" y="180"/>
                    </a:cubicBezTo>
                    <a:cubicBezTo>
                      <a:pt x="29" y="182"/>
                      <a:pt x="29" y="182"/>
                      <a:pt x="29" y="182"/>
                    </a:cubicBezTo>
                    <a:cubicBezTo>
                      <a:pt x="29" y="188"/>
                      <a:pt x="29" y="188"/>
                      <a:pt x="29" y="188"/>
                    </a:cubicBezTo>
                    <a:cubicBezTo>
                      <a:pt x="34" y="190"/>
                      <a:pt x="34" y="190"/>
                      <a:pt x="34" y="190"/>
                    </a:cubicBezTo>
                    <a:cubicBezTo>
                      <a:pt x="33" y="195"/>
                      <a:pt x="33" y="195"/>
                      <a:pt x="33" y="195"/>
                    </a:cubicBezTo>
                    <a:cubicBezTo>
                      <a:pt x="40" y="204"/>
                      <a:pt x="40" y="204"/>
                      <a:pt x="40" y="204"/>
                    </a:cubicBezTo>
                    <a:cubicBezTo>
                      <a:pt x="48" y="205"/>
                      <a:pt x="48" y="205"/>
                      <a:pt x="48" y="205"/>
                    </a:cubicBezTo>
                    <a:cubicBezTo>
                      <a:pt x="63" y="222"/>
                      <a:pt x="63" y="222"/>
                      <a:pt x="63" y="222"/>
                    </a:cubicBezTo>
                    <a:cubicBezTo>
                      <a:pt x="70" y="215"/>
                      <a:pt x="70" y="215"/>
                      <a:pt x="70" y="215"/>
                    </a:cubicBezTo>
                    <a:cubicBezTo>
                      <a:pt x="85" y="216"/>
                      <a:pt x="85" y="216"/>
                      <a:pt x="85" y="216"/>
                    </a:cubicBezTo>
                    <a:cubicBezTo>
                      <a:pt x="87" y="223"/>
                      <a:pt x="87" y="223"/>
                      <a:pt x="87" y="223"/>
                    </a:cubicBezTo>
                    <a:cubicBezTo>
                      <a:pt x="73" y="220"/>
                      <a:pt x="73" y="220"/>
                      <a:pt x="73" y="220"/>
                    </a:cubicBezTo>
                    <a:cubicBezTo>
                      <a:pt x="73" y="220"/>
                      <a:pt x="63" y="226"/>
                      <a:pt x="59" y="230"/>
                    </a:cubicBezTo>
                    <a:cubicBezTo>
                      <a:pt x="55" y="235"/>
                      <a:pt x="54" y="244"/>
                      <a:pt x="57" y="246"/>
                    </a:cubicBezTo>
                    <a:cubicBezTo>
                      <a:pt x="61" y="249"/>
                      <a:pt x="64" y="242"/>
                      <a:pt x="65" y="238"/>
                    </a:cubicBezTo>
                    <a:cubicBezTo>
                      <a:pt x="67" y="233"/>
                      <a:pt x="71" y="232"/>
                      <a:pt x="71" y="232"/>
                    </a:cubicBezTo>
                    <a:cubicBezTo>
                      <a:pt x="75" y="238"/>
                      <a:pt x="75" y="238"/>
                      <a:pt x="75" y="238"/>
                    </a:cubicBezTo>
                    <a:cubicBezTo>
                      <a:pt x="74" y="246"/>
                      <a:pt x="74" y="246"/>
                      <a:pt x="74" y="246"/>
                    </a:cubicBezTo>
                    <a:cubicBezTo>
                      <a:pt x="80" y="243"/>
                      <a:pt x="80" y="243"/>
                      <a:pt x="80" y="243"/>
                    </a:cubicBezTo>
                    <a:cubicBezTo>
                      <a:pt x="85" y="248"/>
                      <a:pt x="85" y="248"/>
                      <a:pt x="85" y="248"/>
                    </a:cubicBezTo>
                    <a:cubicBezTo>
                      <a:pt x="85" y="248"/>
                      <a:pt x="80" y="258"/>
                      <a:pt x="89" y="259"/>
                    </a:cubicBezTo>
                    <a:cubicBezTo>
                      <a:pt x="97" y="261"/>
                      <a:pt x="98" y="249"/>
                      <a:pt x="98" y="249"/>
                    </a:cubicBezTo>
                    <a:cubicBezTo>
                      <a:pt x="108" y="260"/>
                      <a:pt x="108" y="260"/>
                      <a:pt x="108" y="260"/>
                    </a:cubicBezTo>
                    <a:cubicBezTo>
                      <a:pt x="108" y="260"/>
                      <a:pt x="111" y="257"/>
                      <a:pt x="113" y="255"/>
                    </a:cubicBezTo>
                    <a:cubicBezTo>
                      <a:pt x="116" y="254"/>
                      <a:pt x="121" y="255"/>
                      <a:pt x="121" y="255"/>
                    </a:cubicBezTo>
                    <a:cubicBezTo>
                      <a:pt x="121" y="255"/>
                      <a:pt x="125" y="248"/>
                      <a:pt x="129" y="248"/>
                    </a:cubicBezTo>
                    <a:cubicBezTo>
                      <a:pt x="134" y="248"/>
                      <a:pt x="144" y="251"/>
                      <a:pt x="144" y="251"/>
                    </a:cubicBezTo>
                    <a:cubicBezTo>
                      <a:pt x="146" y="249"/>
                      <a:pt x="146" y="249"/>
                      <a:pt x="146" y="249"/>
                    </a:cubicBezTo>
                    <a:cubicBezTo>
                      <a:pt x="156" y="251"/>
                      <a:pt x="156" y="251"/>
                      <a:pt x="156" y="251"/>
                    </a:cubicBezTo>
                    <a:cubicBezTo>
                      <a:pt x="153" y="245"/>
                      <a:pt x="153" y="245"/>
                      <a:pt x="153" y="245"/>
                    </a:cubicBezTo>
                    <a:cubicBezTo>
                      <a:pt x="155" y="243"/>
                      <a:pt x="155" y="243"/>
                      <a:pt x="155" y="243"/>
                    </a:cubicBezTo>
                    <a:cubicBezTo>
                      <a:pt x="162" y="247"/>
                      <a:pt x="162" y="247"/>
                      <a:pt x="162" y="247"/>
                    </a:cubicBezTo>
                    <a:cubicBezTo>
                      <a:pt x="161" y="252"/>
                      <a:pt x="161" y="252"/>
                      <a:pt x="161" y="252"/>
                    </a:cubicBezTo>
                    <a:cubicBezTo>
                      <a:pt x="164" y="252"/>
                      <a:pt x="164" y="252"/>
                      <a:pt x="164" y="252"/>
                    </a:cubicBezTo>
                    <a:cubicBezTo>
                      <a:pt x="171" y="245"/>
                      <a:pt x="171" y="245"/>
                      <a:pt x="171" y="245"/>
                    </a:cubicBezTo>
                    <a:cubicBezTo>
                      <a:pt x="177" y="254"/>
                      <a:pt x="177" y="254"/>
                      <a:pt x="177" y="254"/>
                    </a:cubicBezTo>
                    <a:cubicBezTo>
                      <a:pt x="177" y="254"/>
                      <a:pt x="192" y="253"/>
                      <a:pt x="197" y="255"/>
                    </a:cubicBezTo>
                    <a:cubicBezTo>
                      <a:pt x="203" y="257"/>
                      <a:pt x="191" y="262"/>
                      <a:pt x="191" y="262"/>
                    </a:cubicBezTo>
                    <a:cubicBezTo>
                      <a:pt x="187" y="262"/>
                      <a:pt x="187" y="262"/>
                      <a:pt x="187" y="262"/>
                    </a:cubicBezTo>
                    <a:cubicBezTo>
                      <a:pt x="182" y="268"/>
                      <a:pt x="182" y="268"/>
                      <a:pt x="182" y="268"/>
                    </a:cubicBezTo>
                    <a:cubicBezTo>
                      <a:pt x="186" y="270"/>
                      <a:pt x="186" y="270"/>
                      <a:pt x="186" y="270"/>
                    </a:cubicBezTo>
                    <a:cubicBezTo>
                      <a:pt x="184" y="273"/>
                      <a:pt x="184" y="273"/>
                      <a:pt x="184" y="273"/>
                    </a:cubicBezTo>
                    <a:cubicBezTo>
                      <a:pt x="184" y="273"/>
                      <a:pt x="172" y="263"/>
                      <a:pt x="167" y="263"/>
                    </a:cubicBezTo>
                    <a:cubicBezTo>
                      <a:pt x="162" y="262"/>
                      <a:pt x="146" y="260"/>
                      <a:pt x="146" y="260"/>
                    </a:cubicBezTo>
                    <a:cubicBezTo>
                      <a:pt x="146" y="260"/>
                      <a:pt x="136" y="255"/>
                      <a:pt x="129" y="255"/>
                    </a:cubicBezTo>
                    <a:cubicBezTo>
                      <a:pt x="122" y="254"/>
                      <a:pt x="116" y="267"/>
                      <a:pt x="116" y="267"/>
                    </a:cubicBezTo>
                    <a:cubicBezTo>
                      <a:pt x="102" y="267"/>
                      <a:pt x="102" y="267"/>
                      <a:pt x="102" y="267"/>
                    </a:cubicBezTo>
                    <a:cubicBezTo>
                      <a:pt x="100" y="279"/>
                      <a:pt x="100" y="279"/>
                      <a:pt x="100" y="279"/>
                    </a:cubicBezTo>
                    <a:cubicBezTo>
                      <a:pt x="100" y="279"/>
                      <a:pt x="91" y="284"/>
                      <a:pt x="91" y="290"/>
                    </a:cubicBezTo>
                    <a:cubicBezTo>
                      <a:pt x="91" y="296"/>
                      <a:pt x="100" y="294"/>
                      <a:pt x="100" y="294"/>
                    </a:cubicBezTo>
                    <a:cubicBezTo>
                      <a:pt x="104" y="303"/>
                      <a:pt x="104" y="303"/>
                      <a:pt x="104" y="303"/>
                    </a:cubicBezTo>
                    <a:cubicBezTo>
                      <a:pt x="104" y="303"/>
                      <a:pt x="114" y="304"/>
                      <a:pt x="122" y="311"/>
                    </a:cubicBezTo>
                    <a:cubicBezTo>
                      <a:pt x="130" y="319"/>
                      <a:pt x="122" y="326"/>
                      <a:pt x="120" y="334"/>
                    </a:cubicBezTo>
                    <a:cubicBezTo>
                      <a:pt x="119" y="340"/>
                      <a:pt x="129" y="346"/>
                      <a:pt x="129" y="346"/>
                    </a:cubicBezTo>
                    <a:cubicBezTo>
                      <a:pt x="129" y="350"/>
                      <a:pt x="129" y="350"/>
                      <a:pt x="129" y="350"/>
                    </a:cubicBezTo>
                    <a:cubicBezTo>
                      <a:pt x="140" y="356"/>
                      <a:pt x="140" y="356"/>
                      <a:pt x="140" y="356"/>
                    </a:cubicBezTo>
                    <a:cubicBezTo>
                      <a:pt x="144" y="353"/>
                      <a:pt x="144" y="353"/>
                      <a:pt x="144" y="353"/>
                    </a:cubicBezTo>
                    <a:cubicBezTo>
                      <a:pt x="144" y="353"/>
                      <a:pt x="141" y="349"/>
                      <a:pt x="144" y="341"/>
                    </a:cubicBezTo>
                    <a:cubicBezTo>
                      <a:pt x="146" y="333"/>
                      <a:pt x="155" y="339"/>
                      <a:pt x="155" y="339"/>
                    </a:cubicBezTo>
                    <a:cubicBezTo>
                      <a:pt x="155" y="345"/>
                      <a:pt x="155" y="345"/>
                      <a:pt x="155" y="345"/>
                    </a:cubicBezTo>
                    <a:cubicBezTo>
                      <a:pt x="155" y="345"/>
                      <a:pt x="160" y="347"/>
                      <a:pt x="165" y="353"/>
                    </a:cubicBezTo>
                    <a:cubicBezTo>
                      <a:pt x="171" y="358"/>
                      <a:pt x="168" y="369"/>
                      <a:pt x="168" y="369"/>
                    </a:cubicBezTo>
                    <a:cubicBezTo>
                      <a:pt x="176" y="374"/>
                      <a:pt x="176" y="374"/>
                      <a:pt x="176" y="374"/>
                    </a:cubicBezTo>
                    <a:cubicBezTo>
                      <a:pt x="176" y="374"/>
                      <a:pt x="173" y="353"/>
                      <a:pt x="181" y="347"/>
                    </a:cubicBezTo>
                    <a:cubicBezTo>
                      <a:pt x="190" y="340"/>
                      <a:pt x="191" y="353"/>
                      <a:pt x="191" y="353"/>
                    </a:cubicBezTo>
                    <a:cubicBezTo>
                      <a:pt x="210" y="368"/>
                      <a:pt x="210" y="368"/>
                      <a:pt x="210" y="368"/>
                    </a:cubicBezTo>
                    <a:cubicBezTo>
                      <a:pt x="213" y="366"/>
                      <a:pt x="213" y="366"/>
                      <a:pt x="213" y="366"/>
                    </a:cubicBezTo>
                    <a:cubicBezTo>
                      <a:pt x="205" y="353"/>
                      <a:pt x="205" y="353"/>
                      <a:pt x="205" y="353"/>
                    </a:cubicBezTo>
                    <a:cubicBezTo>
                      <a:pt x="205" y="346"/>
                      <a:pt x="205" y="346"/>
                      <a:pt x="205" y="346"/>
                    </a:cubicBezTo>
                    <a:cubicBezTo>
                      <a:pt x="192" y="325"/>
                      <a:pt x="192" y="325"/>
                      <a:pt x="192" y="325"/>
                    </a:cubicBezTo>
                    <a:cubicBezTo>
                      <a:pt x="191" y="317"/>
                      <a:pt x="191" y="317"/>
                      <a:pt x="191" y="317"/>
                    </a:cubicBezTo>
                    <a:cubicBezTo>
                      <a:pt x="179" y="299"/>
                      <a:pt x="179" y="299"/>
                      <a:pt x="179" y="299"/>
                    </a:cubicBezTo>
                    <a:cubicBezTo>
                      <a:pt x="200" y="303"/>
                      <a:pt x="200" y="303"/>
                      <a:pt x="200" y="303"/>
                    </a:cubicBezTo>
                    <a:cubicBezTo>
                      <a:pt x="197" y="309"/>
                      <a:pt x="197" y="309"/>
                      <a:pt x="197" y="309"/>
                    </a:cubicBezTo>
                    <a:cubicBezTo>
                      <a:pt x="206" y="311"/>
                      <a:pt x="206" y="311"/>
                      <a:pt x="206" y="311"/>
                    </a:cubicBezTo>
                    <a:cubicBezTo>
                      <a:pt x="211" y="303"/>
                      <a:pt x="211" y="303"/>
                      <a:pt x="211" y="303"/>
                    </a:cubicBezTo>
                    <a:cubicBezTo>
                      <a:pt x="216" y="304"/>
                      <a:pt x="216" y="304"/>
                      <a:pt x="216" y="304"/>
                    </a:cubicBezTo>
                    <a:cubicBezTo>
                      <a:pt x="221" y="296"/>
                      <a:pt x="221" y="296"/>
                      <a:pt x="221" y="296"/>
                    </a:cubicBezTo>
                    <a:cubicBezTo>
                      <a:pt x="216" y="296"/>
                      <a:pt x="216" y="296"/>
                      <a:pt x="216" y="296"/>
                    </a:cubicBezTo>
                    <a:cubicBezTo>
                      <a:pt x="211" y="287"/>
                      <a:pt x="211" y="287"/>
                      <a:pt x="211" y="287"/>
                    </a:cubicBezTo>
                    <a:cubicBezTo>
                      <a:pt x="211" y="287"/>
                      <a:pt x="205" y="291"/>
                      <a:pt x="202" y="289"/>
                    </a:cubicBezTo>
                    <a:cubicBezTo>
                      <a:pt x="197" y="286"/>
                      <a:pt x="202" y="284"/>
                      <a:pt x="202" y="280"/>
                    </a:cubicBezTo>
                    <a:cubicBezTo>
                      <a:pt x="202" y="276"/>
                      <a:pt x="194" y="277"/>
                      <a:pt x="192" y="275"/>
                    </a:cubicBezTo>
                    <a:cubicBezTo>
                      <a:pt x="190" y="274"/>
                      <a:pt x="196" y="272"/>
                      <a:pt x="196" y="272"/>
                    </a:cubicBezTo>
                    <a:cubicBezTo>
                      <a:pt x="208" y="267"/>
                      <a:pt x="208" y="267"/>
                      <a:pt x="208" y="267"/>
                    </a:cubicBezTo>
                    <a:cubicBezTo>
                      <a:pt x="219" y="260"/>
                      <a:pt x="219" y="260"/>
                      <a:pt x="219" y="260"/>
                    </a:cubicBezTo>
                    <a:cubicBezTo>
                      <a:pt x="220" y="265"/>
                      <a:pt x="220" y="265"/>
                      <a:pt x="220" y="265"/>
                    </a:cubicBezTo>
                    <a:cubicBezTo>
                      <a:pt x="226" y="265"/>
                      <a:pt x="226" y="265"/>
                      <a:pt x="226" y="265"/>
                    </a:cubicBezTo>
                    <a:cubicBezTo>
                      <a:pt x="226" y="265"/>
                      <a:pt x="239" y="279"/>
                      <a:pt x="245" y="282"/>
                    </a:cubicBezTo>
                    <a:cubicBezTo>
                      <a:pt x="251" y="284"/>
                      <a:pt x="253" y="275"/>
                      <a:pt x="253" y="275"/>
                    </a:cubicBezTo>
                    <a:close/>
                    <a:moveTo>
                      <a:pt x="247" y="72"/>
                    </a:moveTo>
                    <a:cubicBezTo>
                      <a:pt x="234" y="72"/>
                      <a:pt x="238" y="86"/>
                      <a:pt x="247" y="87"/>
                    </a:cubicBezTo>
                    <a:cubicBezTo>
                      <a:pt x="258" y="88"/>
                      <a:pt x="262" y="72"/>
                      <a:pt x="247" y="72"/>
                    </a:cubicBezTo>
                    <a:close/>
                    <a:moveTo>
                      <a:pt x="288" y="89"/>
                    </a:moveTo>
                    <a:cubicBezTo>
                      <a:pt x="288" y="89"/>
                      <a:pt x="293" y="91"/>
                      <a:pt x="296" y="94"/>
                    </a:cubicBezTo>
                    <a:cubicBezTo>
                      <a:pt x="300" y="96"/>
                      <a:pt x="303" y="89"/>
                      <a:pt x="298" y="84"/>
                    </a:cubicBezTo>
                    <a:cubicBezTo>
                      <a:pt x="292" y="79"/>
                      <a:pt x="288" y="89"/>
                      <a:pt x="288" y="89"/>
                    </a:cubicBezTo>
                    <a:close/>
                    <a:moveTo>
                      <a:pt x="274" y="125"/>
                    </a:moveTo>
                    <a:cubicBezTo>
                      <a:pt x="276" y="133"/>
                      <a:pt x="276" y="133"/>
                      <a:pt x="276" y="133"/>
                    </a:cubicBezTo>
                    <a:cubicBezTo>
                      <a:pt x="285" y="134"/>
                      <a:pt x="285" y="134"/>
                      <a:pt x="285" y="134"/>
                    </a:cubicBezTo>
                    <a:cubicBezTo>
                      <a:pt x="285" y="129"/>
                      <a:pt x="285" y="129"/>
                      <a:pt x="285" y="129"/>
                    </a:cubicBezTo>
                    <a:cubicBezTo>
                      <a:pt x="285" y="129"/>
                      <a:pt x="288" y="134"/>
                      <a:pt x="291" y="134"/>
                    </a:cubicBezTo>
                    <a:cubicBezTo>
                      <a:pt x="294" y="135"/>
                      <a:pt x="290" y="127"/>
                      <a:pt x="290" y="127"/>
                    </a:cubicBezTo>
                    <a:cubicBezTo>
                      <a:pt x="293" y="116"/>
                      <a:pt x="293" y="116"/>
                      <a:pt x="293" y="116"/>
                    </a:cubicBezTo>
                    <a:cubicBezTo>
                      <a:pt x="291" y="116"/>
                      <a:pt x="291" y="116"/>
                      <a:pt x="291" y="116"/>
                    </a:cubicBezTo>
                    <a:cubicBezTo>
                      <a:pt x="287" y="122"/>
                      <a:pt x="287" y="122"/>
                      <a:pt x="287" y="122"/>
                    </a:cubicBezTo>
                    <a:cubicBezTo>
                      <a:pt x="287" y="122"/>
                      <a:pt x="278" y="118"/>
                      <a:pt x="274" y="125"/>
                    </a:cubicBezTo>
                    <a:close/>
                    <a:moveTo>
                      <a:pt x="322" y="160"/>
                    </a:moveTo>
                    <a:cubicBezTo>
                      <a:pt x="322" y="168"/>
                      <a:pt x="322" y="168"/>
                      <a:pt x="322" y="168"/>
                    </a:cubicBezTo>
                    <a:cubicBezTo>
                      <a:pt x="334" y="173"/>
                      <a:pt x="334" y="173"/>
                      <a:pt x="334" y="173"/>
                    </a:cubicBezTo>
                    <a:cubicBezTo>
                      <a:pt x="339" y="168"/>
                      <a:pt x="339" y="168"/>
                      <a:pt x="339" y="168"/>
                    </a:cubicBezTo>
                    <a:cubicBezTo>
                      <a:pt x="337" y="172"/>
                      <a:pt x="337" y="172"/>
                      <a:pt x="337" y="172"/>
                    </a:cubicBezTo>
                    <a:cubicBezTo>
                      <a:pt x="340" y="177"/>
                      <a:pt x="340" y="177"/>
                      <a:pt x="340" y="177"/>
                    </a:cubicBezTo>
                    <a:cubicBezTo>
                      <a:pt x="353" y="176"/>
                      <a:pt x="353" y="176"/>
                      <a:pt x="353" y="176"/>
                    </a:cubicBezTo>
                    <a:cubicBezTo>
                      <a:pt x="353" y="176"/>
                      <a:pt x="361" y="172"/>
                      <a:pt x="361" y="166"/>
                    </a:cubicBezTo>
                    <a:cubicBezTo>
                      <a:pt x="361" y="161"/>
                      <a:pt x="350" y="157"/>
                      <a:pt x="350" y="157"/>
                    </a:cubicBezTo>
                    <a:cubicBezTo>
                      <a:pt x="350" y="157"/>
                      <a:pt x="348" y="150"/>
                      <a:pt x="343" y="151"/>
                    </a:cubicBezTo>
                    <a:cubicBezTo>
                      <a:pt x="338" y="152"/>
                      <a:pt x="336" y="157"/>
                      <a:pt x="336" y="157"/>
                    </a:cubicBezTo>
                    <a:lnTo>
                      <a:pt x="322" y="160"/>
                    </a:lnTo>
                    <a:close/>
                    <a:moveTo>
                      <a:pt x="274" y="154"/>
                    </a:moveTo>
                    <a:cubicBezTo>
                      <a:pt x="274" y="162"/>
                      <a:pt x="277" y="161"/>
                      <a:pt x="279" y="156"/>
                    </a:cubicBezTo>
                    <a:cubicBezTo>
                      <a:pt x="280" y="149"/>
                      <a:pt x="275" y="149"/>
                      <a:pt x="274" y="154"/>
                    </a:cubicBezTo>
                    <a:close/>
                    <a:moveTo>
                      <a:pt x="214" y="193"/>
                    </a:moveTo>
                    <a:cubicBezTo>
                      <a:pt x="221" y="191"/>
                      <a:pt x="221" y="191"/>
                      <a:pt x="221" y="191"/>
                    </a:cubicBezTo>
                    <a:cubicBezTo>
                      <a:pt x="208" y="184"/>
                      <a:pt x="208" y="184"/>
                      <a:pt x="208" y="184"/>
                    </a:cubicBezTo>
                    <a:lnTo>
                      <a:pt x="214" y="193"/>
                    </a:lnTo>
                    <a:close/>
                    <a:moveTo>
                      <a:pt x="202" y="191"/>
                    </a:moveTo>
                    <a:cubicBezTo>
                      <a:pt x="206" y="188"/>
                      <a:pt x="206" y="188"/>
                      <a:pt x="206" y="188"/>
                    </a:cubicBezTo>
                    <a:cubicBezTo>
                      <a:pt x="202" y="185"/>
                      <a:pt x="202" y="185"/>
                      <a:pt x="202" y="185"/>
                    </a:cubicBezTo>
                    <a:cubicBezTo>
                      <a:pt x="197" y="190"/>
                      <a:pt x="197" y="190"/>
                      <a:pt x="197" y="190"/>
                    </a:cubicBezTo>
                    <a:lnTo>
                      <a:pt x="202" y="191"/>
                    </a:lnTo>
                    <a:close/>
                    <a:moveTo>
                      <a:pt x="222" y="185"/>
                    </a:moveTo>
                    <a:cubicBezTo>
                      <a:pt x="225" y="186"/>
                      <a:pt x="225" y="186"/>
                      <a:pt x="225" y="186"/>
                    </a:cubicBezTo>
                    <a:cubicBezTo>
                      <a:pt x="228" y="180"/>
                      <a:pt x="228" y="180"/>
                      <a:pt x="228" y="180"/>
                    </a:cubicBezTo>
                    <a:cubicBezTo>
                      <a:pt x="224" y="179"/>
                      <a:pt x="224" y="179"/>
                      <a:pt x="224" y="179"/>
                    </a:cubicBezTo>
                    <a:lnTo>
                      <a:pt x="222" y="185"/>
                    </a:lnTo>
                    <a:close/>
                    <a:moveTo>
                      <a:pt x="236" y="193"/>
                    </a:moveTo>
                    <a:cubicBezTo>
                      <a:pt x="240" y="195"/>
                      <a:pt x="240" y="189"/>
                      <a:pt x="236" y="189"/>
                    </a:cubicBezTo>
                    <a:cubicBezTo>
                      <a:pt x="231" y="189"/>
                      <a:pt x="230" y="192"/>
                      <a:pt x="236" y="193"/>
                    </a:cubicBezTo>
                    <a:close/>
                    <a:moveTo>
                      <a:pt x="268" y="198"/>
                    </a:moveTo>
                    <a:cubicBezTo>
                      <a:pt x="262" y="200"/>
                      <a:pt x="262" y="200"/>
                      <a:pt x="262" y="200"/>
                    </a:cubicBezTo>
                    <a:cubicBezTo>
                      <a:pt x="255" y="191"/>
                      <a:pt x="255" y="191"/>
                      <a:pt x="255" y="191"/>
                    </a:cubicBezTo>
                    <a:cubicBezTo>
                      <a:pt x="252" y="198"/>
                      <a:pt x="252" y="198"/>
                      <a:pt x="252" y="198"/>
                    </a:cubicBezTo>
                    <a:cubicBezTo>
                      <a:pt x="260" y="206"/>
                      <a:pt x="260" y="206"/>
                      <a:pt x="260" y="206"/>
                    </a:cubicBezTo>
                    <a:lnTo>
                      <a:pt x="268" y="198"/>
                    </a:lnTo>
                    <a:close/>
                    <a:moveTo>
                      <a:pt x="350" y="220"/>
                    </a:moveTo>
                    <a:cubicBezTo>
                      <a:pt x="350" y="213"/>
                      <a:pt x="343" y="203"/>
                      <a:pt x="343" y="203"/>
                    </a:cubicBezTo>
                    <a:cubicBezTo>
                      <a:pt x="329" y="208"/>
                      <a:pt x="329" y="208"/>
                      <a:pt x="329" y="208"/>
                    </a:cubicBezTo>
                    <a:cubicBezTo>
                      <a:pt x="333" y="213"/>
                      <a:pt x="333" y="213"/>
                      <a:pt x="333" y="213"/>
                    </a:cubicBezTo>
                    <a:cubicBezTo>
                      <a:pt x="333" y="213"/>
                      <a:pt x="337" y="216"/>
                      <a:pt x="339" y="220"/>
                    </a:cubicBezTo>
                    <a:cubicBezTo>
                      <a:pt x="341" y="222"/>
                      <a:pt x="334" y="227"/>
                      <a:pt x="334" y="227"/>
                    </a:cubicBezTo>
                    <a:cubicBezTo>
                      <a:pt x="343" y="233"/>
                      <a:pt x="343" y="233"/>
                      <a:pt x="343" y="233"/>
                    </a:cubicBezTo>
                    <a:cubicBezTo>
                      <a:pt x="343" y="233"/>
                      <a:pt x="350" y="225"/>
                      <a:pt x="350" y="220"/>
                    </a:cubicBezTo>
                    <a:close/>
                    <a:moveTo>
                      <a:pt x="318" y="206"/>
                    </a:moveTo>
                    <a:cubicBezTo>
                      <a:pt x="315" y="207"/>
                      <a:pt x="315" y="207"/>
                      <a:pt x="315" y="207"/>
                    </a:cubicBezTo>
                    <a:cubicBezTo>
                      <a:pt x="317" y="213"/>
                      <a:pt x="317" y="213"/>
                      <a:pt x="317" y="213"/>
                    </a:cubicBezTo>
                    <a:cubicBezTo>
                      <a:pt x="319" y="211"/>
                      <a:pt x="319" y="211"/>
                      <a:pt x="319" y="211"/>
                    </a:cubicBezTo>
                    <a:lnTo>
                      <a:pt x="318" y="206"/>
                    </a:lnTo>
                    <a:close/>
                    <a:moveTo>
                      <a:pt x="355" y="207"/>
                    </a:moveTo>
                    <a:cubicBezTo>
                      <a:pt x="348" y="205"/>
                      <a:pt x="348" y="205"/>
                      <a:pt x="348" y="205"/>
                    </a:cubicBezTo>
                    <a:cubicBezTo>
                      <a:pt x="350" y="208"/>
                      <a:pt x="350" y="208"/>
                      <a:pt x="350" y="208"/>
                    </a:cubicBezTo>
                    <a:lnTo>
                      <a:pt x="355" y="207"/>
                    </a:lnTo>
                    <a:close/>
                    <a:moveTo>
                      <a:pt x="295" y="267"/>
                    </a:moveTo>
                    <a:cubicBezTo>
                      <a:pt x="292" y="263"/>
                      <a:pt x="292" y="263"/>
                      <a:pt x="292" y="263"/>
                    </a:cubicBezTo>
                    <a:cubicBezTo>
                      <a:pt x="294" y="262"/>
                      <a:pt x="294" y="262"/>
                      <a:pt x="294" y="262"/>
                    </a:cubicBezTo>
                    <a:cubicBezTo>
                      <a:pt x="290" y="255"/>
                      <a:pt x="290" y="255"/>
                      <a:pt x="290" y="255"/>
                    </a:cubicBezTo>
                    <a:cubicBezTo>
                      <a:pt x="286" y="255"/>
                      <a:pt x="286" y="255"/>
                      <a:pt x="286" y="255"/>
                    </a:cubicBezTo>
                    <a:cubicBezTo>
                      <a:pt x="282" y="249"/>
                      <a:pt x="282" y="249"/>
                      <a:pt x="282" y="249"/>
                    </a:cubicBezTo>
                    <a:cubicBezTo>
                      <a:pt x="276" y="257"/>
                      <a:pt x="276" y="257"/>
                      <a:pt x="276" y="257"/>
                    </a:cubicBezTo>
                    <a:cubicBezTo>
                      <a:pt x="292" y="271"/>
                      <a:pt x="292" y="271"/>
                      <a:pt x="292" y="271"/>
                    </a:cubicBezTo>
                    <a:lnTo>
                      <a:pt x="295" y="267"/>
                    </a:lnTo>
                    <a:close/>
                    <a:moveTo>
                      <a:pt x="295" y="273"/>
                    </a:moveTo>
                    <a:cubicBezTo>
                      <a:pt x="301" y="276"/>
                      <a:pt x="301" y="276"/>
                      <a:pt x="301" y="276"/>
                    </a:cubicBezTo>
                    <a:cubicBezTo>
                      <a:pt x="302" y="278"/>
                      <a:pt x="302" y="278"/>
                      <a:pt x="302" y="278"/>
                    </a:cubicBezTo>
                    <a:cubicBezTo>
                      <a:pt x="309" y="275"/>
                      <a:pt x="309" y="275"/>
                      <a:pt x="309" y="275"/>
                    </a:cubicBezTo>
                    <a:cubicBezTo>
                      <a:pt x="308" y="271"/>
                      <a:pt x="308" y="271"/>
                      <a:pt x="308" y="271"/>
                    </a:cubicBezTo>
                    <a:cubicBezTo>
                      <a:pt x="296" y="271"/>
                      <a:pt x="296" y="271"/>
                      <a:pt x="296" y="271"/>
                    </a:cubicBezTo>
                    <a:lnTo>
                      <a:pt x="295" y="273"/>
                    </a:lnTo>
                    <a:close/>
                    <a:moveTo>
                      <a:pt x="298" y="288"/>
                    </a:moveTo>
                    <a:cubicBezTo>
                      <a:pt x="293" y="282"/>
                      <a:pt x="293" y="282"/>
                      <a:pt x="293" y="282"/>
                    </a:cubicBezTo>
                    <a:cubicBezTo>
                      <a:pt x="291" y="282"/>
                      <a:pt x="291" y="282"/>
                      <a:pt x="291" y="282"/>
                    </a:cubicBezTo>
                    <a:cubicBezTo>
                      <a:pt x="291" y="290"/>
                      <a:pt x="291" y="290"/>
                      <a:pt x="291" y="290"/>
                    </a:cubicBezTo>
                    <a:lnTo>
                      <a:pt x="298" y="288"/>
                    </a:lnTo>
                    <a:close/>
                    <a:moveTo>
                      <a:pt x="284" y="273"/>
                    </a:moveTo>
                    <a:cubicBezTo>
                      <a:pt x="278" y="278"/>
                      <a:pt x="278" y="278"/>
                      <a:pt x="278" y="278"/>
                    </a:cubicBezTo>
                    <a:cubicBezTo>
                      <a:pt x="285" y="279"/>
                      <a:pt x="285" y="279"/>
                      <a:pt x="285" y="279"/>
                    </a:cubicBezTo>
                    <a:lnTo>
                      <a:pt x="284" y="273"/>
                    </a:lnTo>
                    <a:close/>
                    <a:moveTo>
                      <a:pt x="315" y="278"/>
                    </a:moveTo>
                    <a:cubicBezTo>
                      <a:pt x="311" y="283"/>
                      <a:pt x="311" y="283"/>
                      <a:pt x="311" y="283"/>
                    </a:cubicBezTo>
                    <a:cubicBezTo>
                      <a:pt x="316" y="283"/>
                      <a:pt x="316" y="283"/>
                      <a:pt x="316" y="283"/>
                    </a:cubicBezTo>
                    <a:cubicBezTo>
                      <a:pt x="322" y="278"/>
                      <a:pt x="322" y="278"/>
                      <a:pt x="322" y="278"/>
                    </a:cubicBezTo>
                    <a:lnTo>
                      <a:pt x="315" y="278"/>
                    </a:lnTo>
                    <a:close/>
                    <a:moveTo>
                      <a:pt x="322" y="310"/>
                    </a:moveTo>
                    <a:cubicBezTo>
                      <a:pt x="324" y="314"/>
                      <a:pt x="327" y="316"/>
                      <a:pt x="327" y="316"/>
                    </a:cubicBezTo>
                    <a:cubicBezTo>
                      <a:pt x="333" y="307"/>
                      <a:pt x="333" y="307"/>
                      <a:pt x="333" y="307"/>
                    </a:cubicBezTo>
                    <a:cubicBezTo>
                      <a:pt x="335" y="300"/>
                      <a:pt x="335" y="300"/>
                      <a:pt x="335" y="300"/>
                    </a:cubicBezTo>
                    <a:cubicBezTo>
                      <a:pt x="326" y="295"/>
                      <a:pt x="326" y="295"/>
                      <a:pt x="326" y="295"/>
                    </a:cubicBezTo>
                    <a:cubicBezTo>
                      <a:pt x="320" y="305"/>
                      <a:pt x="320" y="305"/>
                      <a:pt x="320" y="305"/>
                    </a:cubicBezTo>
                    <a:cubicBezTo>
                      <a:pt x="320" y="305"/>
                      <a:pt x="319" y="307"/>
                      <a:pt x="322" y="310"/>
                    </a:cubicBezTo>
                    <a:close/>
                    <a:moveTo>
                      <a:pt x="310" y="303"/>
                    </a:moveTo>
                    <a:cubicBezTo>
                      <a:pt x="310" y="303"/>
                      <a:pt x="308" y="305"/>
                      <a:pt x="308" y="307"/>
                    </a:cubicBezTo>
                    <a:cubicBezTo>
                      <a:pt x="307" y="310"/>
                      <a:pt x="310" y="316"/>
                      <a:pt x="312" y="314"/>
                    </a:cubicBezTo>
                    <a:cubicBezTo>
                      <a:pt x="316" y="310"/>
                      <a:pt x="317" y="303"/>
                      <a:pt x="317" y="303"/>
                    </a:cubicBezTo>
                    <a:lnTo>
                      <a:pt x="310" y="303"/>
                    </a:lnTo>
                    <a:close/>
                    <a:moveTo>
                      <a:pt x="306" y="309"/>
                    </a:moveTo>
                    <a:cubicBezTo>
                      <a:pt x="302" y="315"/>
                      <a:pt x="302" y="315"/>
                      <a:pt x="302" y="315"/>
                    </a:cubicBezTo>
                    <a:cubicBezTo>
                      <a:pt x="307" y="316"/>
                      <a:pt x="307" y="316"/>
                      <a:pt x="307" y="316"/>
                    </a:cubicBezTo>
                    <a:lnTo>
                      <a:pt x="306" y="309"/>
                    </a:lnTo>
                    <a:close/>
                    <a:moveTo>
                      <a:pt x="290" y="320"/>
                    </a:moveTo>
                    <a:cubicBezTo>
                      <a:pt x="290" y="320"/>
                      <a:pt x="290" y="318"/>
                      <a:pt x="288" y="316"/>
                    </a:cubicBezTo>
                    <a:cubicBezTo>
                      <a:pt x="285" y="314"/>
                      <a:pt x="283" y="316"/>
                      <a:pt x="283" y="316"/>
                    </a:cubicBezTo>
                    <a:cubicBezTo>
                      <a:pt x="288" y="323"/>
                      <a:pt x="288" y="323"/>
                      <a:pt x="288" y="323"/>
                    </a:cubicBezTo>
                    <a:lnTo>
                      <a:pt x="290" y="320"/>
                    </a:lnTo>
                    <a:close/>
                    <a:moveTo>
                      <a:pt x="271" y="311"/>
                    </a:moveTo>
                    <a:cubicBezTo>
                      <a:pt x="274" y="311"/>
                      <a:pt x="274" y="311"/>
                      <a:pt x="274" y="311"/>
                    </a:cubicBezTo>
                    <a:cubicBezTo>
                      <a:pt x="277" y="307"/>
                      <a:pt x="277" y="307"/>
                      <a:pt x="277" y="307"/>
                    </a:cubicBezTo>
                    <a:cubicBezTo>
                      <a:pt x="275" y="304"/>
                      <a:pt x="275" y="304"/>
                      <a:pt x="275" y="304"/>
                    </a:cubicBezTo>
                    <a:cubicBezTo>
                      <a:pt x="272" y="306"/>
                      <a:pt x="272" y="306"/>
                      <a:pt x="272" y="306"/>
                    </a:cubicBezTo>
                    <a:lnTo>
                      <a:pt x="271" y="311"/>
                    </a:lnTo>
                    <a:close/>
                    <a:moveTo>
                      <a:pt x="270" y="294"/>
                    </a:moveTo>
                    <a:cubicBezTo>
                      <a:pt x="271" y="290"/>
                      <a:pt x="270" y="288"/>
                      <a:pt x="270" y="288"/>
                    </a:cubicBezTo>
                    <a:cubicBezTo>
                      <a:pt x="266" y="290"/>
                      <a:pt x="266" y="290"/>
                      <a:pt x="266" y="290"/>
                    </a:cubicBezTo>
                    <a:cubicBezTo>
                      <a:pt x="266" y="296"/>
                      <a:pt x="266" y="296"/>
                      <a:pt x="266" y="296"/>
                    </a:cubicBezTo>
                    <a:cubicBezTo>
                      <a:pt x="267" y="301"/>
                      <a:pt x="267" y="301"/>
                      <a:pt x="267" y="301"/>
                    </a:cubicBezTo>
                    <a:cubicBezTo>
                      <a:pt x="267" y="301"/>
                      <a:pt x="270" y="300"/>
                      <a:pt x="270" y="294"/>
                    </a:cubicBezTo>
                    <a:close/>
                    <a:moveTo>
                      <a:pt x="260" y="275"/>
                    </a:moveTo>
                    <a:cubicBezTo>
                      <a:pt x="259" y="287"/>
                      <a:pt x="259" y="287"/>
                      <a:pt x="259" y="287"/>
                    </a:cubicBezTo>
                    <a:cubicBezTo>
                      <a:pt x="267" y="276"/>
                      <a:pt x="267" y="276"/>
                      <a:pt x="267" y="276"/>
                    </a:cubicBezTo>
                    <a:lnTo>
                      <a:pt x="260" y="275"/>
                    </a:lnTo>
                    <a:close/>
                    <a:moveTo>
                      <a:pt x="366" y="261"/>
                    </a:moveTo>
                    <a:cubicBezTo>
                      <a:pt x="367" y="258"/>
                      <a:pt x="367" y="258"/>
                      <a:pt x="367" y="258"/>
                    </a:cubicBezTo>
                    <a:cubicBezTo>
                      <a:pt x="359" y="262"/>
                      <a:pt x="359" y="262"/>
                      <a:pt x="359" y="262"/>
                    </a:cubicBezTo>
                    <a:cubicBezTo>
                      <a:pt x="359" y="262"/>
                      <a:pt x="356" y="257"/>
                      <a:pt x="352" y="262"/>
                    </a:cubicBezTo>
                    <a:cubicBezTo>
                      <a:pt x="348" y="269"/>
                      <a:pt x="351" y="274"/>
                      <a:pt x="351" y="274"/>
                    </a:cubicBezTo>
                    <a:cubicBezTo>
                      <a:pt x="358" y="269"/>
                      <a:pt x="358" y="269"/>
                      <a:pt x="358" y="269"/>
                    </a:cubicBezTo>
                    <a:cubicBezTo>
                      <a:pt x="362" y="269"/>
                      <a:pt x="362" y="269"/>
                      <a:pt x="362" y="269"/>
                    </a:cubicBezTo>
                    <a:lnTo>
                      <a:pt x="366" y="261"/>
                    </a:lnTo>
                    <a:close/>
                    <a:moveTo>
                      <a:pt x="381" y="255"/>
                    </a:moveTo>
                    <a:cubicBezTo>
                      <a:pt x="384" y="253"/>
                      <a:pt x="384" y="253"/>
                      <a:pt x="384" y="253"/>
                    </a:cubicBezTo>
                    <a:cubicBezTo>
                      <a:pt x="384" y="253"/>
                      <a:pt x="390" y="258"/>
                      <a:pt x="393" y="257"/>
                    </a:cubicBezTo>
                    <a:cubicBezTo>
                      <a:pt x="396" y="256"/>
                      <a:pt x="401" y="249"/>
                      <a:pt x="401" y="249"/>
                    </a:cubicBezTo>
                    <a:cubicBezTo>
                      <a:pt x="402" y="244"/>
                      <a:pt x="402" y="244"/>
                      <a:pt x="402" y="244"/>
                    </a:cubicBezTo>
                    <a:cubicBezTo>
                      <a:pt x="398" y="244"/>
                      <a:pt x="398" y="244"/>
                      <a:pt x="398" y="244"/>
                    </a:cubicBezTo>
                    <a:cubicBezTo>
                      <a:pt x="398" y="246"/>
                      <a:pt x="398" y="246"/>
                      <a:pt x="398" y="246"/>
                    </a:cubicBezTo>
                    <a:cubicBezTo>
                      <a:pt x="398" y="246"/>
                      <a:pt x="393" y="242"/>
                      <a:pt x="387" y="245"/>
                    </a:cubicBezTo>
                    <a:cubicBezTo>
                      <a:pt x="381" y="248"/>
                      <a:pt x="376" y="252"/>
                      <a:pt x="376" y="252"/>
                    </a:cubicBezTo>
                    <a:cubicBezTo>
                      <a:pt x="377" y="257"/>
                      <a:pt x="377" y="257"/>
                      <a:pt x="377" y="257"/>
                    </a:cubicBezTo>
                    <a:lnTo>
                      <a:pt x="381" y="255"/>
                    </a:lnTo>
                    <a:close/>
                    <a:moveTo>
                      <a:pt x="373" y="258"/>
                    </a:moveTo>
                    <a:cubicBezTo>
                      <a:pt x="370" y="263"/>
                      <a:pt x="370" y="263"/>
                      <a:pt x="370" y="263"/>
                    </a:cubicBezTo>
                    <a:cubicBezTo>
                      <a:pt x="376" y="264"/>
                      <a:pt x="376" y="264"/>
                      <a:pt x="376" y="264"/>
                    </a:cubicBezTo>
                    <a:lnTo>
                      <a:pt x="373" y="258"/>
                    </a:lnTo>
                    <a:close/>
                    <a:moveTo>
                      <a:pt x="377" y="276"/>
                    </a:moveTo>
                    <a:cubicBezTo>
                      <a:pt x="382" y="284"/>
                      <a:pt x="382" y="284"/>
                      <a:pt x="382" y="284"/>
                    </a:cubicBezTo>
                    <a:cubicBezTo>
                      <a:pt x="382" y="274"/>
                      <a:pt x="382" y="274"/>
                      <a:pt x="382" y="274"/>
                    </a:cubicBezTo>
                    <a:lnTo>
                      <a:pt x="377" y="276"/>
                    </a:lnTo>
                    <a:close/>
                    <a:moveTo>
                      <a:pt x="398" y="264"/>
                    </a:moveTo>
                    <a:cubicBezTo>
                      <a:pt x="402" y="269"/>
                      <a:pt x="402" y="269"/>
                      <a:pt x="402" y="269"/>
                    </a:cubicBezTo>
                    <a:cubicBezTo>
                      <a:pt x="405" y="267"/>
                      <a:pt x="405" y="267"/>
                      <a:pt x="405" y="267"/>
                    </a:cubicBezTo>
                    <a:lnTo>
                      <a:pt x="398" y="264"/>
                    </a:lnTo>
                    <a:close/>
                    <a:moveTo>
                      <a:pt x="387" y="278"/>
                    </a:moveTo>
                    <a:cubicBezTo>
                      <a:pt x="393" y="278"/>
                      <a:pt x="393" y="278"/>
                      <a:pt x="393" y="278"/>
                    </a:cubicBezTo>
                    <a:cubicBezTo>
                      <a:pt x="396" y="276"/>
                      <a:pt x="396" y="276"/>
                      <a:pt x="396" y="276"/>
                    </a:cubicBezTo>
                    <a:cubicBezTo>
                      <a:pt x="387" y="276"/>
                      <a:pt x="387" y="276"/>
                      <a:pt x="387" y="276"/>
                    </a:cubicBezTo>
                    <a:lnTo>
                      <a:pt x="387" y="278"/>
                    </a:lnTo>
                    <a:close/>
                    <a:moveTo>
                      <a:pt x="393" y="285"/>
                    </a:moveTo>
                    <a:cubicBezTo>
                      <a:pt x="398" y="290"/>
                      <a:pt x="398" y="290"/>
                      <a:pt x="398" y="290"/>
                    </a:cubicBezTo>
                    <a:cubicBezTo>
                      <a:pt x="402" y="289"/>
                      <a:pt x="402" y="289"/>
                      <a:pt x="402" y="289"/>
                    </a:cubicBezTo>
                    <a:cubicBezTo>
                      <a:pt x="398" y="284"/>
                      <a:pt x="398" y="284"/>
                      <a:pt x="398" y="284"/>
                    </a:cubicBezTo>
                    <a:lnTo>
                      <a:pt x="393" y="285"/>
                    </a:lnTo>
                    <a:close/>
                    <a:moveTo>
                      <a:pt x="410" y="292"/>
                    </a:moveTo>
                    <a:cubicBezTo>
                      <a:pt x="403" y="292"/>
                      <a:pt x="403" y="292"/>
                      <a:pt x="403" y="292"/>
                    </a:cubicBezTo>
                    <a:cubicBezTo>
                      <a:pt x="405" y="300"/>
                      <a:pt x="405" y="300"/>
                      <a:pt x="405" y="300"/>
                    </a:cubicBezTo>
                    <a:cubicBezTo>
                      <a:pt x="413" y="299"/>
                      <a:pt x="413" y="299"/>
                      <a:pt x="413" y="299"/>
                    </a:cubicBezTo>
                    <a:lnTo>
                      <a:pt x="410" y="292"/>
                    </a:lnTo>
                    <a:close/>
                    <a:moveTo>
                      <a:pt x="430" y="301"/>
                    </a:moveTo>
                    <a:cubicBezTo>
                      <a:pt x="421" y="296"/>
                      <a:pt x="421" y="296"/>
                      <a:pt x="421" y="296"/>
                    </a:cubicBezTo>
                    <a:cubicBezTo>
                      <a:pt x="406" y="314"/>
                      <a:pt x="406" y="314"/>
                      <a:pt x="406" y="314"/>
                    </a:cubicBezTo>
                    <a:cubicBezTo>
                      <a:pt x="409" y="317"/>
                      <a:pt x="409" y="317"/>
                      <a:pt x="409" y="317"/>
                    </a:cubicBezTo>
                    <a:cubicBezTo>
                      <a:pt x="411" y="312"/>
                      <a:pt x="411" y="312"/>
                      <a:pt x="411" y="312"/>
                    </a:cubicBezTo>
                    <a:cubicBezTo>
                      <a:pt x="418" y="311"/>
                      <a:pt x="418" y="311"/>
                      <a:pt x="418" y="311"/>
                    </a:cubicBezTo>
                    <a:cubicBezTo>
                      <a:pt x="421" y="306"/>
                      <a:pt x="421" y="306"/>
                      <a:pt x="421" y="306"/>
                    </a:cubicBezTo>
                    <a:lnTo>
                      <a:pt x="430" y="301"/>
                    </a:lnTo>
                    <a:close/>
                    <a:moveTo>
                      <a:pt x="328" y="330"/>
                    </a:moveTo>
                    <a:cubicBezTo>
                      <a:pt x="319" y="322"/>
                      <a:pt x="319" y="322"/>
                      <a:pt x="319" y="322"/>
                    </a:cubicBezTo>
                    <a:cubicBezTo>
                      <a:pt x="319" y="329"/>
                      <a:pt x="319" y="329"/>
                      <a:pt x="319" y="329"/>
                    </a:cubicBezTo>
                    <a:cubicBezTo>
                      <a:pt x="326" y="333"/>
                      <a:pt x="326" y="333"/>
                      <a:pt x="326" y="333"/>
                    </a:cubicBezTo>
                    <a:lnTo>
                      <a:pt x="328" y="330"/>
                    </a:lnTo>
                    <a:close/>
                    <a:moveTo>
                      <a:pt x="354" y="306"/>
                    </a:moveTo>
                    <a:cubicBezTo>
                      <a:pt x="344" y="321"/>
                      <a:pt x="344" y="321"/>
                      <a:pt x="344" y="321"/>
                    </a:cubicBezTo>
                    <a:cubicBezTo>
                      <a:pt x="352" y="319"/>
                      <a:pt x="352" y="319"/>
                      <a:pt x="352" y="319"/>
                    </a:cubicBezTo>
                    <a:cubicBezTo>
                      <a:pt x="355" y="311"/>
                      <a:pt x="355" y="311"/>
                      <a:pt x="355" y="311"/>
                    </a:cubicBezTo>
                    <a:cubicBezTo>
                      <a:pt x="360" y="308"/>
                      <a:pt x="360" y="308"/>
                      <a:pt x="360" y="308"/>
                    </a:cubicBezTo>
                    <a:lnTo>
                      <a:pt x="354" y="306"/>
                    </a:lnTo>
                    <a:close/>
                    <a:moveTo>
                      <a:pt x="378" y="333"/>
                    </a:moveTo>
                    <a:cubicBezTo>
                      <a:pt x="386" y="323"/>
                      <a:pt x="386" y="323"/>
                      <a:pt x="386" y="323"/>
                    </a:cubicBezTo>
                    <a:cubicBezTo>
                      <a:pt x="383" y="321"/>
                      <a:pt x="383" y="321"/>
                      <a:pt x="383" y="321"/>
                    </a:cubicBezTo>
                    <a:cubicBezTo>
                      <a:pt x="375" y="326"/>
                      <a:pt x="375" y="326"/>
                      <a:pt x="375" y="326"/>
                    </a:cubicBezTo>
                    <a:lnTo>
                      <a:pt x="378" y="333"/>
                    </a:lnTo>
                    <a:close/>
                    <a:moveTo>
                      <a:pt x="231" y="176"/>
                    </a:moveTo>
                    <a:cubicBezTo>
                      <a:pt x="233" y="170"/>
                      <a:pt x="233" y="170"/>
                      <a:pt x="233" y="170"/>
                    </a:cubicBezTo>
                    <a:cubicBezTo>
                      <a:pt x="228" y="175"/>
                      <a:pt x="228" y="175"/>
                      <a:pt x="228" y="175"/>
                    </a:cubicBezTo>
                    <a:lnTo>
                      <a:pt x="231" y="176"/>
                    </a:lnTo>
                    <a:close/>
                    <a:moveTo>
                      <a:pt x="211" y="268"/>
                    </a:moveTo>
                    <a:cubicBezTo>
                      <a:pt x="213" y="272"/>
                      <a:pt x="213" y="272"/>
                      <a:pt x="213" y="272"/>
                    </a:cubicBezTo>
                    <a:cubicBezTo>
                      <a:pt x="218" y="269"/>
                      <a:pt x="218" y="269"/>
                      <a:pt x="218" y="269"/>
                    </a:cubicBezTo>
                    <a:cubicBezTo>
                      <a:pt x="216" y="263"/>
                      <a:pt x="216" y="263"/>
                      <a:pt x="216" y="263"/>
                    </a:cubicBezTo>
                    <a:lnTo>
                      <a:pt x="211" y="268"/>
                    </a:lnTo>
                    <a:close/>
                    <a:moveTo>
                      <a:pt x="222" y="278"/>
                    </a:moveTo>
                    <a:cubicBezTo>
                      <a:pt x="213" y="278"/>
                      <a:pt x="213" y="278"/>
                      <a:pt x="213" y="278"/>
                    </a:cubicBezTo>
                    <a:cubicBezTo>
                      <a:pt x="217" y="286"/>
                      <a:pt x="217" y="286"/>
                      <a:pt x="217" y="286"/>
                    </a:cubicBezTo>
                    <a:lnTo>
                      <a:pt x="222" y="278"/>
                    </a:lnTo>
                    <a:close/>
                    <a:moveTo>
                      <a:pt x="200" y="382"/>
                    </a:moveTo>
                    <a:cubicBezTo>
                      <a:pt x="209" y="386"/>
                      <a:pt x="209" y="386"/>
                      <a:pt x="209" y="386"/>
                    </a:cubicBezTo>
                    <a:cubicBezTo>
                      <a:pt x="210" y="379"/>
                      <a:pt x="210" y="379"/>
                      <a:pt x="210" y="379"/>
                    </a:cubicBezTo>
                    <a:cubicBezTo>
                      <a:pt x="201" y="372"/>
                      <a:pt x="201" y="372"/>
                      <a:pt x="201" y="372"/>
                    </a:cubicBezTo>
                    <a:lnTo>
                      <a:pt x="200" y="382"/>
                    </a:lnTo>
                    <a:close/>
                    <a:moveTo>
                      <a:pt x="283" y="333"/>
                    </a:moveTo>
                    <a:cubicBezTo>
                      <a:pt x="276" y="332"/>
                      <a:pt x="276" y="332"/>
                      <a:pt x="276" y="332"/>
                    </a:cubicBezTo>
                    <a:cubicBezTo>
                      <a:pt x="276" y="337"/>
                      <a:pt x="276" y="337"/>
                      <a:pt x="276" y="337"/>
                    </a:cubicBezTo>
                    <a:cubicBezTo>
                      <a:pt x="273" y="334"/>
                      <a:pt x="273" y="334"/>
                      <a:pt x="273" y="334"/>
                    </a:cubicBezTo>
                    <a:cubicBezTo>
                      <a:pt x="270" y="335"/>
                      <a:pt x="270" y="335"/>
                      <a:pt x="270" y="335"/>
                    </a:cubicBezTo>
                    <a:cubicBezTo>
                      <a:pt x="269" y="345"/>
                      <a:pt x="269" y="345"/>
                      <a:pt x="269" y="345"/>
                    </a:cubicBezTo>
                    <a:cubicBezTo>
                      <a:pt x="283" y="341"/>
                      <a:pt x="283" y="341"/>
                      <a:pt x="283" y="341"/>
                    </a:cubicBezTo>
                    <a:lnTo>
                      <a:pt x="283" y="333"/>
                    </a:lnTo>
                    <a:close/>
                    <a:moveTo>
                      <a:pt x="263" y="327"/>
                    </a:moveTo>
                    <a:cubicBezTo>
                      <a:pt x="259" y="331"/>
                      <a:pt x="259" y="331"/>
                      <a:pt x="259" y="331"/>
                    </a:cubicBezTo>
                    <a:cubicBezTo>
                      <a:pt x="266" y="335"/>
                      <a:pt x="266" y="335"/>
                      <a:pt x="266" y="335"/>
                    </a:cubicBezTo>
                    <a:lnTo>
                      <a:pt x="263" y="327"/>
                    </a:lnTo>
                    <a:close/>
                    <a:moveTo>
                      <a:pt x="311" y="327"/>
                    </a:moveTo>
                    <a:cubicBezTo>
                      <a:pt x="305" y="337"/>
                      <a:pt x="305" y="337"/>
                      <a:pt x="305" y="337"/>
                    </a:cubicBezTo>
                    <a:cubicBezTo>
                      <a:pt x="316" y="332"/>
                      <a:pt x="316" y="332"/>
                      <a:pt x="316" y="332"/>
                    </a:cubicBezTo>
                    <a:lnTo>
                      <a:pt x="311" y="327"/>
                    </a:lnTo>
                    <a:close/>
                    <a:moveTo>
                      <a:pt x="337" y="350"/>
                    </a:moveTo>
                    <a:cubicBezTo>
                      <a:pt x="331" y="340"/>
                      <a:pt x="331" y="340"/>
                      <a:pt x="331" y="340"/>
                    </a:cubicBezTo>
                    <a:cubicBezTo>
                      <a:pt x="325" y="343"/>
                      <a:pt x="325" y="343"/>
                      <a:pt x="325" y="343"/>
                    </a:cubicBezTo>
                    <a:cubicBezTo>
                      <a:pt x="329" y="352"/>
                      <a:pt x="329" y="352"/>
                      <a:pt x="329" y="352"/>
                    </a:cubicBezTo>
                    <a:lnTo>
                      <a:pt x="337" y="350"/>
                    </a:lnTo>
                    <a:close/>
                    <a:moveTo>
                      <a:pt x="349" y="349"/>
                    </a:moveTo>
                    <a:cubicBezTo>
                      <a:pt x="356" y="346"/>
                      <a:pt x="356" y="346"/>
                      <a:pt x="356" y="346"/>
                    </a:cubicBezTo>
                    <a:cubicBezTo>
                      <a:pt x="351" y="341"/>
                      <a:pt x="351" y="341"/>
                      <a:pt x="351" y="341"/>
                    </a:cubicBezTo>
                    <a:lnTo>
                      <a:pt x="349" y="349"/>
                    </a:lnTo>
                    <a:close/>
                    <a:moveTo>
                      <a:pt x="304" y="339"/>
                    </a:moveTo>
                    <a:cubicBezTo>
                      <a:pt x="298" y="335"/>
                      <a:pt x="298" y="335"/>
                      <a:pt x="298" y="335"/>
                    </a:cubicBezTo>
                    <a:cubicBezTo>
                      <a:pt x="296" y="337"/>
                      <a:pt x="296" y="337"/>
                      <a:pt x="296" y="337"/>
                    </a:cubicBezTo>
                    <a:cubicBezTo>
                      <a:pt x="303" y="342"/>
                      <a:pt x="303" y="342"/>
                      <a:pt x="303" y="342"/>
                    </a:cubicBezTo>
                    <a:lnTo>
                      <a:pt x="304" y="339"/>
                    </a:lnTo>
                    <a:close/>
                    <a:moveTo>
                      <a:pt x="63" y="291"/>
                    </a:moveTo>
                    <a:cubicBezTo>
                      <a:pt x="67" y="300"/>
                      <a:pt x="67" y="300"/>
                      <a:pt x="67" y="300"/>
                    </a:cubicBezTo>
                    <a:cubicBezTo>
                      <a:pt x="80" y="306"/>
                      <a:pt x="80" y="306"/>
                      <a:pt x="80" y="306"/>
                    </a:cubicBezTo>
                    <a:cubicBezTo>
                      <a:pt x="80" y="300"/>
                      <a:pt x="80" y="300"/>
                      <a:pt x="80" y="300"/>
                    </a:cubicBezTo>
                    <a:cubicBezTo>
                      <a:pt x="86" y="296"/>
                      <a:pt x="86" y="296"/>
                      <a:pt x="86" y="296"/>
                    </a:cubicBezTo>
                    <a:cubicBezTo>
                      <a:pt x="69" y="287"/>
                      <a:pt x="69" y="287"/>
                      <a:pt x="69" y="287"/>
                    </a:cubicBezTo>
                    <a:lnTo>
                      <a:pt x="63" y="291"/>
                    </a:lnTo>
                    <a:close/>
                    <a:moveTo>
                      <a:pt x="43" y="268"/>
                    </a:moveTo>
                    <a:cubicBezTo>
                      <a:pt x="44" y="273"/>
                      <a:pt x="44" y="273"/>
                      <a:pt x="44" y="273"/>
                    </a:cubicBezTo>
                    <a:cubicBezTo>
                      <a:pt x="47" y="274"/>
                      <a:pt x="47" y="274"/>
                      <a:pt x="47" y="274"/>
                    </a:cubicBezTo>
                    <a:cubicBezTo>
                      <a:pt x="48" y="263"/>
                      <a:pt x="48" y="263"/>
                      <a:pt x="48" y="263"/>
                    </a:cubicBezTo>
                    <a:cubicBezTo>
                      <a:pt x="47" y="260"/>
                      <a:pt x="47" y="260"/>
                      <a:pt x="47" y="260"/>
                    </a:cubicBezTo>
                    <a:lnTo>
                      <a:pt x="43" y="268"/>
                    </a:lnTo>
                    <a:close/>
                    <a:moveTo>
                      <a:pt x="69" y="279"/>
                    </a:moveTo>
                    <a:cubicBezTo>
                      <a:pt x="72" y="277"/>
                      <a:pt x="71" y="272"/>
                      <a:pt x="66" y="267"/>
                    </a:cubicBezTo>
                    <a:cubicBezTo>
                      <a:pt x="62" y="261"/>
                      <a:pt x="57" y="254"/>
                      <a:pt x="57" y="254"/>
                    </a:cubicBezTo>
                    <a:cubicBezTo>
                      <a:pt x="55" y="255"/>
                      <a:pt x="55" y="255"/>
                      <a:pt x="55" y="255"/>
                    </a:cubicBezTo>
                    <a:cubicBezTo>
                      <a:pt x="55" y="260"/>
                      <a:pt x="55" y="260"/>
                      <a:pt x="55" y="260"/>
                    </a:cubicBezTo>
                    <a:cubicBezTo>
                      <a:pt x="51" y="262"/>
                      <a:pt x="51" y="262"/>
                      <a:pt x="51" y="262"/>
                    </a:cubicBezTo>
                    <a:cubicBezTo>
                      <a:pt x="51" y="262"/>
                      <a:pt x="49" y="277"/>
                      <a:pt x="55" y="277"/>
                    </a:cubicBezTo>
                    <a:cubicBezTo>
                      <a:pt x="59" y="277"/>
                      <a:pt x="64" y="276"/>
                      <a:pt x="64" y="276"/>
                    </a:cubicBezTo>
                    <a:cubicBezTo>
                      <a:pt x="64" y="276"/>
                      <a:pt x="64" y="280"/>
                      <a:pt x="69" y="279"/>
                    </a:cubicBezTo>
                    <a:close/>
                    <a:moveTo>
                      <a:pt x="67" y="263"/>
                    </a:moveTo>
                    <a:cubicBezTo>
                      <a:pt x="71" y="264"/>
                      <a:pt x="74" y="267"/>
                      <a:pt x="74" y="267"/>
                    </a:cubicBezTo>
                    <a:cubicBezTo>
                      <a:pt x="74" y="267"/>
                      <a:pt x="76" y="264"/>
                      <a:pt x="72" y="260"/>
                    </a:cubicBezTo>
                    <a:cubicBezTo>
                      <a:pt x="69" y="257"/>
                      <a:pt x="66" y="251"/>
                      <a:pt x="66" y="251"/>
                    </a:cubicBezTo>
                    <a:cubicBezTo>
                      <a:pt x="62" y="252"/>
                      <a:pt x="62" y="252"/>
                      <a:pt x="62" y="252"/>
                    </a:cubicBezTo>
                    <a:cubicBezTo>
                      <a:pt x="62" y="252"/>
                      <a:pt x="64" y="261"/>
                      <a:pt x="67" y="263"/>
                    </a:cubicBezTo>
                    <a:close/>
                    <a:moveTo>
                      <a:pt x="18" y="190"/>
                    </a:moveTo>
                    <a:cubicBezTo>
                      <a:pt x="16" y="185"/>
                      <a:pt x="18" y="183"/>
                      <a:pt x="18" y="183"/>
                    </a:cubicBezTo>
                    <a:cubicBezTo>
                      <a:pt x="12" y="179"/>
                      <a:pt x="12" y="179"/>
                      <a:pt x="12" y="179"/>
                    </a:cubicBezTo>
                    <a:cubicBezTo>
                      <a:pt x="12" y="179"/>
                      <a:pt x="16" y="180"/>
                      <a:pt x="16" y="177"/>
                    </a:cubicBezTo>
                    <a:cubicBezTo>
                      <a:pt x="16" y="173"/>
                      <a:pt x="12" y="169"/>
                      <a:pt x="6" y="173"/>
                    </a:cubicBezTo>
                    <a:cubicBezTo>
                      <a:pt x="0" y="176"/>
                      <a:pt x="0" y="181"/>
                      <a:pt x="5" y="183"/>
                    </a:cubicBezTo>
                    <a:cubicBezTo>
                      <a:pt x="8" y="185"/>
                      <a:pt x="12" y="189"/>
                      <a:pt x="12" y="189"/>
                    </a:cubicBezTo>
                    <a:cubicBezTo>
                      <a:pt x="12" y="189"/>
                      <a:pt x="10" y="193"/>
                      <a:pt x="14" y="195"/>
                    </a:cubicBezTo>
                    <a:cubicBezTo>
                      <a:pt x="29" y="199"/>
                      <a:pt x="29" y="199"/>
                      <a:pt x="29" y="199"/>
                    </a:cubicBezTo>
                    <a:cubicBezTo>
                      <a:pt x="25" y="193"/>
                      <a:pt x="25" y="193"/>
                      <a:pt x="25" y="193"/>
                    </a:cubicBezTo>
                    <a:cubicBezTo>
                      <a:pt x="25" y="193"/>
                      <a:pt x="21" y="194"/>
                      <a:pt x="18" y="190"/>
                    </a:cubicBezTo>
                    <a:close/>
                    <a:moveTo>
                      <a:pt x="392" y="415"/>
                    </a:moveTo>
                    <a:cubicBezTo>
                      <a:pt x="392" y="415"/>
                      <a:pt x="393" y="410"/>
                      <a:pt x="392" y="409"/>
                    </a:cubicBezTo>
                    <a:cubicBezTo>
                      <a:pt x="390" y="409"/>
                      <a:pt x="385" y="418"/>
                      <a:pt x="385" y="418"/>
                    </a:cubicBezTo>
                    <a:cubicBezTo>
                      <a:pt x="385" y="418"/>
                      <a:pt x="383" y="416"/>
                      <a:pt x="382" y="416"/>
                    </a:cubicBezTo>
                    <a:cubicBezTo>
                      <a:pt x="380" y="416"/>
                      <a:pt x="372" y="421"/>
                      <a:pt x="372" y="421"/>
                    </a:cubicBezTo>
                    <a:cubicBezTo>
                      <a:pt x="370" y="422"/>
                      <a:pt x="370" y="422"/>
                      <a:pt x="370" y="422"/>
                    </a:cubicBezTo>
                    <a:cubicBezTo>
                      <a:pt x="370" y="422"/>
                      <a:pt x="369" y="426"/>
                      <a:pt x="366" y="426"/>
                    </a:cubicBezTo>
                    <a:cubicBezTo>
                      <a:pt x="362" y="427"/>
                      <a:pt x="362" y="418"/>
                      <a:pt x="362" y="418"/>
                    </a:cubicBezTo>
                    <a:cubicBezTo>
                      <a:pt x="362" y="418"/>
                      <a:pt x="367" y="413"/>
                      <a:pt x="360" y="413"/>
                    </a:cubicBezTo>
                    <a:cubicBezTo>
                      <a:pt x="353" y="413"/>
                      <a:pt x="349" y="418"/>
                      <a:pt x="347" y="418"/>
                    </a:cubicBezTo>
                    <a:cubicBezTo>
                      <a:pt x="345" y="419"/>
                      <a:pt x="345" y="416"/>
                      <a:pt x="342" y="416"/>
                    </a:cubicBezTo>
                    <a:cubicBezTo>
                      <a:pt x="338" y="416"/>
                      <a:pt x="324" y="420"/>
                      <a:pt x="324" y="420"/>
                    </a:cubicBezTo>
                    <a:cubicBezTo>
                      <a:pt x="321" y="414"/>
                      <a:pt x="321" y="414"/>
                      <a:pt x="321" y="414"/>
                    </a:cubicBezTo>
                    <a:cubicBezTo>
                      <a:pt x="318" y="414"/>
                      <a:pt x="318" y="414"/>
                      <a:pt x="318" y="414"/>
                    </a:cubicBezTo>
                    <a:cubicBezTo>
                      <a:pt x="317" y="416"/>
                      <a:pt x="317" y="416"/>
                      <a:pt x="317" y="416"/>
                    </a:cubicBezTo>
                    <a:cubicBezTo>
                      <a:pt x="317" y="416"/>
                      <a:pt x="309" y="415"/>
                      <a:pt x="305" y="417"/>
                    </a:cubicBezTo>
                    <a:cubicBezTo>
                      <a:pt x="301" y="418"/>
                      <a:pt x="296" y="421"/>
                      <a:pt x="294" y="424"/>
                    </a:cubicBezTo>
                    <a:cubicBezTo>
                      <a:pt x="292" y="425"/>
                      <a:pt x="282" y="424"/>
                      <a:pt x="282" y="424"/>
                    </a:cubicBezTo>
                    <a:cubicBezTo>
                      <a:pt x="284" y="421"/>
                      <a:pt x="284" y="421"/>
                      <a:pt x="284" y="421"/>
                    </a:cubicBezTo>
                    <a:cubicBezTo>
                      <a:pt x="280" y="418"/>
                      <a:pt x="280" y="418"/>
                      <a:pt x="280" y="418"/>
                    </a:cubicBezTo>
                    <a:cubicBezTo>
                      <a:pt x="277" y="421"/>
                      <a:pt x="277" y="421"/>
                      <a:pt x="277" y="421"/>
                    </a:cubicBezTo>
                    <a:cubicBezTo>
                      <a:pt x="277" y="421"/>
                      <a:pt x="272" y="422"/>
                      <a:pt x="272" y="419"/>
                    </a:cubicBezTo>
                    <a:cubicBezTo>
                      <a:pt x="272" y="415"/>
                      <a:pt x="283" y="422"/>
                      <a:pt x="276" y="414"/>
                    </a:cubicBezTo>
                    <a:cubicBezTo>
                      <a:pt x="271" y="405"/>
                      <a:pt x="268" y="417"/>
                      <a:pt x="268" y="417"/>
                    </a:cubicBezTo>
                    <a:cubicBezTo>
                      <a:pt x="268" y="417"/>
                      <a:pt x="263" y="417"/>
                      <a:pt x="260" y="418"/>
                    </a:cubicBezTo>
                    <a:cubicBezTo>
                      <a:pt x="258" y="419"/>
                      <a:pt x="254" y="418"/>
                      <a:pt x="254" y="418"/>
                    </a:cubicBezTo>
                    <a:cubicBezTo>
                      <a:pt x="254" y="418"/>
                      <a:pt x="253" y="408"/>
                      <a:pt x="250" y="409"/>
                    </a:cubicBezTo>
                    <a:cubicBezTo>
                      <a:pt x="245" y="411"/>
                      <a:pt x="252" y="420"/>
                      <a:pt x="247" y="421"/>
                    </a:cubicBezTo>
                    <a:cubicBezTo>
                      <a:pt x="244" y="422"/>
                      <a:pt x="244" y="414"/>
                      <a:pt x="244" y="414"/>
                    </a:cubicBezTo>
                    <a:cubicBezTo>
                      <a:pt x="242" y="413"/>
                      <a:pt x="242" y="413"/>
                      <a:pt x="242" y="413"/>
                    </a:cubicBezTo>
                    <a:cubicBezTo>
                      <a:pt x="242" y="413"/>
                      <a:pt x="241" y="425"/>
                      <a:pt x="240" y="428"/>
                    </a:cubicBezTo>
                    <a:cubicBezTo>
                      <a:pt x="238" y="432"/>
                      <a:pt x="240" y="435"/>
                      <a:pt x="243" y="440"/>
                    </a:cubicBezTo>
                    <a:cubicBezTo>
                      <a:pt x="246" y="443"/>
                      <a:pt x="258" y="437"/>
                      <a:pt x="260" y="437"/>
                    </a:cubicBezTo>
                    <a:cubicBezTo>
                      <a:pt x="263" y="437"/>
                      <a:pt x="269" y="440"/>
                      <a:pt x="273" y="440"/>
                    </a:cubicBezTo>
                    <a:cubicBezTo>
                      <a:pt x="277" y="440"/>
                      <a:pt x="287" y="436"/>
                      <a:pt x="287" y="436"/>
                    </a:cubicBezTo>
                    <a:cubicBezTo>
                      <a:pt x="298" y="438"/>
                      <a:pt x="298" y="438"/>
                      <a:pt x="298" y="438"/>
                    </a:cubicBezTo>
                    <a:cubicBezTo>
                      <a:pt x="298" y="438"/>
                      <a:pt x="303" y="436"/>
                      <a:pt x="309" y="441"/>
                    </a:cubicBezTo>
                    <a:cubicBezTo>
                      <a:pt x="316" y="444"/>
                      <a:pt x="309" y="450"/>
                      <a:pt x="309" y="450"/>
                    </a:cubicBezTo>
                    <a:cubicBezTo>
                      <a:pt x="310" y="452"/>
                      <a:pt x="310" y="452"/>
                      <a:pt x="310" y="452"/>
                    </a:cubicBezTo>
                    <a:cubicBezTo>
                      <a:pt x="310" y="452"/>
                      <a:pt x="318" y="448"/>
                      <a:pt x="323" y="447"/>
                    </a:cubicBezTo>
                    <a:cubicBezTo>
                      <a:pt x="328" y="446"/>
                      <a:pt x="340" y="442"/>
                      <a:pt x="344" y="440"/>
                    </a:cubicBezTo>
                    <a:cubicBezTo>
                      <a:pt x="348" y="437"/>
                      <a:pt x="360" y="435"/>
                      <a:pt x="360" y="435"/>
                    </a:cubicBezTo>
                    <a:cubicBezTo>
                      <a:pt x="367" y="436"/>
                      <a:pt x="367" y="436"/>
                      <a:pt x="367" y="436"/>
                    </a:cubicBezTo>
                    <a:cubicBezTo>
                      <a:pt x="373" y="431"/>
                      <a:pt x="373" y="431"/>
                      <a:pt x="373" y="431"/>
                    </a:cubicBezTo>
                    <a:cubicBezTo>
                      <a:pt x="373" y="431"/>
                      <a:pt x="384" y="431"/>
                      <a:pt x="389" y="429"/>
                    </a:cubicBezTo>
                    <a:cubicBezTo>
                      <a:pt x="394" y="428"/>
                      <a:pt x="394" y="416"/>
                      <a:pt x="394" y="416"/>
                    </a:cubicBezTo>
                    <a:lnTo>
                      <a:pt x="392" y="415"/>
                    </a:lnTo>
                    <a:close/>
                    <a:moveTo>
                      <a:pt x="482" y="322"/>
                    </a:moveTo>
                    <a:cubicBezTo>
                      <a:pt x="482" y="319"/>
                      <a:pt x="480" y="317"/>
                      <a:pt x="480" y="317"/>
                    </a:cubicBezTo>
                    <a:cubicBezTo>
                      <a:pt x="480" y="317"/>
                      <a:pt x="472" y="320"/>
                      <a:pt x="469" y="323"/>
                    </a:cubicBezTo>
                    <a:cubicBezTo>
                      <a:pt x="465" y="326"/>
                      <a:pt x="463" y="332"/>
                      <a:pt x="463" y="332"/>
                    </a:cubicBezTo>
                    <a:cubicBezTo>
                      <a:pt x="463" y="332"/>
                      <a:pt x="458" y="334"/>
                      <a:pt x="458" y="335"/>
                    </a:cubicBezTo>
                    <a:cubicBezTo>
                      <a:pt x="458" y="338"/>
                      <a:pt x="458" y="338"/>
                      <a:pt x="458" y="338"/>
                    </a:cubicBezTo>
                    <a:cubicBezTo>
                      <a:pt x="458" y="338"/>
                      <a:pt x="453" y="340"/>
                      <a:pt x="455" y="342"/>
                    </a:cubicBezTo>
                    <a:cubicBezTo>
                      <a:pt x="457" y="343"/>
                      <a:pt x="459" y="346"/>
                      <a:pt x="459" y="346"/>
                    </a:cubicBezTo>
                    <a:cubicBezTo>
                      <a:pt x="459" y="352"/>
                      <a:pt x="459" y="352"/>
                      <a:pt x="459" y="352"/>
                    </a:cubicBezTo>
                    <a:cubicBezTo>
                      <a:pt x="459" y="354"/>
                      <a:pt x="462" y="358"/>
                      <a:pt x="462" y="358"/>
                    </a:cubicBezTo>
                    <a:cubicBezTo>
                      <a:pt x="465" y="358"/>
                      <a:pt x="469" y="351"/>
                      <a:pt x="470" y="349"/>
                    </a:cubicBezTo>
                    <a:cubicBezTo>
                      <a:pt x="471" y="347"/>
                      <a:pt x="474" y="343"/>
                      <a:pt x="474" y="343"/>
                    </a:cubicBezTo>
                    <a:cubicBezTo>
                      <a:pt x="478" y="343"/>
                      <a:pt x="478" y="343"/>
                      <a:pt x="478" y="343"/>
                    </a:cubicBezTo>
                    <a:cubicBezTo>
                      <a:pt x="479" y="340"/>
                      <a:pt x="479" y="340"/>
                      <a:pt x="479" y="340"/>
                    </a:cubicBezTo>
                    <a:cubicBezTo>
                      <a:pt x="479" y="340"/>
                      <a:pt x="476" y="340"/>
                      <a:pt x="476" y="338"/>
                    </a:cubicBezTo>
                    <a:cubicBezTo>
                      <a:pt x="478" y="335"/>
                      <a:pt x="480" y="333"/>
                      <a:pt x="480" y="333"/>
                    </a:cubicBezTo>
                    <a:cubicBezTo>
                      <a:pt x="480" y="333"/>
                      <a:pt x="482" y="325"/>
                      <a:pt x="482" y="322"/>
                    </a:cubicBezTo>
                    <a:close/>
                    <a:moveTo>
                      <a:pt x="448" y="337"/>
                    </a:moveTo>
                    <a:cubicBezTo>
                      <a:pt x="442" y="339"/>
                      <a:pt x="444" y="341"/>
                      <a:pt x="448" y="340"/>
                    </a:cubicBezTo>
                    <a:cubicBezTo>
                      <a:pt x="452" y="340"/>
                      <a:pt x="452" y="335"/>
                      <a:pt x="448" y="337"/>
                    </a:cubicBezTo>
                    <a:close/>
                    <a:moveTo>
                      <a:pt x="459" y="310"/>
                    </a:moveTo>
                    <a:cubicBezTo>
                      <a:pt x="457" y="308"/>
                      <a:pt x="457" y="308"/>
                      <a:pt x="457" y="308"/>
                    </a:cubicBezTo>
                    <a:cubicBezTo>
                      <a:pt x="454" y="314"/>
                      <a:pt x="454" y="314"/>
                      <a:pt x="454" y="314"/>
                    </a:cubicBezTo>
                    <a:cubicBezTo>
                      <a:pt x="460" y="317"/>
                      <a:pt x="460" y="317"/>
                      <a:pt x="460" y="317"/>
                    </a:cubicBezTo>
                    <a:lnTo>
                      <a:pt x="459" y="310"/>
                    </a:lnTo>
                    <a:close/>
                    <a:moveTo>
                      <a:pt x="432" y="325"/>
                    </a:moveTo>
                    <a:cubicBezTo>
                      <a:pt x="433" y="329"/>
                      <a:pt x="433" y="329"/>
                      <a:pt x="433" y="329"/>
                    </a:cubicBezTo>
                    <a:cubicBezTo>
                      <a:pt x="441" y="332"/>
                      <a:pt x="441" y="332"/>
                      <a:pt x="441" y="332"/>
                    </a:cubicBezTo>
                    <a:cubicBezTo>
                      <a:pt x="440" y="329"/>
                      <a:pt x="440" y="329"/>
                      <a:pt x="440" y="329"/>
                    </a:cubicBezTo>
                    <a:lnTo>
                      <a:pt x="432" y="325"/>
                    </a:lnTo>
                    <a:close/>
                    <a:moveTo>
                      <a:pt x="422" y="322"/>
                    </a:moveTo>
                    <a:cubicBezTo>
                      <a:pt x="427" y="320"/>
                      <a:pt x="426" y="316"/>
                      <a:pt x="422" y="318"/>
                    </a:cubicBezTo>
                    <a:cubicBezTo>
                      <a:pt x="417" y="320"/>
                      <a:pt x="420" y="323"/>
                      <a:pt x="422" y="322"/>
                    </a:cubicBezTo>
                    <a:close/>
                    <a:moveTo>
                      <a:pt x="435" y="364"/>
                    </a:moveTo>
                    <a:cubicBezTo>
                      <a:pt x="432" y="366"/>
                      <a:pt x="432" y="366"/>
                      <a:pt x="432" y="366"/>
                    </a:cubicBezTo>
                    <a:cubicBezTo>
                      <a:pt x="430" y="380"/>
                      <a:pt x="430" y="380"/>
                      <a:pt x="430" y="380"/>
                    </a:cubicBezTo>
                    <a:cubicBezTo>
                      <a:pt x="427" y="380"/>
                      <a:pt x="427" y="380"/>
                      <a:pt x="427" y="380"/>
                    </a:cubicBezTo>
                    <a:cubicBezTo>
                      <a:pt x="429" y="384"/>
                      <a:pt x="429" y="384"/>
                      <a:pt x="429" y="384"/>
                    </a:cubicBezTo>
                    <a:cubicBezTo>
                      <a:pt x="432" y="386"/>
                      <a:pt x="432" y="386"/>
                      <a:pt x="432" y="386"/>
                    </a:cubicBezTo>
                    <a:cubicBezTo>
                      <a:pt x="433" y="392"/>
                      <a:pt x="433" y="392"/>
                      <a:pt x="433" y="392"/>
                    </a:cubicBezTo>
                    <a:cubicBezTo>
                      <a:pt x="437" y="394"/>
                      <a:pt x="437" y="394"/>
                      <a:pt x="437" y="394"/>
                    </a:cubicBezTo>
                    <a:cubicBezTo>
                      <a:pt x="437" y="390"/>
                      <a:pt x="437" y="390"/>
                      <a:pt x="437" y="390"/>
                    </a:cubicBezTo>
                    <a:cubicBezTo>
                      <a:pt x="439" y="388"/>
                      <a:pt x="439" y="388"/>
                      <a:pt x="439" y="388"/>
                    </a:cubicBezTo>
                    <a:cubicBezTo>
                      <a:pt x="439" y="385"/>
                      <a:pt x="439" y="385"/>
                      <a:pt x="439" y="385"/>
                    </a:cubicBezTo>
                    <a:cubicBezTo>
                      <a:pt x="436" y="382"/>
                      <a:pt x="436" y="382"/>
                      <a:pt x="436" y="382"/>
                    </a:cubicBezTo>
                    <a:lnTo>
                      <a:pt x="435" y="364"/>
                    </a:lnTo>
                    <a:close/>
                    <a:moveTo>
                      <a:pt x="434" y="362"/>
                    </a:moveTo>
                    <a:cubicBezTo>
                      <a:pt x="436" y="358"/>
                      <a:pt x="435" y="353"/>
                      <a:pt x="433" y="357"/>
                    </a:cubicBezTo>
                    <a:cubicBezTo>
                      <a:pt x="431" y="363"/>
                      <a:pt x="431" y="366"/>
                      <a:pt x="434" y="362"/>
                    </a:cubicBezTo>
                    <a:close/>
                    <a:moveTo>
                      <a:pt x="420" y="398"/>
                    </a:moveTo>
                    <a:cubicBezTo>
                      <a:pt x="419" y="402"/>
                      <a:pt x="422" y="400"/>
                      <a:pt x="424" y="399"/>
                    </a:cubicBezTo>
                    <a:cubicBezTo>
                      <a:pt x="430" y="396"/>
                      <a:pt x="429" y="394"/>
                      <a:pt x="429" y="394"/>
                    </a:cubicBezTo>
                    <a:cubicBezTo>
                      <a:pt x="429" y="394"/>
                      <a:pt x="420" y="393"/>
                      <a:pt x="420" y="398"/>
                    </a:cubicBezTo>
                    <a:close/>
                  </a:path>
                </a:pathLst>
              </a:custGeom>
              <a:solidFill>
                <a:srgbClr val="FDC795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53" name="Great Britain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3381375" y="2557463"/>
                <a:ext cx="760412" cy="1425575"/>
              </a:xfrm>
              <a:custGeom>
                <a:avLst/>
                <a:gdLst/>
                <a:ahLst/>
                <a:cxnLst>
                  <a:cxn ang="0">
                    <a:pos x="281" y="467"/>
                  </a:cxn>
                  <a:cxn ang="0">
                    <a:pos x="290" y="431"/>
                  </a:cxn>
                  <a:cxn ang="0">
                    <a:pos x="245" y="321"/>
                  </a:cxn>
                  <a:cxn ang="0">
                    <a:pos x="210" y="295"/>
                  </a:cxn>
                  <a:cxn ang="0">
                    <a:pos x="257" y="247"/>
                  </a:cxn>
                  <a:cxn ang="0">
                    <a:pos x="197" y="186"/>
                  </a:cxn>
                  <a:cxn ang="0">
                    <a:pos x="248" y="141"/>
                  </a:cxn>
                  <a:cxn ang="0">
                    <a:pos x="191" y="133"/>
                  </a:cxn>
                  <a:cxn ang="0">
                    <a:pos x="164" y="140"/>
                  </a:cxn>
                  <a:cxn ang="0">
                    <a:pos x="143" y="161"/>
                  </a:cxn>
                  <a:cxn ang="0">
                    <a:pos x="146" y="202"/>
                  </a:cxn>
                  <a:cxn ang="0">
                    <a:pos x="111" y="230"/>
                  </a:cxn>
                  <a:cxn ang="0">
                    <a:pos x="127" y="247"/>
                  </a:cxn>
                  <a:cxn ang="0">
                    <a:pos x="131" y="260"/>
                  </a:cxn>
                  <a:cxn ang="0">
                    <a:pos x="101" y="317"/>
                  </a:cxn>
                  <a:cxn ang="0">
                    <a:pos x="142" y="276"/>
                  </a:cxn>
                  <a:cxn ang="0">
                    <a:pos x="148" y="287"/>
                  </a:cxn>
                  <a:cxn ang="0">
                    <a:pos x="127" y="344"/>
                  </a:cxn>
                  <a:cxn ang="0">
                    <a:pos x="145" y="363"/>
                  </a:cxn>
                  <a:cxn ang="0">
                    <a:pos x="188" y="366"/>
                  </a:cxn>
                  <a:cxn ang="0">
                    <a:pos x="180" y="416"/>
                  </a:cxn>
                  <a:cxn ang="0">
                    <a:pos x="186" y="472"/>
                  </a:cxn>
                  <a:cxn ang="0">
                    <a:pos x="109" y="492"/>
                  </a:cxn>
                  <a:cxn ang="0">
                    <a:pos x="102" y="536"/>
                  </a:cxn>
                  <a:cxn ang="0">
                    <a:pos x="74" y="560"/>
                  </a:cxn>
                  <a:cxn ang="0">
                    <a:pos x="109" y="569"/>
                  </a:cxn>
                  <a:cxn ang="0">
                    <a:pos x="171" y="582"/>
                  </a:cxn>
                  <a:cxn ang="0">
                    <a:pos x="55" y="640"/>
                  </a:cxn>
                  <a:cxn ang="0">
                    <a:pos x="62" y="657"/>
                  </a:cxn>
                  <a:cxn ang="0">
                    <a:pos x="122" y="645"/>
                  </a:cxn>
                  <a:cxn ang="0">
                    <a:pos x="201" y="649"/>
                  </a:cxn>
                  <a:cxn ang="0">
                    <a:pos x="310" y="653"/>
                  </a:cxn>
                  <a:cxn ang="0">
                    <a:pos x="295" y="614"/>
                  </a:cxn>
                  <a:cxn ang="0">
                    <a:pos x="319" y="598"/>
                  </a:cxn>
                  <a:cxn ang="0">
                    <a:pos x="209" y="650"/>
                  </a:cxn>
                  <a:cxn ang="0">
                    <a:pos x="121" y="471"/>
                  </a:cxn>
                  <a:cxn ang="0">
                    <a:pos x="139" y="396"/>
                  </a:cxn>
                  <a:cxn ang="0">
                    <a:pos x="138" y="302"/>
                  </a:cxn>
                  <a:cxn ang="0">
                    <a:pos x="89" y="291"/>
                  </a:cxn>
                  <a:cxn ang="0">
                    <a:pos x="109" y="281"/>
                  </a:cxn>
                  <a:cxn ang="0">
                    <a:pos x="88" y="238"/>
                  </a:cxn>
                  <a:cxn ang="0">
                    <a:pos x="112" y="235"/>
                  </a:cxn>
                  <a:cxn ang="0">
                    <a:pos x="103" y="260"/>
                  </a:cxn>
                  <a:cxn ang="0">
                    <a:pos x="117" y="217"/>
                  </a:cxn>
                  <a:cxn ang="0">
                    <a:pos x="82" y="197"/>
                  </a:cxn>
                  <a:cxn ang="0">
                    <a:pos x="88" y="177"/>
                  </a:cxn>
                  <a:cxn ang="0">
                    <a:pos x="114" y="176"/>
                  </a:cxn>
                  <a:cxn ang="0">
                    <a:pos x="127" y="203"/>
                  </a:cxn>
                  <a:cxn ang="0">
                    <a:pos x="135" y="173"/>
                  </a:cxn>
                  <a:cxn ang="0">
                    <a:pos x="81" y="165"/>
                  </a:cxn>
                  <a:cxn ang="0">
                    <a:pos x="141" y="134"/>
                  </a:cxn>
                  <a:cxn ang="0">
                    <a:pos x="104" y="132"/>
                  </a:cxn>
                  <a:cxn ang="0">
                    <a:pos x="242" y="113"/>
                  </a:cxn>
                  <a:cxn ang="0">
                    <a:pos x="256" y="107"/>
                  </a:cxn>
                  <a:cxn ang="0">
                    <a:pos x="259" y="94"/>
                  </a:cxn>
                  <a:cxn ang="0">
                    <a:pos x="310" y="82"/>
                  </a:cxn>
                  <a:cxn ang="0">
                    <a:pos x="282" y="93"/>
                  </a:cxn>
                  <a:cxn ang="0">
                    <a:pos x="339" y="23"/>
                  </a:cxn>
                  <a:cxn ang="0">
                    <a:pos x="357" y="3"/>
                  </a:cxn>
                  <a:cxn ang="0">
                    <a:pos x="49" y="396"/>
                  </a:cxn>
                  <a:cxn ang="0">
                    <a:pos x="96" y="386"/>
                  </a:cxn>
                  <a:cxn ang="0">
                    <a:pos x="34" y="332"/>
                  </a:cxn>
                  <a:cxn ang="0">
                    <a:pos x="13" y="377"/>
                  </a:cxn>
                </a:cxnLst>
                <a:rect l="0" t="0" r="r" b="b"/>
                <a:pathLst>
                  <a:path w="357" h="670">
                    <a:moveTo>
                      <a:pt x="342" y="526"/>
                    </a:moveTo>
                    <a:cubicBezTo>
                      <a:pt x="330" y="519"/>
                      <a:pt x="330" y="519"/>
                      <a:pt x="330" y="519"/>
                    </a:cubicBezTo>
                    <a:cubicBezTo>
                      <a:pt x="328" y="520"/>
                      <a:pt x="328" y="520"/>
                      <a:pt x="328" y="520"/>
                    </a:cubicBezTo>
                    <a:cubicBezTo>
                      <a:pt x="310" y="519"/>
                      <a:pt x="310" y="519"/>
                      <a:pt x="310" y="519"/>
                    </a:cubicBezTo>
                    <a:cubicBezTo>
                      <a:pt x="303" y="530"/>
                      <a:pt x="303" y="530"/>
                      <a:pt x="303" y="530"/>
                    </a:cubicBezTo>
                    <a:cubicBezTo>
                      <a:pt x="299" y="528"/>
                      <a:pt x="299" y="528"/>
                      <a:pt x="299" y="528"/>
                    </a:cubicBezTo>
                    <a:cubicBezTo>
                      <a:pt x="295" y="522"/>
                      <a:pt x="295" y="522"/>
                      <a:pt x="295" y="522"/>
                    </a:cubicBezTo>
                    <a:cubicBezTo>
                      <a:pt x="291" y="520"/>
                      <a:pt x="291" y="520"/>
                      <a:pt x="291" y="520"/>
                    </a:cubicBezTo>
                    <a:cubicBezTo>
                      <a:pt x="291" y="520"/>
                      <a:pt x="292" y="515"/>
                      <a:pt x="296" y="514"/>
                    </a:cubicBezTo>
                    <a:cubicBezTo>
                      <a:pt x="301" y="512"/>
                      <a:pt x="308" y="508"/>
                      <a:pt x="308" y="504"/>
                    </a:cubicBezTo>
                    <a:cubicBezTo>
                      <a:pt x="309" y="501"/>
                      <a:pt x="305" y="486"/>
                      <a:pt x="305" y="486"/>
                    </a:cubicBezTo>
                    <a:cubicBezTo>
                      <a:pt x="299" y="480"/>
                      <a:pt x="299" y="480"/>
                      <a:pt x="299" y="480"/>
                    </a:cubicBezTo>
                    <a:cubicBezTo>
                      <a:pt x="292" y="473"/>
                      <a:pt x="292" y="473"/>
                      <a:pt x="292" y="473"/>
                    </a:cubicBezTo>
                    <a:cubicBezTo>
                      <a:pt x="292" y="473"/>
                      <a:pt x="290" y="469"/>
                      <a:pt x="287" y="468"/>
                    </a:cubicBezTo>
                    <a:cubicBezTo>
                      <a:pt x="285" y="468"/>
                      <a:pt x="281" y="467"/>
                      <a:pt x="281" y="467"/>
                    </a:cubicBezTo>
                    <a:cubicBezTo>
                      <a:pt x="279" y="469"/>
                      <a:pt x="279" y="469"/>
                      <a:pt x="279" y="469"/>
                    </a:cubicBezTo>
                    <a:cubicBezTo>
                      <a:pt x="276" y="466"/>
                      <a:pt x="276" y="466"/>
                      <a:pt x="276" y="466"/>
                    </a:cubicBezTo>
                    <a:cubicBezTo>
                      <a:pt x="268" y="465"/>
                      <a:pt x="268" y="465"/>
                      <a:pt x="268" y="465"/>
                    </a:cubicBezTo>
                    <a:cubicBezTo>
                      <a:pt x="276" y="463"/>
                      <a:pt x="276" y="463"/>
                      <a:pt x="276" y="463"/>
                    </a:cubicBezTo>
                    <a:cubicBezTo>
                      <a:pt x="279" y="466"/>
                      <a:pt x="279" y="466"/>
                      <a:pt x="279" y="466"/>
                    </a:cubicBezTo>
                    <a:cubicBezTo>
                      <a:pt x="289" y="465"/>
                      <a:pt x="289" y="465"/>
                      <a:pt x="289" y="465"/>
                    </a:cubicBezTo>
                    <a:cubicBezTo>
                      <a:pt x="289" y="465"/>
                      <a:pt x="293" y="472"/>
                      <a:pt x="294" y="473"/>
                    </a:cubicBezTo>
                    <a:cubicBezTo>
                      <a:pt x="298" y="473"/>
                      <a:pt x="298" y="473"/>
                      <a:pt x="298" y="473"/>
                    </a:cubicBezTo>
                    <a:cubicBezTo>
                      <a:pt x="301" y="477"/>
                      <a:pt x="301" y="477"/>
                      <a:pt x="301" y="477"/>
                    </a:cubicBezTo>
                    <a:cubicBezTo>
                      <a:pt x="303" y="475"/>
                      <a:pt x="303" y="475"/>
                      <a:pt x="303" y="475"/>
                    </a:cubicBezTo>
                    <a:cubicBezTo>
                      <a:pt x="295" y="455"/>
                      <a:pt x="295" y="455"/>
                      <a:pt x="295" y="455"/>
                    </a:cubicBezTo>
                    <a:cubicBezTo>
                      <a:pt x="295" y="443"/>
                      <a:pt x="295" y="443"/>
                      <a:pt x="295" y="443"/>
                    </a:cubicBezTo>
                    <a:cubicBezTo>
                      <a:pt x="298" y="441"/>
                      <a:pt x="298" y="441"/>
                      <a:pt x="298" y="441"/>
                    </a:cubicBezTo>
                    <a:cubicBezTo>
                      <a:pt x="294" y="431"/>
                      <a:pt x="294" y="431"/>
                      <a:pt x="294" y="431"/>
                    </a:cubicBezTo>
                    <a:cubicBezTo>
                      <a:pt x="290" y="431"/>
                      <a:pt x="290" y="431"/>
                      <a:pt x="290" y="431"/>
                    </a:cubicBezTo>
                    <a:cubicBezTo>
                      <a:pt x="286" y="416"/>
                      <a:pt x="286" y="416"/>
                      <a:pt x="286" y="416"/>
                    </a:cubicBezTo>
                    <a:cubicBezTo>
                      <a:pt x="277" y="407"/>
                      <a:pt x="277" y="407"/>
                      <a:pt x="277" y="407"/>
                    </a:cubicBezTo>
                    <a:cubicBezTo>
                      <a:pt x="273" y="406"/>
                      <a:pt x="273" y="406"/>
                      <a:pt x="273" y="406"/>
                    </a:cubicBezTo>
                    <a:cubicBezTo>
                      <a:pt x="267" y="395"/>
                      <a:pt x="267" y="395"/>
                      <a:pt x="267" y="395"/>
                    </a:cubicBezTo>
                    <a:cubicBezTo>
                      <a:pt x="263" y="392"/>
                      <a:pt x="263" y="392"/>
                      <a:pt x="263" y="392"/>
                    </a:cubicBezTo>
                    <a:cubicBezTo>
                      <a:pt x="262" y="380"/>
                      <a:pt x="262" y="380"/>
                      <a:pt x="262" y="380"/>
                    </a:cubicBezTo>
                    <a:cubicBezTo>
                      <a:pt x="259" y="372"/>
                      <a:pt x="259" y="372"/>
                      <a:pt x="259" y="372"/>
                    </a:cubicBezTo>
                    <a:cubicBezTo>
                      <a:pt x="260" y="354"/>
                      <a:pt x="260" y="354"/>
                      <a:pt x="260" y="354"/>
                    </a:cubicBezTo>
                    <a:cubicBezTo>
                      <a:pt x="257" y="349"/>
                      <a:pt x="257" y="349"/>
                      <a:pt x="257" y="349"/>
                    </a:cubicBezTo>
                    <a:cubicBezTo>
                      <a:pt x="259" y="337"/>
                      <a:pt x="259" y="337"/>
                      <a:pt x="259" y="337"/>
                    </a:cubicBezTo>
                    <a:cubicBezTo>
                      <a:pt x="253" y="332"/>
                      <a:pt x="253" y="332"/>
                      <a:pt x="253" y="332"/>
                    </a:cubicBezTo>
                    <a:cubicBezTo>
                      <a:pt x="253" y="327"/>
                      <a:pt x="253" y="327"/>
                      <a:pt x="253" y="327"/>
                    </a:cubicBezTo>
                    <a:cubicBezTo>
                      <a:pt x="249" y="324"/>
                      <a:pt x="249" y="324"/>
                      <a:pt x="249" y="324"/>
                    </a:cubicBezTo>
                    <a:cubicBezTo>
                      <a:pt x="248" y="319"/>
                      <a:pt x="248" y="319"/>
                      <a:pt x="248" y="319"/>
                    </a:cubicBezTo>
                    <a:cubicBezTo>
                      <a:pt x="245" y="321"/>
                      <a:pt x="245" y="321"/>
                      <a:pt x="245" y="321"/>
                    </a:cubicBezTo>
                    <a:cubicBezTo>
                      <a:pt x="248" y="317"/>
                      <a:pt x="248" y="317"/>
                      <a:pt x="248" y="317"/>
                    </a:cubicBezTo>
                    <a:cubicBezTo>
                      <a:pt x="245" y="315"/>
                      <a:pt x="245" y="315"/>
                      <a:pt x="245" y="315"/>
                    </a:cubicBezTo>
                    <a:cubicBezTo>
                      <a:pt x="245" y="315"/>
                      <a:pt x="247" y="312"/>
                      <a:pt x="244" y="311"/>
                    </a:cubicBezTo>
                    <a:cubicBezTo>
                      <a:pt x="241" y="311"/>
                      <a:pt x="238" y="310"/>
                      <a:pt x="238" y="310"/>
                    </a:cubicBezTo>
                    <a:cubicBezTo>
                      <a:pt x="228" y="298"/>
                      <a:pt x="228" y="298"/>
                      <a:pt x="228" y="298"/>
                    </a:cubicBezTo>
                    <a:cubicBezTo>
                      <a:pt x="228" y="298"/>
                      <a:pt x="228" y="296"/>
                      <a:pt x="223" y="297"/>
                    </a:cubicBezTo>
                    <a:cubicBezTo>
                      <a:pt x="217" y="298"/>
                      <a:pt x="217" y="305"/>
                      <a:pt x="213" y="305"/>
                    </a:cubicBezTo>
                    <a:cubicBezTo>
                      <a:pt x="209" y="305"/>
                      <a:pt x="208" y="299"/>
                      <a:pt x="208" y="299"/>
                    </a:cubicBezTo>
                    <a:cubicBezTo>
                      <a:pt x="208" y="299"/>
                      <a:pt x="203" y="301"/>
                      <a:pt x="200" y="300"/>
                    </a:cubicBezTo>
                    <a:cubicBezTo>
                      <a:pt x="197" y="299"/>
                      <a:pt x="195" y="296"/>
                      <a:pt x="195" y="296"/>
                    </a:cubicBezTo>
                    <a:cubicBezTo>
                      <a:pt x="195" y="296"/>
                      <a:pt x="187" y="295"/>
                      <a:pt x="188" y="294"/>
                    </a:cubicBezTo>
                    <a:cubicBezTo>
                      <a:pt x="189" y="292"/>
                      <a:pt x="196" y="292"/>
                      <a:pt x="196" y="292"/>
                    </a:cubicBezTo>
                    <a:cubicBezTo>
                      <a:pt x="196" y="292"/>
                      <a:pt x="197" y="296"/>
                      <a:pt x="200" y="296"/>
                    </a:cubicBezTo>
                    <a:cubicBezTo>
                      <a:pt x="202" y="296"/>
                      <a:pt x="207" y="294"/>
                      <a:pt x="207" y="294"/>
                    </a:cubicBezTo>
                    <a:cubicBezTo>
                      <a:pt x="210" y="295"/>
                      <a:pt x="210" y="295"/>
                      <a:pt x="210" y="295"/>
                    </a:cubicBezTo>
                    <a:cubicBezTo>
                      <a:pt x="210" y="291"/>
                      <a:pt x="210" y="291"/>
                      <a:pt x="210" y="291"/>
                    </a:cubicBezTo>
                    <a:cubicBezTo>
                      <a:pt x="218" y="287"/>
                      <a:pt x="218" y="287"/>
                      <a:pt x="218" y="287"/>
                    </a:cubicBezTo>
                    <a:cubicBezTo>
                      <a:pt x="226" y="290"/>
                      <a:pt x="226" y="290"/>
                      <a:pt x="226" y="290"/>
                    </a:cubicBezTo>
                    <a:cubicBezTo>
                      <a:pt x="234" y="283"/>
                      <a:pt x="234" y="283"/>
                      <a:pt x="234" y="283"/>
                    </a:cubicBezTo>
                    <a:cubicBezTo>
                      <a:pt x="226" y="279"/>
                      <a:pt x="226" y="279"/>
                      <a:pt x="226" y="279"/>
                    </a:cubicBezTo>
                    <a:cubicBezTo>
                      <a:pt x="226" y="279"/>
                      <a:pt x="230" y="278"/>
                      <a:pt x="228" y="275"/>
                    </a:cubicBezTo>
                    <a:cubicBezTo>
                      <a:pt x="226" y="272"/>
                      <a:pt x="227" y="271"/>
                      <a:pt x="224" y="271"/>
                    </a:cubicBezTo>
                    <a:cubicBezTo>
                      <a:pt x="219" y="272"/>
                      <a:pt x="217" y="276"/>
                      <a:pt x="215" y="276"/>
                    </a:cubicBezTo>
                    <a:cubicBezTo>
                      <a:pt x="213" y="277"/>
                      <a:pt x="208" y="276"/>
                      <a:pt x="208" y="276"/>
                    </a:cubicBezTo>
                    <a:cubicBezTo>
                      <a:pt x="208" y="276"/>
                      <a:pt x="214" y="275"/>
                      <a:pt x="215" y="274"/>
                    </a:cubicBezTo>
                    <a:cubicBezTo>
                      <a:pt x="216" y="272"/>
                      <a:pt x="220" y="269"/>
                      <a:pt x="223" y="269"/>
                    </a:cubicBezTo>
                    <a:cubicBezTo>
                      <a:pt x="225" y="269"/>
                      <a:pt x="230" y="272"/>
                      <a:pt x="230" y="272"/>
                    </a:cubicBezTo>
                    <a:cubicBezTo>
                      <a:pt x="241" y="267"/>
                      <a:pt x="241" y="267"/>
                      <a:pt x="241" y="267"/>
                    </a:cubicBezTo>
                    <a:cubicBezTo>
                      <a:pt x="246" y="256"/>
                      <a:pt x="246" y="256"/>
                      <a:pt x="246" y="256"/>
                    </a:cubicBezTo>
                    <a:cubicBezTo>
                      <a:pt x="257" y="247"/>
                      <a:pt x="257" y="247"/>
                      <a:pt x="257" y="247"/>
                    </a:cubicBezTo>
                    <a:cubicBezTo>
                      <a:pt x="264" y="234"/>
                      <a:pt x="264" y="234"/>
                      <a:pt x="264" y="234"/>
                    </a:cubicBezTo>
                    <a:cubicBezTo>
                      <a:pt x="264" y="234"/>
                      <a:pt x="264" y="231"/>
                      <a:pt x="266" y="229"/>
                    </a:cubicBezTo>
                    <a:cubicBezTo>
                      <a:pt x="267" y="227"/>
                      <a:pt x="281" y="214"/>
                      <a:pt x="279" y="206"/>
                    </a:cubicBezTo>
                    <a:cubicBezTo>
                      <a:pt x="277" y="199"/>
                      <a:pt x="265" y="197"/>
                      <a:pt x="265" y="197"/>
                    </a:cubicBezTo>
                    <a:cubicBezTo>
                      <a:pt x="257" y="198"/>
                      <a:pt x="257" y="198"/>
                      <a:pt x="257" y="198"/>
                    </a:cubicBezTo>
                    <a:cubicBezTo>
                      <a:pt x="242" y="192"/>
                      <a:pt x="242" y="192"/>
                      <a:pt x="242" y="192"/>
                    </a:cubicBezTo>
                    <a:cubicBezTo>
                      <a:pt x="235" y="193"/>
                      <a:pt x="235" y="193"/>
                      <a:pt x="235" y="193"/>
                    </a:cubicBezTo>
                    <a:cubicBezTo>
                      <a:pt x="235" y="193"/>
                      <a:pt x="231" y="189"/>
                      <a:pt x="226" y="188"/>
                    </a:cubicBezTo>
                    <a:cubicBezTo>
                      <a:pt x="220" y="188"/>
                      <a:pt x="207" y="192"/>
                      <a:pt x="207" y="192"/>
                    </a:cubicBezTo>
                    <a:cubicBezTo>
                      <a:pt x="203" y="191"/>
                      <a:pt x="203" y="191"/>
                      <a:pt x="203" y="191"/>
                    </a:cubicBezTo>
                    <a:cubicBezTo>
                      <a:pt x="199" y="196"/>
                      <a:pt x="199" y="196"/>
                      <a:pt x="199" y="196"/>
                    </a:cubicBezTo>
                    <a:cubicBezTo>
                      <a:pt x="185" y="197"/>
                      <a:pt x="185" y="197"/>
                      <a:pt x="185" y="197"/>
                    </a:cubicBezTo>
                    <a:cubicBezTo>
                      <a:pt x="196" y="193"/>
                      <a:pt x="196" y="193"/>
                      <a:pt x="196" y="193"/>
                    </a:cubicBezTo>
                    <a:cubicBezTo>
                      <a:pt x="202" y="187"/>
                      <a:pt x="202" y="187"/>
                      <a:pt x="202" y="187"/>
                    </a:cubicBezTo>
                    <a:cubicBezTo>
                      <a:pt x="202" y="187"/>
                      <a:pt x="198" y="186"/>
                      <a:pt x="197" y="186"/>
                    </a:cubicBezTo>
                    <a:cubicBezTo>
                      <a:pt x="196" y="186"/>
                      <a:pt x="191" y="188"/>
                      <a:pt x="191" y="188"/>
                    </a:cubicBezTo>
                    <a:cubicBezTo>
                      <a:pt x="188" y="187"/>
                      <a:pt x="188" y="187"/>
                      <a:pt x="188" y="187"/>
                    </a:cubicBezTo>
                    <a:cubicBezTo>
                      <a:pt x="196" y="184"/>
                      <a:pt x="196" y="184"/>
                      <a:pt x="196" y="184"/>
                    </a:cubicBezTo>
                    <a:cubicBezTo>
                      <a:pt x="204" y="185"/>
                      <a:pt x="204" y="185"/>
                      <a:pt x="204" y="185"/>
                    </a:cubicBezTo>
                    <a:cubicBezTo>
                      <a:pt x="214" y="176"/>
                      <a:pt x="214" y="176"/>
                      <a:pt x="214" y="176"/>
                    </a:cubicBezTo>
                    <a:cubicBezTo>
                      <a:pt x="208" y="176"/>
                      <a:pt x="208" y="176"/>
                      <a:pt x="208" y="176"/>
                    </a:cubicBezTo>
                    <a:cubicBezTo>
                      <a:pt x="201" y="174"/>
                      <a:pt x="201" y="174"/>
                      <a:pt x="201" y="174"/>
                    </a:cubicBezTo>
                    <a:cubicBezTo>
                      <a:pt x="207" y="173"/>
                      <a:pt x="207" y="173"/>
                      <a:pt x="207" y="173"/>
                    </a:cubicBezTo>
                    <a:cubicBezTo>
                      <a:pt x="204" y="169"/>
                      <a:pt x="204" y="169"/>
                      <a:pt x="204" y="169"/>
                    </a:cubicBezTo>
                    <a:cubicBezTo>
                      <a:pt x="209" y="169"/>
                      <a:pt x="209" y="169"/>
                      <a:pt x="209" y="169"/>
                    </a:cubicBezTo>
                    <a:cubicBezTo>
                      <a:pt x="215" y="164"/>
                      <a:pt x="215" y="164"/>
                      <a:pt x="215" y="164"/>
                    </a:cubicBezTo>
                    <a:cubicBezTo>
                      <a:pt x="215" y="164"/>
                      <a:pt x="221" y="163"/>
                      <a:pt x="227" y="158"/>
                    </a:cubicBezTo>
                    <a:cubicBezTo>
                      <a:pt x="231" y="154"/>
                      <a:pt x="233" y="153"/>
                      <a:pt x="233" y="153"/>
                    </a:cubicBezTo>
                    <a:cubicBezTo>
                      <a:pt x="233" y="153"/>
                      <a:pt x="240" y="152"/>
                      <a:pt x="243" y="151"/>
                    </a:cubicBezTo>
                    <a:cubicBezTo>
                      <a:pt x="245" y="149"/>
                      <a:pt x="248" y="141"/>
                      <a:pt x="248" y="141"/>
                    </a:cubicBezTo>
                    <a:cubicBezTo>
                      <a:pt x="248" y="141"/>
                      <a:pt x="245" y="144"/>
                      <a:pt x="246" y="141"/>
                    </a:cubicBezTo>
                    <a:cubicBezTo>
                      <a:pt x="246" y="138"/>
                      <a:pt x="251" y="132"/>
                      <a:pt x="251" y="132"/>
                    </a:cubicBezTo>
                    <a:cubicBezTo>
                      <a:pt x="242" y="129"/>
                      <a:pt x="242" y="129"/>
                      <a:pt x="242" y="129"/>
                    </a:cubicBezTo>
                    <a:cubicBezTo>
                      <a:pt x="237" y="129"/>
                      <a:pt x="237" y="129"/>
                      <a:pt x="237" y="129"/>
                    </a:cubicBezTo>
                    <a:cubicBezTo>
                      <a:pt x="240" y="132"/>
                      <a:pt x="240" y="132"/>
                      <a:pt x="240" y="132"/>
                    </a:cubicBezTo>
                    <a:cubicBezTo>
                      <a:pt x="231" y="129"/>
                      <a:pt x="231" y="129"/>
                      <a:pt x="231" y="129"/>
                    </a:cubicBezTo>
                    <a:cubicBezTo>
                      <a:pt x="225" y="132"/>
                      <a:pt x="225" y="132"/>
                      <a:pt x="225" y="132"/>
                    </a:cubicBezTo>
                    <a:cubicBezTo>
                      <a:pt x="218" y="130"/>
                      <a:pt x="218" y="130"/>
                      <a:pt x="218" y="130"/>
                    </a:cubicBezTo>
                    <a:cubicBezTo>
                      <a:pt x="216" y="127"/>
                      <a:pt x="216" y="127"/>
                      <a:pt x="216" y="127"/>
                    </a:cubicBezTo>
                    <a:cubicBezTo>
                      <a:pt x="215" y="130"/>
                      <a:pt x="215" y="130"/>
                      <a:pt x="215" y="130"/>
                    </a:cubicBezTo>
                    <a:cubicBezTo>
                      <a:pt x="207" y="130"/>
                      <a:pt x="207" y="130"/>
                      <a:pt x="207" y="130"/>
                    </a:cubicBezTo>
                    <a:cubicBezTo>
                      <a:pt x="199" y="135"/>
                      <a:pt x="199" y="135"/>
                      <a:pt x="199" y="135"/>
                    </a:cubicBezTo>
                    <a:cubicBezTo>
                      <a:pt x="202" y="129"/>
                      <a:pt x="202" y="129"/>
                      <a:pt x="202" y="129"/>
                    </a:cubicBezTo>
                    <a:cubicBezTo>
                      <a:pt x="198" y="124"/>
                      <a:pt x="198" y="124"/>
                      <a:pt x="198" y="124"/>
                    </a:cubicBezTo>
                    <a:cubicBezTo>
                      <a:pt x="198" y="124"/>
                      <a:pt x="192" y="133"/>
                      <a:pt x="191" y="133"/>
                    </a:cubicBezTo>
                    <a:cubicBezTo>
                      <a:pt x="188" y="132"/>
                      <a:pt x="193" y="126"/>
                      <a:pt x="193" y="126"/>
                    </a:cubicBezTo>
                    <a:cubicBezTo>
                      <a:pt x="192" y="120"/>
                      <a:pt x="192" y="120"/>
                      <a:pt x="192" y="120"/>
                    </a:cubicBezTo>
                    <a:cubicBezTo>
                      <a:pt x="189" y="123"/>
                      <a:pt x="189" y="123"/>
                      <a:pt x="189" y="123"/>
                    </a:cubicBezTo>
                    <a:cubicBezTo>
                      <a:pt x="188" y="121"/>
                      <a:pt x="188" y="121"/>
                      <a:pt x="188" y="121"/>
                    </a:cubicBezTo>
                    <a:cubicBezTo>
                      <a:pt x="188" y="121"/>
                      <a:pt x="184" y="120"/>
                      <a:pt x="183" y="120"/>
                    </a:cubicBezTo>
                    <a:cubicBezTo>
                      <a:pt x="181" y="120"/>
                      <a:pt x="182" y="122"/>
                      <a:pt x="182" y="122"/>
                    </a:cubicBezTo>
                    <a:cubicBezTo>
                      <a:pt x="182" y="122"/>
                      <a:pt x="179" y="123"/>
                      <a:pt x="178" y="125"/>
                    </a:cubicBezTo>
                    <a:cubicBezTo>
                      <a:pt x="177" y="127"/>
                      <a:pt x="179" y="132"/>
                      <a:pt x="179" y="132"/>
                    </a:cubicBezTo>
                    <a:cubicBezTo>
                      <a:pt x="179" y="132"/>
                      <a:pt x="176" y="130"/>
                      <a:pt x="176" y="134"/>
                    </a:cubicBezTo>
                    <a:cubicBezTo>
                      <a:pt x="175" y="137"/>
                      <a:pt x="176" y="140"/>
                      <a:pt x="176" y="140"/>
                    </a:cubicBezTo>
                    <a:cubicBezTo>
                      <a:pt x="180" y="143"/>
                      <a:pt x="180" y="143"/>
                      <a:pt x="180" y="143"/>
                    </a:cubicBezTo>
                    <a:cubicBezTo>
                      <a:pt x="175" y="141"/>
                      <a:pt x="175" y="141"/>
                      <a:pt x="175" y="141"/>
                    </a:cubicBezTo>
                    <a:cubicBezTo>
                      <a:pt x="169" y="142"/>
                      <a:pt x="169" y="142"/>
                      <a:pt x="169" y="142"/>
                    </a:cubicBezTo>
                    <a:cubicBezTo>
                      <a:pt x="165" y="140"/>
                      <a:pt x="165" y="140"/>
                      <a:pt x="165" y="140"/>
                    </a:cubicBezTo>
                    <a:cubicBezTo>
                      <a:pt x="164" y="140"/>
                      <a:pt x="164" y="140"/>
                      <a:pt x="164" y="140"/>
                    </a:cubicBezTo>
                    <a:cubicBezTo>
                      <a:pt x="166" y="143"/>
                      <a:pt x="166" y="143"/>
                      <a:pt x="166" y="143"/>
                    </a:cubicBezTo>
                    <a:cubicBezTo>
                      <a:pt x="165" y="152"/>
                      <a:pt x="165" y="152"/>
                      <a:pt x="165" y="152"/>
                    </a:cubicBezTo>
                    <a:cubicBezTo>
                      <a:pt x="161" y="151"/>
                      <a:pt x="161" y="151"/>
                      <a:pt x="161" y="151"/>
                    </a:cubicBezTo>
                    <a:cubicBezTo>
                      <a:pt x="161" y="154"/>
                      <a:pt x="161" y="154"/>
                      <a:pt x="161" y="154"/>
                    </a:cubicBezTo>
                    <a:cubicBezTo>
                      <a:pt x="164" y="156"/>
                      <a:pt x="164" y="156"/>
                      <a:pt x="164" y="156"/>
                    </a:cubicBezTo>
                    <a:cubicBezTo>
                      <a:pt x="163" y="158"/>
                      <a:pt x="163" y="158"/>
                      <a:pt x="163" y="158"/>
                    </a:cubicBezTo>
                    <a:cubicBezTo>
                      <a:pt x="166" y="160"/>
                      <a:pt x="166" y="160"/>
                      <a:pt x="166" y="160"/>
                    </a:cubicBezTo>
                    <a:cubicBezTo>
                      <a:pt x="169" y="168"/>
                      <a:pt x="169" y="168"/>
                      <a:pt x="169" y="168"/>
                    </a:cubicBezTo>
                    <a:cubicBezTo>
                      <a:pt x="162" y="158"/>
                      <a:pt x="162" y="158"/>
                      <a:pt x="162" y="158"/>
                    </a:cubicBezTo>
                    <a:cubicBezTo>
                      <a:pt x="155" y="164"/>
                      <a:pt x="155" y="164"/>
                      <a:pt x="155" y="164"/>
                    </a:cubicBezTo>
                    <a:cubicBezTo>
                      <a:pt x="153" y="159"/>
                      <a:pt x="153" y="159"/>
                      <a:pt x="153" y="159"/>
                    </a:cubicBezTo>
                    <a:cubicBezTo>
                      <a:pt x="150" y="160"/>
                      <a:pt x="150" y="160"/>
                      <a:pt x="150" y="160"/>
                    </a:cubicBezTo>
                    <a:cubicBezTo>
                      <a:pt x="151" y="167"/>
                      <a:pt x="151" y="167"/>
                      <a:pt x="151" y="167"/>
                    </a:cubicBezTo>
                    <a:cubicBezTo>
                      <a:pt x="148" y="161"/>
                      <a:pt x="148" y="161"/>
                      <a:pt x="148" y="161"/>
                    </a:cubicBezTo>
                    <a:cubicBezTo>
                      <a:pt x="143" y="161"/>
                      <a:pt x="143" y="161"/>
                      <a:pt x="143" y="161"/>
                    </a:cubicBezTo>
                    <a:cubicBezTo>
                      <a:pt x="143" y="168"/>
                      <a:pt x="143" y="168"/>
                      <a:pt x="143" y="168"/>
                    </a:cubicBezTo>
                    <a:cubicBezTo>
                      <a:pt x="146" y="172"/>
                      <a:pt x="146" y="172"/>
                      <a:pt x="146" y="172"/>
                    </a:cubicBezTo>
                    <a:cubicBezTo>
                      <a:pt x="143" y="171"/>
                      <a:pt x="143" y="171"/>
                      <a:pt x="143" y="171"/>
                    </a:cubicBezTo>
                    <a:cubicBezTo>
                      <a:pt x="142" y="174"/>
                      <a:pt x="142" y="174"/>
                      <a:pt x="142" y="174"/>
                    </a:cubicBezTo>
                    <a:cubicBezTo>
                      <a:pt x="144" y="179"/>
                      <a:pt x="144" y="179"/>
                      <a:pt x="144" y="179"/>
                    </a:cubicBezTo>
                    <a:cubicBezTo>
                      <a:pt x="149" y="183"/>
                      <a:pt x="149" y="183"/>
                      <a:pt x="149" y="183"/>
                    </a:cubicBezTo>
                    <a:cubicBezTo>
                      <a:pt x="143" y="183"/>
                      <a:pt x="143" y="183"/>
                      <a:pt x="143" y="183"/>
                    </a:cubicBezTo>
                    <a:cubicBezTo>
                      <a:pt x="143" y="183"/>
                      <a:pt x="141" y="179"/>
                      <a:pt x="138" y="179"/>
                    </a:cubicBezTo>
                    <a:cubicBezTo>
                      <a:pt x="136" y="179"/>
                      <a:pt x="136" y="185"/>
                      <a:pt x="136" y="186"/>
                    </a:cubicBezTo>
                    <a:cubicBezTo>
                      <a:pt x="137" y="187"/>
                      <a:pt x="134" y="189"/>
                      <a:pt x="135" y="191"/>
                    </a:cubicBezTo>
                    <a:cubicBezTo>
                      <a:pt x="136" y="193"/>
                      <a:pt x="139" y="192"/>
                      <a:pt x="139" y="192"/>
                    </a:cubicBezTo>
                    <a:cubicBezTo>
                      <a:pt x="147" y="193"/>
                      <a:pt x="147" y="193"/>
                      <a:pt x="147" y="193"/>
                    </a:cubicBezTo>
                    <a:cubicBezTo>
                      <a:pt x="141" y="195"/>
                      <a:pt x="141" y="195"/>
                      <a:pt x="141" y="195"/>
                    </a:cubicBezTo>
                    <a:cubicBezTo>
                      <a:pt x="141" y="195"/>
                      <a:pt x="138" y="196"/>
                      <a:pt x="139" y="198"/>
                    </a:cubicBezTo>
                    <a:cubicBezTo>
                      <a:pt x="139" y="200"/>
                      <a:pt x="144" y="200"/>
                      <a:pt x="146" y="202"/>
                    </a:cubicBezTo>
                    <a:cubicBezTo>
                      <a:pt x="147" y="204"/>
                      <a:pt x="147" y="206"/>
                      <a:pt x="147" y="206"/>
                    </a:cubicBezTo>
                    <a:cubicBezTo>
                      <a:pt x="147" y="206"/>
                      <a:pt x="144" y="203"/>
                      <a:pt x="142" y="202"/>
                    </a:cubicBezTo>
                    <a:cubicBezTo>
                      <a:pt x="141" y="201"/>
                      <a:pt x="137" y="206"/>
                      <a:pt x="137" y="206"/>
                    </a:cubicBezTo>
                    <a:cubicBezTo>
                      <a:pt x="142" y="213"/>
                      <a:pt x="142" y="213"/>
                      <a:pt x="142" y="213"/>
                    </a:cubicBezTo>
                    <a:cubicBezTo>
                      <a:pt x="135" y="207"/>
                      <a:pt x="135" y="207"/>
                      <a:pt x="135" y="207"/>
                    </a:cubicBezTo>
                    <a:cubicBezTo>
                      <a:pt x="132" y="212"/>
                      <a:pt x="132" y="212"/>
                      <a:pt x="132" y="212"/>
                    </a:cubicBezTo>
                    <a:cubicBezTo>
                      <a:pt x="136" y="217"/>
                      <a:pt x="136" y="217"/>
                      <a:pt x="136" y="217"/>
                    </a:cubicBezTo>
                    <a:cubicBezTo>
                      <a:pt x="136" y="218"/>
                      <a:pt x="136" y="218"/>
                      <a:pt x="136" y="218"/>
                    </a:cubicBezTo>
                    <a:cubicBezTo>
                      <a:pt x="131" y="215"/>
                      <a:pt x="131" y="215"/>
                      <a:pt x="131" y="215"/>
                    </a:cubicBezTo>
                    <a:cubicBezTo>
                      <a:pt x="123" y="221"/>
                      <a:pt x="123" y="221"/>
                      <a:pt x="123" y="221"/>
                    </a:cubicBezTo>
                    <a:cubicBezTo>
                      <a:pt x="123" y="221"/>
                      <a:pt x="132" y="222"/>
                      <a:pt x="131" y="223"/>
                    </a:cubicBezTo>
                    <a:cubicBezTo>
                      <a:pt x="129" y="226"/>
                      <a:pt x="123" y="226"/>
                      <a:pt x="123" y="226"/>
                    </a:cubicBezTo>
                    <a:cubicBezTo>
                      <a:pt x="122" y="232"/>
                      <a:pt x="122" y="232"/>
                      <a:pt x="122" y="232"/>
                    </a:cubicBezTo>
                    <a:cubicBezTo>
                      <a:pt x="120" y="229"/>
                      <a:pt x="120" y="229"/>
                      <a:pt x="120" y="229"/>
                    </a:cubicBezTo>
                    <a:cubicBezTo>
                      <a:pt x="120" y="229"/>
                      <a:pt x="111" y="229"/>
                      <a:pt x="111" y="230"/>
                    </a:cubicBezTo>
                    <a:cubicBezTo>
                      <a:pt x="111" y="232"/>
                      <a:pt x="121" y="235"/>
                      <a:pt x="121" y="235"/>
                    </a:cubicBezTo>
                    <a:cubicBezTo>
                      <a:pt x="127" y="234"/>
                      <a:pt x="127" y="234"/>
                      <a:pt x="127" y="234"/>
                    </a:cubicBezTo>
                    <a:cubicBezTo>
                      <a:pt x="130" y="231"/>
                      <a:pt x="130" y="231"/>
                      <a:pt x="130" y="231"/>
                    </a:cubicBezTo>
                    <a:cubicBezTo>
                      <a:pt x="139" y="228"/>
                      <a:pt x="139" y="228"/>
                      <a:pt x="139" y="228"/>
                    </a:cubicBezTo>
                    <a:cubicBezTo>
                      <a:pt x="139" y="230"/>
                      <a:pt x="139" y="230"/>
                      <a:pt x="139" y="230"/>
                    </a:cubicBezTo>
                    <a:cubicBezTo>
                      <a:pt x="132" y="232"/>
                      <a:pt x="132" y="232"/>
                      <a:pt x="132" y="232"/>
                    </a:cubicBezTo>
                    <a:cubicBezTo>
                      <a:pt x="130" y="234"/>
                      <a:pt x="130" y="234"/>
                      <a:pt x="130" y="234"/>
                    </a:cubicBezTo>
                    <a:cubicBezTo>
                      <a:pt x="134" y="236"/>
                      <a:pt x="134" y="236"/>
                      <a:pt x="134" y="236"/>
                    </a:cubicBezTo>
                    <a:cubicBezTo>
                      <a:pt x="132" y="237"/>
                      <a:pt x="132" y="237"/>
                      <a:pt x="132" y="237"/>
                    </a:cubicBezTo>
                    <a:cubicBezTo>
                      <a:pt x="129" y="235"/>
                      <a:pt x="129" y="235"/>
                      <a:pt x="129" y="235"/>
                    </a:cubicBezTo>
                    <a:cubicBezTo>
                      <a:pt x="122" y="237"/>
                      <a:pt x="122" y="237"/>
                      <a:pt x="122" y="237"/>
                    </a:cubicBezTo>
                    <a:cubicBezTo>
                      <a:pt x="118" y="236"/>
                      <a:pt x="118" y="236"/>
                      <a:pt x="118" y="236"/>
                    </a:cubicBezTo>
                    <a:cubicBezTo>
                      <a:pt x="117" y="240"/>
                      <a:pt x="117" y="240"/>
                      <a:pt x="117" y="240"/>
                    </a:cubicBezTo>
                    <a:cubicBezTo>
                      <a:pt x="122" y="244"/>
                      <a:pt x="122" y="244"/>
                      <a:pt x="122" y="244"/>
                    </a:cubicBezTo>
                    <a:cubicBezTo>
                      <a:pt x="127" y="247"/>
                      <a:pt x="127" y="247"/>
                      <a:pt x="127" y="247"/>
                    </a:cubicBezTo>
                    <a:cubicBezTo>
                      <a:pt x="135" y="244"/>
                      <a:pt x="135" y="244"/>
                      <a:pt x="135" y="244"/>
                    </a:cubicBezTo>
                    <a:cubicBezTo>
                      <a:pt x="148" y="233"/>
                      <a:pt x="148" y="233"/>
                      <a:pt x="148" y="233"/>
                    </a:cubicBezTo>
                    <a:cubicBezTo>
                      <a:pt x="146" y="231"/>
                      <a:pt x="146" y="231"/>
                      <a:pt x="146" y="231"/>
                    </a:cubicBezTo>
                    <a:cubicBezTo>
                      <a:pt x="149" y="230"/>
                      <a:pt x="149" y="230"/>
                      <a:pt x="149" y="230"/>
                    </a:cubicBezTo>
                    <a:cubicBezTo>
                      <a:pt x="153" y="232"/>
                      <a:pt x="153" y="232"/>
                      <a:pt x="153" y="232"/>
                    </a:cubicBezTo>
                    <a:cubicBezTo>
                      <a:pt x="145" y="238"/>
                      <a:pt x="145" y="238"/>
                      <a:pt x="145" y="238"/>
                    </a:cubicBezTo>
                    <a:cubicBezTo>
                      <a:pt x="145" y="238"/>
                      <a:pt x="152" y="240"/>
                      <a:pt x="151" y="240"/>
                    </a:cubicBezTo>
                    <a:cubicBezTo>
                      <a:pt x="145" y="240"/>
                      <a:pt x="145" y="240"/>
                      <a:pt x="145" y="240"/>
                    </a:cubicBezTo>
                    <a:cubicBezTo>
                      <a:pt x="137" y="246"/>
                      <a:pt x="137" y="246"/>
                      <a:pt x="137" y="246"/>
                    </a:cubicBezTo>
                    <a:cubicBezTo>
                      <a:pt x="141" y="249"/>
                      <a:pt x="141" y="249"/>
                      <a:pt x="141" y="249"/>
                    </a:cubicBezTo>
                    <a:cubicBezTo>
                      <a:pt x="137" y="249"/>
                      <a:pt x="137" y="249"/>
                      <a:pt x="137" y="249"/>
                    </a:cubicBezTo>
                    <a:cubicBezTo>
                      <a:pt x="134" y="251"/>
                      <a:pt x="134" y="251"/>
                      <a:pt x="134" y="251"/>
                    </a:cubicBezTo>
                    <a:cubicBezTo>
                      <a:pt x="141" y="254"/>
                      <a:pt x="141" y="254"/>
                      <a:pt x="141" y="254"/>
                    </a:cubicBezTo>
                    <a:cubicBezTo>
                      <a:pt x="135" y="253"/>
                      <a:pt x="135" y="253"/>
                      <a:pt x="135" y="253"/>
                    </a:cubicBezTo>
                    <a:cubicBezTo>
                      <a:pt x="131" y="260"/>
                      <a:pt x="131" y="260"/>
                      <a:pt x="131" y="260"/>
                    </a:cubicBezTo>
                    <a:cubicBezTo>
                      <a:pt x="125" y="260"/>
                      <a:pt x="125" y="260"/>
                      <a:pt x="125" y="260"/>
                    </a:cubicBezTo>
                    <a:cubicBezTo>
                      <a:pt x="122" y="267"/>
                      <a:pt x="122" y="267"/>
                      <a:pt x="122" y="267"/>
                    </a:cubicBezTo>
                    <a:cubicBezTo>
                      <a:pt x="126" y="267"/>
                      <a:pt x="126" y="267"/>
                      <a:pt x="126" y="267"/>
                    </a:cubicBezTo>
                    <a:cubicBezTo>
                      <a:pt x="125" y="277"/>
                      <a:pt x="125" y="277"/>
                      <a:pt x="125" y="277"/>
                    </a:cubicBezTo>
                    <a:cubicBezTo>
                      <a:pt x="120" y="277"/>
                      <a:pt x="120" y="277"/>
                      <a:pt x="120" y="277"/>
                    </a:cubicBezTo>
                    <a:cubicBezTo>
                      <a:pt x="115" y="281"/>
                      <a:pt x="115" y="281"/>
                      <a:pt x="115" y="281"/>
                    </a:cubicBezTo>
                    <a:cubicBezTo>
                      <a:pt x="118" y="285"/>
                      <a:pt x="118" y="285"/>
                      <a:pt x="118" y="285"/>
                    </a:cubicBezTo>
                    <a:cubicBezTo>
                      <a:pt x="115" y="292"/>
                      <a:pt x="115" y="292"/>
                      <a:pt x="115" y="292"/>
                    </a:cubicBezTo>
                    <a:cubicBezTo>
                      <a:pt x="116" y="294"/>
                      <a:pt x="116" y="294"/>
                      <a:pt x="116" y="294"/>
                    </a:cubicBezTo>
                    <a:cubicBezTo>
                      <a:pt x="121" y="294"/>
                      <a:pt x="121" y="294"/>
                      <a:pt x="121" y="294"/>
                    </a:cubicBezTo>
                    <a:cubicBezTo>
                      <a:pt x="116" y="296"/>
                      <a:pt x="116" y="296"/>
                      <a:pt x="116" y="296"/>
                    </a:cubicBezTo>
                    <a:cubicBezTo>
                      <a:pt x="111" y="305"/>
                      <a:pt x="111" y="305"/>
                      <a:pt x="111" y="305"/>
                    </a:cubicBezTo>
                    <a:cubicBezTo>
                      <a:pt x="110" y="306"/>
                      <a:pt x="110" y="306"/>
                      <a:pt x="110" y="306"/>
                    </a:cubicBezTo>
                    <a:cubicBezTo>
                      <a:pt x="110" y="306"/>
                      <a:pt x="109" y="313"/>
                      <a:pt x="106" y="315"/>
                    </a:cubicBezTo>
                    <a:cubicBezTo>
                      <a:pt x="105" y="316"/>
                      <a:pt x="101" y="317"/>
                      <a:pt x="101" y="317"/>
                    </a:cubicBezTo>
                    <a:cubicBezTo>
                      <a:pt x="101" y="317"/>
                      <a:pt x="100" y="324"/>
                      <a:pt x="105" y="324"/>
                    </a:cubicBezTo>
                    <a:cubicBezTo>
                      <a:pt x="112" y="325"/>
                      <a:pt x="114" y="318"/>
                      <a:pt x="114" y="318"/>
                    </a:cubicBezTo>
                    <a:cubicBezTo>
                      <a:pt x="113" y="316"/>
                      <a:pt x="113" y="316"/>
                      <a:pt x="113" y="316"/>
                    </a:cubicBezTo>
                    <a:cubicBezTo>
                      <a:pt x="114" y="314"/>
                      <a:pt x="114" y="314"/>
                      <a:pt x="114" y="314"/>
                    </a:cubicBezTo>
                    <a:cubicBezTo>
                      <a:pt x="121" y="300"/>
                      <a:pt x="121" y="300"/>
                      <a:pt x="121" y="300"/>
                    </a:cubicBezTo>
                    <a:cubicBezTo>
                      <a:pt x="128" y="296"/>
                      <a:pt x="128" y="296"/>
                      <a:pt x="128" y="296"/>
                    </a:cubicBezTo>
                    <a:cubicBezTo>
                      <a:pt x="125" y="292"/>
                      <a:pt x="125" y="292"/>
                      <a:pt x="125" y="292"/>
                    </a:cubicBezTo>
                    <a:cubicBezTo>
                      <a:pt x="126" y="282"/>
                      <a:pt x="126" y="282"/>
                      <a:pt x="126" y="282"/>
                    </a:cubicBezTo>
                    <a:cubicBezTo>
                      <a:pt x="129" y="282"/>
                      <a:pt x="129" y="282"/>
                      <a:pt x="129" y="282"/>
                    </a:cubicBezTo>
                    <a:cubicBezTo>
                      <a:pt x="136" y="276"/>
                      <a:pt x="136" y="276"/>
                      <a:pt x="136" y="276"/>
                    </a:cubicBezTo>
                    <a:cubicBezTo>
                      <a:pt x="139" y="275"/>
                      <a:pt x="139" y="275"/>
                      <a:pt x="139" y="275"/>
                    </a:cubicBezTo>
                    <a:cubicBezTo>
                      <a:pt x="144" y="271"/>
                      <a:pt x="144" y="271"/>
                      <a:pt x="144" y="271"/>
                    </a:cubicBezTo>
                    <a:cubicBezTo>
                      <a:pt x="148" y="270"/>
                      <a:pt x="148" y="270"/>
                      <a:pt x="148" y="270"/>
                    </a:cubicBezTo>
                    <a:cubicBezTo>
                      <a:pt x="145" y="272"/>
                      <a:pt x="145" y="272"/>
                      <a:pt x="145" y="272"/>
                    </a:cubicBezTo>
                    <a:cubicBezTo>
                      <a:pt x="142" y="276"/>
                      <a:pt x="142" y="276"/>
                      <a:pt x="142" y="276"/>
                    </a:cubicBezTo>
                    <a:cubicBezTo>
                      <a:pt x="137" y="277"/>
                      <a:pt x="137" y="277"/>
                      <a:pt x="137" y="277"/>
                    </a:cubicBezTo>
                    <a:cubicBezTo>
                      <a:pt x="132" y="282"/>
                      <a:pt x="132" y="282"/>
                      <a:pt x="132" y="282"/>
                    </a:cubicBezTo>
                    <a:cubicBezTo>
                      <a:pt x="129" y="283"/>
                      <a:pt x="129" y="283"/>
                      <a:pt x="129" y="283"/>
                    </a:cubicBezTo>
                    <a:cubicBezTo>
                      <a:pt x="127" y="291"/>
                      <a:pt x="127" y="291"/>
                      <a:pt x="127" y="291"/>
                    </a:cubicBezTo>
                    <a:cubicBezTo>
                      <a:pt x="132" y="295"/>
                      <a:pt x="132" y="295"/>
                      <a:pt x="132" y="295"/>
                    </a:cubicBezTo>
                    <a:cubicBezTo>
                      <a:pt x="131" y="287"/>
                      <a:pt x="131" y="287"/>
                      <a:pt x="131" y="287"/>
                    </a:cubicBezTo>
                    <a:cubicBezTo>
                      <a:pt x="135" y="290"/>
                      <a:pt x="135" y="290"/>
                      <a:pt x="135" y="290"/>
                    </a:cubicBezTo>
                    <a:cubicBezTo>
                      <a:pt x="137" y="287"/>
                      <a:pt x="137" y="287"/>
                      <a:pt x="137" y="287"/>
                    </a:cubicBezTo>
                    <a:cubicBezTo>
                      <a:pt x="139" y="294"/>
                      <a:pt x="139" y="294"/>
                      <a:pt x="139" y="294"/>
                    </a:cubicBezTo>
                    <a:cubicBezTo>
                      <a:pt x="144" y="290"/>
                      <a:pt x="144" y="290"/>
                      <a:pt x="144" y="290"/>
                    </a:cubicBezTo>
                    <a:cubicBezTo>
                      <a:pt x="143" y="285"/>
                      <a:pt x="143" y="285"/>
                      <a:pt x="143" y="285"/>
                    </a:cubicBezTo>
                    <a:cubicBezTo>
                      <a:pt x="145" y="285"/>
                      <a:pt x="145" y="285"/>
                      <a:pt x="145" y="285"/>
                    </a:cubicBezTo>
                    <a:cubicBezTo>
                      <a:pt x="145" y="285"/>
                      <a:pt x="147" y="279"/>
                      <a:pt x="148" y="280"/>
                    </a:cubicBezTo>
                    <a:cubicBezTo>
                      <a:pt x="150" y="280"/>
                      <a:pt x="148" y="283"/>
                      <a:pt x="148" y="283"/>
                    </a:cubicBezTo>
                    <a:cubicBezTo>
                      <a:pt x="148" y="287"/>
                      <a:pt x="148" y="287"/>
                      <a:pt x="148" y="287"/>
                    </a:cubicBezTo>
                    <a:cubicBezTo>
                      <a:pt x="149" y="285"/>
                      <a:pt x="149" y="285"/>
                      <a:pt x="149" y="285"/>
                    </a:cubicBezTo>
                    <a:cubicBezTo>
                      <a:pt x="152" y="290"/>
                      <a:pt x="152" y="290"/>
                      <a:pt x="152" y="290"/>
                    </a:cubicBezTo>
                    <a:cubicBezTo>
                      <a:pt x="158" y="294"/>
                      <a:pt x="158" y="294"/>
                      <a:pt x="158" y="294"/>
                    </a:cubicBezTo>
                    <a:cubicBezTo>
                      <a:pt x="151" y="293"/>
                      <a:pt x="151" y="293"/>
                      <a:pt x="151" y="293"/>
                    </a:cubicBezTo>
                    <a:cubicBezTo>
                      <a:pt x="148" y="290"/>
                      <a:pt x="148" y="290"/>
                      <a:pt x="148" y="290"/>
                    </a:cubicBezTo>
                    <a:cubicBezTo>
                      <a:pt x="145" y="292"/>
                      <a:pt x="145" y="292"/>
                      <a:pt x="145" y="292"/>
                    </a:cubicBezTo>
                    <a:cubicBezTo>
                      <a:pt x="144" y="302"/>
                      <a:pt x="144" y="302"/>
                      <a:pt x="144" y="302"/>
                    </a:cubicBezTo>
                    <a:cubicBezTo>
                      <a:pt x="144" y="302"/>
                      <a:pt x="141" y="302"/>
                      <a:pt x="141" y="303"/>
                    </a:cubicBezTo>
                    <a:cubicBezTo>
                      <a:pt x="141" y="311"/>
                      <a:pt x="141" y="311"/>
                      <a:pt x="141" y="311"/>
                    </a:cubicBezTo>
                    <a:cubicBezTo>
                      <a:pt x="141" y="311"/>
                      <a:pt x="148" y="313"/>
                      <a:pt x="147" y="317"/>
                    </a:cubicBezTo>
                    <a:cubicBezTo>
                      <a:pt x="147" y="322"/>
                      <a:pt x="142" y="325"/>
                      <a:pt x="142" y="325"/>
                    </a:cubicBezTo>
                    <a:cubicBezTo>
                      <a:pt x="141" y="329"/>
                      <a:pt x="141" y="329"/>
                      <a:pt x="141" y="329"/>
                    </a:cubicBezTo>
                    <a:cubicBezTo>
                      <a:pt x="137" y="329"/>
                      <a:pt x="137" y="329"/>
                      <a:pt x="137" y="329"/>
                    </a:cubicBezTo>
                    <a:cubicBezTo>
                      <a:pt x="137" y="329"/>
                      <a:pt x="137" y="333"/>
                      <a:pt x="135" y="335"/>
                    </a:cubicBezTo>
                    <a:cubicBezTo>
                      <a:pt x="133" y="337"/>
                      <a:pt x="128" y="341"/>
                      <a:pt x="127" y="344"/>
                    </a:cubicBezTo>
                    <a:cubicBezTo>
                      <a:pt x="126" y="347"/>
                      <a:pt x="123" y="355"/>
                      <a:pt x="123" y="355"/>
                    </a:cubicBezTo>
                    <a:cubicBezTo>
                      <a:pt x="121" y="348"/>
                      <a:pt x="121" y="348"/>
                      <a:pt x="121" y="348"/>
                    </a:cubicBezTo>
                    <a:cubicBezTo>
                      <a:pt x="120" y="348"/>
                      <a:pt x="120" y="348"/>
                      <a:pt x="120" y="348"/>
                    </a:cubicBezTo>
                    <a:cubicBezTo>
                      <a:pt x="120" y="348"/>
                      <a:pt x="117" y="355"/>
                      <a:pt x="119" y="358"/>
                    </a:cubicBezTo>
                    <a:cubicBezTo>
                      <a:pt x="120" y="360"/>
                      <a:pt x="122" y="365"/>
                      <a:pt x="122" y="365"/>
                    </a:cubicBezTo>
                    <a:cubicBezTo>
                      <a:pt x="122" y="371"/>
                      <a:pt x="122" y="371"/>
                      <a:pt x="122" y="371"/>
                    </a:cubicBezTo>
                    <a:cubicBezTo>
                      <a:pt x="125" y="373"/>
                      <a:pt x="125" y="373"/>
                      <a:pt x="125" y="373"/>
                    </a:cubicBezTo>
                    <a:cubicBezTo>
                      <a:pt x="126" y="370"/>
                      <a:pt x="126" y="370"/>
                      <a:pt x="126" y="370"/>
                    </a:cubicBezTo>
                    <a:cubicBezTo>
                      <a:pt x="126" y="370"/>
                      <a:pt x="122" y="363"/>
                      <a:pt x="127" y="361"/>
                    </a:cubicBezTo>
                    <a:cubicBezTo>
                      <a:pt x="130" y="359"/>
                      <a:pt x="132" y="360"/>
                      <a:pt x="132" y="360"/>
                    </a:cubicBezTo>
                    <a:cubicBezTo>
                      <a:pt x="132" y="363"/>
                      <a:pt x="132" y="363"/>
                      <a:pt x="132" y="363"/>
                    </a:cubicBezTo>
                    <a:cubicBezTo>
                      <a:pt x="139" y="368"/>
                      <a:pt x="139" y="368"/>
                      <a:pt x="139" y="368"/>
                    </a:cubicBezTo>
                    <a:cubicBezTo>
                      <a:pt x="144" y="374"/>
                      <a:pt x="144" y="374"/>
                      <a:pt x="144" y="374"/>
                    </a:cubicBezTo>
                    <a:cubicBezTo>
                      <a:pt x="147" y="368"/>
                      <a:pt x="147" y="368"/>
                      <a:pt x="147" y="368"/>
                    </a:cubicBezTo>
                    <a:cubicBezTo>
                      <a:pt x="145" y="363"/>
                      <a:pt x="145" y="363"/>
                      <a:pt x="145" y="363"/>
                    </a:cubicBezTo>
                    <a:cubicBezTo>
                      <a:pt x="145" y="360"/>
                      <a:pt x="145" y="360"/>
                      <a:pt x="145" y="360"/>
                    </a:cubicBezTo>
                    <a:cubicBezTo>
                      <a:pt x="145" y="360"/>
                      <a:pt x="147" y="364"/>
                      <a:pt x="149" y="365"/>
                    </a:cubicBezTo>
                    <a:cubicBezTo>
                      <a:pt x="153" y="365"/>
                      <a:pt x="153" y="365"/>
                      <a:pt x="153" y="365"/>
                    </a:cubicBezTo>
                    <a:cubicBezTo>
                      <a:pt x="153" y="365"/>
                      <a:pt x="149" y="372"/>
                      <a:pt x="153" y="372"/>
                    </a:cubicBezTo>
                    <a:cubicBezTo>
                      <a:pt x="158" y="372"/>
                      <a:pt x="164" y="371"/>
                      <a:pt x="164" y="371"/>
                    </a:cubicBezTo>
                    <a:cubicBezTo>
                      <a:pt x="166" y="368"/>
                      <a:pt x="166" y="368"/>
                      <a:pt x="166" y="368"/>
                    </a:cubicBezTo>
                    <a:cubicBezTo>
                      <a:pt x="170" y="369"/>
                      <a:pt x="170" y="369"/>
                      <a:pt x="170" y="369"/>
                    </a:cubicBezTo>
                    <a:cubicBezTo>
                      <a:pt x="178" y="369"/>
                      <a:pt x="178" y="369"/>
                      <a:pt x="178" y="369"/>
                    </a:cubicBezTo>
                    <a:cubicBezTo>
                      <a:pt x="179" y="357"/>
                      <a:pt x="179" y="357"/>
                      <a:pt x="179" y="357"/>
                    </a:cubicBezTo>
                    <a:cubicBezTo>
                      <a:pt x="179" y="357"/>
                      <a:pt x="179" y="362"/>
                      <a:pt x="181" y="363"/>
                    </a:cubicBezTo>
                    <a:cubicBezTo>
                      <a:pt x="183" y="363"/>
                      <a:pt x="198" y="365"/>
                      <a:pt x="198" y="365"/>
                    </a:cubicBezTo>
                    <a:cubicBezTo>
                      <a:pt x="196" y="368"/>
                      <a:pt x="196" y="368"/>
                      <a:pt x="196" y="368"/>
                    </a:cubicBezTo>
                    <a:cubicBezTo>
                      <a:pt x="194" y="368"/>
                      <a:pt x="194" y="368"/>
                      <a:pt x="194" y="368"/>
                    </a:cubicBezTo>
                    <a:cubicBezTo>
                      <a:pt x="193" y="366"/>
                      <a:pt x="193" y="366"/>
                      <a:pt x="193" y="366"/>
                    </a:cubicBezTo>
                    <a:cubicBezTo>
                      <a:pt x="188" y="366"/>
                      <a:pt x="188" y="366"/>
                      <a:pt x="188" y="366"/>
                    </a:cubicBezTo>
                    <a:cubicBezTo>
                      <a:pt x="189" y="370"/>
                      <a:pt x="189" y="370"/>
                      <a:pt x="189" y="370"/>
                    </a:cubicBezTo>
                    <a:cubicBezTo>
                      <a:pt x="186" y="369"/>
                      <a:pt x="186" y="369"/>
                      <a:pt x="186" y="369"/>
                    </a:cubicBezTo>
                    <a:cubicBezTo>
                      <a:pt x="180" y="373"/>
                      <a:pt x="180" y="373"/>
                      <a:pt x="180" y="373"/>
                    </a:cubicBezTo>
                    <a:cubicBezTo>
                      <a:pt x="181" y="375"/>
                      <a:pt x="181" y="375"/>
                      <a:pt x="181" y="375"/>
                    </a:cubicBezTo>
                    <a:cubicBezTo>
                      <a:pt x="181" y="375"/>
                      <a:pt x="176" y="378"/>
                      <a:pt x="175" y="381"/>
                    </a:cubicBezTo>
                    <a:cubicBezTo>
                      <a:pt x="174" y="384"/>
                      <a:pt x="172" y="388"/>
                      <a:pt x="172" y="388"/>
                    </a:cubicBezTo>
                    <a:cubicBezTo>
                      <a:pt x="169" y="390"/>
                      <a:pt x="169" y="390"/>
                      <a:pt x="169" y="390"/>
                    </a:cubicBezTo>
                    <a:cubicBezTo>
                      <a:pt x="172" y="396"/>
                      <a:pt x="172" y="396"/>
                      <a:pt x="172" y="396"/>
                    </a:cubicBezTo>
                    <a:cubicBezTo>
                      <a:pt x="174" y="400"/>
                      <a:pt x="174" y="400"/>
                      <a:pt x="174" y="400"/>
                    </a:cubicBezTo>
                    <a:cubicBezTo>
                      <a:pt x="174" y="400"/>
                      <a:pt x="176" y="401"/>
                      <a:pt x="176" y="403"/>
                    </a:cubicBezTo>
                    <a:cubicBezTo>
                      <a:pt x="176" y="404"/>
                      <a:pt x="175" y="409"/>
                      <a:pt x="175" y="410"/>
                    </a:cubicBezTo>
                    <a:cubicBezTo>
                      <a:pt x="176" y="412"/>
                      <a:pt x="178" y="414"/>
                      <a:pt x="178" y="414"/>
                    </a:cubicBezTo>
                    <a:cubicBezTo>
                      <a:pt x="182" y="409"/>
                      <a:pt x="182" y="409"/>
                      <a:pt x="182" y="409"/>
                    </a:cubicBezTo>
                    <a:cubicBezTo>
                      <a:pt x="182" y="413"/>
                      <a:pt x="182" y="413"/>
                      <a:pt x="182" y="413"/>
                    </a:cubicBezTo>
                    <a:cubicBezTo>
                      <a:pt x="180" y="416"/>
                      <a:pt x="180" y="416"/>
                      <a:pt x="180" y="416"/>
                    </a:cubicBezTo>
                    <a:cubicBezTo>
                      <a:pt x="179" y="416"/>
                      <a:pt x="181" y="422"/>
                      <a:pt x="181" y="422"/>
                    </a:cubicBezTo>
                    <a:cubicBezTo>
                      <a:pt x="185" y="417"/>
                      <a:pt x="185" y="417"/>
                      <a:pt x="185" y="417"/>
                    </a:cubicBezTo>
                    <a:cubicBezTo>
                      <a:pt x="186" y="412"/>
                      <a:pt x="186" y="412"/>
                      <a:pt x="186" y="412"/>
                    </a:cubicBezTo>
                    <a:cubicBezTo>
                      <a:pt x="189" y="420"/>
                      <a:pt x="189" y="420"/>
                      <a:pt x="189" y="420"/>
                    </a:cubicBezTo>
                    <a:cubicBezTo>
                      <a:pt x="194" y="417"/>
                      <a:pt x="194" y="417"/>
                      <a:pt x="194" y="417"/>
                    </a:cubicBezTo>
                    <a:cubicBezTo>
                      <a:pt x="194" y="423"/>
                      <a:pt x="194" y="423"/>
                      <a:pt x="194" y="423"/>
                    </a:cubicBezTo>
                    <a:cubicBezTo>
                      <a:pt x="194" y="423"/>
                      <a:pt x="189" y="424"/>
                      <a:pt x="189" y="425"/>
                    </a:cubicBezTo>
                    <a:cubicBezTo>
                      <a:pt x="189" y="427"/>
                      <a:pt x="192" y="428"/>
                      <a:pt x="192" y="428"/>
                    </a:cubicBezTo>
                    <a:cubicBezTo>
                      <a:pt x="191" y="432"/>
                      <a:pt x="191" y="432"/>
                      <a:pt x="191" y="432"/>
                    </a:cubicBezTo>
                    <a:cubicBezTo>
                      <a:pt x="182" y="433"/>
                      <a:pt x="182" y="433"/>
                      <a:pt x="182" y="433"/>
                    </a:cubicBezTo>
                    <a:cubicBezTo>
                      <a:pt x="182" y="433"/>
                      <a:pt x="180" y="442"/>
                      <a:pt x="182" y="443"/>
                    </a:cubicBezTo>
                    <a:cubicBezTo>
                      <a:pt x="184" y="444"/>
                      <a:pt x="185" y="448"/>
                      <a:pt x="185" y="448"/>
                    </a:cubicBezTo>
                    <a:cubicBezTo>
                      <a:pt x="185" y="448"/>
                      <a:pt x="177" y="452"/>
                      <a:pt x="177" y="457"/>
                    </a:cubicBezTo>
                    <a:cubicBezTo>
                      <a:pt x="178" y="461"/>
                      <a:pt x="181" y="470"/>
                      <a:pt x="181" y="470"/>
                    </a:cubicBezTo>
                    <a:cubicBezTo>
                      <a:pt x="186" y="472"/>
                      <a:pt x="186" y="472"/>
                      <a:pt x="186" y="472"/>
                    </a:cubicBezTo>
                    <a:cubicBezTo>
                      <a:pt x="186" y="472"/>
                      <a:pt x="185" y="474"/>
                      <a:pt x="184" y="474"/>
                    </a:cubicBezTo>
                    <a:cubicBezTo>
                      <a:pt x="183" y="474"/>
                      <a:pt x="179" y="472"/>
                      <a:pt x="179" y="472"/>
                    </a:cubicBezTo>
                    <a:cubicBezTo>
                      <a:pt x="177" y="465"/>
                      <a:pt x="177" y="465"/>
                      <a:pt x="177" y="465"/>
                    </a:cubicBezTo>
                    <a:cubicBezTo>
                      <a:pt x="177" y="465"/>
                      <a:pt x="171" y="464"/>
                      <a:pt x="171" y="466"/>
                    </a:cubicBezTo>
                    <a:cubicBezTo>
                      <a:pt x="170" y="467"/>
                      <a:pt x="172" y="474"/>
                      <a:pt x="172" y="474"/>
                    </a:cubicBezTo>
                    <a:cubicBezTo>
                      <a:pt x="165" y="467"/>
                      <a:pt x="165" y="467"/>
                      <a:pt x="165" y="467"/>
                    </a:cubicBezTo>
                    <a:cubicBezTo>
                      <a:pt x="152" y="469"/>
                      <a:pt x="152" y="469"/>
                      <a:pt x="152" y="469"/>
                    </a:cubicBezTo>
                    <a:cubicBezTo>
                      <a:pt x="144" y="464"/>
                      <a:pt x="144" y="464"/>
                      <a:pt x="144" y="464"/>
                    </a:cubicBezTo>
                    <a:cubicBezTo>
                      <a:pt x="144" y="467"/>
                      <a:pt x="144" y="467"/>
                      <a:pt x="144" y="467"/>
                    </a:cubicBezTo>
                    <a:cubicBezTo>
                      <a:pt x="133" y="469"/>
                      <a:pt x="133" y="469"/>
                      <a:pt x="133" y="469"/>
                    </a:cubicBezTo>
                    <a:cubicBezTo>
                      <a:pt x="121" y="475"/>
                      <a:pt x="121" y="475"/>
                      <a:pt x="121" y="475"/>
                    </a:cubicBezTo>
                    <a:cubicBezTo>
                      <a:pt x="121" y="475"/>
                      <a:pt x="120" y="482"/>
                      <a:pt x="117" y="483"/>
                    </a:cubicBezTo>
                    <a:cubicBezTo>
                      <a:pt x="115" y="485"/>
                      <a:pt x="111" y="485"/>
                      <a:pt x="111" y="485"/>
                    </a:cubicBezTo>
                    <a:cubicBezTo>
                      <a:pt x="111" y="485"/>
                      <a:pt x="100" y="490"/>
                      <a:pt x="101" y="491"/>
                    </a:cubicBezTo>
                    <a:cubicBezTo>
                      <a:pt x="103" y="492"/>
                      <a:pt x="107" y="491"/>
                      <a:pt x="109" y="492"/>
                    </a:cubicBezTo>
                    <a:cubicBezTo>
                      <a:pt x="110" y="494"/>
                      <a:pt x="110" y="497"/>
                      <a:pt x="110" y="497"/>
                    </a:cubicBezTo>
                    <a:cubicBezTo>
                      <a:pt x="110" y="497"/>
                      <a:pt x="112" y="496"/>
                      <a:pt x="112" y="494"/>
                    </a:cubicBezTo>
                    <a:cubicBezTo>
                      <a:pt x="113" y="491"/>
                      <a:pt x="114" y="489"/>
                      <a:pt x="116" y="489"/>
                    </a:cubicBezTo>
                    <a:cubicBezTo>
                      <a:pt x="117" y="488"/>
                      <a:pt x="119" y="490"/>
                      <a:pt x="119" y="490"/>
                    </a:cubicBezTo>
                    <a:cubicBezTo>
                      <a:pt x="122" y="489"/>
                      <a:pt x="122" y="489"/>
                      <a:pt x="122" y="489"/>
                    </a:cubicBezTo>
                    <a:cubicBezTo>
                      <a:pt x="129" y="490"/>
                      <a:pt x="129" y="490"/>
                      <a:pt x="129" y="490"/>
                    </a:cubicBezTo>
                    <a:cubicBezTo>
                      <a:pt x="127" y="494"/>
                      <a:pt x="127" y="494"/>
                      <a:pt x="127" y="494"/>
                    </a:cubicBezTo>
                    <a:cubicBezTo>
                      <a:pt x="127" y="494"/>
                      <a:pt x="126" y="499"/>
                      <a:pt x="127" y="500"/>
                    </a:cubicBezTo>
                    <a:cubicBezTo>
                      <a:pt x="128" y="501"/>
                      <a:pt x="128" y="503"/>
                      <a:pt x="128" y="503"/>
                    </a:cubicBezTo>
                    <a:cubicBezTo>
                      <a:pt x="128" y="503"/>
                      <a:pt x="123" y="506"/>
                      <a:pt x="123" y="510"/>
                    </a:cubicBezTo>
                    <a:cubicBezTo>
                      <a:pt x="123" y="512"/>
                      <a:pt x="128" y="514"/>
                      <a:pt x="128" y="514"/>
                    </a:cubicBezTo>
                    <a:cubicBezTo>
                      <a:pt x="126" y="516"/>
                      <a:pt x="126" y="516"/>
                      <a:pt x="126" y="516"/>
                    </a:cubicBezTo>
                    <a:cubicBezTo>
                      <a:pt x="126" y="516"/>
                      <a:pt x="119" y="531"/>
                      <a:pt x="116" y="531"/>
                    </a:cubicBezTo>
                    <a:cubicBezTo>
                      <a:pt x="113" y="532"/>
                      <a:pt x="110" y="532"/>
                      <a:pt x="109" y="533"/>
                    </a:cubicBezTo>
                    <a:cubicBezTo>
                      <a:pt x="106" y="534"/>
                      <a:pt x="102" y="536"/>
                      <a:pt x="102" y="536"/>
                    </a:cubicBezTo>
                    <a:cubicBezTo>
                      <a:pt x="98" y="535"/>
                      <a:pt x="98" y="535"/>
                      <a:pt x="98" y="535"/>
                    </a:cubicBezTo>
                    <a:cubicBezTo>
                      <a:pt x="88" y="538"/>
                      <a:pt x="88" y="538"/>
                      <a:pt x="88" y="538"/>
                    </a:cubicBezTo>
                    <a:cubicBezTo>
                      <a:pt x="87" y="542"/>
                      <a:pt x="87" y="542"/>
                      <a:pt x="87" y="542"/>
                    </a:cubicBezTo>
                    <a:cubicBezTo>
                      <a:pt x="82" y="542"/>
                      <a:pt x="82" y="542"/>
                      <a:pt x="82" y="542"/>
                    </a:cubicBezTo>
                    <a:cubicBezTo>
                      <a:pt x="79" y="538"/>
                      <a:pt x="79" y="538"/>
                      <a:pt x="79" y="538"/>
                    </a:cubicBezTo>
                    <a:cubicBezTo>
                      <a:pt x="76" y="539"/>
                      <a:pt x="76" y="539"/>
                      <a:pt x="76" y="539"/>
                    </a:cubicBezTo>
                    <a:cubicBezTo>
                      <a:pt x="77" y="542"/>
                      <a:pt x="77" y="542"/>
                      <a:pt x="77" y="542"/>
                    </a:cubicBezTo>
                    <a:cubicBezTo>
                      <a:pt x="77" y="542"/>
                      <a:pt x="66" y="543"/>
                      <a:pt x="66" y="545"/>
                    </a:cubicBezTo>
                    <a:cubicBezTo>
                      <a:pt x="65" y="547"/>
                      <a:pt x="65" y="548"/>
                      <a:pt x="65" y="548"/>
                    </a:cubicBezTo>
                    <a:cubicBezTo>
                      <a:pt x="72" y="549"/>
                      <a:pt x="72" y="549"/>
                      <a:pt x="72" y="549"/>
                    </a:cubicBezTo>
                    <a:cubicBezTo>
                      <a:pt x="72" y="549"/>
                      <a:pt x="73" y="554"/>
                      <a:pt x="71" y="554"/>
                    </a:cubicBezTo>
                    <a:cubicBezTo>
                      <a:pt x="68" y="554"/>
                      <a:pt x="66" y="555"/>
                      <a:pt x="66" y="555"/>
                    </a:cubicBezTo>
                    <a:cubicBezTo>
                      <a:pt x="67" y="561"/>
                      <a:pt x="67" y="561"/>
                      <a:pt x="67" y="561"/>
                    </a:cubicBezTo>
                    <a:cubicBezTo>
                      <a:pt x="67" y="561"/>
                      <a:pt x="70" y="559"/>
                      <a:pt x="71" y="559"/>
                    </a:cubicBezTo>
                    <a:cubicBezTo>
                      <a:pt x="72" y="559"/>
                      <a:pt x="74" y="560"/>
                      <a:pt x="74" y="560"/>
                    </a:cubicBezTo>
                    <a:cubicBezTo>
                      <a:pt x="80" y="559"/>
                      <a:pt x="80" y="559"/>
                      <a:pt x="80" y="559"/>
                    </a:cubicBezTo>
                    <a:cubicBezTo>
                      <a:pt x="82" y="555"/>
                      <a:pt x="82" y="555"/>
                      <a:pt x="82" y="555"/>
                    </a:cubicBezTo>
                    <a:cubicBezTo>
                      <a:pt x="86" y="555"/>
                      <a:pt x="86" y="555"/>
                      <a:pt x="86" y="555"/>
                    </a:cubicBezTo>
                    <a:cubicBezTo>
                      <a:pt x="83" y="558"/>
                      <a:pt x="83" y="558"/>
                      <a:pt x="83" y="558"/>
                    </a:cubicBezTo>
                    <a:cubicBezTo>
                      <a:pt x="82" y="561"/>
                      <a:pt x="82" y="561"/>
                      <a:pt x="82" y="561"/>
                    </a:cubicBezTo>
                    <a:cubicBezTo>
                      <a:pt x="73" y="561"/>
                      <a:pt x="73" y="561"/>
                      <a:pt x="73" y="561"/>
                    </a:cubicBezTo>
                    <a:cubicBezTo>
                      <a:pt x="71" y="562"/>
                      <a:pt x="71" y="562"/>
                      <a:pt x="71" y="562"/>
                    </a:cubicBezTo>
                    <a:cubicBezTo>
                      <a:pt x="71" y="562"/>
                      <a:pt x="71" y="567"/>
                      <a:pt x="73" y="567"/>
                    </a:cubicBezTo>
                    <a:cubicBezTo>
                      <a:pt x="76" y="567"/>
                      <a:pt x="80" y="566"/>
                      <a:pt x="80" y="566"/>
                    </a:cubicBezTo>
                    <a:cubicBezTo>
                      <a:pt x="80" y="566"/>
                      <a:pt x="83" y="567"/>
                      <a:pt x="84" y="566"/>
                    </a:cubicBezTo>
                    <a:cubicBezTo>
                      <a:pt x="86" y="565"/>
                      <a:pt x="88" y="563"/>
                      <a:pt x="88" y="563"/>
                    </a:cubicBezTo>
                    <a:cubicBezTo>
                      <a:pt x="96" y="563"/>
                      <a:pt x="96" y="563"/>
                      <a:pt x="96" y="563"/>
                    </a:cubicBezTo>
                    <a:cubicBezTo>
                      <a:pt x="96" y="563"/>
                      <a:pt x="100" y="560"/>
                      <a:pt x="102" y="561"/>
                    </a:cubicBezTo>
                    <a:cubicBezTo>
                      <a:pt x="104" y="562"/>
                      <a:pt x="99" y="565"/>
                      <a:pt x="101" y="566"/>
                    </a:cubicBezTo>
                    <a:cubicBezTo>
                      <a:pt x="103" y="567"/>
                      <a:pt x="109" y="569"/>
                      <a:pt x="109" y="569"/>
                    </a:cubicBezTo>
                    <a:cubicBezTo>
                      <a:pt x="115" y="568"/>
                      <a:pt x="115" y="568"/>
                      <a:pt x="115" y="568"/>
                    </a:cubicBezTo>
                    <a:cubicBezTo>
                      <a:pt x="114" y="570"/>
                      <a:pt x="114" y="570"/>
                      <a:pt x="114" y="570"/>
                    </a:cubicBezTo>
                    <a:cubicBezTo>
                      <a:pt x="109" y="571"/>
                      <a:pt x="109" y="571"/>
                      <a:pt x="109" y="571"/>
                    </a:cubicBezTo>
                    <a:cubicBezTo>
                      <a:pt x="109" y="571"/>
                      <a:pt x="103" y="570"/>
                      <a:pt x="103" y="573"/>
                    </a:cubicBezTo>
                    <a:cubicBezTo>
                      <a:pt x="102" y="575"/>
                      <a:pt x="102" y="577"/>
                      <a:pt x="104" y="577"/>
                    </a:cubicBezTo>
                    <a:cubicBezTo>
                      <a:pt x="107" y="577"/>
                      <a:pt x="112" y="578"/>
                      <a:pt x="112" y="578"/>
                    </a:cubicBezTo>
                    <a:cubicBezTo>
                      <a:pt x="112" y="578"/>
                      <a:pt x="115" y="574"/>
                      <a:pt x="118" y="575"/>
                    </a:cubicBezTo>
                    <a:cubicBezTo>
                      <a:pt x="122" y="576"/>
                      <a:pt x="126" y="587"/>
                      <a:pt x="126" y="587"/>
                    </a:cubicBezTo>
                    <a:cubicBezTo>
                      <a:pt x="126" y="587"/>
                      <a:pt x="131" y="593"/>
                      <a:pt x="137" y="594"/>
                    </a:cubicBezTo>
                    <a:cubicBezTo>
                      <a:pt x="143" y="594"/>
                      <a:pt x="152" y="589"/>
                      <a:pt x="152" y="589"/>
                    </a:cubicBezTo>
                    <a:cubicBezTo>
                      <a:pt x="163" y="586"/>
                      <a:pt x="163" y="586"/>
                      <a:pt x="163" y="586"/>
                    </a:cubicBezTo>
                    <a:cubicBezTo>
                      <a:pt x="170" y="580"/>
                      <a:pt x="170" y="580"/>
                      <a:pt x="170" y="580"/>
                    </a:cubicBezTo>
                    <a:cubicBezTo>
                      <a:pt x="180" y="575"/>
                      <a:pt x="180" y="575"/>
                      <a:pt x="180" y="575"/>
                    </a:cubicBezTo>
                    <a:cubicBezTo>
                      <a:pt x="181" y="576"/>
                      <a:pt x="181" y="576"/>
                      <a:pt x="181" y="576"/>
                    </a:cubicBezTo>
                    <a:cubicBezTo>
                      <a:pt x="171" y="582"/>
                      <a:pt x="171" y="582"/>
                      <a:pt x="171" y="582"/>
                    </a:cubicBezTo>
                    <a:cubicBezTo>
                      <a:pt x="166" y="589"/>
                      <a:pt x="166" y="589"/>
                      <a:pt x="166" y="589"/>
                    </a:cubicBezTo>
                    <a:cubicBezTo>
                      <a:pt x="161" y="590"/>
                      <a:pt x="161" y="590"/>
                      <a:pt x="161" y="590"/>
                    </a:cubicBezTo>
                    <a:cubicBezTo>
                      <a:pt x="161" y="590"/>
                      <a:pt x="151" y="597"/>
                      <a:pt x="151" y="599"/>
                    </a:cubicBezTo>
                    <a:cubicBezTo>
                      <a:pt x="150" y="602"/>
                      <a:pt x="152" y="605"/>
                      <a:pt x="148" y="606"/>
                    </a:cubicBezTo>
                    <a:cubicBezTo>
                      <a:pt x="144" y="607"/>
                      <a:pt x="132" y="608"/>
                      <a:pt x="130" y="605"/>
                    </a:cubicBezTo>
                    <a:cubicBezTo>
                      <a:pt x="128" y="602"/>
                      <a:pt x="121" y="600"/>
                      <a:pt x="118" y="599"/>
                    </a:cubicBezTo>
                    <a:cubicBezTo>
                      <a:pt x="115" y="599"/>
                      <a:pt x="102" y="597"/>
                      <a:pt x="99" y="600"/>
                    </a:cubicBezTo>
                    <a:cubicBezTo>
                      <a:pt x="97" y="602"/>
                      <a:pt x="100" y="608"/>
                      <a:pt x="100" y="608"/>
                    </a:cubicBezTo>
                    <a:cubicBezTo>
                      <a:pt x="100" y="608"/>
                      <a:pt x="98" y="609"/>
                      <a:pt x="94" y="610"/>
                    </a:cubicBezTo>
                    <a:cubicBezTo>
                      <a:pt x="90" y="611"/>
                      <a:pt x="88" y="607"/>
                      <a:pt x="86" y="608"/>
                    </a:cubicBezTo>
                    <a:cubicBezTo>
                      <a:pt x="83" y="609"/>
                      <a:pt x="81" y="623"/>
                      <a:pt x="81" y="623"/>
                    </a:cubicBezTo>
                    <a:cubicBezTo>
                      <a:pt x="70" y="628"/>
                      <a:pt x="70" y="628"/>
                      <a:pt x="70" y="628"/>
                    </a:cubicBezTo>
                    <a:cubicBezTo>
                      <a:pt x="69" y="631"/>
                      <a:pt x="69" y="631"/>
                      <a:pt x="69" y="631"/>
                    </a:cubicBezTo>
                    <a:cubicBezTo>
                      <a:pt x="56" y="636"/>
                      <a:pt x="56" y="636"/>
                      <a:pt x="56" y="636"/>
                    </a:cubicBezTo>
                    <a:cubicBezTo>
                      <a:pt x="55" y="640"/>
                      <a:pt x="55" y="640"/>
                      <a:pt x="55" y="640"/>
                    </a:cubicBezTo>
                    <a:cubicBezTo>
                      <a:pt x="55" y="640"/>
                      <a:pt x="51" y="641"/>
                      <a:pt x="50" y="643"/>
                    </a:cubicBezTo>
                    <a:cubicBezTo>
                      <a:pt x="48" y="644"/>
                      <a:pt x="47" y="647"/>
                      <a:pt x="47" y="647"/>
                    </a:cubicBezTo>
                    <a:cubicBezTo>
                      <a:pt x="38" y="652"/>
                      <a:pt x="38" y="652"/>
                      <a:pt x="38" y="652"/>
                    </a:cubicBezTo>
                    <a:cubicBezTo>
                      <a:pt x="34" y="653"/>
                      <a:pt x="34" y="653"/>
                      <a:pt x="34" y="653"/>
                    </a:cubicBezTo>
                    <a:cubicBezTo>
                      <a:pt x="34" y="653"/>
                      <a:pt x="25" y="652"/>
                      <a:pt x="23" y="654"/>
                    </a:cubicBezTo>
                    <a:cubicBezTo>
                      <a:pt x="20" y="656"/>
                      <a:pt x="21" y="662"/>
                      <a:pt x="21" y="662"/>
                    </a:cubicBezTo>
                    <a:cubicBezTo>
                      <a:pt x="30" y="661"/>
                      <a:pt x="30" y="661"/>
                      <a:pt x="30" y="661"/>
                    </a:cubicBezTo>
                    <a:cubicBezTo>
                      <a:pt x="30" y="658"/>
                      <a:pt x="30" y="658"/>
                      <a:pt x="30" y="658"/>
                    </a:cubicBezTo>
                    <a:cubicBezTo>
                      <a:pt x="30" y="658"/>
                      <a:pt x="35" y="660"/>
                      <a:pt x="36" y="661"/>
                    </a:cubicBezTo>
                    <a:cubicBezTo>
                      <a:pt x="37" y="662"/>
                      <a:pt x="41" y="670"/>
                      <a:pt x="41" y="670"/>
                    </a:cubicBezTo>
                    <a:cubicBezTo>
                      <a:pt x="48" y="665"/>
                      <a:pt x="48" y="665"/>
                      <a:pt x="48" y="665"/>
                    </a:cubicBezTo>
                    <a:cubicBezTo>
                      <a:pt x="47" y="662"/>
                      <a:pt x="47" y="662"/>
                      <a:pt x="47" y="662"/>
                    </a:cubicBezTo>
                    <a:cubicBezTo>
                      <a:pt x="47" y="662"/>
                      <a:pt x="52" y="655"/>
                      <a:pt x="52" y="656"/>
                    </a:cubicBezTo>
                    <a:cubicBezTo>
                      <a:pt x="52" y="657"/>
                      <a:pt x="53" y="660"/>
                      <a:pt x="53" y="660"/>
                    </a:cubicBezTo>
                    <a:cubicBezTo>
                      <a:pt x="53" y="660"/>
                      <a:pt x="61" y="657"/>
                      <a:pt x="62" y="657"/>
                    </a:cubicBezTo>
                    <a:cubicBezTo>
                      <a:pt x="63" y="656"/>
                      <a:pt x="66" y="652"/>
                      <a:pt x="66" y="652"/>
                    </a:cubicBezTo>
                    <a:cubicBezTo>
                      <a:pt x="66" y="652"/>
                      <a:pt x="72" y="654"/>
                      <a:pt x="74" y="653"/>
                    </a:cubicBezTo>
                    <a:cubicBezTo>
                      <a:pt x="78" y="653"/>
                      <a:pt x="84" y="652"/>
                      <a:pt x="85" y="653"/>
                    </a:cubicBezTo>
                    <a:cubicBezTo>
                      <a:pt x="85" y="654"/>
                      <a:pt x="86" y="658"/>
                      <a:pt x="86" y="658"/>
                    </a:cubicBezTo>
                    <a:cubicBezTo>
                      <a:pt x="89" y="656"/>
                      <a:pt x="89" y="656"/>
                      <a:pt x="89" y="656"/>
                    </a:cubicBezTo>
                    <a:cubicBezTo>
                      <a:pt x="90" y="650"/>
                      <a:pt x="90" y="650"/>
                      <a:pt x="90" y="650"/>
                    </a:cubicBezTo>
                    <a:cubicBezTo>
                      <a:pt x="93" y="659"/>
                      <a:pt x="93" y="659"/>
                      <a:pt x="93" y="659"/>
                    </a:cubicBezTo>
                    <a:cubicBezTo>
                      <a:pt x="100" y="659"/>
                      <a:pt x="100" y="659"/>
                      <a:pt x="100" y="659"/>
                    </a:cubicBezTo>
                    <a:cubicBezTo>
                      <a:pt x="100" y="659"/>
                      <a:pt x="101" y="666"/>
                      <a:pt x="104" y="666"/>
                    </a:cubicBezTo>
                    <a:cubicBezTo>
                      <a:pt x="109" y="668"/>
                      <a:pt x="112" y="662"/>
                      <a:pt x="112" y="662"/>
                    </a:cubicBezTo>
                    <a:cubicBezTo>
                      <a:pt x="115" y="660"/>
                      <a:pt x="115" y="660"/>
                      <a:pt x="115" y="660"/>
                    </a:cubicBezTo>
                    <a:cubicBezTo>
                      <a:pt x="114" y="656"/>
                      <a:pt x="114" y="656"/>
                      <a:pt x="114" y="656"/>
                    </a:cubicBezTo>
                    <a:cubicBezTo>
                      <a:pt x="118" y="653"/>
                      <a:pt x="118" y="653"/>
                      <a:pt x="118" y="653"/>
                    </a:cubicBezTo>
                    <a:cubicBezTo>
                      <a:pt x="119" y="647"/>
                      <a:pt x="119" y="647"/>
                      <a:pt x="119" y="647"/>
                    </a:cubicBezTo>
                    <a:cubicBezTo>
                      <a:pt x="122" y="645"/>
                      <a:pt x="122" y="645"/>
                      <a:pt x="122" y="645"/>
                    </a:cubicBezTo>
                    <a:cubicBezTo>
                      <a:pt x="122" y="639"/>
                      <a:pt x="122" y="639"/>
                      <a:pt x="122" y="639"/>
                    </a:cubicBezTo>
                    <a:cubicBezTo>
                      <a:pt x="123" y="644"/>
                      <a:pt x="123" y="644"/>
                      <a:pt x="123" y="644"/>
                    </a:cubicBezTo>
                    <a:cubicBezTo>
                      <a:pt x="123" y="644"/>
                      <a:pt x="129" y="641"/>
                      <a:pt x="141" y="641"/>
                    </a:cubicBezTo>
                    <a:cubicBezTo>
                      <a:pt x="153" y="642"/>
                      <a:pt x="160" y="653"/>
                      <a:pt x="160" y="653"/>
                    </a:cubicBezTo>
                    <a:cubicBezTo>
                      <a:pt x="162" y="657"/>
                      <a:pt x="162" y="657"/>
                      <a:pt x="162" y="657"/>
                    </a:cubicBezTo>
                    <a:cubicBezTo>
                      <a:pt x="164" y="655"/>
                      <a:pt x="164" y="655"/>
                      <a:pt x="164" y="655"/>
                    </a:cubicBezTo>
                    <a:cubicBezTo>
                      <a:pt x="164" y="655"/>
                      <a:pt x="161" y="654"/>
                      <a:pt x="163" y="652"/>
                    </a:cubicBezTo>
                    <a:cubicBezTo>
                      <a:pt x="165" y="648"/>
                      <a:pt x="171" y="652"/>
                      <a:pt x="171" y="652"/>
                    </a:cubicBezTo>
                    <a:cubicBezTo>
                      <a:pt x="177" y="652"/>
                      <a:pt x="177" y="652"/>
                      <a:pt x="177" y="652"/>
                    </a:cubicBezTo>
                    <a:cubicBezTo>
                      <a:pt x="178" y="653"/>
                      <a:pt x="182" y="657"/>
                      <a:pt x="184" y="655"/>
                    </a:cubicBezTo>
                    <a:cubicBezTo>
                      <a:pt x="187" y="654"/>
                      <a:pt x="185" y="650"/>
                      <a:pt x="185" y="650"/>
                    </a:cubicBezTo>
                    <a:cubicBezTo>
                      <a:pt x="185" y="650"/>
                      <a:pt x="178" y="647"/>
                      <a:pt x="180" y="646"/>
                    </a:cubicBezTo>
                    <a:cubicBezTo>
                      <a:pt x="182" y="645"/>
                      <a:pt x="185" y="649"/>
                      <a:pt x="186" y="648"/>
                    </a:cubicBezTo>
                    <a:cubicBezTo>
                      <a:pt x="188" y="648"/>
                      <a:pt x="195" y="646"/>
                      <a:pt x="195" y="646"/>
                    </a:cubicBezTo>
                    <a:cubicBezTo>
                      <a:pt x="195" y="646"/>
                      <a:pt x="199" y="649"/>
                      <a:pt x="201" y="649"/>
                    </a:cubicBezTo>
                    <a:cubicBezTo>
                      <a:pt x="202" y="649"/>
                      <a:pt x="203" y="646"/>
                      <a:pt x="203" y="646"/>
                    </a:cubicBezTo>
                    <a:cubicBezTo>
                      <a:pt x="203" y="646"/>
                      <a:pt x="209" y="648"/>
                      <a:pt x="211" y="647"/>
                    </a:cubicBezTo>
                    <a:cubicBezTo>
                      <a:pt x="213" y="646"/>
                      <a:pt x="212" y="642"/>
                      <a:pt x="212" y="642"/>
                    </a:cubicBezTo>
                    <a:cubicBezTo>
                      <a:pt x="212" y="642"/>
                      <a:pt x="216" y="648"/>
                      <a:pt x="218" y="648"/>
                    </a:cubicBezTo>
                    <a:cubicBezTo>
                      <a:pt x="220" y="648"/>
                      <a:pt x="220" y="643"/>
                      <a:pt x="220" y="644"/>
                    </a:cubicBezTo>
                    <a:cubicBezTo>
                      <a:pt x="221" y="646"/>
                      <a:pt x="224" y="649"/>
                      <a:pt x="224" y="649"/>
                    </a:cubicBezTo>
                    <a:cubicBezTo>
                      <a:pt x="224" y="649"/>
                      <a:pt x="226" y="643"/>
                      <a:pt x="229" y="646"/>
                    </a:cubicBezTo>
                    <a:cubicBezTo>
                      <a:pt x="232" y="649"/>
                      <a:pt x="231" y="654"/>
                      <a:pt x="232" y="654"/>
                    </a:cubicBezTo>
                    <a:cubicBezTo>
                      <a:pt x="234" y="654"/>
                      <a:pt x="237" y="653"/>
                      <a:pt x="237" y="653"/>
                    </a:cubicBezTo>
                    <a:cubicBezTo>
                      <a:pt x="237" y="653"/>
                      <a:pt x="248" y="650"/>
                      <a:pt x="257" y="652"/>
                    </a:cubicBezTo>
                    <a:cubicBezTo>
                      <a:pt x="264" y="654"/>
                      <a:pt x="270" y="659"/>
                      <a:pt x="276" y="659"/>
                    </a:cubicBezTo>
                    <a:cubicBezTo>
                      <a:pt x="281" y="659"/>
                      <a:pt x="283" y="657"/>
                      <a:pt x="283" y="657"/>
                    </a:cubicBezTo>
                    <a:cubicBezTo>
                      <a:pt x="295" y="656"/>
                      <a:pt x="295" y="656"/>
                      <a:pt x="295" y="656"/>
                    </a:cubicBezTo>
                    <a:cubicBezTo>
                      <a:pt x="301" y="649"/>
                      <a:pt x="301" y="649"/>
                      <a:pt x="301" y="649"/>
                    </a:cubicBezTo>
                    <a:cubicBezTo>
                      <a:pt x="310" y="653"/>
                      <a:pt x="310" y="653"/>
                      <a:pt x="310" y="653"/>
                    </a:cubicBezTo>
                    <a:cubicBezTo>
                      <a:pt x="310" y="653"/>
                      <a:pt x="309" y="643"/>
                      <a:pt x="312" y="643"/>
                    </a:cubicBezTo>
                    <a:cubicBezTo>
                      <a:pt x="315" y="643"/>
                      <a:pt x="318" y="644"/>
                      <a:pt x="318" y="644"/>
                    </a:cubicBezTo>
                    <a:cubicBezTo>
                      <a:pt x="328" y="641"/>
                      <a:pt x="328" y="641"/>
                      <a:pt x="328" y="641"/>
                    </a:cubicBezTo>
                    <a:cubicBezTo>
                      <a:pt x="329" y="631"/>
                      <a:pt x="329" y="631"/>
                      <a:pt x="329" y="631"/>
                    </a:cubicBezTo>
                    <a:cubicBezTo>
                      <a:pt x="332" y="627"/>
                      <a:pt x="332" y="627"/>
                      <a:pt x="332" y="627"/>
                    </a:cubicBezTo>
                    <a:cubicBezTo>
                      <a:pt x="331" y="625"/>
                      <a:pt x="331" y="625"/>
                      <a:pt x="331" y="625"/>
                    </a:cubicBezTo>
                    <a:cubicBezTo>
                      <a:pt x="310" y="626"/>
                      <a:pt x="310" y="626"/>
                      <a:pt x="310" y="626"/>
                    </a:cubicBezTo>
                    <a:cubicBezTo>
                      <a:pt x="307" y="625"/>
                      <a:pt x="307" y="625"/>
                      <a:pt x="307" y="625"/>
                    </a:cubicBezTo>
                    <a:cubicBezTo>
                      <a:pt x="311" y="623"/>
                      <a:pt x="311" y="623"/>
                      <a:pt x="311" y="623"/>
                    </a:cubicBezTo>
                    <a:cubicBezTo>
                      <a:pt x="311" y="623"/>
                      <a:pt x="312" y="621"/>
                      <a:pt x="309" y="620"/>
                    </a:cubicBezTo>
                    <a:cubicBezTo>
                      <a:pt x="306" y="618"/>
                      <a:pt x="302" y="621"/>
                      <a:pt x="302" y="621"/>
                    </a:cubicBezTo>
                    <a:cubicBezTo>
                      <a:pt x="296" y="621"/>
                      <a:pt x="296" y="621"/>
                      <a:pt x="296" y="621"/>
                    </a:cubicBezTo>
                    <a:cubicBezTo>
                      <a:pt x="303" y="617"/>
                      <a:pt x="303" y="617"/>
                      <a:pt x="303" y="617"/>
                    </a:cubicBezTo>
                    <a:cubicBezTo>
                      <a:pt x="298" y="614"/>
                      <a:pt x="298" y="614"/>
                      <a:pt x="298" y="614"/>
                    </a:cubicBezTo>
                    <a:cubicBezTo>
                      <a:pt x="295" y="614"/>
                      <a:pt x="295" y="614"/>
                      <a:pt x="295" y="614"/>
                    </a:cubicBezTo>
                    <a:cubicBezTo>
                      <a:pt x="293" y="615"/>
                      <a:pt x="293" y="615"/>
                      <a:pt x="293" y="615"/>
                    </a:cubicBezTo>
                    <a:cubicBezTo>
                      <a:pt x="290" y="615"/>
                      <a:pt x="290" y="615"/>
                      <a:pt x="290" y="615"/>
                    </a:cubicBezTo>
                    <a:cubicBezTo>
                      <a:pt x="292" y="614"/>
                      <a:pt x="292" y="614"/>
                      <a:pt x="292" y="614"/>
                    </a:cubicBezTo>
                    <a:cubicBezTo>
                      <a:pt x="294" y="612"/>
                      <a:pt x="294" y="612"/>
                      <a:pt x="294" y="612"/>
                    </a:cubicBezTo>
                    <a:cubicBezTo>
                      <a:pt x="298" y="612"/>
                      <a:pt x="298" y="612"/>
                      <a:pt x="298" y="612"/>
                    </a:cubicBezTo>
                    <a:cubicBezTo>
                      <a:pt x="307" y="613"/>
                      <a:pt x="307" y="613"/>
                      <a:pt x="307" y="613"/>
                    </a:cubicBezTo>
                    <a:cubicBezTo>
                      <a:pt x="312" y="609"/>
                      <a:pt x="312" y="609"/>
                      <a:pt x="312" y="609"/>
                    </a:cubicBezTo>
                    <a:cubicBezTo>
                      <a:pt x="309" y="607"/>
                      <a:pt x="309" y="607"/>
                      <a:pt x="309" y="607"/>
                    </a:cubicBezTo>
                    <a:cubicBezTo>
                      <a:pt x="313" y="606"/>
                      <a:pt x="313" y="606"/>
                      <a:pt x="313" y="606"/>
                    </a:cubicBezTo>
                    <a:cubicBezTo>
                      <a:pt x="314" y="599"/>
                      <a:pt x="314" y="599"/>
                      <a:pt x="314" y="599"/>
                    </a:cubicBezTo>
                    <a:cubicBezTo>
                      <a:pt x="308" y="601"/>
                      <a:pt x="308" y="601"/>
                      <a:pt x="308" y="601"/>
                    </a:cubicBezTo>
                    <a:cubicBezTo>
                      <a:pt x="306" y="599"/>
                      <a:pt x="306" y="599"/>
                      <a:pt x="306" y="599"/>
                    </a:cubicBezTo>
                    <a:cubicBezTo>
                      <a:pt x="315" y="596"/>
                      <a:pt x="315" y="596"/>
                      <a:pt x="315" y="596"/>
                    </a:cubicBezTo>
                    <a:cubicBezTo>
                      <a:pt x="316" y="594"/>
                      <a:pt x="316" y="594"/>
                      <a:pt x="316" y="594"/>
                    </a:cubicBezTo>
                    <a:cubicBezTo>
                      <a:pt x="319" y="598"/>
                      <a:pt x="319" y="598"/>
                      <a:pt x="319" y="598"/>
                    </a:cubicBezTo>
                    <a:cubicBezTo>
                      <a:pt x="319" y="598"/>
                      <a:pt x="324" y="598"/>
                      <a:pt x="327" y="596"/>
                    </a:cubicBezTo>
                    <a:cubicBezTo>
                      <a:pt x="330" y="595"/>
                      <a:pt x="327" y="592"/>
                      <a:pt x="327" y="592"/>
                    </a:cubicBezTo>
                    <a:cubicBezTo>
                      <a:pt x="329" y="590"/>
                      <a:pt x="329" y="590"/>
                      <a:pt x="329" y="590"/>
                    </a:cubicBezTo>
                    <a:cubicBezTo>
                      <a:pt x="323" y="587"/>
                      <a:pt x="323" y="587"/>
                      <a:pt x="323" y="587"/>
                    </a:cubicBezTo>
                    <a:cubicBezTo>
                      <a:pt x="328" y="585"/>
                      <a:pt x="328" y="585"/>
                      <a:pt x="328" y="585"/>
                    </a:cubicBezTo>
                    <a:cubicBezTo>
                      <a:pt x="328" y="582"/>
                      <a:pt x="328" y="582"/>
                      <a:pt x="328" y="582"/>
                    </a:cubicBezTo>
                    <a:cubicBezTo>
                      <a:pt x="330" y="582"/>
                      <a:pt x="330" y="582"/>
                      <a:pt x="330" y="582"/>
                    </a:cubicBezTo>
                    <a:cubicBezTo>
                      <a:pt x="331" y="587"/>
                      <a:pt x="331" y="587"/>
                      <a:pt x="331" y="587"/>
                    </a:cubicBezTo>
                    <a:cubicBezTo>
                      <a:pt x="331" y="587"/>
                      <a:pt x="343" y="583"/>
                      <a:pt x="345" y="580"/>
                    </a:cubicBezTo>
                    <a:cubicBezTo>
                      <a:pt x="348" y="577"/>
                      <a:pt x="345" y="569"/>
                      <a:pt x="348" y="567"/>
                    </a:cubicBezTo>
                    <a:cubicBezTo>
                      <a:pt x="351" y="564"/>
                      <a:pt x="357" y="553"/>
                      <a:pt x="355" y="545"/>
                    </a:cubicBezTo>
                    <a:cubicBezTo>
                      <a:pt x="354" y="535"/>
                      <a:pt x="342" y="526"/>
                      <a:pt x="342" y="526"/>
                    </a:cubicBezTo>
                    <a:close/>
                    <a:moveTo>
                      <a:pt x="217" y="652"/>
                    </a:moveTo>
                    <a:cubicBezTo>
                      <a:pt x="217" y="652"/>
                      <a:pt x="214" y="648"/>
                      <a:pt x="212" y="648"/>
                    </a:cubicBezTo>
                    <a:cubicBezTo>
                      <a:pt x="211" y="648"/>
                      <a:pt x="209" y="650"/>
                      <a:pt x="209" y="650"/>
                    </a:cubicBezTo>
                    <a:cubicBezTo>
                      <a:pt x="200" y="652"/>
                      <a:pt x="200" y="652"/>
                      <a:pt x="200" y="652"/>
                    </a:cubicBezTo>
                    <a:cubicBezTo>
                      <a:pt x="202" y="655"/>
                      <a:pt x="202" y="655"/>
                      <a:pt x="202" y="655"/>
                    </a:cubicBezTo>
                    <a:cubicBezTo>
                      <a:pt x="205" y="655"/>
                      <a:pt x="205" y="655"/>
                      <a:pt x="205" y="655"/>
                    </a:cubicBezTo>
                    <a:cubicBezTo>
                      <a:pt x="210" y="661"/>
                      <a:pt x="210" y="661"/>
                      <a:pt x="210" y="661"/>
                    </a:cubicBezTo>
                    <a:cubicBezTo>
                      <a:pt x="216" y="660"/>
                      <a:pt x="216" y="660"/>
                      <a:pt x="216" y="660"/>
                    </a:cubicBezTo>
                    <a:cubicBezTo>
                      <a:pt x="216" y="660"/>
                      <a:pt x="217" y="658"/>
                      <a:pt x="218" y="657"/>
                    </a:cubicBezTo>
                    <a:cubicBezTo>
                      <a:pt x="220" y="657"/>
                      <a:pt x="221" y="655"/>
                      <a:pt x="221" y="655"/>
                    </a:cubicBezTo>
                    <a:cubicBezTo>
                      <a:pt x="219" y="652"/>
                      <a:pt x="219" y="652"/>
                      <a:pt x="219" y="652"/>
                    </a:cubicBezTo>
                    <a:lnTo>
                      <a:pt x="217" y="652"/>
                    </a:lnTo>
                    <a:close/>
                    <a:moveTo>
                      <a:pt x="117" y="454"/>
                    </a:moveTo>
                    <a:cubicBezTo>
                      <a:pt x="115" y="458"/>
                      <a:pt x="115" y="458"/>
                      <a:pt x="115" y="458"/>
                    </a:cubicBezTo>
                    <a:cubicBezTo>
                      <a:pt x="112" y="456"/>
                      <a:pt x="112" y="456"/>
                      <a:pt x="112" y="456"/>
                    </a:cubicBezTo>
                    <a:cubicBezTo>
                      <a:pt x="111" y="459"/>
                      <a:pt x="111" y="459"/>
                      <a:pt x="111" y="459"/>
                    </a:cubicBezTo>
                    <a:cubicBezTo>
                      <a:pt x="115" y="465"/>
                      <a:pt x="115" y="465"/>
                      <a:pt x="115" y="465"/>
                    </a:cubicBezTo>
                    <a:cubicBezTo>
                      <a:pt x="115" y="465"/>
                      <a:pt x="115" y="470"/>
                      <a:pt x="121" y="471"/>
                    </a:cubicBezTo>
                    <a:cubicBezTo>
                      <a:pt x="128" y="472"/>
                      <a:pt x="129" y="466"/>
                      <a:pt x="129" y="466"/>
                    </a:cubicBezTo>
                    <a:cubicBezTo>
                      <a:pt x="135" y="465"/>
                      <a:pt x="135" y="465"/>
                      <a:pt x="135" y="465"/>
                    </a:cubicBezTo>
                    <a:cubicBezTo>
                      <a:pt x="136" y="463"/>
                      <a:pt x="136" y="463"/>
                      <a:pt x="136" y="463"/>
                    </a:cubicBezTo>
                    <a:cubicBezTo>
                      <a:pt x="130" y="460"/>
                      <a:pt x="130" y="460"/>
                      <a:pt x="130" y="460"/>
                    </a:cubicBezTo>
                    <a:cubicBezTo>
                      <a:pt x="128" y="453"/>
                      <a:pt x="128" y="453"/>
                      <a:pt x="128" y="453"/>
                    </a:cubicBezTo>
                    <a:cubicBezTo>
                      <a:pt x="121" y="452"/>
                      <a:pt x="121" y="452"/>
                      <a:pt x="121" y="452"/>
                    </a:cubicBezTo>
                    <a:lnTo>
                      <a:pt x="117" y="454"/>
                    </a:lnTo>
                    <a:close/>
                    <a:moveTo>
                      <a:pt x="134" y="391"/>
                    </a:moveTo>
                    <a:cubicBezTo>
                      <a:pt x="128" y="400"/>
                      <a:pt x="128" y="400"/>
                      <a:pt x="128" y="400"/>
                    </a:cubicBezTo>
                    <a:cubicBezTo>
                      <a:pt x="123" y="401"/>
                      <a:pt x="123" y="401"/>
                      <a:pt x="123" y="401"/>
                    </a:cubicBezTo>
                    <a:cubicBezTo>
                      <a:pt x="123" y="401"/>
                      <a:pt x="121" y="404"/>
                      <a:pt x="123" y="406"/>
                    </a:cubicBezTo>
                    <a:cubicBezTo>
                      <a:pt x="126" y="409"/>
                      <a:pt x="128" y="410"/>
                      <a:pt x="128" y="410"/>
                    </a:cubicBezTo>
                    <a:cubicBezTo>
                      <a:pt x="132" y="408"/>
                      <a:pt x="132" y="408"/>
                      <a:pt x="132" y="408"/>
                    </a:cubicBezTo>
                    <a:cubicBezTo>
                      <a:pt x="138" y="403"/>
                      <a:pt x="142" y="400"/>
                      <a:pt x="142" y="400"/>
                    </a:cubicBezTo>
                    <a:cubicBezTo>
                      <a:pt x="139" y="396"/>
                      <a:pt x="139" y="396"/>
                      <a:pt x="139" y="396"/>
                    </a:cubicBezTo>
                    <a:cubicBezTo>
                      <a:pt x="139" y="392"/>
                      <a:pt x="139" y="392"/>
                      <a:pt x="139" y="392"/>
                    </a:cubicBezTo>
                    <a:lnTo>
                      <a:pt x="134" y="391"/>
                    </a:lnTo>
                    <a:close/>
                    <a:moveTo>
                      <a:pt x="129" y="302"/>
                    </a:moveTo>
                    <a:cubicBezTo>
                      <a:pt x="126" y="301"/>
                      <a:pt x="126" y="301"/>
                      <a:pt x="126" y="301"/>
                    </a:cubicBezTo>
                    <a:cubicBezTo>
                      <a:pt x="122" y="305"/>
                      <a:pt x="122" y="305"/>
                      <a:pt x="122" y="305"/>
                    </a:cubicBezTo>
                    <a:cubicBezTo>
                      <a:pt x="121" y="317"/>
                      <a:pt x="121" y="317"/>
                      <a:pt x="121" y="317"/>
                    </a:cubicBezTo>
                    <a:cubicBezTo>
                      <a:pt x="121" y="317"/>
                      <a:pt x="125" y="322"/>
                      <a:pt x="128" y="319"/>
                    </a:cubicBezTo>
                    <a:cubicBezTo>
                      <a:pt x="130" y="317"/>
                      <a:pt x="129" y="313"/>
                      <a:pt x="129" y="313"/>
                    </a:cubicBezTo>
                    <a:cubicBezTo>
                      <a:pt x="131" y="309"/>
                      <a:pt x="131" y="309"/>
                      <a:pt x="131" y="309"/>
                    </a:cubicBezTo>
                    <a:lnTo>
                      <a:pt x="129" y="302"/>
                    </a:lnTo>
                    <a:close/>
                    <a:moveTo>
                      <a:pt x="135" y="292"/>
                    </a:moveTo>
                    <a:cubicBezTo>
                      <a:pt x="133" y="292"/>
                      <a:pt x="133" y="292"/>
                      <a:pt x="133" y="292"/>
                    </a:cubicBezTo>
                    <a:cubicBezTo>
                      <a:pt x="134" y="301"/>
                      <a:pt x="134" y="301"/>
                      <a:pt x="134" y="301"/>
                    </a:cubicBezTo>
                    <a:cubicBezTo>
                      <a:pt x="136" y="303"/>
                      <a:pt x="136" y="303"/>
                      <a:pt x="136" y="303"/>
                    </a:cubicBezTo>
                    <a:cubicBezTo>
                      <a:pt x="138" y="302"/>
                      <a:pt x="138" y="302"/>
                      <a:pt x="138" y="302"/>
                    </a:cubicBezTo>
                    <a:cubicBezTo>
                      <a:pt x="137" y="299"/>
                      <a:pt x="137" y="299"/>
                      <a:pt x="137" y="299"/>
                    </a:cubicBezTo>
                    <a:cubicBezTo>
                      <a:pt x="138" y="297"/>
                      <a:pt x="138" y="297"/>
                      <a:pt x="138" y="297"/>
                    </a:cubicBezTo>
                    <a:lnTo>
                      <a:pt x="135" y="292"/>
                    </a:lnTo>
                    <a:close/>
                    <a:moveTo>
                      <a:pt x="99" y="286"/>
                    </a:moveTo>
                    <a:cubicBezTo>
                      <a:pt x="99" y="283"/>
                      <a:pt x="100" y="280"/>
                      <a:pt x="100" y="280"/>
                    </a:cubicBezTo>
                    <a:cubicBezTo>
                      <a:pt x="92" y="283"/>
                      <a:pt x="92" y="283"/>
                      <a:pt x="92" y="283"/>
                    </a:cubicBezTo>
                    <a:cubicBezTo>
                      <a:pt x="92" y="284"/>
                      <a:pt x="92" y="284"/>
                      <a:pt x="92" y="284"/>
                    </a:cubicBezTo>
                    <a:cubicBezTo>
                      <a:pt x="87" y="282"/>
                      <a:pt x="87" y="282"/>
                      <a:pt x="87" y="282"/>
                    </a:cubicBezTo>
                    <a:cubicBezTo>
                      <a:pt x="87" y="282"/>
                      <a:pt x="84" y="283"/>
                      <a:pt x="83" y="287"/>
                    </a:cubicBezTo>
                    <a:cubicBezTo>
                      <a:pt x="83" y="291"/>
                      <a:pt x="82" y="293"/>
                      <a:pt x="82" y="293"/>
                    </a:cubicBezTo>
                    <a:cubicBezTo>
                      <a:pt x="84" y="293"/>
                      <a:pt x="84" y="293"/>
                      <a:pt x="84" y="293"/>
                    </a:cubicBezTo>
                    <a:cubicBezTo>
                      <a:pt x="88" y="286"/>
                      <a:pt x="88" y="286"/>
                      <a:pt x="88" y="286"/>
                    </a:cubicBezTo>
                    <a:cubicBezTo>
                      <a:pt x="93" y="287"/>
                      <a:pt x="93" y="287"/>
                      <a:pt x="93" y="287"/>
                    </a:cubicBezTo>
                    <a:cubicBezTo>
                      <a:pt x="93" y="291"/>
                      <a:pt x="93" y="291"/>
                      <a:pt x="93" y="291"/>
                    </a:cubicBezTo>
                    <a:cubicBezTo>
                      <a:pt x="93" y="291"/>
                      <a:pt x="89" y="290"/>
                      <a:pt x="89" y="291"/>
                    </a:cubicBezTo>
                    <a:cubicBezTo>
                      <a:pt x="89" y="292"/>
                      <a:pt x="90" y="296"/>
                      <a:pt x="90" y="296"/>
                    </a:cubicBezTo>
                    <a:cubicBezTo>
                      <a:pt x="90" y="296"/>
                      <a:pt x="86" y="297"/>
                      <a:pt x="86" y="299"/>
                    </a:cubicBezTo>
                    <a:cubicBezTo>
                      <a:pt x="87" y="301"/>
                      <a:pt x="92" y="299"/>
                      <a:pt x="92" y="299"/>
                    </a:cubicBezTo>
                    <a:cubicBezTo>
                      <a:pt x="92" y="299"/>
                      <a:pt x="97" y="299"/>
                      <a:pt x="99" y="295"/>
                    </a:cubicBezTo>
                    <a:cubicBezTo>
                      <a:pt x="100" y="292"/>
                      <a:pt x="97" y="291"/>
                      <a:pt x="97" y="291"/>
                    </a:cubicBezTo>
                    <a:cubicBezTo>
                      <a:pt x="99" y="289"/>
                      <a:pt x="99" y="289"/>
                      <a:pt x="99" y="289"/>
                    </a:cubicBezTo>
                    <a:lnTo>
                      <a:pt x="99" y="286"/>
                    </a:lnTo>
                    <a:close/>
                    <a:moveTo>
                      <a:pt x="111" y="283"/>
                    </a:moveTo>
                    <a:cubicBezTo>
                      <a:pt x="118" y="271"/>
                      <a:pt x="118" y="271"/>
                      <a:pt x="118" y="271"/>
                    </a:cubicBezTo>
                    <a:cubicBezTo>
                      <a:pt x="115" y="272"/>
                      <a:pt x="115" y="272"/>
                      <a:pt x="115" y="272"/>
                    </a:cubicBezTo>
                    <a:cubicBezTo>
                      <a:pt x="111" y="276"/>
                      <a:pt x="111" y="276"/>
                      <a:pt x="111" y="276"/>
                    </a:cubicBezTo>
                    <a:cubicBezTo>
                      <a:pt x="107" y="276"/>
                      <a:pt x="107" y="276"/>
                      <a:pt x="107" y="276"/>
                    </a:cubicBezTo>
                    <a:cubicBezTo>
                      <a:pt x="106" y="280"/>
                      <a:pt x="106" y="280"/>
                      <a:pt x="106" y="280"/>
                    </a:cubicBezTo>
                    <a:cubicBezTo>
                      <a:pt x="110" y="280"/>
                      <a:pt x="110" y="280"/>
                      <a:pt x="110" y="280"/>
                    </a:cubicBezTo>
                    <a:cubicBezTo>
                      <a:pt x="109" y="281"/>
                      <a:pt x="109" y="281"/>
                      <a:pt x="109" y="281"/>
                    </a:cubicBezTo>
                    <a:cubicBezTo>
                      <a:pt x="102" y="283"/>
                      <a:pt x="102" y="283"/>
                      <a:pt x="102" y="283"/>
                    </a:cubicBezTo>
                    <a:cubicBezTo>
                      <a:pt x="101" y="287"/>
                      <a:pt x="101" y="287"/>
                      <a:pt x="101" y="287"/>
                    </a:cubicBezTo>
                    <a:cubicBezTo>
                      <a:pt x="102" y="291"/>
                      <a:pt x="102" y="291"/>
                      <a:pt x="102" y="291"/>
                    </a:cubicBezTo>
                    <a:lnTo>
                      <a:pt x="111" y="283"/>
                    </a:lnTo>
                    <a:close/>
                    <a:moveTo>
                      <a:pt x="103" y="269"/>
                    </a:moveTo>
                    <a:cubicBezTo>
                      <a:pt x="103" y="269"/>
                      <a:pt x="102" y="267"/>
                      <a:pt x="99" y="268"/>
                    </a:cubicBezTo>
                    <a:cubicBezTo>
                      <a:pt x="97" y="269"/>
                      <a:pt x="97" y="272"/>
                      <a:pt x="97" y="272"/>
                    </a:cubicBezTo>
                    <a:cubicBezTo>
                      <a:pt x="100" y="274"/>
                      <a:pt x="100" y="274"/>
                      <a:pt x="100" y="274"/>
                    </a:cubicBezTo>
                    <a:cubicBezTo>
                      <a:pt x="100" y="271"/>
                      <a:pt x="100" y="271"/>
                      <a:pt x="100" y="271"/>
                    </a:cubicBezTo>
                    <a:lnTo>
                      <a:pt x="103" y="269"/>
                    </a:lnTo>
                    <a:close/>
                    <a:moveTo>
                      <a:pt x="81" y="236"/>
                    </a:moveTo>
                    <a:cubicBezTo>
                      <a:pt x="79" y="242"/>
                      <a:pt x="79" y="242"/>
                      <a:pt x="79" y="242"/>
                    </a:cubicBezTo>
                    <a:cubicBezTo>
                      <a:pt x="81" y="243"/>
                      <a:pt x="81" y="243"/>
                      <a:pt x="81" y="243"/>
                    </a:cubicBezTo>
                    <a:cubicBezTo>
                      <a:pt x="85" y="239"/>
                      <a:pt x="85" y="239"/>
                      <a:pt x="85" y="239"/>
                    </a:cubicBezTo>
                    <a:cubicBezTo>
                      <a:pt x="88" y="238"/>
                      <a:pt x="88" y="238"/>
                      <a:pt x="88" y="238"/>
                    </a:cubicBezTo>
                    <a:cubicBezTo>
                      <a:pt x="89" y="236"/>
                      <a:pt x="89" y="236"/>
                      <a:pt x="89" y="236"/>
                    </a:cubicBezTo>
                    <a:cubicBezTo>
                      <a:pt x="86" y="235"/>
                      <a:pt x="86" y="235"/>
                      <a:pt x="86" y="235"/>
                    </a:cubicBezTo>
                    <a:cubicBezTo>
                      <a:pt x="84" y="237"/>
                      <a:pt x="84" y="237"/>
                      <a:pt x="84" y="237"/>
                    </a:cubicBezTo>
                    <a:lnTo>
                      <a:pt x="81" y="236"/>
                    </a:lnTo>
                    <a:close/>
                    <a:moveTo>
                      <a:pt x="99" y="230"/>
                    </a:moveTo>
                    <a:cubicBezTo>
                      <a:pt x="92" y="234"/>
                      <a:pt x="92" y="234"/>
                      <a:pt x="92" y="234"/>
                    </a:cubicBezTo>
                    <a:cubicBezTo>
                      <a:pt x="96" y="236"/>
                      <a:pt x="96" y="236"/>
                      <a:pt x="96" y="236"/>
                    </a:cubicBezTo>
                    <a:cubicBezTo>
                      <a:pt x="101" y="232"/>
                      <a:pt x="101" y="232"/>
                      <a:pt x="101" y="232"/>
                    </a:cubicBezTo>
                    <a:lnTo>
                      <a:pt x="99" y="230"/>
                    </a:lnTo>
                    <a:close/>
                    <a:moveTo>
                      <a:pt x="125" y="255"/>
                    </a:moveTo>
                    <a:cubicBezTo>
                      <a:pt x="126" y="252"/>
                      <a:pt x="126" y="252"/>
                      <a:pt x="126" y="252"/>
                    </a:cubicBezTo>
                    <a:cubicBezTo>
                      <a:pt x="121" y="247"/>
                      <a:pt x="121" y="247"/>
                      <a:pt x="121" y="247"/>
                    </a:cubicBezTo>
                    <a:cubicBezTo>
                      <a:pt x="116" y="245"/>
                      <a:pt x="116" y="245"/>
                      <a:pt x="116" y="245"/>
                    </a:cubicBezTo>
                    <a:cubicBezTo>
                      <a:pt x="115" y="240"/>
                      <a:pt x="115" y="240"/>
                      <a:pt x="115" y="240"/>
                    </a:cubicBezTo>
                    <a:cubicBezTo>
                      <a:pt x="112" y="235"/>
                      <a:pt x="112" y="235"/>
                      <a:pt x="112" y="235"/>
                    </a:cubicBezTo>
                    <a:cubicBezTo>
                      <a:pt x="110" y="235"/>
                      <a:pt x="110" y="235"/>
                      <a:pt x="110" y="235"/>
                    </a:cubicBezTo>
                    <a:cubicBezTo>
                      <a:pt x="109" y="237"/>
                      <a:pt x="109" y="237"/>
                      <a:pt x="109" y="237"/>
                    </a:cubicBezTo>
                    <a:cubicBezTo>
                      <a:pt x="106" y="236"/>
                      <a:pt x="106" y="236"/>
                      <a:pt x="106" y="236"/>
                    </a:cubicBezTo>
                    <a:cubicBezTo>
                      <a:pt x="103" y="239"/>
                      <a:pt x="103" y="239"/>
                      <a:pt x="103" y="239"/>
                    </a:cubicBezTo>
                    <a:cubicBezTo>
                      <a:pt x="110" y="245"/>
                      <a:pt x="110" y="245"/>
                      <a:pt x="110" y="245"/>
                    </a:cubicBezTo>
                    <a:cubicBezTo>
                      <a:pt x="110" y="245"/>
                      <a:pt x="114" y="244"/>
                      <a:pt x="114" y="246"/>
                    </a:cubicBezTo>
                    <a:cubicBezTo>
                      <a:pt x="115" y="248"/>
                      <a:pt x="109" y="248"/>
                      <a:pt x="109" y="248"/>
                    </a:cubicBezTo>
                    <a:cubicBezTo>
                      <a:pt x="105" y="252"/>
                      <a:pt x="105" y="252"/>
                      <a:pt x="105" y="252"/>
                    </a:cubicBezTo>
                    <a:cubicBezTo>
                      <a:pt x="105" y="252"/>
                      <a:pt x="114" y="251"/>
                      <a:pt x="114" y="252"/>
                    </a:cubicBezTo>
                    <a:cubicBezTo>
                      <a:pt x="113" y="254"/>
                      <a:pt x="103" y="254"/>
                      <a:pt x="103" y="254"/>
                    </a:cubicBezTo>
                    <a:cubicBezTo>
                      <a:pt x="102" y="255"/>
                      <a:pt x="102" y="255"/>
                      <a:pt x="102" y="255"/>
                    </a:cubicBezTo>
                    <a:cubicBezTo>
                      <a:pt x="99" y="251"/>
                      <a:pt x="99" y="251"/>
                      <a:pt x="99" y="251"/>
                    </a:cubicBezTo>
                    <a:cubicBezTo>
                      <a:pt x="96" y="252"/>
                      <a:pt x="96" y="252"/>
                      <a:pt x="96" y="252"/>
                    </a:cubicBezTo>
                    <a:cubicBezTo>
                      <a:pt x="100" y="258"/>
                      <a:pt x="100" y="258"/>
                      <a:pt x="100" y="258"/>
                    </a:cubicBezTo>
                    <a:cubicBezTo>
                      <a:pt x="103" y="260"/>
                      <a:pt x="103" y="260"/>
                      <a:pt x="103" y="260"/>
                    </a:cubicBezTo>
                    <a:cubicBezTo>
                      <a:pt x="106" y="259"/>
                      <a:pt x="106" y="259"/>
                      <a:pt x="106" y="259"/>
                    </a:cubicBezTo>
                    <a:cubicBezTo>
                      <a:pt x="107" y="259"/>
                      <a:pt x="107" y="259"/>
                      <a:pt x="107" y="259"/>
                    </a:cubicBezTo>
                    <a:cubicBezTo>
                      <a:pt x="117" y="256"/>
                      <a:pt x="117" y="256"/>
                      <a:pt x="117" y="256"/>
                    </a:cubicBezTo>
                    <a:cubicBezTo>
                      <a:pt x="117" y="259"/>
                      <a:pt x="117" y="259"/>
                      <a:pt x="117" y="259"/>
                    </a:cubicBezTo>
                    <a:cubicBezTo>
                      <a:pt x="122" y="256"/>
                      <a:pt x="122" y="256"/>
                      <a:pt x="122" y="256"/>
                    </a:cubicBezTo>
                    <a:cubicBezTo>
                      <a:pt x="122" y="256"/>
                      <a:pt x="120" y="255"/>
                      <a:pt x="120" y="254"/>
                    </a:cubicBezTo>
                    <a:cubicBezTo>
                      <a:pt x="121" y="252"/>
                      <a:pt x="125" y="255"/>
                      <a:pt x="125" y="255"/>
                    </a:cubicBezTo>
                    <a:close/>
                    <a:moveTo>
                      <a:pt x="133" y="246"/>
                    </a:moveTo>
                    <a:cubicBezTo>
                      <a:pt x="130" y="250"/>
                      <a:pt x="130" y="250"/>
                      <a:pt x="130" y="250"/>
                    </a:cubicBezTo>
                    <a:cubicBezTo>
                      <a:pt x="135" y="248"/>
                      <a:pt x="135" y="248"/>
                      <a:pt x="135" y="248"/>
                    </a:cubicBezTo>
                    <a:lnTo>
                      <a:pt x="133" y="246"/>
                    </a:lnTo>
                    <a:close/>
                    <a:moveTo>
                      <a:pt x="117" y="217"/>
                    </a:moveTo>
                    <a:cubicBezTo>
                      <a:pt x="114" y="219"/>
                      <a:pt x="114" y="219"/>
                      <a:pt x="114" y="219"/>
                    </a:cubicBezTo>
                    <a:cubicBezTo>
                      <a:pt x="116" y="221"/>
                      <a:pt x="116" y="221"/>
                      <a:pt x="116" y="221"/>
                    </a:cubicBezTo>
                    <a:lnTo>
                      <a:pt x="117" y="217"/>
                    </a:lnTo>
                    <a:close/>
                    <a:moveTo>
                      <a:pt x="114" y="211"/>
                    </a:moveTo>
                    <a:cubicBezTo>
                      <a:pt x="112" y="208"/>
                      <a:pt x="112" y="208"/>
                      <a:pt x="112" y="208"/>
                    </a:cubicBezTo>
                    <a:cubicBezTo>
                      <a:pt x="107" y="211"/>
                      <a:pt x="107" y="211"/>
                      <a:pt x="107" y="211"/>
                    </a:cubicBezTo>
                    <a:cubicBezTo>
                      <a:pt x="110" y="216"/>
                      <a:pt x="110" y="216"/>
                      <a:pt x="110" y="216"/>
                    </a:cubicBezTo>
                    <a:cubicBezTo>
                      <a:pt x="113" y="214"/>
                      <a:pt x="113" y="214"/>
                      <a:pt x="113" y="214"/>
                    </a:cubicBezTo>
                    <a:lnTo>
                      <a:pt x="114" y="211"/>
                    </a:lnTo>
                    <a:close/>
                    <a:moveTo>
                      <a:pt x="106" y="204"/>
                    </a:moveTo>
                    <a:cubicBezTo>
                      <a:pt x="102" y="204"/>
                      <a:pt x="102" y="204"/>
                      <a:pt x="102" y="204"/>
                    </a:cubicBezTo>
                    <a:cubicBezTo>
                      <a:pt x="106" y="208"/>
                      <a:pt x="106" y="208"/>
                      <a:pt x="106" y="208"/>
                    </a:cubicBezTo>
                    <a:lnTo>
                      <a:pt x="106" y="204"/>
                    </a:lnTo>
                    <a:close/>
                    <a:moveTo>
                      <a:pt x="71" y="205"/>
                    </a:moveTo>
                    <a:cubicBezTo>
                      <a:pt x="80" y="201"/>
                      <a:pt x="78" y="197"/>
                      <a:pt x="70" y="200"/>
                    </a:cubicBezTo>
                    <a:cubicBezTo>
                      <a:pt x="62" y="204"/>
                      <a:pt x="71" y="205"/>
                      <a:pt x="71" y="205"/>
                    </a:cubicBezTo>
                    <a:close/>
                    <a:moveTo>
                      <a:pt x="80" y="198"/>
                    </a:moveTo>
                    <a:cubicBezTo>
                      <a:pt x="82" y="197"/>
                      <a:pt x="82" y="197"/>
                      <a:pt x="82" y="197"/>
                    </a:cubicBezTo>
                    <a:cubicBezTo>
                      <a:pt x="79" y="193"/>
                      <a:pt x="79" y="193"/>
                      <a:pt x="79" y="193"/>
                    </a:cubicBezTo>
                    <a:cubicBezTo>
                      <a:pt x="82" y="193"/>
                      <a:pt x="82" y="193"/>
                      <a:pt x="82" y="193"/>
                    </a:cubicBezTo>
                    <a:cubicBezTo>
                      <a:pt x="82" y="189"/>
                      <a:pt x="82" y="189"/>
                      <a:pt x="82" y="189"/>
                    </a:cubicBezTo>
                    <a:cubicBezTo>
                      <a:pt x="84" y="188"/>
                      <a:pt x="84" y="188"/>
                      <a:pt x="84" y="188"/>
                    </a:cubicBezTo>
                    <a:cubicBezTo>
                      <a:pt x="84" y="188"/>
                      <a:pt x="85" y="186"/>
                      <a:pt x="84" y="183"/>
                    </a:cubicBezTo>
                    <a:cubicBezTo>
                      <a:pt x="84" y="179"/>
                      <a:pt x="81" y="179"/>
                      <a:pt x="81" y="179"/>
                    </a:cubicBezTo>
                    <a:cubicBezTo>
                      <a:pt x="79" y="185"/>
                      <a:pt x="79" y="185"/>
                      <a:pt x="79" y="185"/>
                    </a:cubicBezTo>
                    <a:cubicBezTo>
                      <a:pt x="79" y="185"/>
                      <a:pt x="77" y="182"/>
                      <a:pt x="77" y="185"/>
                    </a:cubicBezTo>
                    <a:cubicBezTo>
                      <a:pt x="76" y="188"/>
                      <a:pt x="74" y="195"/>
                      <a:pt x="76" y="196"/>
                    </a:cubicBezTo>
                    <a:cubicBezTo>
                      <a:pt x="77" y="197"/>
                      <a:pt x="80" y="198"/>
                      <a:pt x="80" y="198"/>
                    </a:cubicBezTo>
                    <a:close/>
                    <a:moveTo>
                      <a:pt x="85" y="173"/>
                    </a:moveTo>
                    <a:cubicBezTo>
                      <a:pt x="84" y="171"/>
                      <a:pt x="84" y="171"/>
                      <a:pt x="84" y="171"/>
                    </a:cubicBezTo>
                    <a:cubicBezTo>
                      <a:pt x="81" y="171"/>
                      <a:pt x="81" y="171"/>
                      <a:pt x="81" y="171"/>
                    </a:cubicBezTo>
                    <a:cubicBezTo>
                      <a:pt x="82" y="176"/>
                      <a:pt x="82" y="176"/>
                      <a:pt x="82" y="176"/>
                    </a:cubicBezTo>
                    <a:cubicBezTo>
                      <a:pt x="88" y="177"/>
                      <a:pt x="88" y="177"/>
                      <a:pt x="88" y="177"/>
                    </a:cubicBezTo>
                    <a:cubicBezTo>
                      <a:pt x="88" y="173"/>
                      <a:pt x="88" y="173"/>
                      <a:pt x="88" y="173"/>
                    </a:cubicBezTo>
                    <a:lnTo>
                      <a:pt x="85" y="173"/>
                    </a:lnTo>
                    <a:close/>
                    <a:moveTo>
                      <a:pt x="123" y="212"/>
                    </a:moveTo>
                    <a:cubicBezTo>
                      <a:pt x="127" y="212"/>
                      <a:pt x="132" y="207"/>
                      <a:pt x="132" y="207"/>
                    </a:cubicBezTo>
                    <a:cubicBezTo>
                      <a:pt x="132" y="205"/>
                      <a:pt x="132" y="205"/>
                      <a:pt x="132" y="205"/>
                    </a:cubicBezTo>
                    <a:cubicBezTo>
                      <a:pt x="132" y="205"/>
                      <a:pt x="136" y="205"/>
                      <a:pt x="136" y="203"/>
                    </a:cubicBezTo>
                    <a:cubicBezTo>
                      <a:pt x="137" y="200"/>
                      <a:pt x="131" y="199"/>
                      <a:pt x="131" y="199"/>
                    </a:cubicBezTo>
                    <a:cubicBezTo>
                      <a:pt x="125" y="193"/>
                      <a:pt x="125" y="193"/>
                      <a:pt x="125" y="193"/>
                    </a:cubicBezTo>
                    <a:cubicBezTo>
                      <a:pt x="126" y="188"/>
                      <a:pt x="126" y="188"/>
                      <a:pt x="126" y="188"/>
                    </a:cubicBezTo>
                    <a:cubicBezTo>
                      <a:pt x="123" y="187"/>
                      <a:pt x="123" y="187"/>
                      <a:pt x="123" y="187"/>
                    </a:cubicBezTo>
                    <a:cubicBezTo>
                      <a:pt x="123" y="187"/>
                      <a:pt x="128" y="183"/>
                      <a:pt x="128" y="176"/>
                    </a:cubicBezTo>
                    <a:cubicBezTo>
                      <a:pt x="128" y="170"/>
                      <a:pt x="125" y="167"/>
                      <a:pt x="125" y="167"/>
                    </a:cubicBezTo>
                    <a:cubicBezTo>
                      <a:pt x="119" y="170"/>
                      <a:pt x="119" y="170"/>
                      <a:pt x="119" y="170"/>
                    </a:cubicBezTo>
                    <a:cubicBezTo>
                      <a:pt x="119" y="179"/>
                      <a:pt x="119" y="179"/>
                      <a:pt x="119" y="179"/>
                    </a:cubicBezTo>
                    <a:cubicBezTo>
                      <a:pt x="114" y="176"/>
                      <a:pt x="114" y="176"/>
                      <a:pt x="114" y="176"/>
                    </a:cubicBezTo>
                    <a:cubicBezTo>
                      <a:pt x="112" y="170"/>
                      <a:pt x="112" y="170"/>
                      <a:pt x="112" y="170"/>
                    </a:cubicBezTo>
                    <a:cubicBezTo>
                      <a:pt x="112" y="170"/>
                      <a:pt x="110" y="170"/>
                      <a:pt x="111" y="173"/>
                    </a:cubicBezTo>
                    <a:cubicBezTo>
                      <a:pt x="111" y="176"/>
                      <a:pt x="112" y="177"/>
                      <a:pt x="112" y="177"/>
                    </a:cubicBezTo>
                    <a:cubicBezTo>
                      <a:pt x="109" y="180"/>
                      <a:pt x="109" y="180"/>
                      <a:pt x="109" y="180"/>
                    </a:cubicBezTo>
                    <a:cubicBezTo>
                      <a:pt x="106" y="174"/>
                      <a:pt x="106" y="174"/>
                      <a:pt x="106" y="174"/>
                    </a:cubicBezTo>
                    <a:cubicBezTo>
                      <a:pt x="103" y="179"/>
                      <a:pt x="103" y="179"/>
                      <a:pt x="103" y="179"/>
                    </a:cubicBezTo>
                    <a:cubicBezTo>
                      <a:pt x="107" y="187"/>
                      <a:pt x="107" y="187"/>
                      <a:pt x="107" y="187"/>
                    </a:cubicBezTo>
                    <a:cubicBezTo>
                      <a:pt x="112" y="184"/>
                      <a:pt x="112" y="184"/>
                      <a:pt x="112" y="184"/>
                    </a:cubicBezTo>
                    <a:cubicBezTo>
                      <a:pt x="115" y="190"/>
                      <a:pt x="115" y="190"/>
                      <a:pt x="115" y="190"/>
                    </a:cubicBezTo>
                    <a:cubicBezTo>
                      <a:pt x="115" y="190"/>
                      <a:pt x="112" y="188"/>
                      <a:pt x="112" y="190"/>
                    </a:cubicBezTo>
                    <a:cubicBezTo>
                      <a:pt x="112" y="191"/>
                      <a:pt x="112" y="200"/>
                      <a:pt x="114" y="201"/>
                    </a:cubicBezTo>
                    <a:cubicBezTo>
                      <a:pt x="117" y="202"/>
                      <a:pt x="118" y="199"/>
                      <a:pt x="120" y="200"/>
                    </a:cubicBezTo>
                    <a:cubicBezTo>
                      <a:pt x="121" y="201"/>
                      <a:pt x="121" y="205"/>
                      <a:pt x="121" y="205"/>
                    </a:cubicBezTo>
                    <a:cubicBezTo>
                      <a:pt x="125" y="200"/>
                      <a:pt x="125" y="200"/>
                      <a:pt x="125" y="200"/>
                    </a:cubicBezTo>
                    <a:cubicBezTo>
                      <a:pt x="127" y="203"/>
                      <a:pt x="127" y="203"/>
                      <a:pt x="127" y="203"/>
                    </a:cubicBezTo>
                    <a:cubicBezTo>
                      <a:pt x="131" y="203"/>
                      <a:pt x="131" y="203"/>
                      <a:pt x="131" y="203"/>
                    </a:cubicBezTo>
                    <a:cubicBezTo>
                      <a:pt x="131" y="203"/>
                      <a:pt x="128" y="205"/>
                      <a:pt x="126" y="206"/>
                    </a:cubicBezTo>
                    <a:cubicBezTo>
                      <a:pt x="123" y="208"/>
                      <a:pt x="121" y="211"/>
                      <a:pt x="123" y="212"/>
                    </a:cubicBezTo>
                    <a:close/>
                    <a:moveTo>
                      <a:pt x="128" y="186"/>
                    </a:moveTo>
                    <a:cubicBezTo>
                      <a:pt x="128" y="190"/>
                      <a:pt x="128" y="190"/>
                      <a:pt x="128" y="190"/>
                    </a:cubicBezTo>
                    <a:cubicBezTo>
                      <a:pt x="128" y="192"/>
                      <a:pt x="128" y="192"/>
                      <a:pt x="128" y="192"/>
                    </a:cubicBezTo>
                    <a:cubicBezTo>
                      <a:pt x="130" y="190"/>
                      <a:pt x="130" y="190"/>
                      <a:pt x="130" y="190"/>
                    </a:cubicBezTo>
                    <a:cubicBezTo>
                      <a:pt x="129" y="187"/>
                      <a:pt x="129" y="187"/>
                      <a:pt x="129" y="187"/>
                    </a:cubicBezTo>
                    <a:cubicBezTo>
                      <a:pt x="131" y="183"/>
                      <a:pt x="131" y="183"/>
                      <a:pt x="131" y="183"/>
                    </a:cubicBezTo>
                    <a:cubicBezTo>
                      <a:pt x="131" y="183"/>
                      <a:pt x="128" y="185"/>
                      <a:pt x="128" y="186"/>
                    </a:cubicBezTo>
                    <a:close/>
                    <a:moveTo>
                      <a:pt x="132" y="196"/>
                    </a:moveTo>
                    <a:cubicBezTo>
                      <a:pt x="131" y="191"/>
                      <a:pt x="131" y="191"/>
                      <a:pt x="131" y="191"/>
                    </a:cubicBezTo>
                    <a:cubicBezTo>
                      <a:pt x="129" y="193"/>
                      <a:pt x="129" y="193"/>
                      <a:pt x="129" y="193"/>
                    </a:cubicBezTo>
                    <a:lnTo>
                      <a:pt x="132" y="196"/>
                    </a:lnTo>
                    <a:close/>
                    <a:moveTo>
                      <a:pt x="135" y="173"/>
                    </a:moveTo>
                    <a:cubicBezTo>
                      <a:pt x="134" y="174"/>
                      <a:pt x="134" y="174"/>
                      <a:pt x="134" y="174"/>
                    </a:cubicBezTo>
                    <a:cubicBezTo>
                      <a:pt x="133" y="180"/>
                      <a:pt x="133" y="180"/>
                      <a:pt x="133" y="180"/>
                    </a:cubicBezTo>
                    <a:cubicBezTo>
                      <a:pt x="133" y="180"/>
                      <a:pt x="135" y="181"/>
                      <a:pt x="135" y="179"/>
                    </a:cubicBezTo>
                    <a:lnTo>
                      <a:pt x="135" y="173"/>
                    </a:lnTo>
                    <a:close/>
                    <a:moveTo>
                      <a:pt x="87" y="170"/>
                    </a:moveTo>
                    <a:cubicBezTo>
                      <a:pt x="89" y="170"/>
                      <a:pt x="93" y="172"/>
                      <a:pt x="93" y="172"/>
                    </a:cubicBezTo>
                    <a:cubicBezTo>
                      <a:pt x="93" y="166"/>
                      <a:pt x="93" y="166"/>
                      <a:pt x="93" y="166"/>
                    </a:cubicBezTo>
                    <a:cubicBezTo>
                      <a:pt x="95" y="166"/>
                      <a:pt x="95" y="166"/>
                      <a:pt x="95" y="166"/>
                    </a:cubicBezTo>
                    <a:cubicBezTo>
                      <a:pt x="96" y="165"/>
                      <a:pt x="96" y="165"/>
                      <a:pt x="96" y="165"/>
                    </a:cubicBezTo>
                    <a:cubicBezTo>
                      <a:pt x="94" y="163"/>
                      <a:pt x="94" y="163"/>
                      <a:pt x="94" y="163"/>
                    </a:cubicBezTo>
                    <a:cubicBezTo>
                      <a:pt x="97" y="158"/>
                      <a:pt x="97" y="158"/>
                      <a:pt x="97" y="158"/>
                    </a:cubicBezTo>
                    <a:cubicBezTo>
                      <a:pt x="95" y="158"/>
                      <a:pt x="95" y="158"/>
                      <a:pt x="95" y="158"/>
                    </a:cubicBezTo>
                    <a:cubicBezTo>
                      <a:pt x="90" y="161"/>
                      <a:pt x="90" y="161"/>
                      <a:pt x="90" y="161"/>
                    </a:cubicBezTo>
                    <a:cubicBezTo>
                      <a:pt x="83" y="160"/>
                      <a:pt x="83" y="160"/>
                      <a:pt x="83" y="160"/>
                    </a:cubicBezTo>
                    <a:cubicBezTo>
                      <a:pt x="81" y="165"/>
                      <a:pt x="81" y="165"/>
                      <a:pt x="81" y="165"/>
                    </a:cubicBezTo>
                    <a:cubicBezTo>
                      <a:pt x="85" y="165"/>
                      <a:pt x="85" y="165"/>
                      <a:pt x="85" y="165"/>
                    </a:cubicBezTo>
                    <a:cubicBezTo>
                      <a:pt x="85" y="165"/>
                      <a:pt x="84" y="170"/>
                      <a:pt x="87" y="170"/>
                    </a:cubicBezTo>
                    <a:close/>
                    <a:moveTo>
                      <a:pt x="111" y="155"/>
                    </a:moveTo>
                    <a:cubicBezTo>
                      <a:pt x="112" y="152"/>
                      <a:pt x="112" y="152"/>
                      <a:pt x="112" y="152"/>
                    </a:cubicBezTo>
                    <a:cubicBezTo>
                      <a:pt x="114" y="152"/>
                      <a:pt x="114" y="152"/>
                      <a:pt x="114" y="152"/>
                    </a:cubicBezTo>
                    <a:cubicBezTo>
                      <a:pt x="114" y="145"/>
                      <a:pt x="114" y="145"/>
                      <a:pt x="114" y="145"/>
                    </a:cubicBezTo>
                    <a:cubicBezTo>
                      <a:pt x="116" y="145"/>
                      <a:pt x="116" y="145"/>
                      <a:pt x="116" y="145"/>
                    </a:cubicBezTo>
                    <a:cubicBezTo>
                      <a:pt x="116" y="145"/>
                      <a:pt x="115" y="150"/>
                      <a:pt x="118" y="151"/>
                    </a:cubicBezTo>
                    <a:cubicBezTo>
                      <a:pt x="121" y="153"/>
                      <a:pt x="122" y="148"/>
                      <a:pt x="122" y="148"/>
                    </a:cubicBezTo>
                    <a:cubicBezTo>
                      <a:pt x="122" y="148"/>
                      <a:pt x="126" y="149"/>
                      <a:pt x="127" y="146"/>
                    </a:cubicBezTo>
                    <a:cubicBezTo>
                      <a:pt x="129" y="144"/>
                      <a:pt x="123" y="141"/>
                      <a:pt x="123" y="141"/>
                    </a:cubicBezTo>
                    <a:cubicBezTo>
                      <a:pt x="128" y="139"/>
                      <a:pt x="128" y="139"/>
                      <a:pt x="128" y="139"/>
                    </a:cubicBezTo>
                    <a:cubicBezTo>
                      <a:pt x="130" y="136"/>
                      <a:pt x="130" y="136"/>
                      <a:pt x="130" y="136"/>
                    </a:cubicBezTo>
                    <a:cubicBezTo>
                      <a:pt x="130" y="136"/>
                      <a:pt x="133" y="138"/>
                      <a:pt x="136" y="137"/>
                    </a:cubicBezTo>
                    <a:cubicBezTo>
                      <a:pt x="141" y="136"/>
                      <a:pt x="141" y="134"/>
                      <a:pt x="141" y="134"/>
                    </a:cubicBezTo>
                    <a:cubicBezTo>
                      <a:pt x="139" y="132"/>
                      <a:pt x="139" y="132"/>
                      <a:pt x="139" y="132"/>
                    </a:cubicBezTo>
                    <a:cubicBezTo>
                      <a:pt x="134" y="135"/>
                      <a:pt x="134" y="135"/>
                      <a:pt x="134" y="135"/>
                    </a:cubicBezTo>
                    <a:cubicBezTo>
                      <a:pt x="134" y="135"/>
                      <a:pt x="133" y="135"/>
                      <a:pt x="133" y="133"/>
                    </a:cubicBezTo>
                    <a:cubicBezTo>
                      <a:pt x="133" y="130"/>
                      <a:pt x="139" y="126"/>
                      <a:pt x="139" y="126"/>
                    </a:cubicBezTo>
                    <a:cubicBezTo>
                      <a:pt x="139" y="125"/>
                      <a:pt x="139" y="125"/>
                      <a:pt x="139" y="125"/>
                    </a:cubicBezTo>
                    <a:cubicBezTo>
                      <a:pt x="141" y="123"/>
                      <a:pt x="141" y="123"/>
                      <a:pt x="141" y="123"/>
                    </a:cubicBezTo>
                    <a:cubicBezTo>
                      <a:pt x="139" y="118"/>
                      <a:pt x="139" y="118"/>
                      <a:pt x="139" y="118"/>
                    </a:cubicBezTo>
                    <a:cubicBezTo>
                      <a:pt x="139" y="118"/>
                      <a:pt x="135" y="118"/>
                      <a:pt x="133" y="120"/>
                    </a:cubicBezTo>
                    <a:cubicBezTo>
                      <a:pt x="131" y="121"/>
                      <a:pt x="129" y="124"/>
                      <a:pt x="129" y="124"/>
                    </a:cubicBezTo>
                    <a:cubicBezTo>
                      <a:pt x="129" y="124"/>
                      <a:pt x="119" y="124"/>
                      <a:pt x="117" y="126"/>
                    </a:cubicBezTo>
                    <a:cubicBezTo>
                      <a:pt x="115" y="128"/>
                      <a:pt x="118" y="134"/>
                      <a:pt x="118" y="134"/>
                    </a:cubicBezTo>
                    <a:cubicBezTo>
                      <a:pt x="112" y="132"/>
                      <a:pt x="112" y="132"/>
                      <a:pt x="112" y="132"/>
                    </a:cubicBezTo>
                    <a:cubicBezTo>
                      <a:pt x="113" y="129"/>
                      <a:pt x="113" y="129"/>
                      <a:pt x="113" y="129"/>
                    </a:cubicBezTo>
                    <a:cubicBezTo>
                      <a:pt x="109" y="127"/>
                      <a:pt x="109" y="127"/>
                      <a:pt x="109" y="127"/>
                    </a:cubicBezTo>
                    <a:cubicBezTo>
                      <a:pt x="109" y="127"/>
                      <a:pt x="106" y="128"/>
                      <a:pt x="104" y="132"/>
                    </a:cubicBezTo>
                    <a:cubicBezTo>
                      <a:pt x="101" y="136"/>
                      <a:pt x="104" y="142"/>
                      <a:pt x="104" y="142"/>
                    </a:cubicBezTo>
                    <a:cubicBezTo>
                      <a:pt x="101" y="143"/>
                      <a:pt x="101" y="143"/>
                      <a:pt x="101" y="143"/>
                    </a:cubicBezTo>
                    <a:cubicBezTo>
                      <a:pt x="101" y="143"/>
                      <a:pt x="105" y="145"/>
                      <a:pt x="107" y="148"/>
                    </a:cubicBezTo>
                    <a:cubicBezTo>
                      <a:pt x="110" y="149"/>
                      <a:pt x="109" y="150"/>
                      <a:pt x="109" y="150"/>
                    </a:cubicBezTo>
                    <a:cubicBezTo>
                      <a:pt x="106" y="149"/>
                      <a:pt x="106" y="149"/>
                      <a:pt x="106" y="149"/>
                    </a:cubicBezTo>
                    <a:cubicBezTo>
                      <a:pt x="105" y="150"/>
                      <a:pt x="105" y="150"/>
                      <a:pt x="105" y="150"/>
                    </a:cubicBezTo>
                    <a:cubicBezTo>
                      <a:pt x="105" y="153"/>
                      <a:pt x="105" y="153"/>
                      <a:pt x="105" y="153"/>
                    </a:cubicBezTo>
                    <a:cubicBezTo>
                      <a:pt x="101" y="154"/>
                      <a:pt x="101" y="154"/>
                      <a:pt x="101" y="154"/>
                    </a:cubicBezTo>
                    <a:cubicBezTo>
                      <a:pt x="99" y="153"/>
                      <a:pt x="99" y="153"/>
                      <a:pt x="99" y="153"/>
                    </a:cubicBezTo>
                    <a:cubicBezTo>
                      <a:pt x="98" y="153"/>
                      <a:pt x="98" y="153"/>
                      <a:pt x="98" y="153"/>
                    </a:cubicBezTo>
                    <a:cubicBezTo>
                      <a:pt x="103" y="159"/>
                      <a:pt x="103" y="159"/>
                      <a:pt x="103" y="159"/>
                    </a:cubicBezTo>
                    <a:lnTo>
                      <a:pt x="111" y="155"/>
                    </a:lnTo>
                    <a:close/>
                    <a:moveTo>
                      <a:pt x="249" y="123"/>
                    </a:moveTo>
                    <a:cubicBezTo>
                      <a:pt x="249" y="123"/>
                      <a:pt x="251" y="123"/>
                      <a:pt x="248" y="114"/>
                    </a:cubicBezTo>
                    <a:cubicBezTo>
                      <a:pt x="245" y="106"/>
                      <a:pt x="242" y="113"/>
                      <a:pt x="242" y="113"/>
                    </a:cubicBezTo>
                    <a:cubicBezTo>
                      <a:pt x="244" y="122"/>
                      <a:pt x="244" y="122"/>
                      <a:pt x="244" y="122"/>
                    </a:cubicBezTo>
                    <a:lnTo>
                      <a:pt x="249" y="123"/>
                    </a:lnTo>
                    <a:close/>
                    <a:moveTo>
                      <a:pt x="253" y="121"/>
                    </a:moveTo>
                    <a:cubicBezTo>
                      <a:pt x="256" y="126"/>
                      <a:pt x="256" y="126"/>
                      <a:pt x="256" y="126"/>
                    </a:cubicBezTo>
                    <a:cubicBezTo>
                      <a:pt x="258" y="120"/>
                      <a:pt x="258" y="120"/>
                      <a:pt x="258" y="120"/>
                    </a:cubicBezTo>
                    <a:cubicBezTo>
                      <a:pt x="256" y="119"/>
                      <a:pt x="256" y="119"/>
                      <a:pt x="256" y="119"/>
                    </a:cubicBezTo>
                    <a:cubicBezTo>
                      <a:pt x="256" y="119"/>
                      <a:pt x="253" y="118"/>
                      <a:pt x="253" y="121"/>
                    </a:cubicBezTo>
                    <a:close/>
                    <a:moveTo>
                      <a:pt x="251" y="111"/>
                    </a:moveTo>
                    <a:cubicBezTo>
                      <a:pt x="257" y="111"/>
                      <a:pt x="257" y="111"/>
                      <a:pt x="257" y="111"/>
                    </a:cubicBezTo>
                    <a:cubicBezTo>
                      <a:pt x="258" y="114"/>
                      <a:pt x="258" y="114"/>
                      <a:pt x="258" y="114"/>
                    </a:cubicBezTo>
                    <a:cubicBezTo>
                      <a:pt x="262" y="117"/>
                      <a:pt x="262" y="117"/>
                      <a:pt x="262" y="117"/>
                    </a:cubicBezTo>
                    <a:cubicBezTo>
                      <a:pt x="264" y="113"/>
                      <a:pt x="264" y="113"/>
                      <a:pt x="264" y="113"/>
                    </a:cubicBezTo>
                    <a:cubicBezTo>
                      <a:pt x="262" y="111"/>
                      <a:pt x="262" y="111"/>
                      <a:pt x="262" y="111"/>
                    </a:cubicBezTo>
                    <a:cubicBezTo>
                      <a:pt x="261" y="108"/>
                      <a:pt x="261" y="108"/>
                      <a:pt x="261" y="108"/>
                    </a:cubicBezTo>
                    <a:cubicBezTo>
                      <a:pt x="256" y="107"/>
                      <a:pt x="256" y="107"/>
                      <a:pt x="256" y="107"/>
                    </a:cubicBezTo>
                    <a:cubicBezTo>
                      <a:pt x="258" y="104"/>
                      <a:pt x="258" y="104"/>
                      <a:pt x="258" y="104"/>
                    </a:cubicBezTo>
                    <a:cubicBezTo>
                      <a:pt x="258" y="104"/>
                      <a:pt x="258" y="101"/>
                      <a:pt x="253" y="98"/>
                    </a:cubicBezTo>
                    <a:cubicBezTo>
                      <a:pt x="249" y="96"/>
                      <a:pt x="249" y="94"/>
                      <a:pt x="247" y="101"/>
                    </a:cubicBezTo>
                    <a:cubicBezTo>
                      <a:pt x="244" y="106"/>
                      <a:pt x="246" y="108"/>
                      <a:pt x="251" y="111"/>
                    </a:cubicBezTo>
                    <a:close/>
                    <a:moveTo>
                      <a:pt x="260" y="105"/>
                    </a:moveTo>
                    <a:cubicBezTo>
                      <a:pt x="264" y="108"/>
                      <a:pt x="264" y="108"/>
                      <a:pt x="264" y="108"/>
                    </a:cubicBezTo>
                    <a:cubicBezTo>
                      <a:pt x="265" y="106"/>
                      <a:pt x="265" y="106"/>
                      <a:pt x="265" y="106"/>
                    </a:cubicBezTo>
                    <a:cubicBezTo>
                      <a:pt x="261" y="104"/>
                      <a:pt x="261" y="104"/>
                      <a:pt x="261" y="104"/>
                    </a:cubicBezTo>
                    <a:lnTo>
                      <a:pt x="260" y="105"/>
                    </a:lnTo>
                    <a:close/>
                    <a:moveTo>
                      <a:pt x="275" y="106"/>
                    </a:moveTo>
                    <a:cubicBezTo>
                      <a:pt x="271" y="101"/>
                      <a:pt x="271" y="101"/>
                      <a:pt x="271" y="101"/>
                    </a:cubicBezTo>
                    <a:cubicBezTo>
                      <a:pt x="270" y="107"/>
                      <a:pt x="270" y="107"/>
                      <a:pt x="270" y="107"/>
                    </a:cubicBezTo>
                    <a:lnTo>
                      <a:pt x="275" y="106"/>
                    </a:lnTo>
                    <a:close/>
                    <a:moveTo>
                      <a:pt x="263" y="97"/>
                    </a:moveTo>
                    <a:cubicBezTo>
                      <a:pt x="259" y="94"/>
                      <a:pt x="259" y="94"/>
                      <a:pt x="259" y="94"/>
                    </a:cubicBezTo>
                    <a:cubicBezTo>
                      <a:pt x="258" y="98"/>
                      <a:pt x="258" y="98"/>
                      <a:pt x="258" y="98"/>
                    </a:cubicBezTo>
                    <a:cubicBezTo>
                      <a:pt x="262" y="101"/>
                      <a:pt x="262" y="101"/>
                      <a:pt x="262" y="101"/>
                    </a:cubicBezTo>
                    <a:lnTo>
                      <a:pt x="263" y="97"/>
                    </a:lnTo>
                    <a:close/>
                    <a:moveTo>
                      <a:pt x="265" y="89"/>
                    </a:moveTo>
                    <a:cubicBezTo>
                      <a:pt x="268" y="89"/>
                      <a:pt x="268" y="89"/>
                      <a:pt x="268" y="89"/>
                    </a:cubicBezTo>
                    <a:cubicBezTo>
                      <a:pt x="268" y="85"/>
                      <a:pt x="268" y="85"/>
                      <a:pt x="268" y="85"/>
                    </a:cubicBezTo>
                    <a:cubicBezTo>
                      <a:pt x="261" y="87"/>
                      <a:pt x="261" y="87"/>
                      <a:pt x="261" y="87"/>
                    </a:cubicBezTo>
                    <a:cubicBezTo>
                      <a:pt x="266" y="94"/>
                      <a:pt x="266" y="94"/>
                      <a:pt x="266" y="94"/>
                    </a:cubicBezTo>
                    <a:lnTo>
                      <a:pt x="265" y="89"/>
                    </a:lnTo>
                    <a:close/>
                    <a:moveTo>
                      <a:pt x="282" y="87"/>
                    </a:moveTo>
                    <a:cubicBezTo>
                      <a:pt x="281" y="89"/>
                      <a:pt x="281" y="89"/>
                      <a:pt x="281" y="89"/>
                    </a:cubicBezTo>
                    <a:cubicBezTo>
                      <a:pt x="284" y="88"/>
                      <a:pt x="284" y="88"/>
                      <a:pt x="284" y="88"/>
                    </a:cubicBezTo>
                    <a:lnTo>
                      <a:pt x="282" y="87"/>
                    </a:lnTo>
                    <a:close/>
                    <a:moveTo>
                      <a:pt x="311" y="82"/>
                    </a:moveTo>
                    <a:cubicBezTo>
                      <a:pt x="310" y="82"/>
                      <a:pt x="310" y="82"/>
                      <a:pt x="310" y="82"/>
                    </a:cubicBezTo>
                    <a:cubicBezTo>
                      <a:pt x="309" y="86"/>
                      <a:pt x="309" y="86"/>
                      <a:pt x="309" y="86"/>
                    </a:cubicBezTo>
                    <a:cubicBezTo>
                      <a:pt x="311" y="85"/>
                      <a:pt x="311" y="85"/>
                      <a:pt x="311" y="85"/>
                    </a:cubicBezTo>
                    <a:lnTo>
                      <a:pt x="311" y="82"/>
                    </a:lnTo>
                    <a:close/>
                    <a:moveTo>
                      <a:pt x="268" y="102"/>
                    </a:moveTo>
                    <a:cubicBezTo>
                      <a:pt x="269" y="95"/>
                      <a:pt x="269" y="95"/>
                      <a:pt x="269" y="95"/>
                    </a:cubicBezTo>
                    <a:cubicBezTo>
                      <a:pt x="269" y="94"/>
                      <a:pt x="269" y="94"/>
                      <a:pt x="269" y="94"/>
                    </a:cubicBezTo>
                    <a:cubicBezTo>
                      <a:pt x="265" y="100"/>
                      <a:pt x="265" y="100"/>
                      <a:pt x="265" y="100"/>
                    </a:cubicBezTo>
                    <a:lnTo>
                      <a:pt x="268" y="102"/>
                    </a:lnTo>
                    <a:close/>
                    <a:moveTo>
                      <a:pt x="282" y="93"/>
                    </a:moveTo>
                    <a:cubicBezTo>
                      <a:pt x="276" y="94"/>
                      <a:pt x="276" y="94"/>
                      <a:pt x="276" y="94"/>
                    </a:cubicBezTo>
                    <a:cubicBezTo>
                      <a:pt x="278" y="93"/>
                      <a:pt x="278" y="93"/>
                      <a:pt x="278" y="93"/>
                    </a:cubicBezTo>
                    <a:cubicBezTo>
                      <a:pt x="278" y="91"/>
                      <a:pt x="278" y="91"/>
                      <a:pt x="278" y="91"/>
                    </a:cubicBezTo>
                    <a:cubicBezTo>
                      <a:pt x="269" y="97"/>
                      <a:pt x="269" y="97"/>
                      <a:pt x="269" y="97"/>
                    </a:cubicBezTo>
                    <a:cubicBezTo>
                      <a:pt x="282" y="95"/>
                      <a:pt x="282" y="95"/>
                      <a:pt x="282" y="95"/>
                    </a:cubicBezTo>
                    <a:lnTo>
                      <a:pt x="282" y="93"/>
                    </a:lnTo>
                    <a:close/>
                    <a:moveTo>
                      <a:pt x="330" y="34"/>
                    </a:moveTo>
                    <a:cubicBezTo>
                      <a:pt x="318" y="34"/>
                      <a:pt x="318" y="34"/>
                      <a:pt x="318" y="34"/>
                    </a:cubicBezTo>
                    <a:cubicBezTo>
                      <a:pt x="320" y="38"/>
                      <a:pt x="320" y="38"/>
                      <a:pt x="320" y="38"/>
                    </a:cubicBezTo>
                    <a:cubicBezTo>
                      <a:pt x="324" y="39"/>
                      <a:pt x="324" y="39"/>
                      <a:pt x="324" y="39"/>
                    </a:cubicBezTo>
                    <a:cubicBezTo>
                      <a:pt x="323" y="44"/>
                      <a:pt x="323" y="44"/>
                      <a:pt x="323" y="44"/>
                    </a:cubicBezTo>
                    <a:cubicBezTo>
                      <a:pt x="331" y="40"/>
                      <a:pt x="331" y="40"/>
                      <a:pt x="331" y="40"/>
                    </a:cubicBezTo>
                    <a:cubicBezTo>
                      <a:pt x="323" y="61"/>
                      <a:pt x="323" y="61"/>
                      <a:pt x="323" y="61"/>
                    </a:cubicBezTo>
                    <a:cubicBezTo>
                      <a:pt x="326" y="65"/>
                      <a:pt x="326" y="65"/>
                      <a:pt x="326" y="65"/>
                    </a:cubicBezTo>
                    <a:cubicBezTo>
                      <a:pt x="333" y="48"/>
                      <a:pt x="333" y="48"/>
                      <a:pt x="333" y="48"/>
                    </a:cubicBezTo>
                    <a:cubicBezTo>
                      <a:pt x="333" y="48"/>
                      <a:pt x="334" y="53"/>
                      <a:pt x="336" y="49"/>
                    </a:cubicBezTo>
                    <a:cubicBezTo>
                      <a:pt x="339" y="47"/>
                      <a:pt x="336" y="45"/>
                      <a:pt x="335" y="43"/>
                    </a:cubicBezTo>
                    <a:cubicBezTo>
                      <a:pt x="334" y="40"/>
                      <a:pt x="336" y="42"/>
                      <a:pt x="338" y="39"/>
                    </a:cubicBezTo>
                    <a:cubicBezTo>
                      <a:pt x="339" y="37"/>
                      <a:pt x="342" y="28"/>
                      <a:pt x="342" y="28"/>
                    </a:cubicBezTo>
                    <a:cubicBezTo>
                      <a:pt x="338" y="28"/>
                      <a:pt x="338" y="28"/>
                      <a:pt x="338" y="28"/>
                    </a:cubicBezTo>
                    <a:cubicBezTo>
                      <a:pt x="339" y="23"/>
                      <a:pt x="339" y="23"/>
                      <a:pt x="339" y="23"/>
                    </a:cubicBezTo>
                    <a:cubicBezTo>
                      <a:pt x="336" y="23"/>
                      <a:pt x="336" y="23"/>
                      <a:pt x="336" y="23"/>
                    </a:cubicBezTo>
                    <a:cubicBezTo>
                      <a:pt x="336" y="23"/>
                      <a:pt x="334" y="30"/>
                      <a:pt x="333" y="27"/>
                    </a:cubicBezTo>
                    <a:cubicBezTo>
                      <a:pt x="332" y="24"/>
                      <a:pt x="336" y="17"/>
                      <a:pt x="335" y="15"/>
                    </a:cubicBezTo>
                    <a:cubicBezTo>
                      <a:pt x="334" y="13"/>
                      <a:pt x="327" y="19"/>
                      <a:pt x="327" y="19"/>
                    </a:cubicBezTo>
                    <a:cubicBezTo>
                      <a:pt x="325" y="19"/>
                      <a:pt x="325" y="19"/>
                      <a:pt x="325" y="19"/>
                    </a:cubicBezTo>
                    <a:cubicBezTo>
                      <a:pt x="325" y="23"/>
                      <a:pt x="325" y="23"/>
                      <a:pt x="325" y="23"/>
                    </a:cubicBezTo>
                    <a:cubicBezTo>
                      <a:pt x="327" y="24"/>
                      <a:pt x="327" y="24"/>
                      <a:pt x="327" y="24"/>
                    </a:cubicBezTo>
                    <a:cubicBezTo>
                      <a:pt x="327" y="31"/>
                      <a:pt x="327" y="31"/>
                      <a:pt x="327" y="31"/>
                    </a:cubicBezTo>
                    <a:cubicBezTo>
                      <a:pt x="327" y="31"/>
                      <a:pt x="336" y="34"/>
                      <a:pt x="330" y="34"/>
                    </a:cubicBezTo>
                    <a:close/>
                    <a:moveTo>
                      <a:pt x="342" y="25"/>
                    </a:moveTo>
                    <a:cubicBezTo>
                      <a:pt x="345" y="25"/>
                      <a:pt x="344" y="20"/>
                      <a:pt x="345" y="17"/>
                    </a:cubicBezTo>
                    <a:cubicBezTo>
                      <a:pt x="345" y="14"/>
                      <a:pt x="348" y="11"/>
                      <a:pt x="346" y="10"/>
                    </a:cubicBezTo>
                    <a:cubicBezTo>
                      <a:pt x="344" y="8"/>
                      <a:pt x="340" y="13"/>
                      <a:pt x="340" y="16"/>
                    </a:cubicBezTo>
                    <a:cubicBezTo>
                      <a:pt x="340" y="19"/>
                      <a:pt x="339" y="24"/>
                      <a:pt x="342" y="25"/>
                    </a:cubicBezTo>
                    <a:close/>
                    <a:moveTo>
                      <a:pt x="357" y="3"/>
                    </a:moveTo>
                    <a:cubicBezTo>
                      <a:pt x="357" y="3"/>
                      <a:pt x="354" y="0"/>
                      <a:pt x="351" y="4"/>
                    </a:cubicBezTo>
                    <a:cubicBezTo>
                      <a:pt x="349" y="8"/>
                      <a:pt x="349" y="12"/>
                      <a:pt x="349" y="12"/>
                    </a:cubicBezTo>
                    <a:cubicBezTo>
                      <a:pt x="352" y="12"/>
                      <a:pt x="352" y="12"/>
                      <a:pt x="352" y="12"/>
                    </a:cubicBezTo>
                    <a:lnTo>
                      <a:pt x="357" y="3"/>
                    </a:lnTo>
                    <a:close/>
                    <a:moveTo>
                      <a:pt x="349" y="16"/>
                    </a:moveTo>
                    <a:cubicBezTo>
                      <a:pt x="348" y="19"/>
                      <a:pt x="348" y="19"/>
                      <a:pt x="348" y="19"/>
                    </a:cubicBezTo>
                    <a:cubicBezTo>
                      <a:pt x="355" y="19"/>
                      <a:pt x="355" y="19"/>
                      <a:pt x="355" y="19"/>
                    </a:cubicBezTo>
                    <a:lnTo>
                      <a:pt x="349" y="16"/>
                    </a:lnTo>
                    <a:close/>
                    <a:moveTo>
                      <a:pt x="33" y="379"/>
                    </a:moveTo>
                    <a:cubicBezTo>
                      <a:pt x="32" y="375"/>
                      <a:pt x="32" y="375"/>
                      <a:pt x="32" y="375"/>
                    </a:cubicBezTo>
                    <a:cubicBezTo>
                      <a:pt x="32" y="375"/>
                      <a:pt x="35" y="368"/>
                      <a:pt x="40" y="369"/>
                    </a:cubicBezTo>
                    <a:cubicBezTo>
                      <a:pt x="45" y="370"/>
                      <a:pt x="46" y="378"/>
                      <a:pt x="46" y="378"/>
                    </a:cubicBezTo>
                    <a:cubicBezTo>
                      <a:pt x="46" y="386"/>
                      <a:pt x="46" y="386"/>
                      <a:pt x="46" y="386"/>
                    </a:cubicBezTo>
                    <a:cubicBezTo>
                      <a:pt x="51" y="387"/>
                      <a:pt x="51" y="387"/>
                      <a:pt x="51" y="387"/>
                    </a:cubicBezTo>
                    <a:cubicBezTo>
                      <a:pt x="51" y="387"/>
                      <a:pt x="44" y="396"/>
                      <a:pt x="49" y="396"/>
                    </a:cubicBezTo>
                    <a:cubicBezTo>
                      <a:pt x="55" y="396"/>
                      <a:pt x="60" y="397"/>
                      <a:pt x="60" y="397"/>
                    </a:cubicBezTo>
                    <a:cubicBezTo>
                      <a:pt x="62" y="393"/>
                      <a:pt x="62" y="393"/>
                      <a:pt x="62" y="393"/>
                    </a:cubicBezTo>
                    <a:cubicBezTo>
                      <a:pt x="64" y="397"/>
                      <a:pt x="64" y="397"/>
                      <a:pt x="64" y="397"/>
                    </a:cubicBezTo>
                    <a:cubicBezTo>
                      <a:pt x="64" y="396"/>
                      <a:pt x="64" y="396"/>
                      <a:pt x="64" y="396"/>
                    </a:cubicBezTo>
                    <a:cubicBezTo>
                      <a:pt x="65" y="396"/>
                      <a:pt x="70" y="405"/>
                      <a:pt x="74" y="401"/>
                    </a:cubicBezTo>
                    <a:cubicBezTo>
                      <a:pt x="80" y="396"/>
                      <a:pt x="78" y="392"/>
                      <a:pt x="81" y="390"/>
                    </a:cubicBezTo>
                    <a:cubicBezTo>
                      <a:pt x="84" y="389"/>
                      <a:pt x="85" y="394"/>
                      <a:pt x="90" y="392"/>
                    </a:cubicBezTo>
                    <a:cubicBezTo>
                      <a:pt x="95" y="389"/>
                      <a:pt x="93" y="386"/>
                      <a:pt x="93" y="386"/>
                    </a:cubicBezTo>
                    <a:cubicBezTo>
                      <a:pt x="90" y="384"/>
                      <a:pt x="90" y="384"/>
                      <a:pt x="90" y="384"/>
                    </a:cubicBezTo>
                    <a:cubicBezTo>
                      <a:pt x="94" y="376"/>
                      <a:pt x="94" y="376"/>
                      <a:pt x="94" y="376"/>
                    </a:cubicBezTo>
                    <a:cubicBezTo>
                      <a:pt x="93" y="373"/>
                      <a:pt x="93" y="373"/>
                      <a:pt x="93" y="373"/>
                    </a:cubicBezTo>
                    <a:cubicBezTo>
                      <a:pt x="96" y="371"/>
                      <a:pt x="96" y="371"/>
                      <a:pt x="96" y="371"/>
                    </a:cubicBezTo>
                    <a:cubicBezTo>
                      <a:pt x="97" y="379"/>
                      <a:pt x="97" y="379"/>
                      <a:pt x="97" y="379"/>
                    </a:cubicBezTo>
                    <a:cubicBezTo>
                      <a:pt x="95" y="382"/>
                      <a:pt x="95" y="382"/>
                      <a:pt x="95" y="382"/>
                    </a:cubicBezTo>
                    <a:cubicBezTo>
                      <a:pt x="96" y="386"/>
                      <a:pt x="96" y="386"/>
                      <a:pt x="96" y="386"/>
                    </a:cubicBezTo>
                    <a:cubicBezTo>
                      <a:pt x="96" y="386"/>
                      <a:pt x="99" y="386"/>
                      <a:pt x="100" y="380"/>
                    </a:cubicBezTo>
                    <a:cubicBezTo>
                      <a:pt x="100" y="376"/>
                      <a:pt x="104" y="368"/>
                      <a:pt x="99" y="365"/>
                    </a:cubicBezTo>
                    <a:cubicBezTo>
                      <a:pt x="93" y="363"/>
                      <a:pt x="83" y="368"/>
                      <a:pt x="85" y="364"/>
                    </a:cubicBezTo>
                    <a:cubicBezTo>
                      <a:pt x="87" y="361"/>
                      <a:pt x="96" y="362"/>
                      <a:pt x="96" y="356"/>
                    </a:cubicBezTo>
                    <a:cubicBezTo>
                      <a:pt x="96" y="349"/>
                      <a:pt x="94" y="350"/>
                      <a:pt x="94" y="350"/>
                    </a:cubicBezTo>
                    <a:cubicBezTo>
                      <a:pt x="89" y="340"/>
                      <a:pt x="89" y="340"/>
                      <a:pt x="89" y="340"/>
                    </a:cubicBezTo>
                    <a:cubicBezTo>
                      <a:pt x="89" y="330"/>
                      <a:pt x="89" y="330"/>
                      <a:pt x="89" y="330"/>
                    </a:cubicBezTo>
                    <a:cubicBezTo>
                      <a:pt x="89" y="330"/>
                      <a:pt x="90" y="325"/>
                      <a:pt x="82" y="323"/>
                    </a:cubicBezTo>
                    <a:cubicBezTo>
                      <a:pt x="73" y="321"/>
                      <a:pt x="64" y="324"/>
                      <a:pt x="64" y="324"/>
                    </a:cubicBezTo>
                    <a:cubicBezTo>
                      <a:pt x="57" y="319"/>
                      <a:pt x="57" y="319"/>
                      <a:pt x="57" y="319"/>
                    </a:cubicBezTo>
                    <a:cubicBezTo>
                      <a:pt x="51" y="327"/>
                      <a:pt x="51" y="327"/>
                      <a:pt x="51" y="327"/>
                    </a:cubicBezTo>
                    <a:cubicBezTo>
                      <a:pt x="45" y="326"/>
                      <a:pt x="45" y="326"/>
                      <a:pt x="45" y="326"/>
                    </a:cubicBezTo>
                    <a:cubicBezTo>
                      <a:pt x="39" y="325"/>
                      <a:pt x="39" y="325"/>
                      <a:pt x="39" y="325"/>
                    </a:cubicBezTo>
                    <a:cubicBezTo>
                      <a:pt x="36" y="332"/>
                      <a:pt x="36" y="332"/>
                      <a:pt x="36" y="332"/>
                    </a:cubicBezTo>
                    <a:cubicBezTo>
                      <a:pt x="34" y="332"/>
                      <a:pt x="34" y="332"/>
                      <a:pt x="34" y="332"/>
                    </a:cubicBezTo>
                    <a:cubicBezTo>
                      <a:pt x="33" y="338"/>
                      <a:pt x="33" y="338"/>
                      <a:pt x="33" y="338"/>
                    </a:cubicBezTo>
                    <a:cubicBezTo>
                      <a:pt x="27" y="345"/>
                      <a:pt x="27" y="345"/>
                      <a:pt x="27" y="345"/>
                    </a:cubicBezTo>
                    <a:cubicBezTo>
                      <a:pt x="27" y="345"/>
                      <a:pt x="28" y="343"/>
                      <a:pt x="24" y="343"/>
                    </a:cubicBezTo>
                    <a:cubicBezTo>
                      <a:pt x="22" y="343"/>
                      <a:pt x="20" y="345"/>
                      <a:pt x="20" y="345"/>
                    </a:cubicBezTo>
                    <a:cubicBezTo>
                      <a:pt x="20" y="345"/>
                      <a:pt x="19" y="341"/>
                      <a:pt x="17" y="341"/>
                    </a:cubicBezTo>
                    <a:cubicBezTo>
                      <a:pt x="16" y="341"/>
                      <a:pt x="12" y="342"/>
                      <a:pt x="12" y="345"/>
                    </a:cubicBezTo>
                    <a:cubicBezTo>
                      <a:pt x="12" y="347"/>
                      <a:pt x="20" y="349"/>
                      <a:pt x="20" y="349"/>
                    </a:cubicBezTo>
                    <a:cubicBezTo>
                      <a:pt x="17" y="350"/>
                      <a:pt x="17" y="350"/>
                      <a:pt x="17" y="350"/>
                    </a:cubicBezTo>
                    <a:cubicBezTo>
                      <a:pt x="13" y="353"/>
                      <a:pt x="13" y="353"/>
                      <a:pt x="13" y="353"/>
                    </a:cubicBezTo>
                    <a:cubicBezTo>
                      <a:pt x="7" y="350"/>
                      <a:pt x="7" y="350"/>
                      <a:pt x="7" y="350"/>
                    </a:cubicBezTo>
                    <a:cubicBezTo>
                      <a:pt x="5" y="355"/>
                      <a:pt x="5" y="355"/>
                      <a:pt x="5" y="355"/>
                    </a:cubicBezTo>
                    <a:cubicBezTo>
                      <a:pt x="5" y="355"/>
                      <a:pt x="0" y="353"/>
                      <a:pt x="0" y="356"/>
                    </a:cubicBezTo>
                    <a:cubicBezTo>
                      <a:pt x="0" y="359"/>
                      <a:pt x="7" y="370"/>
                      <a:pt x="7" y="370"/>
                    </a:cubicBezTo>
                    <a:cubicBezTo>
                      <a:pt x="6" y="376"/>
                      <a:pt x="6" y="376"/>
                      <a:pt x="6" y="376"/>
                    </a:cubicBezTo>
                    <a:cubicBezTo>
                      <a:pt x="13" y="377"/>
                      <a:pt x="13" y="377"/>
                      <a:pt x="13" y="377"/>
                    </a:cubicBezTo>
                    <a:cubicBezTo>
                      <a:pt x="13" y="377"/>
                      <a:pt x="15" y="384"/>
                      <a:pt x="22" y="384"/>
                    </a:cubicBezTo>
                    <a:cubicBezTo>
                      <a:pt x="30" y="385"/>
                      <a:pt x="33" y="379"/>
                      <a:pt x="33" y="379"/>
                    </a:cubicBez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54" name="Germany (example: colored)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4478338" y="3413125"/>
                <a:ext cx="812800" cy="1096962"/>
              </a:xfrm>
              <a:custGeom>
                <a:avLst/>
                <a:gdLst/>
                <a:ahLst/>
                <a:cxnLst>
                  <a:cxn ang="0">
                    <a:pos x="296" y="88"/>
                  </a:cxn>
                  <a:cxn ang="0">
                    <a:pos x="316" y="94"/>
                  </a:cxn>
                  <a:cxn ang="0">
                    <a:pos x="301" y="195"/>
                  </a:cxn>
                  <a:cxn ang="0">
                    <a:pos x="291" y="184"/>
                  </a:cxn>
                  <a:cxn ang="0">
                    <a:pos x="772" y="96"/>
                  </a:cxn>
                  <a:cxn ang="0">
                    <a:pos x="777" y="96"/>
                  </a:cxn>
                  <a:cxn ang="0">
                    <a:pos x="793" y="138"/>
                  </a:cxn>
                  <a:cxn ang="0">
                    <a:pos x="821" y="130"/>
                  </a:cxn>
                  <a:cxn ang="0">
                    <a:pos x="775" y="70"/>
                  </a:cxn>
                  <a:cxn ang="0">
                    <a:pos x="783" y="91"/>
                  </a:cxn>
                  <a:cxn ang="0">
                    <a:pos x="847" y="179"/>
                  </a:cxn>
                  <a:cxn ang="0">
                    <a:pos x="834" y="171"/>
                  </a:cxn>
                  <a:cxn ang="0">
                    <a:pos x="596" y="180"/>
                  </a:cxn>
                  <a:cxn ang="0">
                    <a:pos x="550" y="109"/>
                  </a:cxn>
                  <a:cxn ang="0">
                    <a:pos x="749" y="104"/>
                  </a:cxn>
                  <a:cxn ang="0">
                    <a:pos x="146" y="231"/>
                  </a:cxn>
                  <a:cxn ang="0">
                    <a:pos x="210" y="221"/>
                  </a:cxn>
                  <a:cxn ang="0">
                    <a:pos x="972" y="618"/>
                  </a:cxn>
                  <a:cxn ang="0">
                    <a:pos x="928" y="434"/>
                  </a:cxn>
                  <a:cxn ang="0">
                    <a:pos x="853" y="221"/>
                  </a:cxn>
                  <a:cxn ang="0">
                    <a:pos x="788" y="151"/>
                  </a:cxn>
                  <a:cxn ang="0">
                    <a:pos x="689" y="130"/>
                  </a:cxn>
                  <a:cxn ang="0">
                    <a:pos x="656" y="158"/>
                  </a:cxn>
                  <a:cxn ang="0">
                    <a:pos x="575" y="200"/>
                  </a:cxn>
                  <a:cxn ang="0">
                    <a:pos x="550" y="161"/>
                  </a:cxn>
                  <a:cxn ang="0">
                    <a:pos x="464" y="130"/>
                  </a:cxn>
                  <a:cxn ang="0">
                    <a:pos x="397" y="47"/>
                  </a:cxn>
                  <a:cxn ang="0">
                    <a:pos x="348" y="94"/>
                  </a:cxn>
                  <a:cxn ang="0">
                    <a:pos x="332" y="158"/>
                  </a:cxn>
                  <a:cxn ang="0">
                    <a:pos x="384" y="221"/>
                  </a:cxn>
                  <a:cxn ang="0">
                    <a:pos x="272" y="255"/>
                  </a:cxn>
                  <a:cxn ang="0">
                    <a:pos x="174" y="231"/>
                  </a:cxn>
                  <a:cxn ang="0">
                    <a:pos x="148" y="374"/>
                  </a:cxn>
                  <a:cxn ang="0">
                    <a:pos x="102" y="532"/>
                  </a:cxn>
                  <a:cxn ang="0">
                    <a:pos x="37" y="590"/>
                  </a:cxn>
                  <a:cxn ang="0">
                    <a:pos x="24" y="709"/>
                  </a:cxn>
                  <a:cxn ang="0">
                    <a:pos x="21" y="841"/>
                  </a:cxn>
                  <a:cxn ang="0">
                    <a:pos x="76" y="992"/>
                  </a:cxn>
                  <a:cxn ang="0">
                    <a:pos x="153" y="1005"/>
                  </a:cxn>
                  <a:cxn ang="0">
                    <a:pos x="195" y="1104"/>
                  </a:cxn>
                  <a:cxn ang="0">
                    <a:pos x="213" y="1285"/>
                  </a:cxn>
                  <a:cxn ang="0">
                    <a:pos x="283" y="1249"/>
                  </a:cxn>
                  <a:cxn ang="0">
                    <a:pos x="417" y="1285"/>
                  </a:cxn>
                  <a:cxn ang="0">
                    <a:pos x="503" y="1291"/>
                  </a:cxn>
                  <a:cxn ang="0">
                    <a:pos x="599" y="1306"/>
                  </a:cxn>
                  <a:cxn ang="0">
                    <a:pos x="762" y="1267"/>
                  </a:cxn>
                  <a:cxn ang="0">
                    <a:pos x="757" y="1189"/>
                  </a:cxn>
                  <a:cxn ang="0">
                    <a:pos x="824" y="1031"/>
                  </a:cxn>
                  <a:cxn ang="0">
                    <a:pos x="720" y="880"/>
                  </a:cxn>
                  <a:cxn ang="0">
                    <a:pos x="736" y="800"/>
                  </a:cxn>
                  <a:cxn ang="0">
                    <a:pos x="902" y="712"/>
                  </a:cxn>
                  <a:cxn ang="0">
                    <a:pos x="967" y="704"/>
                  </a:cxn>
                  <a:cxn ang="0">
                    <a:pos x="138" y="234"/>
                  </a:cxn>
                  <a:cxn ang="0">
                    <a:pos x="239" y="216"/>
                  </a:cxn>
                  <a:cxn ang="0">
                    <a:pos x="278" y="68"/>
                  </a:cxn>
                  <a:cxn ang="0">
                    <a:pos x="280" y="49"/>
                  </a:cxn>
                  <a:cxn ang="0">
                    <a:pos x="291" y="26"/>
                  </a:cxn>
                  <a:cxn ang="0">
                    <a:pos x="296" y="0"/>
                  </a:cxn>
                  <a:cxn ang="0">
                    <a:pos x="265" y="229"/>
                  </a:cxn>
                  <a:cxn ang="0">
                    <a:pos x="241" y="151"/>
                  </a:cxn>
                </a:cxnLst>
                <a:rect l="0" t="0" r="r" b="b"/>
                <a:pathLst>
                  <a:path w="987" h="1337">
                    <a:moveTo>
                      <a:pt x="285" y="1267"/>
                    </a:moveTo>
                    <a:cubicBezTo>
                      <a:pt x="293" y="1267"/>
                      <a:pt x="293" y="1267"/>
                      <a:pt x="293" y="1267"/>
                    </a:cubicBezTo>
                    <a:cubicBezTo>
                      <a:pt x="293" y="1262"/>
                      <a:pt x="293" y="1262"/>
                      <a:pt x="293" y="1262"/>
                    </a:cubicBezTo>
                    <a:cubicBezTo>
                      <a:pt x="288" y="1262"/>
                      <a:pt x="288" y="1262"/>
                      <a:pt x="288" y="1262"/>
                    </a:cubicBezTo>
                    <a:cubicBezTo>
                      <a:pt x="285" y="1267"/>
                      <a:pt x="285" y="1267"/>
                      <a:pt x="285" y="1267"/>
                    </a:cubicBezTo>
                    <a:close/>
                    <a:moveTo>
                      <a:pt x="296" y="94"/>
                    </a:moveTo>
                    <a:cubicBezTo>
                      <a:pt x="298" y="91"/>
                      <a:pt x="298" y="88"/>
                      <a:pt x="296" y="88"/>
                    </a:cubicBezTo>
                    <a:cubicBezTo>
                      <a:pt x="283" y="91"/>
                      <a:pt x="301" y="96"/>
                      <a:pt x="296" y="94"/>
                    </a:cubicBezTo>
                    <a:close/>
                    <a:moveTo>
                      <a:pt x="319" y="101"/>
                    </a:moveTo>
                    <a:cubicBezTo>
                      <a:pt x="322" y="101"/>
                      <a:pt x="322" y="99"/>
                      <a:pt x="322" y="99"/>
                    </a:cubicBezTo>
                    <a:cubicBezTo>
                      <a:pt x="319" y="99"/>
                      <a:pt x="316" y="101"/>
                      <a:pt x="319" y="101"/>
                    </a:cubicBezTo>
                    <a:close/>
                    <a:moveTo>
                      <a:pt x="316" y="94"/>
                    </a:moveTo>
                    <a:cubicBezTo>
                      <a:pt x="319" y="91"/>
                      <a:pt x="322" y="91"/>
                      <a:pt x="319" y="86"/>
                    </a:cubicBezTo>
                    <a:cubicBezTo>
                      <a:pt x="314" y="83"/>
                      <a:pt x="298" y="101"/>
                      <a:pt x="316" y="94"/>
                    </a:cubicBezTo>
                    <a:close/>
                    <a:moveTo>
                      <a:pt x="314" y="68"/>
                    </a:moveTo>
                    <a:cubicBezTo>
                      <a:pt x="311" y="70"/>
                      <a:pt x="309" y="70"/>
                      <a:pt x="306" y="70"/>
                    </a:cubicBezTo>
                    <a:cubicBezTo>
                      <a:pt x="311" y="78"/>
                      <a:pt x="311" y="70"/>
                      <a:pt x="314" y="68"/>
                    </a:cubicBezTo>
                    <a:close/>
                    <a:moveTo>
                      <a:pt x="296" y="83"/>
                    </a:moveTo>
                    <a:cubicBezTo>
                      <a:pt x="296" y="81"/>
                      <a:pt x="293" y="81"/>
                      <a:pt x="293" y="83"/>
                    </a:cubicBezTo>
                    <a:cubicBezTo>
                      <a:pt x="293" y="88"/>
                      <a:pt x="296" y="83"/>
                      <a:pt x="296" y="83"/>
                    </a:cubicBezTo>
                    <a:close/>
                    <a:moveTo>
                      <a:pt x="301" y="195"/>
                    </a:moveTo>
                    <a:cubicBezTo>
                      <a:pt x="306" y="195"/>
                      <a:pt x="301" y="192"/>
                      <a:pt x="301" y="192"/>
                    </a:cubicBezTo>
                    <a:cubicBezTo>
                      <a:pt x="296" y="192"/>
                      <a:pt x="296" y="195"/>
                      <a:pt x="301" y="195"/>
                    </a:cubicBezTo>
                    <a:close/>
                    <a:moveTo>
                      <a:pt x="301" y="101"/>
                    </a:moveTo>
                    <a:cubicBezTo>
                      <a:pt x="301" y="104"/>
                      <a:pt x="306" y="101"/>
                      <a:pt x="306" y="101"/>
                    </a:cubicBezTo>
                    <a:cubicBezTo>
                      <a:pt x="306" y="96"/>
                      <a:pt x="301" y="99"/>
                      <a:pt x="301" y="101"/>
                    </a:cubicBezTo>
                    <a:close/>
                    <a:moveTo>
                      <a:pt x="296" y="187"/>
                    </a:moveTo>
                    <a:cubicBezTo>
                      <a:pt x="298" y="184"/>
                      <a:pt x="291" y="184"/>
                      <a:pt x="291" y="184"/>
                    </a:cubicBezTo>
                    <a:cubicBezTo>
                      <a:pt x="288" y="182"/>
                      <a:pt x="293" y="200"/>
                      <a:pt x="296" y="187"/>
                    </a:cubicBezTo>
                    <a:close/>
                    <a:moveTo>
                      <a:pt x="298" y="107"/>
                    </a:moveTo>
                    <a:cubicBezTo>
                      <a:pt x="298" y="107"/>
                      <a:pt x="298" y="104"/>
                      <a:pt x="296" y="101"/>
                    </a:cubicBezTo>
                    <a:cubicBezTo>
                      <a:pt x="291" y="96"/>
                      <a:pt x="293" y="109"/>
                      <a:pt x="298" y="107"/>
                    </a:cubicBezTo>
                    <a:close/>
                    <a:moveTo>
                      <a:pt x="772" y="96"/>
                    </a:moveTo>
                    <a:cubicBezTo>
                      <a:pt x="765" y="91"/>
                      <a:pt x="765" y="99"/>
                      <a:pt x="759" y="101"/>
                    </a:cubicBezTo>
                    <a:cubicBezTo>
                      <a:pt x="762" y="101"/>
                      <a:pt x="767" y="99"/>
                      <a:pt x="772" y="96"/>
                    </a:cubicBezTo>
                    <a:close/>
                    <a:moveTo>
                      <a:pt x="845" y="135"/>
                    </a:moveTo>
                    <a:cubicBezTo>
                      <a:pt x="842" y="132"/>
                      <a:pt x="842" y="132"/>
                      <a:pt x="840" y="135"/>
                    </a:cubicBezTo>
                    <a:cubicBezTo>
                      <a:pt x="840" y="140"/>
                      <a:pt x="842" y="135"/>
                      <a:pt x="845" y="135"/>
                    </a:cubicBezTo>
                    <a:close/>
                    <a:moveTo>
                      <a:pt x="759" y="75"/>
                    </a:moveTo>
                    <a:cubicBezTo>
                      <a:pt x="752" y="68"/>
                      <a:pt x="754" y="96"/>
                      <a:pt x="754" y="99"/>
                    </a:cubicBezTo>
                    <a:cubicBezTo>
                      <a:pt x="757" y="94"/>
                      <a:pt x="759" y="75"/>
                      <a:pt x="759" y="75"/>
                    </a:cubicBezTo>
                    <a:close/>
                    <a:moveTo>
                      <a:pt x="777" y="96"/>
                    </a:moveTo>
                    <a:cubicBezTo>
                      <a:pt x="777" y="99"/>
                      <a:pt x="762" y="101"/>
                      <a:pt x="765" y="104"/>
                    </a:cubicBezTo>
                    <a:cubicBezTo>
                      <a:pt x="765" y="107"/>
                      <a:pt x="775" y="101"/>
                      <a:pt x="775" y="107"/>
                    </a:cubicBezTo>
                    <a:cubicBezTo>
                      <a:pt x="775" y="112"/>
                      <a:pt x="777" y="117"/>
                      <a:pt x="767" y="117"/>
                    </a:cubicBezTo>
                    <a:cubicBezTo>
                      <a:pt x="759" y="117"/>
                      <a:pt x="759" y="125"/>
                      <a:pt x="762" y="127"/>
                    </a:cubicBezTo>
                    <a:cubicBezTo>
                      <a:pt x="765" y="130"/>
                      <a:pt x="780" y="135"/>
                      <a:pt x="783" y="135"/>
                    </a:cubicBezTo>
                    <a:cubicBezTo>
                      <a:pt x="785" y="138"/>
                      <a:pt x="783" y="138"/>
                      <a:pt x="783" y="138"/>
                    </a:cubicBezTo>
                    <a:cubicBezTo>
                      <a:pt x="785" y="140"/>
                      <a:pt x="793" y="140"/>
                      <a:pt x="793" y="138"/>
                    </a:cubicBezTo>
                    <a:cubicBezTo>
                      <a:pt x="793" y="132"/>
                      <a:pt x="788" y="138"/>
                      <a:pt x="788" y="132"/>
                    </a:cubicBezTo>
                    <a:cubicBezTo>
                      <a:pt x="788" y="127"/>
                      <a:pt x="798" y="127"/>
                      <a:pt x="793" y="122"/>
                    </a:cubicBezTo>
                    <a:cubicBezTo>
                      <a:pt x="796" y="122"/>
                      <a:pt x="816" y="117"/>
                      <a:pt x="816" y="120"/>
                    </a:cubicBezTo>
                    <a:cubicBezTo>
                      <a:pt x="816" y="120"/>
                      <a:pt x="809" y="122"/>
                      <a:pt x="809" y="125"/>
                    </a:cubicBezTo>
                    <a:cubicBezTo>
                      <a:pt x="814" y="122"/>
                      <a:pt x="816" y="122"/>
                      <a:pt x="819" y="122"/>
                    </a:cubicBezTo>
                    <a:cubicBezTo>
                      <a:pt x="814" y="127"/>
                      <a:pt x="814" y="127"/>
                      <a:pt x="814" y="127"/>
                    </a:cubicBezTo>
                    <a:cubicBezTo>
                      <a:pt x="816" y="127"/>
                      <a:pt x="821" y="130"/>
                      <a:pt x="821" y="130"/>
                    </a:cubicBezTo>
                    <a:cubicBezTo>
                      <a:pt x="821" y="127"/>
                      <a:pt x="827" y="120"/>
                      <a:pt x="827" y="120"/>
                    </a:cubicBezTo>
                    <a:cubicBezTo>
                      <a:pt x="827" y="112"/>
                      <a:pt x="806" y="107"/>
                      <a:pt x="806" y="101"/>
                    </a:cubicBezTo>
                    <a:cubicBezTo>
                      <a:pt x="803" y="91"/>
                      <a:pt x="829" y="70"/>
                      <a:pt x="798" y="81"/>
                    </a:cubicBezTo>
                    <a:cubicBezTo>
                      <a:pt x="796" y="81"/>
                      <a:pt x="788" y="75"/>
                      <a:pt x="788" y="68"/>
                    </a:cubicBezTo>
                    <a:cubicBezTo>
                      <a:pt x="788" y="65"/>
                      <a:pt x="798" y="60"/>
                      <a:pt x="788" y="60"/>
                    </a:cubicBezTo>
                    <a:cubicBezTo>
                      <a:pt x="783" y="60"/>
                      <a:pt x="757" y="78"/>
                      <a:pt x="765" y="83"/>
                    </a:cubicBezTo>
                    <a:cubicBezTo>
                      <a:pt x="767" y="86"/>
                      <a:pt x="775" y="70"/>
                      <a:pt x="775" y="70"/>
                    </a:cubicBezTo>
                    <a:cubicBezTo>
                      <a:pt x="780" y="68"/>
                      <a:pt x="775" y="83"/>
                      <a:pt x="775" y="83"/>
                    </a:cubicBezTo>
                    <a:cubicBezTo>
                      <a:pt x="780" y="83"/>
                      <a:pt x="783" y="75"/>
                      <a:pt x="785" y="75"/>
                    </a:cubicBezTo>
                    <a:cubicBezTo>
                      <a:pt x="785" y="75"/>
                      <a:pt x="798" y="88"/>
                      <a:pt x="798" y="86"/>
                    </a:cubicBezTo>
                    <a:cubicBezTo>
                      <a:pt x="798" y="109"/>
                      <a:pt x="790" y="83"/>
                      <a:pt x="788" y="83"/>
                    </a:cubicBezTo>
                    <a:cubicBezTo>
                      <a:pt x="785" y="86"/>
                      <a:pt x="788" y="88"/>
                      <a:pt x="785" y="88"/>
                    </a:cubicBezTo>
                    <a:cubicBezTo>
                      <a:pt x="785" y="88"/>
                      <a:pt x="788" y="81"/>
                      <a:pt x="785" y="81"/>
                    </a:cubicBezTo>
                    <a:cubicBezTo>
                      <a:pt x="780" y="78"/>
                      <a:pt x="780" y="88"/>
                      <a:pt x="783" y="91"/>
                    </a:cubicBezTo>
                    <a:cubicBezTo>
                      <a:pt x="780" y="88"/>
                      <a:pt x="762" y="81"/>
                      <a:pt x="762" y="88"/>
                    </a:cubicBezTo>
                    <a:cubicBezTo>
                      <a:pt x="762" y="94"/>
                      <a:pt x="775" y="91"/>
                      <a:pt x="777" y="96"/>
                    </a:cubicBezTo>
                    <a:close/>
                    <a:moveTo>
                      <a:pt x="834" y="171"/>
                    </a:moveTo>
                    <a:cubicBezTo>
                      <a:pt x="837" y="174"/>
                      <a:pt x="840" y="174"/>
                      <a:pt x="840" y="177"/>
                    </a:cubicBezTo>
                    <a:cubicBezTo>
                      <a:pt x="842" y="169"/>
                      <a:pt x="860" y="171"/>
                      <a:pt x="858" y="187"/>
                    </a:cubicBezTo>
                    <a:cubicBezTo>
                      <a:pt x="850" y="184"/>
                      <a:pt x="853" y="187"/>
                      <a:pt x="847" y="187"/>
                    </a:cubicBezTo>
                    <a:cubicBezTo>
                      <a:pt x="847" y="179"/>
                      <a:pt x="847" y="179"/>
                      <a:pt x="847" y="179"/>
                    </a:cubicBezTo>
                    <a:cubicBezTo>
                      <a:pt x="842" y="187"/>
                      <a:pt x="850" y="195"/>
                      <a:pt x="837" y="203"/>
                    </a:cubicBezTo>
                    <a:cubicBezTo>
                      <a:pt x="847" y="203"/>
                      <a:pt x="847" y="203"/>
                      <a:pt x="847" y="203"/>
                    </a:cubicBezTo>
                    <a:cubicBezTo>
                      <a:pt x="850" y="203"/>
                      <a:pt x="878" y="192"/>
                      <a:pt x="881" y="203"/>
                    </a:cubicBezTo>
                    <a:cubicBezTo>
                      <a:pt x="878" y="192"/>
                      <a:pt x="873" y="179"/>
                      <a:pt x="863" y="174"/>
                    </a:cubicBezTo>
                    <a:cubicBezTo>
                      <a:pt x="850" y="171"/>
                      <a:pt x="840" y="151"/>
                      <a:pt x="829" y="148"/>
                    </a:cubicBezTo>
                    <a:cubicBezTo>
                      <a:pt x="829" y="148"/>
                      <a:pt x="832" y="169"/>
                      <a:pt x="830" y="173"/>
                    </a:cubicBezTo>
                    <a:cubicBezTo>
                      <a:pt x="831" y="173"/>
                      <a:pt x="834" y="176"/>
                      <a:pt x="834" y="171"/>
                    </a:cubicBezTo>
                    <a:close/>
                    <a:moveTo>
                      <a:pt x="829" y="174"/>
                    </a:moveTo>
                    <a:cubicBezTo>
                      <a:pt x="829" y="174"/>
                      <a:pt x="830" y="174"/>
                      <a:pt x="830" y="173"/>
                    </a:cubicBezTo>
                    <a:cubicBezTo>
                      <a:pt x="829" y="173"/>
                      <a:pt x="829" y="174"/>
                      <a:pt x="829" y="174"/>
                    </a:cubicBezTo>
                    <a:close/>
                    <a:moveTo>
                      <a:pt x="585" y="188"/>
                    </a:moveTo>
                    <a:cubicBezTo>
                      <a:pt x="588" y="193"/>
                      <a:pt x="590" y="188"/>
                      <a:pt x="593" y="188"/>
                    </a:cubicBezTo>
                    <a:cubicBezTo>
                      <a:pt x="590" y="190"/>
                      <a:pt x="590" y="190"/>
                      <a:pt x="593" y="190"/>
                    </a:cubicBezTo>
                    <a:cubicBezTo>
                      <a:pt x="593" y="190"/>
                      <a:pt x="598" y="180"/>
                      <a:pt x="596" y="180"/>
                    </a:cubicBezTo>
                    <a:cubicBezTo>
                      <a:pt x="596" y="180"/>
                      <a:pt x="580" y="185"/>
                      <a:pt x="585" y="188"/>
                    </a:cubicBezTo>
                    <a:close/>
                    <a:moveTo>
                      <a:pt x="322" y="70"/>
                    </a:moveTo>
                    <a:cubicBezTo>
                      <a:pt x="316" y="78"/>
                      <a:pt x="322" y="75"/>
                      <a:pt x="322" y="75"/>
                    </a:cubicBezTo>
                    <a:cubicBezTo>
                      <a:pt x="322" y="75"/>
                      <a:pt x="327" y="65"/>
                      <a:pt x="322" y="70"/>
                    </a:cubicBezTo>
                    <a:close/>
                    <a:moveTo>
                      <a:pt x="560" y="109"/>
                    </a:moveTo>
                    <a:cubicBezTo>
                      <a:pt x="568" y="117"/>
                      <a:pt x="573" y="120"/>
                      <a:pt x="581" y="120"/>
                    </a:cubicBezTo>
                    <a:cubicBezTo>
                      <a:pt x="581" y="101"/>
                      <a:pt x="547" y="86"/>
                      <a:pt x="550" y="109"/>
                    </a:cubicBezTo>
                    <a:cubicBezTo>
                      <a:pt x="552" y="112"/>
                      <a:pt x="555" y="112"/>
                      <a:pt x="560" y="109"/>
                    </a:cubicBezTo>
                    <a:close/>
                    <a:moveTo>
                      <a:pt x="301" y="86"/>
                    </a:moveTo>
                    <a:cubicBezTo>
                      <a:pt x="301" y="86"/>
                      <a:pt x="311" y="88"/>
                      <a:pt x="306" y="83"/>
                    </a:cubicBezTo>
                    <a:cubicBezTo>
                      <a:pt x="306" y="83"/>
                      <a:pt x="301" y="83"/>
                      <a:pt x="301" y="81"/>
                    </a:cubicBezTo>
                    <a:cubicBezTo>
                      <a:pt x="296" y="83"/>
                      <a:pt x="298" y="86"/>
                      <a:pt x="301" y="86"/>
                    </a:cubicBezTo>
                    <a:close/>
                    <a:moveTo>
                      <a:pt x="757" y="101"/>
                    </a:moveTo>
                    <a:cubicBezTo>
                      <a:pt x="749" y="104"/>
                      <a:pt x="749" y="104"/>
                      <a:pt x="749" y="104"/>
                    </a:cubicBezTo>
                    <a:cubicBezTo>
                      <a:pt x="749" y="104"/>
                      <a:pt x="754" y="107"/>
                      <a:pt x="757" y="101"/>
                    </a:cubicBezTo>
                    <a:close/>
                    <a:moveTo>
                      <a:pt x="190" y="221"/>
                    </a:moveTo>
                    <a:cubicBezTo>
                      <a:pt x="187" y="221"/>
                      <a:pt x="190" y="226"/>
                      <a:pt x="190" y="226"/>
                    </a:cubicBezTo>
                    <a:cubicBezTo>
                      <a:pt x="192" y="226"/>
                      <a:pt x="195" y="223"/>
                      <a:pt x="190" y="221"/>
                    </a:cubicBezTo>
                    <a:close/>
                    <a:moveTo>
                      <a:pt x="158" y="229"/>
                    </a:moveTo>
                    <a:cubicBezTo>
                      <a:pt x="156" y="223"/>
                      <a:pt x="143" y="231"/>
                      <a:pt x="138" y="231"/>
                    </a:cubicBezTo>
                    <a:cubicBezTo>
                      <a:pt x="146" y="231"/>
                      <a:pt x="146" y="231"/>
                      <a:pt x="146" y="231"/>
                    </a:cubicBezTo>
                    <a:cubicBezTo>
                      <a:pt x="148" y="231"/>
                      <a:pt x="153" y="231"/>
                      <a:pt x="158" y="229"/>
                    </a:cubicBezTo>
                    <a:close/>
                    <a:moveTo>
                      <a:pt x="174" y="226"/>
                    </a:moveTo>
                    <a:cubicBezTo>
                      <a:pt x="179" y="226"/>
                      <a:pt x="184" y="229"/>
                      <a:pt x="184" y="223"/>
                    </a:cubicBezTo>
                    <a:cubicBezTo>
                      <a:pt x="184" y="216"/>
                      <a:pt x="158" y="226"/>
                      <a:pt x="161" y="229"/>
                    </a:cubicBezTo>
                    <a:cubicBezTo>
                      <a:pt x="164" y="229"/>
                      <a:pt x="171" y="226"/>
                      <a:pt x="174" y="226"/>
                    </a:cubicBezTo>
                    <a:close/>
                    <a:moveTo>
                      <a:pt x="197" y="226"/>
                    </a:moveTo>
                    <a:cubicBezTo>
                      <a:pt x="200" y="226"/>
                      <a:pt x="208" y="221"/>
                      <a:pt x="210" y="221"/>
                    </a:cubicBezTo>
                    <a:cubicBezTo>
                      <a:pt x="210" y="218"/>
                      <a:pt x="208" y="216"/>
                      <a:pt x="200" y="218"/>
                    </a:cubicBezTo>
                    <a:cubicBezTo>
                      <a:pt x="202" y="218"/>
                      <a:pt x="190" y="226"/>
                      <a:pt x="197" y="226"/>
                    </a:cubicBezTo>
                    <a:close/>
                    <a:moveTo>
                      <a:pt x="234" y="218"/>
                    </a:moveTo>
                    <a:cubicBezTo>
                      <a:pt x="236" y="216"/>
                      <a:pt x="223" y="216"/>
                      <a:pt x="223" y="216"/>
                    </a:cubicBezTo>
                    <a:cubicBezTo>
                      <a:pt x="223" y="216"/>
                      <a:pt x="213" y="216"/>
                      <a:pt x="215" y="221"/>
                    </a:cubicBezTo>
                    <a:cubicBezTo>
                      <a:pt x="221" y="223"/>
                      <a:pt x="228" y="218"/>
                      <a:pt x="234" y="218"/>
                    </a:cubicBezTo>
                    <a:close/>
                    <a:moveTo>
                      <a:pt x="972" y="618"/>
                    </a:moveTo>
                    <a:cubicBezTo>
                      <a:pt x="972" y="600"/>
                      <a:pt x="959" y="603"/>
                      <a:pt x="948" y="597"/>
                    </a:cubicBezTo>
                    <a:cubicBezTo>
                      <a:pt x="938" y="592"/>
                      <a:pt x="954" y="582"/>
                      <a:pt x="948" y="577"/>
                    </a:cubicBezTo>
                    <a:cubicBezTo>
                      <a:pt x="943" y="561"/>
                      <a:pt x="923" y="551"/>
                      <a:pt x="933" y="538"/>
                    </a:cubicBezTo>
                    <a:cubicBezTo>
                      <a:pt x="938" y="530"/>
                      <a:pt x="951" y="504"/>
                      <a:pt x="935" y="501"/>
                    </a:cubicBezTo>
                    <a:cubicBezTo>
                      <a:pt x="933" y="501"/>
                      <a:pt x="943" y="475"/>
                      <a:pt x="933" y="473"/>
                    </a:cubicBezTo>
                    <a:cubicBezTo>
                      <a:pt x="923" y="467"/>
                      <a:pt x="923" y="465"/>
                      <a:pt x="920" y="455"/>
                    </a:cubicBezTo>
                    <a:cubicBezTo>
                      <a:pt x="917" y="439"/>
                      <a:pt x="928" y="444"/>
                      <a:pt x="928" y="434"/>
                    </a:cubicBezTo>
                    <a:cubicBezTo>
                      <a:pt x="928" y="416"/>
                      <a:pt x="894" y="379"/>
                      <a:pt x="871" y="377"/>
                    </a:cubicBezTo>
                    <a:cubicBezTo>
                      <a:pt x="873" y="371"/>
                      <a:pt x="873" y="356"/>
                      <a:pt x="876" y="353"/>
                    </a:cubicBezTo>
                    <a:cubicBezTo>
                      <a:pt x="881" y="345"/>
                      <a:pt x="891" y="345"/>
                      <a:pt x="894" y="335"/>
                    </a:cubicBezTo>
                    <a:cubicBezTo>
                      <a:pt x="899" y="317"/>
                      <a:pt x="904" y="301"/>
                      <a:pt x="894" y="286"/>
                    </a:cubicBezTo>
                    <a:cubicBezTo>
                      <a:pt x="884" y="268"/>
                      <a:pt x="891" y="239"/>
                      <a:pt x="873" y="229"/>
                    </a:cubicBezTo>
                    <a:cubicBezTo>
                      <a:pt x="873" y="226"/>
                      <a:pt x="881" y="223"/>
                      <a:pt x="878" y="221"/>
                    </a:cubicBezTo>
                    <a:cubicBezTo>
                      <a:pt x="876" y="218"/>
                      <a:pt x="863" y="223"/>
                      <a:pt x="853" y="221"/>
                    </a:cubicBezTo>
                    <a:cubicBezTo>
                      <a:pt x="850" y="221"/>
                      <a:pt x="842" y="216"/>
                      <a:pt x="840" y="213"/>
                    </a:cubicBezTo>
                    <a:cubicBezTo>
                      <a:pt x="837" y="210"/>
                      <a:pt x="829" y="208"/>
                      <a:pt x="834" y="200"/>
                    </a:cubicBezTo>
                    <a:cubicBezTo>
                      <a:pt x="845" y="190"/>
                      <a:pt x="834" y="195"/>
                      <a:pt x="834" y="184"/>
                    </a:cubicBezTo>
                    <a:cubicBezTo>
                      <a:pt x="834" y="174"/>
                      <a:pt x="824" y="182"/>
                      <a:pt x="827" y="166"/>
                    </a:cubicBezTo>
                    <a:cubicBezTo>
                      <a:pt x="829" y="161"/>
                      <a:pt x="821" y="161"/>
                      <a:pt x="821" y="153"/>
                    </a:cubicBezTo>
                    <a:cubicBezTo>
                      <a:pt x="821" y="148"/>
                      <a:pt x="796" y="166"/>
                      <a:pt x="796" y="166"/>
                    </a:cubicBezTo>
                    <a:cubicBezTo>
                      <a:pt x="796" y="166"/>
                      <a:pt x="788" y="153"/>
                      <a:pt x="788" y="151"/>
                    </a:cubicBezTo>
                    <a:cubicBezTo>
                      <a:pt x="788" y="151"/>
                      <a:pt x="759" y="138"/>
                      <a:pt x="757" y="132"/>
                    </a:cubicBezTo>
                    <a:cubicBezTo>
                      <a:pt x="757" y="127"/>
                      <a:pt x="749" y="109"/>
                      <a:pt x="749" y="107"/>
                    </a:cubicBezTo>
                    <a:cubicBezTo>
                      <a:pt x="746" y="112"/>
                      <a:pt x="736" y="112"/>
                      <a:pt x="736" y="120"/>
                    </a:cubicBezTo>
                    <a:cubicBezTo>
                      <a:pt x="739" y="130"/>
                      <a:pt x="723" y="120"/>
                      <a:pt x="726" y="120"/>
                    </a:cubicBezTo>
                    <a:cubicBezTo>
                      <a:pt x="720" y="122"/>
                      <a:pt x="713" y="117"/>
                      <a:pt x="708" y="125"/>
                    </a:cubicBezTo>
                    <a:cubicBezTo>
                      <a:pt x="697" y="120"/>
                      <a:pt x="692" y="143"/>
                      <a:pt x="695" y="143"/>
                    </a:cubicBezTo>
                    <a:cubicBezTo>
                      <a:pt x="676" y="143"/>
                      <a:pt x="695" y="130"/>
                      <a:pt x="689" y="130"/>
                    </a:cubicBezTo>
                    <a:cubicBezTo>
                      <a:pt x="687" y="127"/>
                      <a:pt x="702" y="120"/>
                      <a:pt x="708" y="120"/>
                    </a:cubicBezTo>
                    <a:cubicBezTo>
                      <a:pt x="705" y="120"/>
                      <a:pt x="718" y="112"/>
                      <a:pt x="718" y="112"/>
                    </a:cubicBezTo>
                    <a:cubicBezTo>
                      <a:pt x="726" y="112"/>
                      <a:pt x="741" y="117"/>
                      <a:pt x="744" y="107"/>
                    </a:cubicBezTo>
                    <a:cubicBezTo>
                      <a:pt x="741" y="112"/>
                      <a:pt x="726" y="109"/>
                      <a:pt x="715" y="107"/>
                    </a:cubicBezTo>
                    <a:cubicBezTo>
                      <a:pt x="708" y="107"/>
                      <a:pt x="697" y="96"/>
                      <a:pt x="697" y="112"/>
                    </a:cubicBezTo>
                    <a:cubicBezTo>
                      <a:pt x="697" y="120"/>
                      <a:pt x="682" y="122"/>
                      <a:pt x="676" y="127"/>
                    </a:cubicBezTo>
                    <a:cubicBezTo>
                      <a:pt x="669" y="140"/>
                      <a:pt x="664" y="158"/>
                      <a:pt x="656" y="158"/>
                    </a:cubicBezTo>
                    <a:cubicBezTo>
                      <a:pt x="648" y="158"/>
                      <a:pt x="640" y="164"/>
                      <a:pt x="632" y="164"/>
                    </a:cubicBezTo>
                    <a:cubicBezTo>
                      <a:pt x="625" y="164"/>
                      <a:pt x="622" y="158"/>
                      <a:pt x="617" y="161"/>
                    </a:cubicBezTo>
                    <a:cubicBezTo>
                      <a:pt x="614" y="161"/>
                      <a:pt x="594" y="177"/>
                      <a:pt x="596" y="179"/>
                    </a:cubicBezTo>
                    <a:cubicBezTo>
                      <a:pt x="604" y="182"/>
                      <a:pt x="607" y="171"/>
                      <a:pt x="612" y="171"/>
                    </a:cubicBezTo>
                    <a:cubicBezTo>
                      <a:pt x="609" y="171"/>
                      <a:pt x="596" y="190"/>
                      <a:pt x="596" y="192"/>
                    </a:cubicBezTo>
                    <a:cubicBezTo>
                      <a:pt x="594" y="208"/>
                      <a:pt x="594" y="200"/>
                      <a:pt x="586" y="200"/>
                    </a:cubicBezTo>
                    <a:cubicBezTo>
                      <a:pt x="575" y="200"/>
                      <a:pt x="575" y="200"/>
                      <a:pt x="575" y="200"/>
                    </a:cubicBezTo>
                    <a:cubicBezTo>
                      <a:pt x="578" y="200"/>
                      <a:pt x="570" y="187"/>
                      <a:pt x="568" y="184"/>
                    </a:cubicBezTo>
                    <a:cubicBezTo>
                      <a:pt x="565" y="184"/>
                      <a:pt x="550" y="184"/>
                      <a:pt x="547" y="187"/>
                    </a:cubicBezTo>
                    <a:cubicBezTo>
                      <a:pt x="537" y="195"/>
                      <a:pt x="531" y="192"/>
                      <a:pt x="547" y="203"/>
                    </a:cubicBezTo>
                    <a:cubicBezTo>
                      <a:pt x="534" y="195"/>
                      <a:pt x="521" y="221"/>
                      <a:pt x="511" y="221"/>
                    </a:cubicBezTo>
                    <a:cubicBezTo>
                      <a:pt x="506" y="221"/>
                      <a:pt x="534" y="200"/>
                      <a:pt x="534" y="200"/>
                    </a:cubicBezTo>
                    <a:cubicBezTo>
                      <a:pt x="534" y="187"/>
                      <a:pt x="531" y="190"/>
                      <a:pt x="524" y="179"/>
                    </a:cubicBezTo>
                    <a:cubicBezTo>
                      <a:pt x="524" y="179"/>
                      <a:pt x="547" y="161"/>
                      <a:pt x="550" y="161"/>
                    </a:cubicBezTo>
                    <a:cubicBezTo>
                      <a:pt x="563" y="153"/>
                      <a:pt x="555" y="148"/>
                      <a:pt x="555" y="140"/>
                    </a:cubicBezTo>
                    <a:cubicBezTo>
                      <a:pt x="555" y="122"/>
                      <a:pt x="560" y="132"/>
                      <a:pt x="563" y="122"/>
                    </a:cubicBezTo>
                    <a:cubicBezTo>
                      <a:pt x="565" y="117"/>
                      <a:pt x="550" y="125"/>
                      <a:pt x="547" y="125"/>
                    </a:cubicBezTo>
                    <a:cubicBezTo>
                      <a:pt x="547" y="125"/>
                      <a:pt x="542" y="120"/>
                      <a:pt x="531" y="130"/>
                    </a:cubicBezTo>
                    <a:cubicBezTo>
                      <a:pt x="521" y="138"/>
                      <a:pt x="521" y="130"/>
                      <a:pt x="508" y="125"/>
                    </a:cubicBezTo>
                    <a:cubicBezTo>
                      <a:pt x="503" y="120"/>
                      <a:pt x="493" y="117"/>
                      <a:pt x="485" y="112"/>
                    </a:cubicBezTo>
                    <a:cubicBezTo>
                      <a:pt x="469" y="107"/>
                      <a:pt x="474" y="130"/>
                      <a:pt x="464" y="130"/>
                    </a:cubicBezTo>
                    <a:cubicBezTo>
                      <a:pt x="467" y="109"/>
                      <a:pt x="467" y="109"/>
                      <a:pt x="467" y="109"/>
                    </a:cubicBezTo>
                    <a:cubicBezTo>
                      <a:pt x="467" y="99"/>
                      <a:pt x="443" y="109"/>
                      <a:pt x="438" y="107"/>
                    </a:cubicBezTo>
                    <a:cubicBezTo>
                      <a:pt x="446" y="109"/>
                      <a:pt x="459" y="78"/>
                      <a:pt x="449" y="68"/>
                    </a:cubicBezTo>
                    <a:cubicBezTo>
                      <a:pt x="456" y="75"/>
                      <a:pt x="449" y="57"/>
                      <a:pt x="449" y="57"/>
                    </a:cubicBezTo>
                    <a:cubicBezTo>
                      <a:pt x="449" y="44"/>
                      <a:pt x="441" y="55"/>
                      <a:pt x="438" y="55"/>
                    </a:cubicBezTo>
                    <a:cubicBezTo>
                      <a:pt x="428" y="57"/>
                      <a:pt x="415" y="39"/>
                      <a:pt x="410" y="39"/>
                    </a:cubicBezTo>
                    <a:cubicBezTo>
                      <a:pt x="410" y="36"/>
                      <a:pt x="397" y="47"/>
                      <a:pt x="397" y="47"/>
                    </a:cubicBezTo>
                    <a:cubicBezTo>
                      <a:pt x="394" y="31"/>
                      <a:pt x="392" y="42"/>
                      <a:pt x="384" y="47"/>
                    </a:cubicBezTo>
                    <a:cubicBezTo>
                      <a:pt x="373" y="49"/>
                      <a:pt x="376" y="36"/>
                      <a:pt x="371" y="36"/>
                    </a:cubicBezTo>
                    <a:cubicBezTo>
                      <a:pt x="355" y="31"/>
                      <a:pt x="342" y="26"/>
                      <a:pt x="327" y="29"/>
                    </a:cubicBezTo>
                    <a:cubicBezTo>
                      <a:pt x="319" y="29"/>
                      <a:pt x="319" y="21"/>
                      <a:pt x="314" y="31"/>
                    </a:cubicBezTo>
                    <a:cubicBezTo>
                      <a:pt x="311" y="39"/>
                      <a:pt x="324" y="55"/>
                      <a:pt x="322" y="57"/>
                    </a:cubicBezTo>
                    <a:cubicBezTo>
                      <a:pt x="322" y="55"/>
                      <a:pt x="332" y="83"/>
                      <a:pt x="332" y="83"/>
                    </a:cubicBezTo>
                    <a:cubicBezTo>
                      <a:pt x="332" y="83"/>
                      <a:pt x="350" y="88"/>
                      <a:pt x="348" y="94"/>
                    </a:cubicBezTo>
                    <a:cubicBezTo>
                      <a:pt x="342" y="99"/>
                      <a:pt x="329" y="91"/>
                      <a:pt x="329" y="101"/>
                    </a:cubicBezTo>
                    <a:cubicBezTo>
                      <a:pt x="332" y="112"/>
                      <a:pt x="348" y="99"/>
                      <a:pt x="348" y="99"/>
                    </a:cubicBezTo>
                    <a:cubicBezTo>
                      <a:pt x="348" y="99"/>
                      <a:pt x="342" y="109"/>
                      <a:pt x="337" y="117"/>
                    </a:cubicBezTo>
                    <a:cubicBezTo>
                      <a:pt x="337" y="117"/>
                      <a:pt x="309" y="112"/>
                      <a:pt x="314" y="120"/>
                    </a:cubicBezTo>
                    <a:cubicBezTo>
                      <a:pt x="316" y="120"/>
                      <a:pt x="316" y="122"/>
                      <a:pt x="316" y="122"/>
                    </a:cubicBezTo>
                    <a:cubicBezTo>
                      <a:pt x="283" y="135"/>
                      <a:pt x="342" y="143"/>
                      <a:pt x="342" y="132"/>
                    </a:cubicBezTo>
                    <a:cubicBezTo>
                      <a:pt x="342" y="143"/>
                      <a:pt x="324" y="140"/>
                      <a:pt x="332" y="158"/>
                    </a:cubicBezTo>
                    <a:cubicBezTo>
                      <a:pt x="332" y="161"/>
                      <a:pt x="340" y="164"/>
                      <a:pt x="342" y="169"/>
                    </a:cubicBezTo>
                    <a:cubicBezTo>
                      <a:pt x="353" y="182"/>
                      <a:pt x="337" y="174"/>
                      <a:pt x="332" y="179"/>
                    </a:cubicBezTo>
                    <a:cubicBezTo>
                      <a:pt x="329" y="182"/>
                      <a:pt x="335" y="187"/>
                      <a:pt x="337" y="190"/>
                    </a:cubicBezTo>
                    <a:cubicBezTo>
                      <a:pt x="340" y="210"/>
                      <a:pt x="358" y="200"/>
                      <a:pt x="371" y="203"/>
                    </a:cubicBezTo>
                    <a:cubicBezTo>
                      <a:pt x="381" y="205"/>
                      <a:pt x="386" y="213"/>
                      <a:pt x="392" y="223"/>
                    </a:cubicBezTo>
                    <a:cubicBezTo>
                      <a:pt x="397" y="234"/>
                      <a:pt x="412" y="265"/>
                      <a:pt x="428" y="262"/>
                    </a:cubicBezTo>
                    <a:cubicBezTo>
                      <a:pt x="405" y="265"/>
                      <a:pt x="392" y="242"/>
                      <a:pt x="384" y="221"/>
                    </a:cubicBezTo>
                    <a:cubicBezTo>
                      <a:pt x="376" y="192"/>
                      <a:pt x="350" y="221"/>
                      <a:pt x="332" y="213"/>
                    </a:cubicBezTo>
                    <a:cubicBezTo>
                      <a:pt x="309" y="203"/>
                      <a:pt x="314" y="200"/>
                      <a:pt x="298" y="226"/>
                    </a:cubicBezTo>
                    <a:cubicBezTo>
                      <a:pt x="291" y="242"/>
                      <a:pt x="311" y="255"/>
                      <a:pt x="306" y="262"/>
                    </a:cubicBezTo>
                    <a:cubicBezTo>
                      <a:pt x="306" y="265"/>
                      <a:pt x="293" y="286"/>
                      <a:pt x="296" y="286"/>
                    </a:cubicBezTo>
                    <a:cubicBezTo>
                      <a:pt x="291" y="286"/>
                      <a:pt x="296" y="268"/>
                      <a:pt x="296" y="268"/>
                    </a:cubicBezTo>
                    <a:cubicBezTo>
                      <a:pt x="298" y="257"/>
                      <a:pt x="296" y="260"/>
                      <a:pt x="285" y="257"/>
                    </a:cubicBezTo>
                    <a:cubicBezTo>
                      <a:pt x="280" y="255"/>
                      <a:pt x="278" y="239"/>
                      <a:pt x="272" y="255"/>
                    </a:cubicBezTo>
                    <a:cubicBezTo>
                      <a:pt x="267" y="265"/>
                      <a:pt x="272" y="262"/>
                      <a:pt x="278" y="262"/>
                    </a:cubicBezTo>
                    <a:cubicBezTo>
                      <a:pt x="280" y="262"/>
                      <a:pt x="275" y="281"/>
                      <a:pt x="275" y="281"/>
                    </a:cubicBezTo>
                    <a:cubicBezTo>
                      <a:pt x="270" y="291"/>
                      <a:pt x="265" y="275"/>
                      <a:pt x="257" y="273"/>
                    </a:cubicBezTo>
                    <a:cubicBezTo>
                      <a:pt x="254" y="273"/>
                      <a:pt x="244" y="270"/>
                      <a:pt x="257" y="265"/>
                    </a:cubicBezTo>
                    <a:cubicBezTo>
                      <a:pt x="272" y="257"/>
                      <a:pt x="247" y="229"/>
                      <a:pt x="239" y="229"/>
                    </a:cubicBezTo>
                    <a:cubicBezTo>
                      <a:pt x="226" y="226"/>
                      <a:pt x="210" y="234"/>
                      <a:pt x="197" y="234"/>
                    </a:cubicBezTo>
                    <a:cubicBezTo>
                      <a:pt x="192" y="234"/>
                      <a:pt x="184" y="231"/>
                      <a:pt x="174" y="231"/>
                    </a:cubicBezTo>
                    <a:cubicBezTo>
                      <a:pt x="164" y="231"/>
                      <a:pt x="151" y="249"/>
                      <a:pt x="156" y="257"/>
                    </a:cubicBezTo>
                    <a:cubicBezTo>
                      <a:pt x="153" y="257"/>
                      <a:pt x="156" y="260"/>
                      <a:pt x="153" y="262"/>
                    </a:cubicBezTo>
                    <a:cubicBezTo>
                      <a:pt x="148" y="257"/>
                      <a:pt x="151" y="260"/>
                      <a:pt x="146" y="257"/>
                    </a:cubicBezTo>
                    <a:cubicBezTo>
                      <a:pt x="148" y="268"/>
                      <a:pt x="146" y="281"/>
                      <a:pt x="143" y="291"/>
                    </a:cubicBezTo>
                    <a:cubicBezTo>
                      <a:pt x="169" y="294"/>
                      <a:pt x="161" y="296"/>
                      <a:pt x="164" y="314"/>
                    </a:cubicBezTo>
                    <a:cubicBezTo>
                      <a:pt x="164" y="322"/>
                      <a:pt x="158" y="335"/>
                      <a:pt x="158" y="343"/>
                    </a:cubicBezTo>
                    <a:cubicBezTo>
                      <a:pt x="161" y="353"/>
                      <a:pt x="153" y="366"/>
                      <a:pt x="148" y="374"/>
                    </a:cubicBezTo>
                    <a:cubicBezTo>
                      <a:pt x="140" y="384"/>
                      <a:pt x="148" y="405"/>
                      <a:pt x="135" y="410"/>
                    </a:cubicBezTo>
                    <a:cubicBezTo>
                      <a:pt x="127" y="413"/>
                      <a:pt x="96" y="395"/>
                      <a:pt x="109" y="418"/>
                    </a:cubicBezTo>
                    <a:cubicBezTo>
                      <a:pt x="86" y="429"/>
                      <a:pt x="122" y="455"/>
                      <a:pt x="130" y="436"/>
                    </a:cubicBezTo>
                    <a:cubicBezTo>
                      <a:pt x="146" y="452"/>
                      <a:pt x="127" y="467"/>
                      <a:pt x="140" y="475"/>
                    </a:cubicBezTo>
                    <a:cubicBezTo>
                      <a:pt x="135" y="478"/>
                      <a:pt x="117" y="496"/>
                      <a:pt x="117" y="496"/>
                    </a:cubicBezTo>
                    <a:cubicBezTo>
                      <a:pt x="107" y="496"/>
                      <a:pt x="102" y="501"/>
                      <a:pt x="96" y="509"/>
                    </a:cubicBezTo>
                    <a:cubicBezTo>
                      <a:pt x="117" y="509"/>
                      <a:pt x="107" y="535"/>
                      <a:pt x="102" y="532"/>
                    </a:cubicBezTo>
                    <a:cubicBezTo>
                      <a:pt x="89" y="522"/>
                      <a:pt x="78" y="540"/>
                      <a:pt x="68" y="538"/>
                    </a:cubicBezTo>
                    <a:cubicBezTo>
                      <a:pt x="68" y="543"/>
                      <a:pt x="68" y="543"/>
                      <a:pt x="68" y="543"/>
                    </a:cubicBezTo>
                    <a:cubicBezTo>
                      <a:pt x="60" y="538"/>
                      <a:pt x="45" y="532"/>
                      <a:pt x="34" y="532"/>
                    </a:cubicBezTo>
                    <a:cubicBezTo>
                      <a:pt x="37" y="535"/>
                      <a:pt x="37" y="540"/>
                      <a:pt x="39" y="543"/>
                    </a:cubicBezTo>
                    <a:cubicBezTo>
                      <a:pt x="32" y="538"/>
                      <a:pt x="26" y="540"/>
                      <a:pt x="19" y="540"/>
                    </a:cubicBezTo>
                    <a:cubicBezTo>
                      <a:pt x="19" y="540"/>
                      <a:pt x="26" y="566"/>
                      <a:pt x="26" y="561"/>
                    </a:cubicBezTo>
                    <a:cubicBezTo>
                      <a:pt x="26" y="571"/>
                      <a:pt x="32" y="582"/>
                      <a:pt x="37" y="590"/>
                    </a:cubicBezTo>
                    <a:cubicBezTo>
                      <a:pt x="42" y="597"/>
                      <a:pt x="42" y="610"/>
                      <a:pt x="42" y="621"/>
                    </a:cubicBezTo>
                    <a:cubicBezTo>
                      <a:pt x="42" y="634"/>
                      <a:pt x="21" y="636"/>
                      <a:pt x="26" y="657"/>
                    </a:cubicBezTo>
                    <a:cubicBezTo>
                      <a:pt x="34" y="655"/>
                      <a:pt x="34" y="655"/>
                      <a:pt x="34" y="655"/>
                    </a:cubicBezTo>
                    <a:cubicBezTo>
                      <a:pt x="32" y="667"/>
                      <a:pt x="16" y="665"/>
                      <a:pt x="13" y="678"/>
                    </a:cubicBezTo>
                    <a:cubicBezTo>
                      <a:pt x="11" y="675"/>
                      <a:pt x="11" y="673"/>
                      <a:pt x="8" y="670"/>
                    </a:cubicBezTo>
                    <a:cubicBezTo>
                      <a:pt x="0" y="673"/>
                      <a:pt x="0" y="680"/>
                      <a:pt x="3" y="686"/>
                    </a:cubicBezTo>
                    <a:cubicBezTo>
                      <a:pt x="21" y="680"/>
                      <a:pt x="21" y="699"/>
                      <a:pt x="24" y="709"/>
                    </a:cubicBezTo>
                    <a:cubicBezTo>
                      <a:pt x="19" y="709"/>
                      <a:pt x="16" y="712"/>
                      <a:pt x="11" y="717"/>
                    </a:cubicBezTo>
                    <a:cubicBezTo>
                      <a:pt x="13" y="727"/>
                      <a:pt x="29" y="748"/>
                      <a:pt x="39" y="751"/>
                    </a:cubicBezTo>
                    <a:cubicBezTo>
                      <a:pt x="37" y="753"/>
                      <a:pt x="29" y="758"/>
                      <a:pt x="29" y="761"/>
                    </a:cubicBezTo>
                    <a:cubicBezTo>
                      <a:pt x="29" y="777"/>
                      <a:pt x="39" y="766"/>
                      <a:pt x="45" y="774"/>
                    </a:cubicBezTo>
                    <a:cubicBezTo>
                      <a:pt x="47" y="777"/>
                      <a:pt x="55" y="797"/>
                      <a:pt x="52" y="802"/>
                    </a:cubicBezTo>
                    <a:cubicBezTo>
                      <a:pt x="47" y="805"/>
                      <a:pt x="34" y="808"/>
                      <a:pt x="29" y="815"/>
                    </a:cubicBezTo>
                    <a:cubicBezTo>
                      <a:pt x="24" y="821"/>
                      <a:pt x="21" y="834"/>
                      <a:pt x="21" y="841"/>
                    </a:cubicBezTo>
                    <a:cubicBezTo>
                      <a:pt x="21" y="860"/>
                      <a:pt x="32" y="886"/>
                      <a:pt x="45" y="883"/>
                    </a:cubicBezTo>
                    <a:cubicBezTo>
                      <a:pt x="47" y="896"/>
                      <a:pt x="63" y="886"/>
                      <a:pt x="60" y="906"/>
                    </a:cubicBezTo>
                    <a:cubicBezTo>
                      <a:pt x="57" y="909"/>
                      <a:pt x="45" y="922"/>
                      <a:pt x="42" y="925"/>
                    </a:cubicBezTo>
                    <a:cubicBezTo>
                      <a:pt x="37" y="927"/>
                      <a:pt x="39" y="935"/>
                      <a:pt x="39" y="940"/>
                    </a:cubicBezTo>
                    <a:cubicBezTo>
                      <a:pt x="37" y="953"/>
                      <a:pt x="47" y="945"/>
                      <a:pt x="60" y="956"/>
                    </a:cubicBezTo>
                    <a:cubicBezTo>
                      <a:pt x="63" y="958"/>
                      <a:pt x="63" y="966"/>
                      <a:pt x="57" y="969"/>
                    </a:cubicBezTo>
                    <a:cubicBezTo>
                      <a:pt x="60" y="966"/>
                      <a:pt x="76" y="995"/>
                      <a:pt x="76" y="992"/>
                    </a:cubicBezTo>
                    <a:cubicBezTo>
                      <a:pt x="78" y="997"/>
                      <a:pt x="73" y="1000"/>
                      <a:pt x="81" y="1002"/>
                    </a:cubicBezTo>
                    <a:cubicBezTo>
                      <a:pt x="89" y="1002"/>
                      <a:pt x="94" y="1002"/>
                      <a:pt x="89" y="995"/>
                    </a:cubicBezTo>
                    <a:cubicBezTo>
                      <a:pt x="96" y="995"/>
                      <a:pt x="109" y="997"/>
                      <a:pt x="109" y="1002"/>
                    </a:cubicBezTo>
                    <a:cubicBezTo>
                      <a:pt x="112" y="1021"/>
                      <a:pt x="114" y="1005"/>
                      <a:pt x="120" y="1005"/>
                    </a:cubicBezTo>
                    <a:cubicBezTo>
                      <a:pt x="120" y="1005"/>
                      <a:pt x="135" y="1013"/>
                      <a:pt x="140" y="1013"/>
                    </a:cubicBezTo>
                    <a:cubicBezTo>
                      <a:pt x="143" y="1013"/>
                      <a:pt x="143" y="1010"/>
                      <a:pt x="151" y="1008"/>
                    </a:cubicBezTo>
                    <a:cubicBezTo>
                      <a:pt x="151" y="1008"/>
                      <a:pt x="146" y="1005"/>
                      <a:pt x="153" y="1005"/>
                    </a:cubicBezTo>
                    <a:cubicBezTo>
                      <a:pt x="156" y="1005"/>
                      <a:pt x="158" y="1008"/>
                      <a:pt x="161" y="1008"/>
                    </a:cubicBezTo>
                    <a:cubicBezTo>
                      <a:pt x="156" y="1008"/>
                      <a:pt x="166" y="1021"/>
                      <a:pt x="169" y="1021"/>
                    </a:cubicBezTo>
                    <a:cubicBezTo>
                      <a:pt x="174" y="1023"/>
                      <a:pt x="200" y="1036"/>
                      <a:pt x="202" y="1031"/>
                    </a:cubicBezTo>
                    <a:cubicBezTo>
                      <a:pt x="210" y="1023"/>
                      <a:pt x="234" y="1041"/>
                      <a:pt x="241" y="1044"/>
                    </a:cubicBezTo>
                    <a:cubicBezTo>
                      <a:pt x="231" y="1049"/>
                      <a:pt x="234" y="1065"/>
                      <a:pt x="228" y="1073"/>
                    </a:cubicBezTo>
                    <a:cubicBezTo>
                      <a:pt x="223" y="1078"/>
                      <a:pt x="210" y="1075"/>
                      <a:pt x="208" y="1086"/>
                    </a:cubicBezTo>
                    <a:cubicBezTo>
                      <a:pt x="195" y="1104"/>
                      <a:pt x="195" y="1104"/>
                      <a:pt x="195" y="1104"/>
                    </a:cubicBezTo>
                    <a:cubicBezTo>
                      <a:pt x="182" y="1143"/>
                      <a:pt x="182" y="1143"/>
                      <a:pt x="182" y="1143"/>
                    </a:cubicBezTo>
                    <a:cubicBezTo>
                      <a:pt x="184" y="1150"/>
                      <a:pt x="179" y="1161"/>
                      <a:pt x="171" y="1169"/>
                    </a:cubicBezTo>
                    <a:cubicBezTo>
                      <a:pt x="166" y="1176"/>
                      <a:pt x="166" y="1208"/>
                      <a:pt x="164" y="1213"/>
                    </a:cubicBezTo>
                    <a:cubicBezTo>
                      <a:pt x="156" y="1234"/>
                      <a:pt x="151" y="1262"/>
                      <a:pt x="161" y="1278"/>
                    </a:cubicBezTo>
                    <a:cubicBezTo>
                      <a:pt x="164" y="1278"/>
                      <a:pt x="169" y="1280"/>
                      <a:pt x="171" y="1280"/>
                    </a:cubicBezTo>
                    <a:cubicBezTo>
                      <a:pt x="169" y="1280"/>
                      <a:pt x="166" y="1280"/>
                      <a:pt x="166" y="1283"/>
                    </a:cubicBezTo>
                    <a:cubicBezTo>
                      <a:pt x="174" y="1291"/>
                      <a:pt x="187" y="1275"/>
                      <a:pt x="213" y="1285"/>
                    </a:cubicBezTo>
                    <a:cubicBezTo>
                      <a:pt x="223" y="1291"/>
                      <a:pt x="228" y="1275"/>
                      <a:pt x="241" y="1278"/>
                    </a:cubicBezTo>
                    <a:cubicBezTo>
                      <a:pt x="249" y="1278"/>
                      <a:pt x="252" y="1288"/>
                      <a:pt x="267" y="1283"/>
                    </a:cubicBezTo>
                    <a:cubicBezTo>
                      <a:pt x="267" y="1275"/>
                      <a:pt x="272" y="1273"/>
                      <a:pt x="275" y="1280"/>
                    </a:cubicBezTo>
                    <a:cubicBezTo>
                      <a:pt x="293" y="1267"/>
                      <a:pt x="270" y="1273"/>
                      <a:pt x="267" y="1270"/>
                    </a:cubicBezTo>
                    <a:cubicBezTo>
                      <a:pt x="262" y="1267"/>
                      <a:pt x="257" y="1273"/>
                      <a:pt x="257" y="1265"/>
                    </a:cubicBezTo>
                    <a:cubicBezTo>
                      <a:pt x="254" y="1254"/>
                      <a:pt x="270" y="1249"/>
                      <a:pt x="275" y="1247"/>
                    </a:cubicBezTo>
                    <a:cubicBezTo>
                      <a:pt x="275" y="1247"/>
                      <a:pt x="280" y="1244"/>
                      <a:pt x="283" y="1249"/>
                    </a:cubicBezTo>
                    <a:cubicBezTo>
                      <a:pt x="291" y="1244"/>
                      <a:pt x="293" y="1257"/>
                      <a:pt x="298" y="1267"/>
                    </a:cubicBezTo>
                    <a:cubicBezTo>
                      <a:pt x="301" y="1265"/>
                      <a:pt x="301" y="1257"/>
                      <a:pt x="301" y="1254"/>
                    </a:cubicBezTo>
                    <a:cubicBezTo>
                      <a:pt x="306" y="1262"/>
                      <a:pt x="309" y="1270"/>
                      <a:pt x="314" y="1273"/>
                    </a:cubicBezTo>
                    <a:cubicBezTo>
                      <a:pt x="316" y="1273"/>
                      <a:pt x="327" y="1265"/>
                      <a:pt x="335" y="1267"/>
                    </a:cubicBezTo>
                    <a:cubicBezTo>
                      <a:pt x="342" y="1270"/>
                      <a:pt x="353" y="1273"/>
                      <a:pt x="360" y="1275"/>
                    </a:cubicBezTo>
                    <a:cubicBezTo>
                      <a:pt x="379" y="1280"/>
                      <a:pt x="381" y="1291"/>
                      <a:pt x="402" y="1293"/>
                    </a:cubicBezTo>
                    <a:cubicBezTo>
                      <a:pt x="412" y="1293"/>
                      <a:pt x="407" y="1280"/>
                      <a:pt x="417" y="1285"/>
                    </a:cubicBezTo>
                    <a:cubicBezTo>
                      <a:pt x="420" y="1285"/>
                      <a:pt x="433" y="1296"/>
                      <a:pt x="441" y="1304"/>
                    </a:cubicBezTo>
                    <a:cubicBezTo>
                      <a:pt x="449" y="1311"/>
                      <a:pt x="446" y="1311"/>
                      <a:pt x="451" y="1324"/>
                    </a:cubicBezTo>
                    <a:cubicBezTo>
                      <a:pt x="451" y="1322"/>
                      <a:pt x="459" y="1317"/>
                      <a:pt x="461" y="1319"/>
                    </a:cubicBezTo>
                    <a:cubicBezTo>
                      <a:pt x="469" y="1322"/>
                      <a:pt x="459" y="1335"/>
                      <a:pt x="459" y="1337"/>
                    </a:cubicBezTo>
                    <a:cubicBezTo>
                      <a:pt x="469" y="1335"/>
                      <a:pt x="493" y="1324"/>
                      <a:pt x="495" y="1311"/>
                    </a:cubicBezTo>
                    <a:cubicBezTo>
                      <a:pt x="495" y="1299"/>
                      <a:pt x="485" y="1291"/>
                      <a:pt x="495" y="1286"/>
                    </a:cubicBezTo>
                    <a:cubicBezTo>
                      <a:pt x="493" y="1288"/>
                      <a:pt x="498" y="1303"/>
                      <a:pt x="503" y="1291"/>
                    </a:cubicBezTo>
                    <a:cubicBezTo>
                      <a:pt x="508" y="1285"/>
                      <a:pt x="542" y="1293"/>
                      <a:pt x="539" y="1293"/>
                    </a:cubicBezTo>
                    <a:cubicBezTo>
                      <a:pt x="544" y="1296"/>
                      <a:pt x="542" y="1298"/>
                      <a:pt x="539" y="1304"/>
                    </a:cubicBezTo>
                    <a:cubicBezTo>
                      <a:pt x="544" y="1306"/>
                      <a:pt x="550" y="1311"/>
                      <a:pt x="550" y="1319"/>
                    </a:cubicBezTo>
                    <a:cubicBezTo>
                      <a:pt x="563" y="1319"/>
                      <a:pt x="573" y="1317"/>
                      <a:pt x="581" y="1311"/>
                    </a:cubicBezTo>
                    <a:cubicBezTo>
                      <a:pt x="578" y="1319"/>
                      <a:pt x="578" y="1319"/>
                      <a:pt x="578" y="1319"/>
                    </a:cubicBezTo>
                    <a:cubicBezTo>
                      <a:pt x="588" y="1317"/>
                      <a:pt x="591" y="1306"/>
                      <a:pt x="604" y="1311"/>
                    </a:cubicBezTo>
                    <a:cubicBezTo>
                      <a:pt x="604" y="1309"/>
                      <a:pt x="599" y="1306"/>
                      <a:pt x="599" y="1306"/>
                    </a:cubicBezTo>
                    <a:cubicBezTo>
                      <a:pt x="604" y="1298"/>
                      <a:pt x="619" y="1288"/>
                      <a:pt x="625" y="1285"/>
                    </a:cubicBezTo>
                    <a:cubicBezTo>
                      <a:pt x="635" y="1283"/>
                      <a:pt x="648" y="1283"/>
                      <a:pt x="656" y="1280"/>
                    </a:cubicBezTo>
                    <a:cubicBezTo>
                      <a:pt x="661" y="1280"/>
                      <a:pt x="689" y="1283"/>
                      <a:pt x="692" y="1280"/>
                    </a:cubicBezTo>
                    <a:cubicBezTo>
                      <a:pt x="700" y="1273"/>
                      <a:pt x="679" y="1267"/>
                      <a:pt x="697" y="1254"/>
                    </a:cubicBezTo>
                    <a:cubicBezTo>
                      <a:pt x="697" y="1270"/>
                      <a:pt x="697" y="1270"/>
                      <a:pt x="697" y="1270"/>
                    </a:cubicBezTo>
                    <a:cubicBezTo>
                      <a:pt x="710" y="1265"/>
                      <a:pt x="718" y="1270"/>
                      <a:pt x="731" y="1278"/>
                    </a:cubicBezTo>
                    <a:cubicBezTo>
                      <a:pt x="741" y="1285"/>
                      <a:pt x="744" y="1257"/>
                      <a:pt x="762" y="1267"/>
                    </a:cubicBezTo>
                    <a:cubicBezTo>
                      <a:pt x="759" y="1270"/>
                      <a:pt x="757" y="1285"/>
                      <a:pt x="759" y="1288"/>
                    </a:cubicBezTo>
                    <a:cubicBezTo>
                      <a:pt x="762" y="1293"/>
                      <a:pt x="785" y="1304"/>
                      <a:pt x="790" y="1298"/>
                    </a:cubicBezTo>
                    <a:cubicBezTo>
                      <a:pt x="793" y="1293"/>
                      <a:pt x="796" y="1273"/>
                      <a:pt x="796" y="1270"/>
                    </a:cubicBezTo>
                    <a:cubicBezTo>
                      <a:pt x="790" y="1262"/>
                      <a:pt x="788" y="1257"/>
                      <a:pt x="775" y="1262"/>
                    </a:cubicBezTo>
                    <a:cubicBezTo>
                      <a:pt x="777" y="1244"/>
                      <a:pt x="790" y="1241"/>
                      <a:pt x="780" y="1226"/>
                    </a:cubicBezTo>
                    <a:cubicBezTo>
                      <a:pt x="775" y="1215"/>
                      <a:pt x="767" y="1215"/>
                      <a:pt x="765" y="1208"/>
                    </a:cubicBezTo>
                    <a:cubicBezTo>
                      <a:pt x="762" y="1202"/>
                      <a:pt x="746" y="1195"/>
                      <a:pt x="757" y="1189"/>
                    </a:cubicBezTo>
                    <a:cubicBezTo>
                      <a:pt x="767" y="1187"/>
                      <a:pt x="780" y="1166"/>
                      <a:pt x="785" y="1163"/>
                    </a:cubicBezTo>
                    <a:cubicBezTo>
                      <a:pt x="793" y="1161"/>
                      <a:pt x="801" y="1158"/>
                      <a:pt x="809" y="1158"/>
                    </a:cubicBezTo>
                    <a:cubicBezTo>
                      <a:pt x="827" y="1158"/>
                      <a:pt x="834" y="1125"/>
                      <a:pt x="829" y="1114"/>
                    </a:cubicBezTo>
                    <a:cubicBezTo>
                      <a:pt x="840" y="1109"/>
                      <a:pt x="847" y="1109"/>
                      <a:pt x="863" y="1119"/>
                    </a:cubicBezTo>
                    <a:cubicBezTo>
                      <a:pt x="868" y="1112"/>
                      <a:pt x="873" y="1099"/>
                      <a:pt x="873" y="1086"/>
                    </a:cubicBezTo>
                    <a:cubicBezTo>
                      <a:pt x="871" y="1070"/>
                      <a:pt x="858" y="1060"/>
                      <a:pt x="850" y="1047"/>
                    </a:cubicBezTo>
                    <a:cubicBezTo>
                      <a:pt x="842" y="1034"/>
                      <a:pt x="827" y="1052"/>
                      <a:pt x="824" y="1031"/>
                    </a:cubicBezTo>
                    <a:cubicBezTo>
                      <a:pt x="824" y="1021"/>
                      <a:pt x="809" y="1018"/>
                      <a:pt x="801" y="1018"/>
                    </a:cubicBezTo>
                    <a:cubicBezTo>
                      <a:pt x="798" y="1018"/>
                      <a:pt x="775" y="984"/>
                      <a:pt x="757" y="982"/>
                    </a:cubicBezTo>
                    <a:cubicBezTo>
                      <a:pt x="746" y="979"/>
                      <a:pt x="733" y="956"/>
                      <a:pt x="731" y="948"/>
                    </a:cubicBezTo>
                    <a:cubicBezTo>
                      <a:pt x="726" y="940"/>
                      <a:pt x="726" y="930"/>
                      <a:pt x="720" y="922"/>
                    </a:cubicBezTo>
                    <a:cubicBezTo>
                      <a:pt x="718" y="919"/>
                      <a:pt x="708" y="919"/>
                      <a:pt x="708" y="909"/>
                    </a:cubicBezTo>
                    <a:cubicBezTo>
                      <a:pt x="715" y="899"/>
                      <a:pt x="715" y="899"/>
                      <a:pt x="715" y="899"/>
                    </a:cubicBezTo>
                    <a:cubicBezTo>
                      <a:pt x="718" y="899"/>
                      <a:pt x="720" y="886"/>
                      <a:pt x="720" y="880"/>
                    </a:cubicBezTo>
                    <a:cubicBezTo>
                      <a:pt x="718" y="880"/>
                      <a:pt x="715" y="878"/>
                      <a:pt x="713" y="878"/>
                    </a:cubicBezTo>
                    <a:cubicBezTo>
                      <a:pt x="718" y="867"/>
                      <a:pt x="695" y="862"/>
                      <a:pt x="689" y="854"/>
                    </a:cubicBezTo>
                    <a:cubicBezTo>
                      <a:pt x="682" y="844"/>
                      <a:pt x="671" y="828"/>
                      <a:pt x="671" y="815"/>
                    </a:cubicBezTo>
                    <a:cubicBezTo>
                      <a:pt x="676" y="815"/>
                      <a:pt x="676" y="815"/>
                      <a:pt x="676" y="815"/>
                    </a:cubicBezTo>
                    <a:cubicBezTo>
                      <a:pt x="679" y="821"/>
                      <a:pt x="695" y="841"/>
                      <a:pt x="697" y="841"/>
                    </a:cubicBezTo>
                    <a:cubicBezTo>
                      <a:pt x="700" y="839"/>
                      <a:pt x="708" y="815"/>
                      <a:pt x="713" y="808"/>
                    </a:cubicBezTo>
                    <a:cubicBezTo>
                      <a:pt x="718" y="805"/>
                      <a:pt x="720" y="792"/>
                      <a:pt x="736" y="800"/>
                    </a:cubicBezTo>
                    <a:cubicBezTo>
                      <a:pt x="736" y="800"/>
                      <a:pt x="746" y="795"/>
                      <a:pt x="749" y="795"/>
                    </a:cubicBezTo>
                    <a:cubicBezTo>
                      <a:pt x="757" y="790"/>
                      <a:pt x="775" y="805"/>
                      <a:pt x="777" y="782"/>
                    </a:cubicBezTo>
                    <a:cubicBezTo>
                      <a:pt x="783" y="784"/>
                      <a:pt x="788" y="782"/>
                      <a:pt x="793" y="777"/>
                    </a:cubicBezTo>
                    <a:cubicBezTo>
                      <a:pt x="801" y="764"/>
                      <a:pt x="809" y="758"/>
                      <a:pt x="809" y="758"/>
                    </a:cubicBezTo>
                    <a:cubicBezTo>
                      <a:pt x="821" y="771"/>
                      <a:pt x="827" y="745"/>
                      <a:pt x="837" y="740"/>
                    </a:cubicBezTo>
                    <a:cubicBezTo>
                      <a:pt x="842" y="738"/>
                      <a:pt x="863" y="727"/>
                      <a:pt x="871" y="727"/>
                    </a:cubicBezTo>
                    <a:cubicBezTo>
                      <a:pt x="878" y="727"/>
                      <a:pt x="889" y="717"/>
                      <a:pt x="902" y="712"/>
                    </a:cubicBezTo>
                    <a:cubicBezTo>
                      <a:pt x="910" y="706"/>
                      <a:pt x="917" y="712"/>
                      <a:pt x="917" y="701"/>
                    </a:cubicBezTo>
                    <a:cubicBezTo>
                      <a:pt x="917" y="699"/>
                      <a:pt x="904" y="693"/>
                      <a:pt x="902" y="693"/>
                    </a:cubicBezTo>
                    <a:cubicBezTo>
                      <a:pt x="902" y="691"/>
                      <a:pt x="904" y="683"/>
                      <a:pt x="907" y="680"/>
                    </a:cubicBezTo>
                    <a:cubicBezTo>
                      <a:pt x="915" y="686"/>
                      <a:pt x="948" y="683"/>
                      <a:pt x="933" y="704"/>
                    </a:cubicBezTo>
                    <a:cubicBezTo>
                      <a:pt x="935" y="704"/>
                      <a:pt x="943" y="704"/>
                      <a:pt x="946" y="701"/>
                    </a:cubicBezTo>
                    <a:cubicBezTo>
                      <a:pt x="933" y="717"/>
                      <a:pt x="948" y="712"/>
                      <a:pt x="956" y="717"/>
                    </a:cubicBezTo>
                    <a:cubicBezTo>
                      <a:pt x="964" y="722"/>
                      <a:pt x="964" y="706"/>
                      <a:pt x="967" y="704"/>
                    </a:cubicBezTo>
                    <a:cubicBezTo>
                      <a:pt x="974" y="699"/>
                      <a:pt x="979" y="670"/>
                      <a:pt x="979" y="660"/>
                    </a:cubicBezTo>
                    <a:cubicBezTo>
                      <a:pt x="987" y="642"/>
                      <a:pt x="972" y="634"/>
                      <a:pt x="972" y="618"/>
                    </a:cubicBezTo>
                    <a:close/>
                    <a:moveTo>
                      <a:pt x="322" y="174"/>
                    </a:moveTo>
                    <a:cubicBezTo>
                      <a:pt x="322" y="169"/>
                      <a:pt x="322" y="169"/>
                      <a:pt x="322" y="169"/>
                    </a:cubicBezTo>
                    <a:cubicBezTo>
                      <a:pt x="322" y="169"/>
                      <a:pt x="319" y="166"/>
                      <a:pt x="319" y="171"/>
                    </a:cubicBezTo>
                    <a:cubicBezTo>
                      <a:pt x="319" y="177"/>
                      <a:pt x="322" y="174"/>
                      <a:pt x="322" y="174"/>
                    </a:cubicBezTo>
                    <a:close/>
                    <a:moveTo>
                      <a:pt x="138" y="234"/>
                    </a:moveTo>
                    <a:cubicBezTo>
                      <a:pt x="135" y="231"/>
                      <a:pt x="130" y="234"/>
                      <a:pt x="135" y="239"/>
                    </a:cubicBezTo>
                    <a:cubicBezTo>
                      <a:pt x="138" y="242"/>
                      <a:pt x="138" y="234"/>
                      <a:pt x="138" y="234"/>
                    </a:cubicBezTo>
                    <a:close/>
                    <a:moveTo>
                      <a:pt x="329" y="86"/>
                    </a:moveTo>
                    <a:cubicBezTo>
                      <a:pt x="329" y="88"/>
                      <a:pt x="324" y="86"/>
                      <a:pt x="329" y="88"/>
                    </a:cubicBezTo>
                    <a:cubicBezTo>
                      <a:pt x="335" y="88"/>
                      <a:pt x="335" y="88"/>
                      <a:pt x="329" y="86"/>
                    </a:cubicBezTo>
                    <a:close/>
                    <a:moveTo>
                      <a:pt x="247" y="218"/>
                    </a:moveTo>
                    <a:cubicBezTo>
                      <a:pt x="252" y="213"/>
                      <a:pt x="228" y="216"/>
                      <a:pt x="239" y="216"/>
                    </a:cubicBezTo>
                    <a:cubicBezTo>
                      <a:pt x="241" y="218"/>
                      <a:pt x="244" y="218"/>
                      <a:pt x="247" y="218"/>
                    </a:cubicBezTo>
                    <a:close/>
                    <a:moveTo>
                      <a:pt x="244" y="148"/>
                    </a:moveTo>
                    <a:cubicBezTo>
                      <a:pt x="247" y="148"/>
                      <a:pt x="247" y="145"/>
                      <a:pt x="244" y="145"/>
                    </a:cubicBezTo>
                    <a:cubicBezTo>
                      <a:pt x="244" y="145"/>
                      <a:pt x="241" y="148"/>
                      <a:pt x="244" y="148"/>
                    </a:cubicBezTo>
                    <a:close/>
                    <a:moveTo>
                      <a:pt x="288" y="78"/>
                    </a:moveTo>
                    <a:cubicBezTo>
                      <a:pt x="288" y="75"/>
                      <a:pt x="283" y="57"/>
                      <a:pt x="285" y="57"/>
                    </a:cubicBezTo>
                    <a:cubicBezTo>
                      <a:pt x="283" y="57"/>
                      <a:pt x="280" y="65"/>
                      <a:pt x="278" y="68"/>
                    </a:cubicBezTo>
                    <a:cubicBezTo>
                      <a:pt x="278" y="68"/>
                      <a:pt x="285" y="83"/>
                      <a:pt x="288" y="78"/>
                    </a:cubicBezTo>
                    <a:close/>
                    <a:moveTo>
                      <a:pt x="288" y="213"/>
                    </a:moveTo>
                    <a:cubicBezTo>
                      <a:pt x="291" y="210"/>
                      <a:pt x="288" y="208"/>
                      <a:pt x="288" y="208"/>
                    </a:cubicBezTo>
                    <a:cubicBezTo>
                      <a:pt x="283" y="208"/>
                      <a:pt x="283" y="213"/>
                      <a:pt x="288" y="213"/>
                    </a:cubicBezTo>
                    <a:close/>
                    <a:moveTo>
                      <a:pt x="280" y="55"/>
                    </a:moveTo>
                    <a:cubicBezTo>
                      <a:pt x="280" y="52"/>
                      <a:pt x="280" y="52"/>
                      <a:pt x="280" y="52"/>
                    </a:cubicBezTo>
                    <a:cubicBezTo>
                      <a:pt x="280" y="49"/>
                      <a:pt x="280" y="49"/>
                      <a:pt x="280" y="49"/>
                    </a:cubicBezTo>
                    <a:cubicBezTo>
                      <a:pt x="280" y="42"/>
                      <a:pt x="280" y="42"/>
                      <a:pt x="280" y="42"/>
                    </a:cubicBezTo>
                    <a:cubicBezTo>
                      <a:pt x="280" y="42"/>
                      <a:pt x="280" y="36"/>
                      <a:pt x="283" y="36"/>
                    </a:cubicBezTo>
                    <a:cubicBezTo>
                      <a:pt x="283" y="31"/>
                      <a:pt x="283" y="31"/>
                      <a:pt x="283" y="31"/>
                    </a:cubicBezTo>
                    <a:cubicBezTo>
                      <a:pt x="285" y="31"/>
                      <a:pt x="285" y="29"/>
                      <a:pt x="285" y="29"/>
                    </a:cubicBezTo>
                    <a:cubicBezTo>
                      <a:pt x="285" y="31"/>
                      <a:pt x="285" y="36"/>
                      <a:pt x="288" y="36"/>
                    </a:cubicBezTo>
                    <a:cubicBezTo>
                      <a:pt x="291" y="36"/>
                      <a:pt x="296" y="36"/>
                      <a:pt x="298" y="31"/>
                    </a:cubicBezTo>
                    <a:cubicBezTo>
                      <a:pt x="298" y="29"/>
                      <a:pt x="293" y="29"/>
                      <a:pt x="291" y="26"/>
                    </a:cubicBezTo>
                    <a:cubicBezTo>
                      <a:pt x="288" y="26"/>
                      <a:pt x="288" y="21"/>
                      <a:pt x="288" y="21"/>
                    </a:cubicBezTo>
                    <a:cubicBezTo>
                      <a:pt x="288" y="16"/>
                      <a:pt x="288" y="16"/>
                      <a:pt x="288" y="16"/>
                    </a:cubicBezTo>
                    <a:cubicBezTo>
                      <a:pt x="288" y="16"/>
                      <a:pt x="288" y="13"/>
                      <a:pt x="291" y="10"/>
                    </a:cubicBezTo>
                    <a:cubicBezTo>
                      <a:pt x="291" y="10"/>
                      <a:pt x="293" y="8"/>
                      <a:pt x="296" y="8"/>
                    </a:cubicBezTo>
                    <a:cubicBezTo>
                      <a:pt x="296" y="5"/>
                      <a:pt x="293" y="3"/>
                      <a:pt x="293" y="3"/>
                    </a:cubicBezTo>
                    <a:cubicBezTo>
                      <a:pt x="298" y="3"/>
                      <a:pt x="298" y="3"/>
                      <a:pt x="298" y="3"/>
                    </a:cubicBezTo>
                    <a:cubicBezTo>
                      <a:pt x="298" y="3"/>
                      <a:pt x="298" y="0"/>
                      <a:pt x="296" y="0"/>
                    </a:cubicBezTo>
                    <a:cubicBezTo>
                      <a:pt x="291" y="0"/>
                      <a:pt x="291" y="3"/>
                      <a:pt x="291" y="3"/>
                    </a:cubicBezTo>
                    <a:cubicBezTo>
                      <a:pt x="288" y="5"/>
                      <a:pt x="285" y="13"/>
                      <a:pt x="283" y="18"/>
                    </a:cubicBezTo>
                    <a:cubicBezTo>
                      <a:pt x="280" y="23"/>
                      <a:pt x="278" y="36"/>
                      <a:pt x="278" y="36"/>
                    </a:cubicBezTo>
                    <a:cubicBezTo>
                      <a:pt x="278" y="44"/>
                      <a:pt x="278" y="44"/>
                      <a:pt x="278" y="44"/>
                    </a:cubicBezTo>
                    <a:cubicBezTo>
                      <a:pt x="278" y="52"/>
                      <a:pt x="278" y="52"/>
                      <a:pt x="278" y="52"/>
                    </a:cubicBezTo>
                    <a:cubicBezTo>
                      <a:pt x="278" y="55"/>
                      <a:pt x="280" y="55"/>
                      <a:pt x="280" y="55"/>
                    </a:cubicBezTo>
                    <a:close/>
                    <a:moveTo>
                      <a:pt x="265" y="229"/>
                    </a:moveTo>
                    <a:cubicBezTo>
                      <a:pt x="267" y="229"/>
                      <a:pt x="275" y="223"/>
                      <a:pt x="267" y="223"/>
                    </a:cubicBezTo>
                    <a:cubicBezTo>
                      <a:pt x="267" y="223"/>
                      <a:pt x="257" y="229"/>
                      <a:pt x="265" y="229"/>
                    </a:cubicBezTo>
                    <a:close/>
                    <a:moveTo>
                      <a:pt x="252" y="223"/>
                    </a:moveTo>
                    <a:cubicBezTo>
                      <a:pt x="254" y="223"/>
                      <a:pt x="254" y="221"/>
                      <a:pt x="252" y="221"/>
                    </a:cubicBezTo>
                    <a:cubicBezTo>
                      <a:pt x="252" y="221"/>
                      <a:pt x="249" y="223"/>
                      <a:pt x="252" y="223"/>
                    </a:cubicBezTo>
                    <a:close/>
                    <a:moveTo>
                      <a:pt x="241" y="143"/>
                    </a:moveTo>
                    <a:cubicBezTo>
                      <a:pt x="239" y="145"/>
                      <a:pt x="239" y="148"/>
                      <a:pt x="241" y="151"/>
                    </a:cubicBezTo>
                    <a:lnTo>
                      <a:pt x="241" y="143"/>
                    </a:lnTo>
                    <a:close/>
                  </a:path>
                </a:pathLst>
              </a:custGeom>
              <a:solidFill>
                <a:srgbClr val="FDC795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55" name="France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3451225" y="3937000"/>
                <a:ext cx="1335087" cy="1387475"/>
              </a:xfrm>
              <a:custGeom>
                <a:avLst/>
                <a:gdLst/>
                <a:ahLst/>
                <a:cxnLst>
                  <a:cxn ang="0">
                    <a:pos x="540" y="142"/>
                  </a:cxn>
                  <a:cxn ang="0">
                    <a:pos x="511" y="136"/>
                  </a:cxn>
                  <a:cxn ang="0">
                    <a:pos x="481" y="122"/>
                  </a:cxn>
                  <a:cxn ang="0">
                    <a:pos x="450" y="105"/>
                  </a:cxn>
                  <a:cxn ang="0">
                    <a:pos x="432" y="71"/>
                  </a:cxn>
                  <a:cxn ang="0">
                    <a:pos x="405" y="74"/>
                  </a:cxn>
                  <a:cxn ang="0">
                    <a:pos x="378" y="42"/>
                  </a:cxn>
                  <a:cxn ang="0">
                    <a:pos x="355" y="28"/>
                  </a:cxn>
                  <a:cxn ang="0">
                    <a:pos x="345" y="8"/>
                  </a:cxn>
                  <a:cxn ang="0">
                    <a:pos x="295" y="48"/>
                  </a:cxn>
                  <a:cxn ang="0">
                    <a:pos x="236" y="78"/>
                  </a:cxn>
                  <a:cxn ang="0">
                    <a:pos x="211" y="105"/>
                  </a:cxn>
                  <a:cxn ang="0">
                    <a:pos x="167" y="79"/>
                  </a:cxn>
                  <a:cxn ang="0">
                    <a:pos x="144" y="74"/>
                  </a:cxn>
                  <a:cxn ang="0">
                    <a:pos x="149" y="114"/>
                  </a:cxn>
                  <a:cxn ang="0">
                    <a:pos x="130" y="130"/>
                  </a:cxn>
                  <a:cxn ang="0">
                    <a:pos x="112" y="127"/>
                  </a:cxn>
                  <a:cxn ang="0">
                    <a:pos x="50" y="114"/>
                  </a:cxn>
                  <a:cxn ang="0">
                    <a:pos x="4" y="130"/>
                  </a:cxn>
                  <a:cxn ang="0">
                    <a:pos x="8" y="138"/>
                  </a:cxn>
                  <a:cxn ang="0">
                    <a:pos x="1" y="153"/>
                  </a:cxn>
                  <a:cxn ang="0">
                    <a:pos x="35" y="169"/>
                  </a:cxn>
                  <a:cxn ang="0">
                    <a:pos x="66" y="181"/>
                  </a:cxn>
                  <a:cxn ang="0">
                    <a:pos x="73" y="194"/>
                  </a:cxn>
                  <a:cxn ang="0">
                    <a:pos x="97" y="220"/>
                  </a:cxn>
                  <a:cxn ang="0">
                    <a:pos x="97" y="226"/>
                  </a:cxn>
                  <a:cxn ang="0">
                    <a:pos x="109" y="273"/>
                  </a:cxn>
                  <a:cxn ang="0">
                    <a:pos x="138" y="306"/>
                  </a:cxn>
                  <a:cxn ang="0">
                    <a:pos x="151" y="375"/>
                  </a:cxn>
                  <a:cxn ang="0">
                    <a:pos x="129" y="338"/>
                  </a:cxn>
                  <a:cxn ang="0">
                    <a:pos x="113" y="406"/>
                  </a:cxn>
                  <a:cxn ang="0">
                    <a:pos x="83" y="479"/>
                  </a:cxn>
                  <a:cxn ang="0">
                    <a:pos x="94" y="501"/>
                  </a:cxn>
                  <a:cxn ang="0">
                    <a:pos x="125" y="515"/>
                  </a:cxn>
                  <a:cxn ang="0">
                    <a:pos x="167" y="530"/>
                  </a:cxn>
                  <a:cxn ang="0">
                    <a:pos x="207" y="532"/>
                  </a:cxn>
                  <a:cxn ang="0">
                    <a:pos x="237" y="545"/>
                  </a:cxn>
                  <a:cxn ang="0">
                    <a:pos x="254" y="567"/>
                  </a:cxn>
                  <a:cxn ang="0">
                    <a:pos x="309" y="567"/>
                  </a:cxn>
                  <a:cxn ang="0">
                    <a:pos x="307" y="530"/>
                  </a:cxn>
                  <a:cxn ang="0">
                    <a:pos x="332" y="506"/>
                  </a:cxn>
                  <a:cxn ang="0">
                    <a:pos x="355" y="498"/>
                  </a:cxn>
                  <a:cxn ang="0">
                    <a:pos x="406" y="517"/>
                  </a:cxn>
                  <a:cxn ang="0">
                    <a:pos x="448" y="534"/>
                  </a:cxn>
                  <a:cxn ang="0">
                    <a:pos x="469" y="533"/>
                  </a:cxn>
                  <a:cxn ang="0">
                    <a:pos x="497" y="509"/>
                  </a:cxn>
                  <a:cxn ang="0">
                    <a:pos x="528" y="496"/>
                  </a:cxn>
                  <a:cxn ang="0">
                    <a:pos x="502" y="437"/>
                  </a:cxn>
                  <a:cxn ang="0">
                    <a:pos x="494" y="403"/>
                  </a:cxn>
                  <a:cxn ang="0">
                    <a:pos x="499" y="362"/>
                  </a:cxn>
                  <a:cxn ang="0">
                    <a:pos x="502" y="325"/>
                  </a:cxn>
                  <a:cxn ang="0">
                    <a:pos x="464" y="336"/>
                  </a:cxn>
                  <a:cxn ang="0">
                    <a:pos x="488" y="284"/>
                  </a:cxn>
                  <a:cxn ang="0">
                    <a:pos x="536" y="252"/>
                  </a:cxn>
                  <a:cxn ang="0">
                    <a:pos x="557" y="179"/>
                  </a:cxn>
                  <a:cxn ang="0">
                    <a:pos x="619" y="558"/>
                  </a:cxn>
                  <a:cxn ang="0">
                    <a:pos x="583" y="572"/>
                  </a:cxn>
                  <a:cxn ang="0">
                    <a:pos x="573" y="596"/>
                  </a:cxn>
                  <a:cxn ang="0">
                    <a:pos x="577" y="627"/>
                  </a:cxn>
                  <a:cxn ang="0">
                    <a:pos x="597" y="646"/>
                  </a:cxn>
                  <a:cxn ang="0">
                    <a:pos x="621" y="571"/>
                  </a:cxn>
                  <a:cxn ang="0">
                    <a:pos x="126" y="100"/>
                  </a:cxn>
                  <a:cxn ang="0">
                    <a:pos x="113" y="75"/>
                  </a:cxn>
                </a:cxnLst>
                <a:rect l="0" t="0" r="r" b="b"/>
                <a:pathLst>
                  <a:path w="626" h="652">
                    <a:moveTo>
                      <a:pt x="575" y="156"/>
                    </a:moveTo>
                    <a:cubicBezTo>
                      <a:pt x="572" y="155"/>
                      <a:pt x="563" y="148"/>
                      <a:pt x="560" y="151"/>
                    </a:cubicBezTo>
                    <a:cubicBezTo>
                      <a:pt x="559" y="153"/>
                      <a:pt x="549" y="148"/>
                      <a:pt x="547" y="147"/>
                    </a:cubicBezTo>
                    <a:cubicBezTo>
                      <a:pt x="546" y="147"/>
                      <a:pt x="542" y="142"/>
                      <a:pt x="544" y="142"/>
                    </a:cubicBezTo>
                    <a:cubicBezTo>
                      <a:pt x="543" y="142"/>
                      <a:pt x="542" y="141"/>
                      <a:pt x="541" y="141"/>
                    </a:cubicBezTo>
                    <a:cubicBezTo>
                      <a:pt x="538" y="141"/>
                      <a:pt x="540" y="142"/>
                      <a:pt x="540" y="142"/>
                    </a:cubicBezTo>
                    <a:cubicBezTo>
                      <a:pt x="537" y="143"/>
                      <a:pt x="537" y="144"/>
                      <a:pt x="536" y="144"/>
                    </a:cubicBezTo>
                    <a:cubicBezTo>
                      <a:pt x="534" y="144"/>
                      <a:pt x="528" y="141"/>
                      <a:pt x="528" y="141"/>
                    </a:cubicBezTo>
                    <a:cubicBezTo>
                      <a:pt x="526" y="141"/>
                      <a:pt x="525" y="147"/>
                      <a:pt x="524" y="140"/>
                    </a:cubicBezTo>
                    <a:cubicBezTo>
                      <a:pt x="524" y="138"/>
                      <a:pt x="519" y="137"/>
                      <a:pt x="516" y="137"/>
                    </a:cubicBezTo>
                    <a:cubicBezTo>
                      <a:pt x="518" y="140"/>
                      <a:pt x="516" y="140"/>
                      <a:pt x="513" y="140"/>
                    </a:cubicBezTo>
                    <a:cubicBezTo>
                      <a:pt x="510" y="139"/>
                      <a:pt x="512" y="138"/>
                      <a:pt x="511" y="136"/>
                    </a:cubicBezTo>
                    <a:cubicBezTo>
                      <a:pt x="511" y="137"/>
                      <a:pt x="505" y="126"/>
                      <a:pt x="504" y="127"/>
                    </a:cubicBezTo>
                    <a:cubicBezTo>
                      <a:pt x="506" y="126"/>
                      <a:pt x="506" y="123"/>
                      <a:pt x="505" y="122"/>
                    </a:cubicBezTo>
                    <a:cubicBezTo>
                      <a:pt x="503" y="120"/>
                      <a:pt x="500" y="120"/>
                      <a:pt x="498" y="119"/>
                    </a:cubicBezTo>
                    <a:cubicBezTo>
                      <a:pt x="496" y="120"/>
                      <a:pt x="495" y="120"/>
                      <a:pt x="494" y="120"/>
                    </a:cubicBezTo>
                    <a:cubicBezTo>
                      <a:pt x="492" y="120"/>
                      <a:pt x="492" y="118"/>
                      <a:pt x="489" y="118"/>
                    </a:cubicBezTo>
                    <a:cubicBezTo>
                      <a:pt x="486" y="117"/>
                      <a:pt x="488" y="122"/>
                      <a:pt x="481" y="122"/>
                    </a:cubicBezTo>
                    <a:cubicBezTo>
                      <a:pt x="476" y="123"/>
                      <a:pt x="476" y="117"/>
                      <a:pt x="476" y="117"/>
                    </a:cubicBezTo>
                    <a:cubicBezTo>
                      <a:pt x="471" y="115"/>
                      <a:pt x="471" y="115"/>
                      <a:pt x="471" y="115"/>
                    </a:cubicBezTo>
                    <a:cubicBezTo>
                      <a:pt x="472" y="115"/>
                      <a:pt x="472" y="115"/>
                      <a:pt x="472" y="115"/>
                    </a:cubicBezTo>
                    <a:cubicBezTo>
                      <a:pt x="457" y="116"/>
                      <a:pt x="457" y="116"/>
                      <a:pt x="457" y="116"/>
                    </a:cubicBezTo>
                    <a:cubicBezTo>
                      <a:pt x="450" y="107"/>
                      <a:pt x="450" y="107"/>
                      <a:pt x="450" y="107"/>
                    </a:cubicBezTo>
                    <a:cubicBezTo>
                      <a:pt x="450" y="105"/>
                      <a:pt x="450" y="105"/>
                      <a:pt x="450" y="105"/>
                    </a:cubicBezTo>
                    <a:cubicBezTo>
                      <a:pt x="438" y="95"/>
                      <a:pt x="438" y="95"/>
                      <a:pt x="438" y="95"/>
                    </a:cubicBezTo>
                    <a:cubicBezTo>
                      <a:pt x="431" y="95"/>
                      <a:pt x="431" y="95"/>
                      <a:pt x="431" y="95"/>
                    </a:cubicBezTo>
                    <a:cubicBezTo>
                      <a:pt x="429" y="93"/>
                      <a:pt x="429" y="93"/>
                      <a:pt x="429" y="93"/>
                    </a:cubicBezTo>
                    <a:cubicBezTo>
                      <a:pt x="429" y="93"/>
                      <a:pt x="432" y="88"/>
                      <a:pt x="431" y="86"/>
                    </a:cubicBezTo>
                    <a:cubicBezTo>
                      <a:pt x="431" y="83"/>
                      <a:pt x="429" y="83"/>
                      <a:pt x="429" y="83"/>
                    </a:cubicBezTo>
                    <a:cubicBezTo>
                      <a:pt x="429" y="83"/>
                      <a:pt x="436" y="74"/>
                      <a:pt x="432" y="71"/>
                    </a:cubicBezTo>
                    <a:cubicBezTo>
                      <a:pt x="429" y="68"/>
                      <a:pt x="423" y="81"/>
                      <a:pt x="423" y="81"/>
                    </a:cubicBezTo>
                    <a:cubicBezTo>
                      <a:pt x="420" y="83"/>
                      <a:pt x="420" y="83"/>
                      <a:pt x="420" y="83"/>
                    </a:cubicBezTo>
                    <a:cubicBezTo>
                      <a:pt x="416" y="86"/>
                      <a:pt x="416" y="86"/>
                      <a:pt x="416" y="86"/>
                    </a:cubicBezTo>
                    <a:cubicBezTo>
                      <a:pt x="413" y="83"/>
                      <a:pt x="413" y="83"/>
                      <a:pt x="413" y="83"/>
                    </a:cubicBezTo>
                    <a:cubicBezTo>
                      <a:pt x="413" y="83"/>
                      <a:pt x="408" y="85"/>
                      <a:pt x="403" y="83"/>
                    </a:cubicBezTo>
                    <a:cubicBezTo>
                      <a:pt x="396" y="80"/>
                      <a:pt x="405" y="74"/>
                      <a:pt x="405" y="74"/>
                    </a:cubicBezTo>
                    <a:cubicBezTo>
                      <a:pt x="401" y="70"/>
                      <a:pt x="401" y="70"/>
                      <a:pt x="401" y="70"/>
                    </a:cubicBezTo>
                    <a:cubicBezTo>
                      <a:pt x="401" y="70"/>
                      <a:pt x="404" y="67"/>
                      <a:pt x="404" y="61"/>
                    </a:cubicBezTo>
                    <a:cubicBezTo>
                      <a:pt x="404" y="57"/>
                      <a:pt x="396" y="56"/>
                      <a:pt x="392" y="55"/>
                    </a:cubicBezTo>
                    <a:cubicBezTo>
                      <a:pt x="387" y="54"/>
                      <a:pt x="387" y="59"/>
                      <a:pt x="383" y="59"/>
                    </a:cubicBezTo>
                    <a:cubicBezTo>
                      <a:pt x="381" y="60"/>
                      <a:pt x="384" y="47"/>
                      <a:pt x="384" y="47"/>
                    </a:cubicBezTo>
                    <a:cubicBezTo>
                      <a:pt x="378" y="42"/>
                      <a:pt x="378" y="42"/>
                      <a:pt x="378" y="42"/>
                    </a:cubicBezTo>
                    <a:cubicBezTo>
                      <a:pt x="371" y="45"/>
                      <a:pt x="371" y="45"/>
                      <a:pt x="371" y="45"/>
                    </a:cubicBezTo>
                    <a:cubicBezTo>
                      <a:pt x="368" y="42"/>
                      <a:pt x="368" y="42"/>
                      <a:pt x="368" y="42"/>
                    </a:cubicBezTo>
                    <a:cubicBezTo>
                      <a:pt x="368" y="31"/>
                      <a:pt x="368" y="31"/>
                      <a:pt x="368" y="31"/>
                    </a:cubicBezTo>
                    <a:cubicBezTo>
                      <a:pt x="365" y="24"/>
                      <a:pt x="365" y="24"/>
                      <a:pt x="365" y="24"/>
                    </a:cubicBezTo>
                    <a:cubicBezTo>
                      <a:pt x="358" y="24"/>
                      <a:pt x="358" y="24"/>
                      <a:pt x="358" y="24"/>
                    </a:cubicBezTo>
                    <a:cubicBezTo>
                      <a:pt x="356" y="24"/>
                      <a:pt x="355" y="28"/>
                      <a:pt x="355" y="28"/>
                    </a:cubicBezTo>
                    <a:cubicBezTo>
                      <a:pt x="351" y="27"/>
                      <a:pt x="351" y="27"/>
                      <a:pt x="351" y="27"/>
                    </a:cubicBezTo>
                    <a:cubicBezTo>
                      <a:pt x="351" y="27"/>
                      <a:pt x="349" y="21"/>
                      <a:pt x="346" y="20"/>
                    </a:cubicBezTo>
                    <a:cubicBezTo>
                      <a:pt x="344" y="18"/>
                      <a:pt x="343" y="20"/>
                      <a:pt x="343" y="20"/>
                    </a:cubicBezTo>
                    <a:cubicBezTo>
                      <a:pt x="344" y="13"/>
                      <a:pt x="344" y="13"/>
                      <a:pt x="344" y="13"/>
                    </a:cubicBezTo>
                    <a:cubicBezTo>
                      <a:pt x="345" y="12"/>
                      <a:pt x="345" y="12"/>
                      <a:pt x="345" y="12"/>
                    </a:cubicBezTo>
                    <a:cubicBezTo>
                      <a:pt x="345" y="8"/>
                      <a:pt x="345" y="8"/>
                      <a:pt x="345" y="8"/>
                    </a:cubicBezTo>
                    <a:cubicBezTo>
                      <a:pt x="344" y="8"/>
                      <a:pt x="344" y="8"/>
                      <a:pt x="344" y="8"/>
                    </a:cubicBezTo>
                    <a:cubicBezTo>
                      <a:pt x="344" y="1"/>
                      <a:pt x="344" y="1"/>
                      <a:pt x="344" y="1"/>
                    </a:cubicBezTo>
                    <a:cubicBezTo>
                      <a:pt x="334" y="0"/>
                      <a:pt x="334" y="0"/>
                      <a:pt x="334" y="0"/>
                    </a:cubicBezTo>
                    <a:cubicBezTo>
                      <a:pt x="334" y="0"/>
                      <a:pt x="328" y="5"/>
                      <a:pt x="324" y="5"/>
                    </a:cubicBezTo>
                    <a:cubicBezTo>
                      <a:pt x="318" y="5"/>
                      <a:pt x="306" y="0"/>
                      <a:pt x="302" y="12"/>
                    </a:cubicBezTo>
                    <a:cubicBezTo>
                      <a:pt x="298" y="24"/>
                      <a:pt x="295" y="48"/>
                      <a:pt x="295" y="48"/>
                    </a:cubicBezTo>
                    <a:cubicBezTo>
                      <a:pt x="300" y="54"/>
                      <a:pt x="300" y="54"/>
                      <a:pt x="300" y="54"/>
                    </a:cubicBezTo>
                    <a:cubicBezTo>
                      <a:pt x="300" y="56"/>
                      <a:pt x="300" y="56"/>
                      <a:pt x="300" y="56"/>
                    </a:cubicBezTo>
                    <a:cubicBezTo>
                      <a:pt x="294" y="53"/>
                      <a:pt x="294" y="53"/>
                      <a:pt x="294" y="53"/>
                    </a:cubicBezTo>
                    <a:cubicBezTo>
                      <a:pt x="294" y="53"/>
                      <a:pt x="290" y="65"/>
                      <a:pt x="277" y="69"/>
                    </a:cubicBezTo>
                    <a:cubicBezTo>
                      <a:pt x="264" y="72"/>
                      <a:pt x="252" y="70"/>
                      <a:pt x="252" y="70"/>
                    </a:cubicBezTo>
                    <a:cubicBezTo>
                      <a:pt x="252" y="70"/>
                      <a:pt x="238" y="78"/>
                      <a:pt x="236" y="78"/>
                    </a:cubicBezTo>
                    <a:cubicBezTo>
                      <a:pt x="231" y="78"/>
                      <a:pt x="231" y="78"/>
                      <a:pt x="231" y="78"/>
                    </a:cubicBezTo>
                    <a:cubicBezTo>
                      <a:pt x="231" y="78"/>
                      <a:pt x="221" y="87"/>
                      <a:pt x="225" y="91"/>
                    </a:cubicBezTo>
                    <a:cubicBezTo>
                      <a:pt x="229" y="95"/>
                      <a:pt x="237" y="97"/>
                      <a:pt x="237" y="97"/>
                    </a:cubicBezTo>
                    <a:cubicBezTo>
                      <a:pt x="235" y="99"/>
                      <a:pt x="235" y="99"/>
                      <a:pt x="235" y="99"/>
                    </a:cubicBezTo>
                    <a:cubicBezTo>
                      <a:pt x="231" y="97"/>
                      <a:pt x="231" y="97"/>
                      <a:pt x="231" y="97"/>
                    </a:cubicBezTo>
                    <a:cubicBezTo>
                      <a:pt x="211" y="105"/>
                      <a:pt x="211" y="105"/>
                      <a:pt x="211" y="105"/>
                    </a:cubicBezTo>
                    <a:cubicBezTo>
                      <a:pt x="199" y="99"/>
                      <a:pt x="199" y="99"/>
                      <a:pt x="199" y="99"/>
                    </a:cubicBezTo>
                    <a:cubicBezTo>
                      <a:pt x="195" y="100"/>
                      <a:pt x="195" y="100"/>
                      <a:pt x="195" y="100"/>
                    </a:cubicBezTo>
                    <a:cubicBezTo>
                      <a:pt x="195" y="100"/>
                      <a:pt x="185" y="94"/>
                      <a:pt x="180" y="93"/>
                    </a:cubicBezTo>
                    <a:cubicBezTo>
                      <a:pt x="175" y="92"/>
                      <a:pt x="170" y="94"/>
                      <a:pt x="170" y="94"/>
                    </a:cubicBezTo>
                    <a:cubicBezTo>
                      <a:pt x="170" y="94"/>
                      <a:pt x="169" y="92"/>
                      <a:pt x="168" y="88"/>
                    </a:cubicBezTo>
                    <a:cubicBezTo>
                      <a:pt x="166" y="84"/>
                      <a:pt x="163" y="80"/>
                      <a:pt x="167" y="79"/>
                    </a:cubicBezTo>
                    <a:cubicBezTo>
                      <a:pt x="172" y="78"/>
                      <a:pt x="170" y="76"/>
                      <a:pt x="170" y="76"/>
                    </a:cubicBezTo>
                    <a:cubicBezTo>
                      <a:pt x="170" y="76"/>
                      <a:pt x="168" y="67"/>
                      <a:pt x="163" y="69"/>
                    </a:cubicBezTo>
                    <a:cubicBezTo>
                      <a:pt x="156" y="71"/>
                      <a:pt x="153" y="72"/>
                      <a:pt x="149" y="70"/>
                    </a:cubicBezTo>
                    <a:cubicBezTo>
                      <a:pt x="145" y="68"/>
                      <a:pt x="143" y="63"/>
                      <a:pt x="143" y="63"/>
                    </a:cubicBezTo>
                    <a:cubicBezTo>
                      <a:pt x="143" y="63"/>
                      <a:pt x="142" y="65"/>
                      <a:pt x="141" y="67"/>
                    </a:cubicBezTo>
                    <a:cubicBezTo>
                      <a:pt x="139" y="67"/>
                      <a:pt x="145" y="73"/>
                      <a:pt x="144" y="74"/>
                    </a:cubicBezTo>
                    <a:cubicBezTo>
                      <a:pt x="143" y="75"/>
                      <a:pt x="141" y="78"/>
                      <a:pt x="141" y="78"/>
                    </a:cubicBezTo>
                    <a:cubicBezTo>
                      <a:pt x="141" y="78"/>
                      <a:pt x="144" y="88"/>
                      <a:pt x="146" y="90"/>
                    </a:cubicBezTo>
                    <a:cubicBezTo>
                      <a:pt x="148" y="92"/>
                      <a:pt x="148" y="97"/>
                      <a:pt x="148" y="97"/>
                    </a:cubicBezTo>
                    <a:cubicBezTo>
                      <a:pt x="148" y="97"/>
                      <a:pt x="151" y="97"/>
                      <a:pt x="151" y="100"/>
                    </a:cubicBezTo>
                    <a:cubicBezTo>
                      <a:pt x="151" y="102"/>
                      <a:pt x="146" y="106"/>
                      <a:pt x="146" y="106"/>
                    </a:cubicBezTo>
                    <a:cubicBezTo>
                      <a:pt x="146" y="106"/>
                      <a:pt x="149" y="111"/>
                      <a:pt x="149" y="114"/>
                    </a:cubicBezTo>
                    <a:cubicBezTo>
                      <a:pt x="149" y="116"/>
                      <a:pt x="144" y="122"/>
                      <a:pt x="146" y="126"/>
                    </a:cubicBezTo>
                    <a:cubicBezTo>
                      <a:pt x="148" y="131"/>
                      <a:pt x="153" y="136"/>
                      <a:pt x="153" y="136"/>
                    </a:cubicBezTo>
                    <a:cubicBezTo>
                      <a:pt x="153" y="136"/>
                      <a:pt x="151" y="138"/>
                      <a:pt x="150" y="138"/>
                    </a:cubicBezTo>
                    <a:cubicBezTo>
                      <a:pt x="148" y="138"/>
                      <a:pt x="146" y="136"/>
                      <a:pt x="142" y="136"/>
                    </a:cubicBezTo>
                    <a:cubicBezTo>
                      <a:pt x="137" y="137"/>
                      <a:pt x="132" y="139"/>
                      <a:pt x="134" y="135"/>
                    </a:cubicBezTo>
                    <a:cubicBezTo>
                      <a:pt x="135" y="132"/>
                      <a:pt x="134" y="130"/>
                      <a:pt x="130" y="130"/>
                    </a:cubicBezTo>
                    <a:cubicBezTo>
                      <a:pt x="127" y="130"/>
                      <a:pt x="127" y="133"/>
                      <a:pt x="127" y="133"/>
                    </a:cubicBezTo>
                    <a:cubicBezTo>
                      <a:pt x="128" y="139"/>
                      <a:pt x="128" y="139"/>
                      <a:pt x="128" y="139"/>
                    </a:cubicBezTo>
                    <a:cubicBezTo>
                      <a:pt x="126" y="139"/>
                      <a:pt x="126" y="139"/>
                      <a:pt x="126" y="139"/>
                    </a:cubicBezTo>
                    <a:cubicBezTo>
                      <a:pt x="123" y="133"/>
                      <a:pt x="123" y="133"/>
                      <a:pt x="123" y="133"/>
                    </a:cubicBezTo>
                    <a:cubicBezTo>
                      <a:pt x="123" y="133"/>
                      <a:pt x="118" y="138"/>
                      <a:pt x="116" y="135"/>
                    </a:cubicBezTo>
                    <a:cubicBezTo>
                      <a:pt x="115" y="132"/>
                      <a:pt x="115" y="127"/>
                      <a:pt x="112" y="127"/>
                    </a:cubicBezTo>
                    <a:cubicBezTo>
                      <a:pt x="109" y="128"/>
                      <a:pt x="96" y="136"/>
                      <a:pt x="96" y="136"/>
                    </a:cubicBezTo>
                    <a:cubicBezTo>
                      <a:pt x="96" y="136"/>
                      <a:pt x="90" y="122"/>
                      <a:pt x="88" y="120"/>
                    </a:cubicBezTo>
                    <a:cubicBezTo>
                      <a:pt x="86" y="117"/>
                      <a:pt x="81" y="109"/>
                      <a:pt x="81" y="109"/>
                    </a:cubicBezTo>
                    <a:cubicBezTo>
                      <a:pt x="63" y="108"/>
                      <a:pt x="63" y="108"/>
                      <a:pt x="63" y="108"/>
                    </a:cubicBezTo>
                    <a:cubicBezTo>
                      <a:pt x="60" y="117"/>
                      <a:pt x="60" y="117"/>
                      <a:pt x="60" y="117"/>
                    </a:cubicBezTo>
                    <a:cubicBezTo>
                      <a:pt x="50" y="114"/>
                      <a:pt x="50" y="114"/>
                      <a:pt x="50" y="114"/>
                    </a:cubicBezTo>
                    <a:cubicBezTo>
                      <a:pt x="50" y="114"/>
                      <a:pt x="50" y="117"/>
                      <a:pt x="49" y="117"/>
                    </a:cubicBezTo>
                    <a:cubicBezTo>
                      <a:pt x="47" y="117"/>
                      <a:pt x="40" y="116"/>
                      <a:pt x="40" y="116"/>
                    </a:cubicBezTo>
                    <a:cubicBezTo>
                      <a:pt x="40" y="111"/>
                      <a:pt x="40" y="111"/>
                      <a:pt x="40" y="111"/>
                    </a:cubicBezTo>
                    <a:cubicBezTo>
                      <a:pt x="40" y="111"/>
                      <a:pt x="32" y="110"/>
                      <a:pt x="21" y="114"/>
                    </a:cubicBezTo>
                    <a:cubicBezTo>
                      <a:pt x="10" y="116"/>
                      <a:pt x="5" y="120"/>
                      <a:pt x="5" y="120"/>
                    </a:cubicBezTo>
                    <a:cubicBezTo>
                      <a:pt x="5" y="120"/>
                      <a:pt x="3" y="128"/>
                      <a:pt x="4" y="130"/>
                    </a:cubicBezTo>
                    <a:cubicBezTo>
                      <a:pt x="5" y="132"/>
                      <a:pt x="17" y="130"/>
                      <a:pt x="17" y="130"/>
                    </a:cubicBezTo>
                    <a:cubicBezTo>
                      <a:pt x="19" y="134"/>
                      <a:pt x="19" y="134"/>
                      <a:pt x="19" y="134"/>
                    </a:cubicBezTo>
                    <a:cubicBezTo>
                      <a:pt x="27" y="137"/>
                      <a:pt x="27" y="137"/>
                      <a:pt x="27" y="137"/>
                    </a:cubicBezTo>
                    <a:cubicBezTo>
                      <a:pt x="25" y="140"/>
                      <a:pt x="25" y="140"/>
                      <a:pt x="25" y="140"/>
                    </a:cubicBezTo>
                    <a:cubicBezTo>
                      <a:pt x="11" y="135"/>
                      <a:pt x="11" y="135"/>
                      <a:pt x="11" y="135"/>
                    </a:cubicBezTo>
                    <a:cubicBezTo>
                      <a:pt x="8" y="138"/>
                      <a:pt x="8" y="138"/>
                      <a:pt x="8" y="138"/>
                    </a:cubicBezTo>
                    <a:cubicBezTo>
                      <a:pt x="11" y="139"/>
                      <a:pt x="11" y="139"/>
                      <a:pt x="11" y="139"/>
                    </a:cubicBezTo>
                    <a:cubicBezTo>
                      <a:pt x="10" y="142"/>
                      <a:pt x="10" y="142"/>
                      <a:pt x="10" y="142"/>
                    </a:cubicBezTo>
                    <a:cubicBezTo>
                      <a:pt x="10" y="142"/>
                      <a:pt x="16" y="140"/>
                      <a:pt x="19" y="142"/>
                    </a:cubicBezTo>
                    <a:cubicBezTo>
                      <a:pt x="21" y="146"/>
                      <a:pt x="24" y="149"/>
                      <a:pt x="20" y="149"/>
                    </a:cubicBezTo>
                    <a:cubicBezTo>
                      <a:pt x="0" y="149"/>
                      <a:pt x="0" y="149"/>
                      <a:pt x="0" y="149"/>
                    </a:cubicBezTo>
                    <a:cubicBezTo>
                      <a:pt x="1" y="153"/>
                      <a:pt x="1" y="153"/>
                      <a:pt x="1" y="153"/>
                    </a:cubicBezTo>
                    <a:cubicBezTo>
                      <a:pt x="1" y="153"/>
                      <a:pt x="12" y="152"/>
                      <a:pt x="13" y="157"/>
                    </a:cubicBezTo>
                    <a:cubicBezTo>
                      <a:pt x="15" y="164"/>
                      <a:pt x="15" y="168"/>
                      <a:pt x="15" y="168"/>
                    </a:cubicBezTo>
                    <a:cubicBezTo>
                      <a:pt x="20" y="170"/>
                      <a:pt x="20" y="170"/>
                      <a:pt x="20" y="170"/>
                    </a:cubicBezTo>
                    <a:cubicBezTo>
                      <a:pt x="20" y="170"/>
                      <a:pt x="25" y="157"/>
                      <a:pt x="27" y="160"/>
                    </a:cubicBezTo>
                    <a:cubicBezTo>
                      <a:pt x="28" y="165"/>
                      <a:pt x="27" y="167"/>
                      <a:pt x="27" y="167"/>
                    </a:cubicBezTo>
                    <a:cubicBezTo>
                      <a:pt x="35" y="169"/>
                      <a:pt x="35" y="169"/>
                      <a:pt x="35" y="169"/>
                    </a:cubicBezTo>
                    <a:cubicBezTo>
                      <a:pt x="35" y="174"/>
                      <a:pt x="35" y="174"/>
                      <a:pt x="35" y="174"/>
                    </a:cubicBezTo>
                    <a:cubicBezTo>
                      <a:pt x="54" y="184"/>
                      <a:pt x="54" y="184"/>
                      <a:pt x="54" y="184"/>
                    </a:cubicBezTo>
                    <a:cubicBezTo>
                      <a:pt x="60" y="181"/>
                      <a:pt x="60" y="181"/>
                      <a:pt x="60" y="181"/>
                    </a:cubicBezTo>
                    <a:cubicBezTo>
                      <a:pt x="57" y="184"/>
                      <a:pt x="57" y="184"/>
                      <a:pt x="57" y="184"/>
                    </a:cubicBezTo>
                    <a:cubicBezTo>
                      <a:pt x="60" y="187"/>
                      <a:pt x="60" y="187"/>
                      <a:pt x="60" y="187"/>
                    </a:cubicBezTo>
                    <a:cubicBezTo>
                      <a:pt x="60" y="187"/>
                      <a:pt x="66" y="180"/>
                      <a:pt x="66" y="181"/>
                    </a:cubicBezTo>
                    <a:cubicBezTo>
                      <a:pt x="65" y="182"/>
                      <a:pt x="68" y="183"/>
                      <a:pt x="67" y="183"/>
                    </a:cubicBezTo>
                    <a:cubicBezTo>
                      <a:pt x="66" y="184"/>
                      <a:pt x="62" y="188"/>
                      <a:pt x="62" y="188"/>
                    </a:cubicBezTo>
                    <a:cubicBezTo>
                      <a:pt x="62" y="188"/>
                      <a:pt x="62" y="193"/>
                      <a:pt x="64" y="193"/>
                    </a:cubicBezTo>
                    <a:cubicBezTo>
                      <a:pt x="67" y="193"/>
                      <a:pt x="71" y="194"/>
                      <a:pt x="71" y="194"/>
                    </a:cubicBezTo>
                    <a:cubicBezTo>
                      <a:pt x="72" y="189"/>
                      <a:pt x="72" y="189"/>
                      <a:pt x="72" y="189"/>
                    </a:cubicBezTo>
                    <a:cubicBezTo>
                      <a:pt x="73" y="194"/>
                      <a:pt x="73" y="194"/>
                      <a:pt x="73" y="194"/>
                    </a:cubicBezTo>
                    <a:cubicBezTo>
                      <a:pt x="73" y="194"/>
                      <a:pt x="78" y="189"/>
                      <a:pt x="81" y="193"/>
                    </a:cubicBezTo>
                    <a:cubicBezTo>
                      <a:pt x="83" y="195"/>
                      <a:pt x="74" y="197"/>
                      <a:pt x="74" y="197"/>
                    </a:cubicBezTo>
                    <a:cubicBezTo>
                      <a:pt x="74" y="200"/>
                      <a:pt x="74" y="200"/>
                      <a:pt x="74" y="200"/>
                    </a:cubicBezTo>
                    <a:cubicBezTo>
                      <a:pt x="92" y="201"/>
                      <a:pt x="92" y="201"/>
                      <a:pt x="92" y="201"/>
                    </a:cubicBezTo>
                    <a:cubicBezTo>
                      <a:pt x="92" y="201"/>
                      <a:pt x="83" y="213"/>
                      <a:pt x="86" y="216"/>
                    </a:cubicBezTo>
                    <a:cubicBezTo>
                      <a:pt x="88" y="219"/>
                      <a:pt x="97" y="220"/>
                      <a:pt x="97" y="220"/>
                    </a:cubicBezTo>
                    <a:cubicBezTo>
                      <a:pt x="97" y="220"/>
                      <a:pt x="104" y="216"/>
                      <a:pt x="110" y="218"/>
                    </a:cubicBezTo>
                    <a:cubicBezTo>
                      <a:pt x="114" y="219"/>
                      <a:pt x="118" y="225"/>
                      <a:pt x="118" y="225"/>
                    </a:cubicBezTo>
                    <a:cubicBezTo>
                      <a:pt x="118" y="225"/>
                      <a:pt x="111" y="220"/>
                      <a:pt x="106" y="220"/>
                    </a:cubicBezTo>
                    <a:cubicBezTo>
                      <a:pt x="103" y="221"/>
                      <a:pt x="100" y="222"/>
                      <a:pt x="100" y="222"/>
                    </a:cubicBezTo>
                    <a:cubicBezTo>
                      <a:pt x="102" y="225"/>
                      <a:pt x="102" y="225"/>
                      <a:pt x="102" y="225"/>
                    </a:cubicBezTo>
                    <a:cubicBezTo>
                      <a:pt x="97" y="226"/>
                      <a:pt x="97" y="226"/>
                      <a:pt x="97" y="226"/>
                    </a:cubicBezTo>
                    <a:cubicBezTo>
                      <a:pt x="98" y="230"/>
                      <a:pt x="98" y="230"/>
                      <a:pt x="98" y="230"/>
                    </a:cubicBezTo>
                    <a:cubicBezTo>
                      <a:pt x="98" y="230"/>
                      <a:pt x="110" y="234"/>
                      <a:pt x="106" y="237"/>
                    </a:cubicBezTo>
                    <a:cubicBezTo>
                      <a:pt x="102" y="241"/>
                      <a:pt x="97" y="246"/>
                      <a:pt x="97" y="246"/>
                    </a:cubicBezTo>
                    <a:cubicBezTo>
                      <a:pt x="97" y="251"/>
                      <a:pt x="97" y="251"/>
                      <a:pt x="97" y="251"/>
                    </a:cubicBezTo>
                    <a:cubicBezTo>
                      <a:pt x="97" y="251"/>
                      <a:pt x="108" y="261"/>
                      <a:pt x="108" y="266"/>
                    </a:cubicBezTo>
                    <a:cubicBezTo>
                      <a:pt x="109" y="270"/>
                      <a:pt x="109" y="273"/>
                      <a:pt x="109" y="273"/>
                    </a:cubicBezTo>
                    <a:cubicBezTo>
                      <a:pt x="122" y="284"/>
                      <a:pt x="122" y="284"/>
                      <a:pt x="122" y="284"/>
                    </a:cubicBezTo>
                    <a:cubicBezTo>
                      <a:pt x="134" y="291"/>
                      <a:pt x="134" y="291"/>
                      <a:pt x="134" y="291"/>
                    </a:cubicBezTo>
                    <a:cubicBezTo>
                      <a:pt x="138" y="288"/>
                      <a:pt x="138" y="288"/>
                      <a:pt x="138" y="288"/>
                    </a:cubicBezTo>
                    <a:cubicBezTo>
                      <a:pt x="138" y="288"/>
                      <a:pt x="142" y="290"/>
                      <a:pt x="141" y="290"/>
                    </a:cubicBezTo>
                    <a:cubicBezTo>
                      <a:pt x="139" y="290"/>
                      <a:pt x="135" y="292"/>
                      <a:pt x="134" y="295"/>
                    </a:cubicBezTo>
                    <a:cubicBezTo>
                      <a:pt x="133" y="297"/>
                      <a:pt x="138" y="306"/>
                      <a:pt x="138" y="306"/>
                    </a:cubicBezTo>
                    <a:cubicBezTo>
                      <a:pt x="138" y="306"/>
                      <a:pt x="141" y="314"/>
                      <a:pt x="135" y="317"/>
                    </a:cubicBezTo>
                    <a:cubicBezTo>
                      <a:pt x="131" y="320"/>
                      <a:pt x="126" y="323"/>
                      <a:pt x="126" y="323"/>
                    </a:cubicBezTo>
                    <a:cubicBezTo>
                      <a:pt x="126" y="328"/>
                      <a:pt x="126" y="328"/>
                      <a:pt x="126" y="328"/>
                    </a:cubicBezTo>
                    <a:cubicBezTo>
                      <a:pt x="126" y="328"/>
                      <a:pt x="135" y="331"/>
                      <a:pt x="139" y="339"/>
                    </a:cubicBezTo>
                    <a:cubicBezTo>
                      <a:pt x="144" y="346"/>
                      <a:pt x="148" y="356"/>
                      <a:pt x="148" y="356"/>
                    </a:cubicBezTo>
                    <a:cubicBezTo>
                      <a:pt x="151" y="375"/>
                      <a:pt x="151" y="375"/>
                      <a:pt x="151" y="375"/>
                    </a:cubicBezTo>
                    <a:cubicBezTo>
                      <a:pt x="150" y="376"/>
                      <a:pt x="150" y="376"/>
                      <a:pt x="150" y="376"/>
                    </a:cubicBezTo>
                    <a:cubicBezTo>
                      <a:pt x="147" y="372"/>
                      <a:pt x="147" y="372"/>
                      <a:pt x="147" y="372"/>
                    </a:cubicBezTo>
                    <a:cubicBezTo>
                      <a:pt x="145" y="357"/>
                      <a:pt x="145" y="357"/>
                      <a:pt x="145" y="357"/>
                    </a:cubicBezTo>
                    <a:cubicBezTo>
                      <a:pt x="135" y="344"/>
                      <a:pt x="135" y="344"/>
                      <a:pt x="135" y="344"/>
                    </a:cubicBezTo>
                    <a:cubicBezTo>
                      <a:pt x="134" y="338"/>
                      <a:pt x="134" y="338"/>
                      <a:pt x="134" y="338"/>
                    </a:cubicBezTo>
                    <a:cubicBezTo>
                      <a:pt x="129" y="338"/>
                      <a:pt x="129" y="338"/>
                      <a:pt x="129" y="338"/>
                    </a:cubicBezTo>
                    <a:cubicBezTo>
                      <a:pt x="129" y="338"/>
                      <a:pt x="127" y="349"/>
                      <a:pt x="127" y="352"/>
                    </a:cubicBezTo>
                    <a:cubicBezTo>
                      <a:pt x="127" y="354"/>
                      <a:pt x="116" y="395"/>
                      <a:pt x="116" y="395"/>
                    </a:cubicBezTo>
                    <a:cubicBezTo>
                      <a:pt x="116" y="395"/>
                      <a:pt x="121" y="387"/>
                      <a:pt x="123" y="388"/>
                    </a:cubicBezTo>
                    <a:cubicBezTo>
                      <a:pt x="126" y="389"/>
                      <a:pt x="128" y="394"/>
                      <a:pt x="128" y="394"/>
                    </a:cubicBezTo>
                    <a:cubicBezTo>
                      <a:pt x="122" y="394"/>
                      <a:pt x="122" y="394"/>
                      <a:pt x="122" y="394"/>
                    </a:cubicBezTo>
                    <a:cubicBezTo>
                      <a:pt x="122" y="394"/>
                      <a:pt x="115" y="400"/>
                      <a:pt x="113" y="406"/>
                    </a:cubicBezTo>
                    <a:cubicBezTo>
                      <a:pt x="112" y="411"/>
                      <a:pt x="105" y="437"/>
                      <a:pt x="103" y="438"/>
                    </a:cubicBezTo>
                    <a:cubicBezTo>
                      <a:pt x="102" y="439"/>
                      <a:pt x="96" y="461"/>
                      <a:pt x="96" y="461"/>
                    </a:cubicBezTo>
                    <a:cubicBezTo>
                      <a:pt x="85" y="472"/>
                      <a:pt x="85" y="472"/>
                      <a:pt x="85" y="472"/>
                    </a:cubicBezTo>
                    <a:cubicBezTo>
                      <a:pt x="85" y="472"/>
                      <a:pt x="78" y="473"/>
                      <a:pt x="77" y="474"/>
                    </a:cubicBezTo>
                    <a:cubicBezTo>
                      <a:pt x="76" y="474"/>
                      <a:pt x="79" y="479"/>
                      <a:pt x="79" y="479"/>
                    </a:cubicBezTo>
                    <a:cubicBezTo>
                      <a:pt x="83" y="479"/>
                      <a:pt x="83" y="479"/>
                      <a:pt x="83" y="479"/>
                    </a:cubicBezTo>
                    <a:cubicBezTo>
                      <a:pt x="83" y="479"/>
                      <a:pt x="82" y="482"/>
                      <a:pt x="84" y="483"/>
                    </a:cubicBezTo>
                    <a:cubicBezTo>
                      <a:pt x="86" y="484"/>
                      <a:pt x="89" y="482"/>
                      <a:pt x="89" y="482"/>
                    </a:cubicBezTo>
                    <a:cubicBezTo>
                      <a:pt x="95" y="484"/>
                      <a:pt x="95" y="484"/>
                      <a:pt x="95" y="484"/>
                    </a:cubicBezTo>
                    <a:cubicBezTo>
                      <a:pt x="95" y="484"/>
                      <a:pt x="96" y="493"/>
                      <a:pt x="93" y="493"/>
                    </a:cubicBezTo>
                    <a:cubicBezTo>
                      <a:pt x="89" y="494"/>
                      <a:pt x="86" y="495"/>
                      <a:pt x="88" y="497"/>
                    </a:cubicBezTo>
                    <a:cubicBezTo>
                      <a:pt x="90" y="500"/>
                      <a:pt x="94" y="501"/>
                      <a:pt x="94" y="501"/>
                    </a:cubicBezTo>
                    <a:cubicBezTo>
                      <a:pt x="99" y="495"/>
                      <a:pt x="99" y="495"/>
                      <a:pt x="99" y="495"/>
                    </a:cubicBezTo>
                    <a:cubicBezTo>
                      <a:pt x="99" y="499"/>
                      <a:pt x="99" y="499"/>
                      <a:pt x="99" y="499"/>
                    </a:cubicBezTo>
                    <a:cubicBezTo>
                      <a:pt x="116" y="510"/>
                      <a:pt x="116" y="510"/>
                      <a:pt x="116" y="510"/>
                    </a:cubicBezTo>
                    <a:cubicBezTo>
                      <a:pt x="125" y="508"/>
                      <a:pt x="125" y="508"/>
                      <a:pt x="125" y="508"/>
                    </a:cubicBezTo>
                    <a:cubicBezTo>
                      <a:pt x="127" y="509"/>
                      <a:pt x="127" y="509"/>
                      <a:pt x="127" y="509"/>
                    </a:cubicBezTo>
                    <a:cubicBezTo>
                      <a:pt x="125" y="515"/>
                      <a:pt x="125" y="515"/>
                      <a:pt x="125" y="515"/>
                    </a:cubicBezTo>
                    <a:cubicBezTo>
                      <a:pt x="131" y="524"/>
                      <a:pt x="131" y="524"/>
                      <a:pt x="131" y="524"/>
                    </a:cubicBezTo>
                    <a:cubicBezTo>
                      <a:pt x="135" y="520"/>
                      <a:pt x="135" y="520"/>
                      <a:pt x="135" y="520"/>
                    </a:cubicBezTo>
                    <a:cubicBezTo>
                      <a:pt x="136" y="521"/>
                      <a:pt x="136" y="521"/>
                      <a:pt x="136" y="521"/>
                    </a:cubicBezTo>
                    <a:cubicBezTo>
                      <a:pt x="144" y="520"/>
                      <a:pt x="144" y="520"/>
                      <a:pt x="144" y="520"/>
                    </a:cubicBezTo>
                    <a:cubicBezTo>
                      <a:pt x="154" y="532"/>
                      <a:pt x="154" y="532"/>
                      <a:pt x="154" y="532"/>
                    </a:cubicBezTo>
                    <a:cubicBezTo>
                      <a:pt x="154" y="532"/>
                      <a:pt x="165" y="528"/>
                      <a:pt x="167" y="530"/>
                    </a:cubicBezTo>
                    <a:cubicBezTo>
                      <a:pt x="170" y="532"/>
                      <a:pt x="170" y="535"/>
                      <a:pt x="171" y="535"/>
                    </a:cubicBezTo>
                    <a:cubicBezTo>
                      <a:pt x="174" y="535"/>
                      <a:pt x="175" y="531"/>
                      <a:pt x="175" y="531"/>
                    </a:cubicBezTo>
                    <a:cubicBezTo>
                      <a:pt x="175" y="531"/>
                      <a:pt x="181" y="540"/>
                      <a:pt x="186" y="536"/>
                    </a:cubicBezTo>
                    <a:cubicBezTo>
                      <a:pt x="191" y="534"/>
                      <a:pt x="185" y="527"/>
                      <a:pt x="191" y="527"/>
                    </a:cubicBezTo>
                    <a:cubicBezTo>
                      <a:pt x="196" y="527"/>
                      <a:pt x="200" y="531"/>
                      <a:pt x="200" y="531"/>
                    </a:cubicBezTo>
                    <a:cubicBezTo>
                      <a:pt x="200" y="531"/>
                      <a:pt x="205" y="530"/>
                      <a:pt x="207" y="532"/>
                    </a:cubicBezTo>
                    <a:cubicBezTo>
                      <a:pt x="208" y="533"/>
                      <a:pt x="213" y="540"/>
                      <a:pt x="213" y="540"/>
                    </a:cubicBezTo>
                    <a:cubicBezTo>
                      <a:pt x="213" y="540"/>
                      <a:pt x="220" y="537"/>
                      <a:pt x="223" y="538"/>
                    </a:cubicBezTo>
                    <a:cubicBezTo>
                      <a:pt x="226" y="541"/>
                      <a:pt x="227" y="545"/>
                      <a:pt x="227" y="545"/>
                    </a:cubicBezTo>
                    <a:cubicBezTo>
                      <a:pt x="231" y="543"/>
                      <a:pt x="231" y="543"/>
                      <a:pt x="231" y="543"/>
                    </a:cubicBezTo>
                    <a:cubicBezTo>
                      <a:pt x="235" y="546"/>
                      <a:pt x="235" y="546"/>
                      <a:pt x="235" y="546"/>
                    </a:cubicBezTo>
                    <a:cubicBezTo>
                      <a:pt x="237" y="545"/>
                      <a:pt x="237" y="545"/>
                      <a:pt x="237" y="545"/>
                    </a:cubicBezTo>
                    <a:cubicBezTo>
                      <a:pt x="242" y="548"/>
                      <a:pt x="242" y="548"/>
                      <a:pt x="242" y="548"/>
                    </a:cubicBezTo>
                    <a:cubicBezTo>
                      <a:pt x="238" y="554"/>
                      <a:pt x="238" y="554"/>
                      <a:pt x="238" y="554"/>
                    </a:cubicBezTo>
                    <a:cubicBezTo>
                      <a:pt x="245" y="559"/>
                      <a:pt x="245" y="559"/>
                      <a:pt x="245" y="559"/>
                    </a:cubicBezTo>
                    <a:cubicBezTo>
                      <a:pt x="245" y="559"/>
                      <a:pt x="251" y="554"/>
                      <a:pt x="251" y="556"/>
                    </a:cubicBezTo>
                    <a:cubicBezTo>
                      <a:pt x="251" y="557"/>
                      <a:pt x="249" y="563"/>
                      <a:pt x="249" y="563"/>
                    </a:cubicBezTo>
                    <a:cubicBezTo>
                      <a:pt x="249" y="563"/>
                      <a:pt x="250" y="567"/>
                      <a:pt x="254" y="567"/>
                    </a:cubicBezTo>
                    <a:cubicBezTo>
                      <a:pt x="259" y="567"/>
                      <a:pt x="266" y="560"/>
                      <a:pt x="270" y="564"/>
                    </a:cubicBezTo>
                    <a:cubicBezTo>
                      <a:pt x="274" y="568"/>
                      <a:pt x="277" y="571"/>
                      <a:pt x="277" y="571"/>
                    </a:cubicBezTo>
                    <a:cubicBezTo>
                      <a:pt x="282" y="571"/>
                      <a:pt x="282" y="571"/>
                      <a:pt x="282" y="571"/>
                    </a:cubicBezTo>
                    <a:cubicBezTo>
                      <a:pt x="284" y="571"/>
                      <a:pt x="287" y="561"/>
                      <a:pt x="295" y="562"/>
                    </a:cubicBezTo>
                    <a:cubicBezTo>
                      <a:pt x="301" y="564"/>
                      <a:pt x="302" y="567"/>
                      <a:pt x="302" y="567"/>
                    </a:cubicBezTo>
                    <a:cubicBezTo>
                      <a:pt x="309" y="567"/>
                      <a:pt x="309" y="567"/>
                      <a:pt x="309" y="567"/>
                    </a:cubicBezTo>
                    <a:cubicBezTo>
                      <a:pt x="309" y="567"/>
                      <a:pt x="308" y="562"/>
                      <a:pt x="307" y="561"/>
                    </a:cubicBezTo>
                    <a:cubicBezTo>
                      <a:pt x="305" y="560"/>
                      <a:pt x="305" y="552"/>
                      <a:pt x="306" y="549"/>
                    </a:cubicBezTo>
                    <a:cubicBezTo>
                      <a:pt x="307" y="546"/>
                      <a:pt x="306" y="541"/>
                      <a:pt x="306" y="541"/>
                    </a:cubicBezTo>
                    <a:cubicBezTo>
                      <a:pt x="301" y="542"/>
                      <a:pt x="301" y="542"/>
                      <a:pt x="301" y="542"/>
                    </a:cubicBezTo>
                    <a:cubicBezTo>
                      <a:pt x="301" y="542"/>
                      <a:pt x="301" y="537"/>
                      <a:pt x="303" y="536"/>
                    </a:cubicBezTo>
                    <a:cubicBezTo>
                      <a:pt x="306" y="536"/>
                      <a:pt x="307" y="531"/>
                      <a:pt x="307" y="530"/>
                    </a:cubicBezTo>
                    <a:cubicBezTo>
                      <a:pt x="307" y="529"/>
                      <a:pt x="301" y="526"/>
                      <a:pt x="303" y="525"/>
                    </a:cubicBezTo>
                    <a:cubicBezTo>
                      <a:pt x="306" y="522"/>
                      <a:pt x="307" y="525"/>
                      <a:pt x="307" y="525"/>
                    </a:cubicBezTo>
                    <a:cubicBezTo>
                      <a:pt x="311" y="525"/>
                      <a:pt x="311" y="525"/>
                      <a:pt x="311" y="525"/>
                    </a:cubicBezTo>
                    <a:cubicBezTo>
                      <a:pt x="311" y="525"/>
                      <a:pt x="312" y="518"/>
                      <a:pt x="318" y="515"/>
                    </a:cubicBezTo>
                    <a:cubicBezTo>
                      <a:pt x="325" y="512"/>
                      <a:pt x="326" y="516"/>
                      <a:pt x="330" y="514"/>
                    </a:cubicBezTo>
                    <a:cubicBezTo>
                      <a:pt x="334" y="512"/>
                      <a:pt x="332" y="506"/>
                      <a:pt x="332" y="506"/>
                    </a:cubicBezTo>
                    <a:cubicBezTo>
                      <a:pt x="332" y="506"/>
                      <a:pt x="339" y="499"/>
                      <a:pt x="339" y="502"/>
                    </a:cubicBezTo>
                    <a:cubicBezTo>
                      <a:pt x="340" y="504"/>
                      <a:pt x="335" y="508"/>
                      <a:pt x="335" y="508"/>
                    </a:cubicBezTo>
                    <a:cubicBezTo>
                      <a:pt x="340" y="509"/>
                      <a:pt x="340" y="509"/>
                      <a:pt x="340" y="509"/>
                    </a:cubicBezTo>
                    <a:cubicBezTo>
                      <a:pt x="343" y="505"/>
                      <a:pt x="343" y="505"/>
                      <a:pt x="343" y="505"/>
                    </a:cubicBezTo>
                    <a:cubicBezTo>
                      <a:pt x="343" y="502"/>
                      <a:pt x="343" y="502"/>
                      <a:pt x="343" y="502"/>
                    </a:cubicBezTo>
                    <a:cubicBezTo>
                      <a:pt x="343" y="502"/>
                      <a:pt x="349" y="498"/>
                      <a:pt x="355" y="498"/>
                    </a:cubicBezTo>
                    <a:cubicBezTo>
                      <a:pt x="360" y="498"/>
                      <a:pt x="363" y="503"/>
                      <a:pt x="363" y="503"/>
                    </a:cubicBezTo>
                    <a:cubicBezTo>
                      <a:pt x="363" y="503"/>
                      <a:pt x="382" y="508"/>
                      <a:pt x="382" y="509"/>
                    </a:cubicBezTo>
                    <a:cubicBezTo>
                      <a:pt x="382" y="510"/>
                      <a:pt x="383" y="515"/>
                      <a:pt x="383" y="515"/>
                    </a:cubicBezTo>
                    <a:cubicBezTo>
                      <a:pt x="396" y="516"/>
                      <a:pt x="396" y="516"/>
                      <a:pt x="396" y="516"/>
                    </a:cubicBezTo>
                    <a:cubicBezTo>
                      <a:pt x="396" y="516"/>
                      <a:pt x="396" y="506"/>
                      <a:pt x="397" y="508"/>
                    </a:cubicBezTo>
                    <a:cubicBezTo>
                      <a:pt x="398" y="509"/>
                      <a:pt x="406" y="517"/>
                      <a:pt x="406" y="517"/>
                    </a:cubicBezTo>
                    <a:cubicBezTo>
                      <a:pt x="418" y="516"/>
                      <a:pt x="418" y="516"/>
                      <a:pt x="418" y="516"/>
                    </a:cubicBezTo>
                    <a:cubicBezTo>
                      <a:pt x="418" y="516"/>
                      <a:pt x="422" y="518"/>
                      <a:pt x="422" y="519"/>
                    </a:cubicBezTo>
                    <a:cubicBezTo>
                      <a:pt x="422" y="520"/>
                      <a:pt x="418" y="526"/>
                      <a:pt x="421" y="527"/>
                    </a:cubicBezTo>
                    <a:cubicBezTo>
                      <a:pt x="423" y="528"/>
                      <a:pt x="430" y="528"/>
                      <a:pt x="432" y="529"/>
                    </a:cubicBezTo>
                    <a:cubicBezTo>
                      <a:pt x="433" y="530"/>
                      <a:pt x="438" y="538"/>
                      <a:pt x="441" y="538"/>
                    </a:cubicBezTo>
                    <a:cubicBezTo>
                      <a:pt x="445" y="537"/>
                      <a:pt x="448" y="534"/>
                      <a:pt x="448" y="534"/>
                    </a:cubicBezTo>
                    <a:cubicBezTo>
                      <a:pt x="454" y="536"/>
                      <a:pt x="454" y="536"/>
                      <a:pt x="454" y="536"/>
                    </a:cubicBezTo>
                    <a:cubicBezTo>
                      <a:pt x="456" y="542"/>
                      <a:pt x="456" y="542"/>
                      <a:pt x="456" y="542"/>
                    </a:cubicBezTo>
                    <a:cubicBezTo>
                      <a:pt x="459" y="540"/>
                      <a:pt x="459" y="540"/>
                      <a:pt x="459" y="540"/>
                    </a:cubicBezTo>
                    <a:cubicBezTo>
                      <a:pt x="461" y="534"/>
                      <a:pt x="461" y="534"/>
                      <a:pt x="461" y="534"/>
                    </a:cubicBezTo>
                    <a:cubicBezTo>
                      <a:pt x="467" y="536"/>
                      <a:pt x="467" y="536"/>
                      <a:pt x="467" y="536"/>
                    </a:cubicBezTo>
                    <a:cubicBezTo>
                      <a:pt x="469" y="533"/>
                      <a:pt x="469" y="533"/>
                      <a:pt x="469" y="533"/>
                    </a:cubicBezTo>
                    <a:cubicBezTo>
                      <a:pt x="477" y="532"/>
                      <a:pt x="477" y="532"/>
                      <a:pt x="477" y="532"/>
                    </a:cubicBezTo>
                    <a:cubicBezTo>
                      <a:pt x="482" y="533"/>
                      <a:pt x="482" y="533"/>
                      <a:pt x="482" y="533"/>
                    </a:cubicBezTo>
                    <a:cubicBezTo>
                      <a:pt x="482" y="529"/>
                      <a:pt x="482" y="529"/>
                      <a:pt x="482" y="529"/>
                    </a:cubicBezTo>
                    <a:cubicBezTo>
                      <a:pt x="482" y="529"/>
                      <a:pt x="479" y="520"/>
                      <a:pt x="483" y="519"/>
                    </a:cubicBezTo>
                    <a:cubicBezTo>
                      <a:pt x="488" y="517"/>
                      <a:pt x="491" y="519"/>
                      <a:pt x="493" y="518"/>
                    </a:cubicBezTo>
                    <a:cubicBezTo>
                      <a:pt x="495" y="517"/>
                      <a:pt x="493" y="508"/>
                      <a:pt x="497" y="509"/>
                    </a:cubicBezTo>
                    <a:cubicBezTo>
                      <a:pt x="500" y="509"/>
                      <a:pt x="505" y="513"/>
                      <a:pt x="507" y="509"/>
                    </a:cubicBezTo>
                    <a:cubicBezTo>
                      <a:pt x="509" y="504"/>
                      <a:pt x="503" y="501"/>
                      <a:pt x="512" y="501"/>
                    </a:cubicBezTo>
                    <a:cubicBezTo>
                      <a:pt x="521" y="501"/>
                      <a:pt x="520" y="499"/>
                      <a:pt x="520" y="499"/>
                    </a:cubicBezTo>
                    <a:cubicBezTo>
                      <a:pt x="520" y="499"/>
                      <a:pt x="516" y="495"/>
                      <a:pt x="520" y="495"/>
                    </a:cubicBezTo>
                    <a:cubicBezTo>
                      <a:pt x="522" y="494"/>
                      <a:pt x="525" y="497"/>
                      <a:pt x="525" y="497"/>
                    </a:cubicBezTo>
                    <a:cubicBezTo>
                      <a:pt x="528" y="496"/>
                      <a:pt x="528" y="496"/>
                      <a:pt x="528" y="496"/>
                    </a:cubicBezTo>
                    <a:cubicBezTo>
                      <a:pt x="524" y="487"/>
                      <a:pt x="524" y="487"/>
                      <a:pt x="524" y="487"/>
                    </a:cubicBezTo>
                    <a:cubicBezTo>
                      <a:pt x="524" y="487"/>
                      <a:pt x="531" y="486"/>
                      <a:pt x="535" y="478"/>
                    </a:cubicBezTo>
                    <a:cubicBezTo>
                      <a:pt x="537" y="470"/>
                      <a:pt x="535" y="468"/>
                      <a:pt x="534" y="468"/>
                    </a:cubicBezTo>
                    <a:cubicBezTo>
                      <a:pt x="531" y="468"/>
                      <a:pt x="523" y="472"/>
                      <a:pt x="518" y="470"/>
                    </a:cubicBezTo>
                    <a:cubicBezTo>
                      <a:pt x="511" y="468"/>
                      <a:pt x="506" y="465"/>
                      <a:pt x="502" y="456"/>
                    </a:cubicBezTo>
                    <a:cubicBezTo>
                      <a:pt x="496" y="448"/>
                      <a:pt x="499" y="439"/>
                      <a:pt x="502" y="437"/>
                    </a:cubicBezTo>
                    <a:cubicBezTo>
                      <a:pt x="505" y="436"/>
                      <a:pt x="506" y="433"/>
                      <a:pt x="506" y="433"/>
                    </a:cubicBezTo>
                    <a:cubicBezTo>
                      <a:pt x="505" y="421"/>
                      <a:pt x="505" y="421"/>
                      <a:pt x="505" y="421"/>
                    </a:cubicBezTo>
                    <a:cubicBezTo>
                      <a:pt x="505" y="421"/>
                      <a:pt x="498" y="425"/>
                      <a:pt x="496" y="419"/>
                    </a:cubicBezTo>
                    <a:cubicBezTo>
                      <a:pt x="493" y="411"/>
                      <a:pt x="493" y="410"/>
                      <a:pt x="493" y="410"/>
                    </a:cubicBezTo>
                    <a:cubicBezTo>
                      <a:pt x="493" y="410"/>
                      <a:pt x="488" y="416"/>
                      <a:pt x="489" y="409"/>
                    </a:cubicBezTo>
                    <a:cubicBezTo>
                      <a:pt x="489" y="404"/>
                      <a:pt x="494" y="403"/>
                      <a:pt x="494" y="403"/>
                    </a:cubicBezTo>
                    <a:cubicBezTo>
                      <a:pt x="498" y="404"/>
                      <a:pt x="498" y="404"/>
                      <a:pt x="498" y="404"/>
                    </a:cubicBezTo>
                    <a:cubicBezTo>
                      <a:pt x="498" y="404"/>
                      <a:pt x="511" y="401"/>
                      <a:pt x="512" y="394"/>
                    </a:cubicBezTo>
                    <a:cubicBezTo>
                      <a:pt x="514" y="387"/>
                      <a:pt x="514" y="386"/>
                      <a:pt x="512" y="384"/>
                    </a:cubicBezTo>
                    <a:cubicBezTo>
                      <a:pt x="509" y="382"/>
                      <a:pt x="507" y="384"/>
                      <a:pt x="507" y="382"/>
                    </a:cubicBezTo>
                    <a:cubicBezTo>
                      <a:pt x="507" y="370"/>
                      <a:pt x="507" y="370"/>
                      <a:pt x="507" y="370"/>
                    </a:cubicBezTo>
                    <a:cubicBezTo>
                      <a:pt x="507" y="370"/>
                      <a:pt x="496" y="369"/>
                      <a:pt x="499" y="362"/>
                    </a:cubicBezTo>
                    <a:cubicBezTo>
                      <a:pt x="503" y="356"/>
                      <a:pt x="511" y="359"/>
                      <a:pt x="511" y="353"/>
                    </a:cubicBezTo>
                    <a:cubicBezTo>
                      <a:pt x="511" y="345"/>
                      <a:pt x="505" y="343"/>
                      <a:pt x="505" y="343"/>
                    </a:cubicBezTo>
                    <a:cubicBezTo>
                      <a:pt x="504" y="340"/>
                      <a:pt x="504" y="340"/>
                      <a:pt x="504" y="340"/>
                    </a:cubicBezTo>
                    <a:cubicBezTo>
                      <a:pt x="500" y="340"/>
                      <a:pt x="500" y="340"/>
                      <a:pt x="500" y="340"/>
                    </a:cubicBezTo>
                    <a:cubicBezTo>
                      <a:pt x="500" y="340"/>
                      <a:pt x="503" y="336"/>
                      <a:pt x="504" y="331"/>
                    </a:cubicBezTo>
                    <a:cubicBezTo>
                      <a:pt x="505" y="327"/>
                      <a:pt x="502" y="325"/>
                      <a:pt x="502" y="325"/>
                    </a:cubicBezTo>
                    <a:cubicBezTo>
                      <a:pt x="503" y="320"/>
                      <a:pt x="503" y="320"/>
                      <a:pt x="503" y="320"/>
                    </a:cubicBezTo>
                    <a:cubicBezTo>
                      <a:pt x="503" y="320"/>
                      <a:pt x="497" y="315"/>
                      <a:pt x="489" y="316"/>
                    </a:cubicBezTo>
                    <a:cubicBezTo>
                      <a:pt x="480" y="317"/>
                      <a:pt x="475" y="323"/>
                      <a:pt x="475" y="326"/>
                    </a:cubicBezTo>
                    <a:cubicBezTo>
                      <a:pt x="475" y="328"/>
                      <a:pt x="477" y="329"/>
                      <a:pt x="477" y="329"/>
                    </a:cubicBezTo>
                    <a:cubicBezTo>
                      <a:pt x="471" y="336"/>
                      <a:pt x="471" y="336"/>
                      <a:pt x="471" y="336"/>
                    </a:cubicBezTo>
                    <a:cubicBezTo>
                      <a:pt x="464" y="336"/>
                      <a:pt x="464" y="336"/>
                      <a:pt x="464" y="336"/>
                    </a:cubicBezTo>
                    <a:cubicBezTo>
                      <a:pt x="463" y="330"/>
                      <a:pt x="463" y="330"/>
                      <a:pt x="463" y="330"/>
                    </a:cubicBezTo>
                    <a:cubicBezTo>
                      <a:pt x="467" y="330"/>
                      <a:pt x="467" y="330"/>
                      <a:pt x="467" y="330"/>
                    </a:cubicBezTo>
                    <a:cubicBezTo>
                      <a:pt x="472" y="323"/>
                      <a:pt x="472" y="323"/>
                      <a:pt x="472" y="323"/>
                    </a:cubicBezTo>
                    <a:cubicBezTo>
                      <a:pt x="472" y="323"/>
                      <a:pt x="465" y="320"/>
                      <a:pt x="470" y="312"/>
                    </a:cubicBezTo>
                    <a:cubicBezTo>
                      <a:pt x="474" y="306"/>
                      <a:pt x="485" y="303"/>
                      <a:pt x="487" y="297"/>
                    </a:cubicBezTo>
                    <a:cubicBezTo>
                      <a:pt x="489" y="291"/>
                      <a:pt x="486" y="285"/>
                      <a:pt x="488" y="284"/>
                    </a:cubicBezTo>
                    <a:cubicBezTo>
                      <a:pt x="491" y="282"/>
                      <a:pt x="495" y="283"/>
                      <a:pt x="498" y="280"/>
                    </a:cubicBezTo>
                    <a:cubicBezTo>
                      <a:pt x="502" y="277"/>
                      <a:pt x="514" y="261"/>
                      <a:pt x="514" y="261"/>
                    </a:cubicBezTo>
                    <a:cubicBezTo>
                      <a:pt x="509" y="260"/>
                      <a:pt x="509" y="260"/>
                      <a:pt x="509" y="260"/>
                    </a:cubicBezTo>
                    <a:cubicBezTo>
                      <a:pt x="509" y="260"/>
                      <a:pt x="511" y="248"/>
                      <a:pt x="515" y="249"/>
                    </a:cubicBezTo>
                    <a:cubicBezTo>
                      <a:pt x="521" y="249"/>
                      <a:pt x="520" y="256"/>
                      <a:pt x="524" y="257"/>
                    </a:cubicBezTo>
                    <a:cubicBezTo>
                      <a:pt x="528" y="257"/>
                      <a:pt x="536" y="252"/>
                      <a:pt x="536" y="252"/>
                    </a:cubicBezTo>
                    <a:cubicBezTo>
                      <a:pt x="536" y="249"/>
                      <a:pt x="536" y="249"/>
                      <a:pt x="536" y="249"/>
                    </a:cubicBezTo>
                    <a:cubicBezTo>
                      <a:pt x="543" y="244"/>
                      <a:pt x="543" y="244"/>
                      <a:pt x="543" y="244"/>
                    </a:cubicBezTo>
                    <a:cubicBezTo>
                      <a:pt x="540" y="237"/>
                      <a:pt x="542" y="228"/>
                      <a:pt x="545" y="221"/>
                    </a:cubicBezTo>
                    <a:cubicBezTo>
                      <a:pt x="546" y="219"/>
                      <a:pt x="546" y="207"/>
                      <a:pt x="548" y="204"/>
                    </a:cubicBezTo>
                    <a:cubicBezTo>
                      <a:pt x="551" y="201"/>
                      <a:pt x="553" y="197"/>
                      <a:pt x="552" y="194"/>
                    </a:cubicBezTo>
                    <a:cubicBezTo>
                      <a:pt x="557" y="179"/>
                      <a:pt x="557" y="179"/>
                      <a:pt x="557" y="179"/>
                    </a:cubicBezTo>
                    <a:cubicBezTo>
                      <a:pt x="562" y="172"/>
                      <a:pt x="562" y="172"/>
                      <a:pt x="562" y="172"/>
                    </a:cubicBezTo>
                    <a:cubicBezTo>
                      <a:pt x="563" y="168"/>
                      <a:pt x="568" y="169"/>
                      <a:pt x="570" y="167"/>
                    </a:cubicBezTo>
                    <a:cubicBezTo>
                      <a:pt x="572" y="164"/>
                      <a:pt x="571" y="158"/>
                      <a:pt x="575" y="156"/>
                    </a:cubicBezTo>
                    <a:close/>
                    <a:moveTo>
                      <a:pt x="621" y="571"/>
                    </a:moveTo>
                    <a:cubicBezTo>
                      <a:pt x="617" y="569"/>
                      <a:pt x="617" y="569"/>
                      <a:pt x="617" y="569"/>
                    </a:cubicBezTo>
                    <a:cubicBezTo>
                      <a:pt x="617" y="569"/>
                      <a:pt x="618" y="561"/>
                      <a:pt x="619" y="558"/>
                    </a:cubicBezTo>
                    <a:cubicBezTo>
                      <a:pt x="620" y="553"/>
                      <a:pt x="618" y="545"/>
                      <a:pt x="618" y="545"/>
                    </a:cubicBezTo>
                    <a:cubicBezTo>
                      <a:pt x="612" y="544"/>
                      <a:pt x="612" y="544"/>
                      <a:pt x="612" y="544"/>
                    </a:cubicBezTo>
                    <a:cubicBezTo>
                      <a:pt x="612" y="544"/>
                      <a:pt x="614" y="565"/>
                      <a:pt x="610" y="565"/>
                    </a:cubicBezTo>
                    <a:cubicBezTo>
                      <a:pt x="606" y="566"/>
                      <a:pt x="606" y="563"/>
                      <a:pt x="601" y="563"/>
                    </a:cubicBezTo>
                    <a:cubicBezTo>
                      <a:pt x="595" y="563"/>
                      <a:pt x="596" y="568"/>
                      <a:pt x="596" y="568"/>
                    </a:cubicBezTo>
                    <a:cubicBezTo>
                      <a:pt x="596" y="568"/>
                      <a:pt x="588" y="569"/>
                      <a:pt x="583" y="572"/>
                    </a:cubicBezTo>
                    <a:cubicBezTo>
                      <a:pt x="577" y="575"/>
                      <a:pt x="578" y="579"/>
                      <a:pt x="578" y="579"/>
                    </a:cubicBezTo>
                    <a:cubicBezTo>
                      <a:pt x="577" y="583"/>
                      <a:pt x="577" y="583"/>
                      <a:pt x="577" y="583"/>
                    </a:cubicBezTo>
                    <a:cubicBezTo>
                      <a:pt x="573" y="585"/>
                      <a:pt x="573" y="585"/>
                      <a:pt x="573" y="585"/>
                    </a:cubicBezTo>
                    <a:cubicBezTo>
                      <a:pt x="573" y="590"/>
                      <a:pt x="573" y="590"/>
                      <a:pt x="573" y="590"/>
                    </a:cubicBezTo>
                    <a:cubicBezTo>
                      <a:pt x="577" y="592"/>
                      <a:pt x="577" y="592"/>
                      <a:pt x="577" y="592"/>
                    </a:cubicBezTo>
                    <a:cubicBezTo>
                      <a:pt x="573" y="596"/>
                      <a:pt x="573" y="596"/>
                      <a:pt x="573" y="596"/>
                    </a:cubicBezTo>
                    <a:cubicBezTo>
                      <a:pt x="574" y="601"/>
                      <a:pt x="574" y="601"/>
                      <a:pt x="574" y="601"/>
                    </a:cubicBezTo>
                    <a:cubicBezTo>
                      <a:pt x="574" y="601"/>
                      <a:pt x="576" y="604"/>
                      <a:pt x="578" y="604"/>
                    </a:cubicBezTo>
                    <a:cubicBezTo>
                      <a:pt x="581" y="605"/>
                      <a:pt x="578" y="609"/>
                      <a:pt x="578" y="609"/>
                    </a:cubicBezTo>
                    <a:cubicBezTo>
                      <a:pt x="574" y="616"/>
                      <a:pt x="574" y="616"/>
                      <a:pt x="574" y="616"/>
                    </a:cubicBezTo>
                    <a:cubicBezTo>
                      <a:pt x="574" y="616"/>
                      <a:pt x="584" y="615"/>
                      <a:pt x="584" y="619"/>
                    </a:cubicBezTo>
                    <a:cubicBezTo>
                      <a:pt x="585" y="622"/>
                      <a:pt x="577" y="627"/>
                      <a:pt x="577" y="627"/>
                    </a:cubicBezTo>
                    <a:cubicBezTo>
                      <a:pt x="577" y="629"/>
                      <a:pt x="577" y="629"/>
                      <a:pt x="577" y="629"/>
                    </a:cubicBezTo>
                    <a:cubicBezTo>
                      <a:pt x="577" y="629"/>
                      <a:pt x="584" y="627"/>
                      <a:pt x="586" y="628"/>
                    </a:cubicBezTo>
                    <a:cubicBezTo>
                      <a:pt x="588" y="630"/>
                      <a:pt x="590" y="632"/>
                      <a:pt x="590" y="632"/>
                    </a:cubicBezTo>
                    <a:cubicBezTo>
                      <a:pt x="583" y="636"/>
                      <a:pt x="583" y="636"/>
                      <a:pt x="583" y="636"/>
                    </a:cubicBezTo>
                    <a:cubicBezTo>
                      <a:pt x="585" y="643"/>
                      <a:pt x="585" y="643"/>
                      <a:pt x="585" y="643"/>
                    </a:cubicBezTo>
                    <a:cubicBezTo>
                      <a:pt x="585" y="643"/>
                      <a:pt x="594" y="646"/>
                      <a:pt x="597" y="646"/>
                    </a:cubicBezTo>
                    <a:cubicBezTo>
                      <a:pt x="601" y="647"/>
                      <a:pt x="598" y="652"/>
                      <a:pt x="598" y="652"/>
                    </a:cubicBezTo>
                    <a:cubicBezTo>
                      <a:pt x="603" y="651"/>
                      <a:pt x="603" y="651"/>
                      <a:pt x="603" y="651"/>
                    </a:cubicBezTo>
                    <a:cubicBezTo>
                      <a:pt x="603" y="651"/>
                      <a:pt x="609" y="636"/>
                      <a:pt x="611" y="631"/>
                    </a:cubicBezTo>
                    <a:cubicBezTo>
                      <a:pt x="612" y="626"/>
                      <a:pt x="614" y="615"/>
                      <a:pt x="614" y="614"/>
                    </a:cubicBezTo>
                    <a:cubicBezTo>
                      <a:pt x="614" y="612"/>
                      <a:pt x="622" y="607"/>
                      <a:pt x="624" y="600"/>
                    </a:cubicBezTo>
                    <a:cubicBezTo>
                      <a:pt x="626" y="595"/>
                      <a:pt x="621" y="571"/>
                      <a:pt x="621" y="571"/>
                    </a:cubicBezTo>
                    <a:close/>
                    <a:moveTo>
                      <a:pt x="56" y="207"/>
                    </a:moveTo>
                    <a:cubicBezTo>
                      <a:pt x="56" y="212"/>
                      <a:pt x="56" y="212"/>
                      <a:pt x="56" y="212"/>
                    </a:cubicBezTo>
                    <a:cubicBezTo>
                      <a:pt x="61" y="215"/>
                      <a:pt x="64" y="213"/>
                      <a:pt x="64" y="213"/>
                    </a:cubicBezTo>
                    <a:cubicBezTo>
                      <a:pt x="57" y="204"/>
                      <a:pt x="57" y="204"/>
                      <a:pt x="57" y="204"/>
                    </a:cubicBezTo>
                    <a:lnTo>
                      <a:pt x="56" y="207"/>
                    </a:lnTo>
                    <a:close/>
                    <a:moveTo>
                      <a:pt x="126" y="100"/>
                    </a:moveTo>
                    <a:cubicBezTo>
                      <a:pt x="130" y="103"/>
                      <a:pt x="135" y="100"/>
                      <a:pt x="129" y="94"/>
                    </a:cubicBezTo>
                    <a:cubicBezTo>
                      <a:pt x="122" y="90"/>
                      <a:pt x="120" y="93"/>
                      <a:pt x="120" y="93"/>
                    </a:cubicBezTo>
                    <a:cubicBezTo>
                      <a:pt x="121" y="99"/>
                      <a:pt x="121" y="99"/>
                      <a:pt x="121" y="99"/>
                    </a:cubicBezTo>
                    <a:lnTo>
                      <a:pt x="126" y="100"/>
                    </a:lnTo>
                    <a:close/>
                    <a:moveTo>
                      <a:pt x="112" y="79"/>
                    </a:moveTo>
                    <a:cubicBezTo>
                      <a:pt x="116" y="79"/>
                      <a:pt x="121" y="74"/>
                      <a:pt x="113" y="75"/>
                    </a:cubicBezTo>
                    <a:cubicBezTo>
                      <a:pt x="104" y="76"/>
                      <a:pt x="112" y="79"/>
                      <a:pt x="112" y="79"/>
                    </a:cubicBez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56" name="Finland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5473700" y="1279525"/>
                <a:ext cx="814387" cy="1435100"/>
              </a:xfrm>
              <a:custGeom>
                <a:avLst/>
                <a:gdLst/>
                <a:ahLst/>
                <a:cxnLst>
                  <a:cxn ang="0">
                    <a:pos x="318" y="380"/>
                  </a:cxn>
                  <a:cxn ang="0">
                    <a:pos x="302" y="312"/>
                  </a:cxn>
                  <a:cxn ang="0">
                    <a:pos x="283" y="281"/>
                  </a:cxn>
                  <a:cxn ang="0">
                    <a:pos x="264" y="225"/>
                  </a:cxn>
                  <a:cxn ang="0">
                    <a:pos x="205" y="113"/>
                  </a:cxn>
                  <a:cxn ang="0">
                    <a:pos x="202" y="27"/>
                  </a:cxn>
                  <a:cxn ang="0">
                    <a:pos x="124" y="29"/>
                  </a:cxn>
                  <a:cxn ang="0">
                    <a:pos x="105" y="103"/>
                  </a:cxn>
                  <a:cxn ang="0">
                    <a:pos x="51" y="107"/>
                  </a:cxn>
                  <a:cxn ang="0">
                    <a:pos x="2" y="90"/>
                  </a:cxn>
                  <a:cxn ang="0">
                    <a:pos x="23" y="108"/>
                  </a:cxn>
                  <a:cxn ang="0">
                    <a:pos x="63" y="131"/>
                  </a:cxn>
                  <a:cxn ang="0">
                    <a:pos x="86" y="186"/>
                  </a:cxn>
                  <a:cxn ang="0">
                    <a:pos x="106" y="229"/>
                  </a:cxn>
                  <a:cxn ang="0">
                    <a:pos x="116" y="275"/>
                  </a:cxn>
                  <a:cxn ang="0">
                    <a:pos x="147" y="294"/>
                  </a:cxn>
                  <a:cxn ang="0">
                    <a:pos x="163" y="331"/>
                  </a:cxn>
                  <a:cxn ang="0">
                    <a:pos x="147" y="355"/>
                  </a:cxn>
                  <a:cxn ang="0">
                    <a:pos x="131" y="401"/>
                  </a:cxn>
                  <a:cxn ang="0">
                    <a:pos x="108" y="414"/>
                  </a:cxn>
                  <a:cxn ang="0">
                    <a:pos x="111" y="430"/>
                  </a:cxn>
                  <a:cxn ang="0">
                    <a:pos x="96" y="438"/>
                  </a:cxn>
                  <a:cxn ang="0">
                    <a:pos x="80" y="462"/>
                  </a:cxn>
                  <a:cxn ang="0">
                    <a:pos x="77" y="486"/>
                  </a:cxn>
                  <a:cxn ang="0">
                    <a:pos x="80" y="523"/>
                  </a:cxn>
                  <a:cxn ang="0">
                    <a:pos x="91" y="559"/>
                  </a:cxn>
                  <a:cxn ang="0">
                    <a:pos x="93" y="572"/>
                  </a:cxn>
                  <a:cxn ang="0">
                    <a:pos x="95" y="598"/>
                  </a:cxn>
                  <a:cxn ang="0">
                    <a:pos x="95" y="613"/>
                  </a:cxn>
                  <a:cxn ang="0">
                    <a:pos x="104" y="635"/>
                  </a:cxn>
                  <a:cxn ang="0">
                    <a:pos x="118" y="635"/>
                  </a:cxn>
                  <a:cxn ang="0">
                    <a:pos x="144" y="645"/>
                  </a:cxn>
                  <a:cxn ang="0">
                    <a:pos x="157" y="656"/>
                  </a:cxn>
                  <a:cxn ang="0">
                    <a:pos x="161" y="666"/>
                  </a:cxn>
                  <a:cxn ang="0">
                    <a:pos x="189" y="654"/>
                  </a:cxn>
                  <a:cxn ang="0">
                    <a:pos x="206" y="645"/>
                  </a:cxn>
                  <a:cxn ang="0">
                    <a:pos x="248" y="626"/>
                  </a:cxn>
                  <a:cxn ang="0">
                    <a:pos x="260" y="617"/>
                  </a:cxn>
                  <a:cxn ang="0">
                    <a:pos x="293" y="603"/>
                  </a:cxn>
                  <a:cxn ang="0">
                    <a:pos x="328" y="554"/>
                  </a:cxn>
                  <a:cxn ang="0">
                    <a:pos x="382" y="418"/>
                  </a:cxn>
                  <a:cxn ang="0">
                    <a:pos x="60" y="653"/>
                  </a:cxn>
                  <a:cxn ang="0">
                    <a:pos x="45" y="651"/>
                  </a:cxn>
                  <a:cxn ang="0">
                    <a:pos x="50" y="670"/>
                  </a:cxn>
                  <a:cxn ang="0">
                    <a:pos x="39" y="658"/>
                  </a:cxn>
                  <a:cxn ang="0">
                    <a:pos x="55" y="670"/>
                  </a:cxn>
                  <a:cxn ang="0">
                    <a:pos x="107" y="657"/>
                  </a:cxn>
                  <a:cxn ang="0">
                    <a:pos x="113" y="654"/>
                  </a:cxn>
                  <a:cxn ang="0">
                    <a:pos x="148" y="643"/>
                  </a:cxn>
                  <a:cxn ang="0">
                    <a:pos x="136" y="655"/>
                  </a:cxn>
                  <a:cxn ang="0">
                    <a:pos x="147" y="649"/>
                  </a:cxn>
                  <a:cxn ang="0">
                    <a:pos x="112" y="643"/>
                  </a:cxn>
                  <a:cxn ang="0">
                    <a:pos x="99" y="634"/>
                  </a:cxn>
                  <a:cxn ang="0">
                    <a:pos x="94" y="628"/>
                  </a:cxn>
                  <a:cxn ang="0">
                    <a:pos x="175" y="667"/>
                  </a:cxn>
                  <a:cxn ang="0">
                    <a:pos x="62" y="461"/>
                  </a:cxn>
                  <a:cxn ang="0">
                    <a:pos x="72" y="456"/>
                  </a:cxn>
                  <a:cxn ang="0">
                    <a:pos x="157" y="329"/>
                  </a:cxn>
                  <a:cxn ang="0">
                    <a:pos x="153" y="336"/>
                  </a:cxn>
                  <a:cxn ang="0">
                    <a:pos x="243" y="631"/>
                  </a:cxn>
                  <a:cxn ang="0">
                    <a:pos x="265" y="614"/>
                  </a:cxn>
                </a:cxnLst>
                <a:rect l="0" t="0" r="r" b="b"/>
                <a:pathLst>
                  <a:path w="382" h="674">
                    <a:moveTo>
                      <a:pt x="382" y="418"/>
                    </a:moveTo>
                    <a:cubicBezTo>
                      <a:pt x="381" y="412"/>
                      <a:pt x="369" y="412"/>
                      <a:pt x="369" y="412"/>
                    </a:cubicBezTo>
                    <a:cubicBezTo>
                      <a:pt x="366" y="404"/>
                      <a:pt x="366" y="404"/>
                      <a:pt x="366" y="404"/>
                    </a:cubicBezTo>
                    <a:cubicBezTo>
                      <a:pt x="350" y="396"/>
                      <a:pt x="350" y="396"/>
                      <a:pt x="350" y="396"/>
                    </a:cubicBezTo>
                    <a:cubicBezTo>
                      <a:pt x="339" y="394"/>
                      <a:pt x="339" y="394"/>
                      <a:pt x="339" y="394"/>
                    </a:cubicBezTo>
                    <a:cubicBezTo>
                      <a:pt x="318" y="380"/>
                      <a:pt x="318" y="380"/>
                      <a:pt x="318" y="380"/>
                    </a:cubicBezTo>
                    <a:cubicBezTo>
                      <a:pt x="327" y="374"/>
                      <a:pt x="327" y="374"/>
                      <a:pt x="327" y="374"/>
                    </a:cubicBezTo>
                    <a:cubicBezTo>
                      <a:pt x="326" y="370"/>
                      <a:pt x="326" y="370"/>
                      <a:pt x="326" y="370"/>
                    </a:cubicBezTo>
                    <a:cubicBezTo>
                      <a:pt x="326" y="370"/>
                      <a:pt x="331" y="355"/>
                      <a:pt x="327" y="346"/>
                    </a:cubicBezTo>
                    <a:cubicBezTo>
                      <a:pt x="323" y="338"/>
                      <a:pt x="313" y="344"/>
                      <a:pt x="308" y="335"/>
                    </a:cubicBezTo>
                    <a:cubicBezTo>
                      <a:pt x="301" y="326"/>
                      <a:pt x="307" y="320"/>
                      <a:pt x="307" y="320"/>
                    </a:cubicBezTo>
                    <a:cubicBezTo>
                      <a:pt x="302" y="312"/>
                      <a:pt x="302" y="312"/>
                      <a:pt x="302" y="312"/>
                    </a:cubicBezTo>
                    <a:cubicBezTo>
                      <a:pt x="292" y="317"/>
                      <a:pt x="292" y="317"/>
                      <a:pt x="292" y="317"/>
                    </a:cubicBezTo>
                    <a:cubicBezTo>
                      <a:pt x="285" y="301"/>
                      <a:pt x="285" y="301"/>
                      <a:pt x="285" y="301"/>
                    </a:cubicBezTo>
                    <a:cubicBezTo>
                      <a:pt x="292" y="296"/>
                      <a:pt x="292" y="296"/>
                      <a:pt x="292" y="296"/>
                    </a:cubicBezTo>
                    <a:cubicBezTo>
                      <a:pt x="291" y="291"/>
                      <a:pt x="291" y="291"/>
                      <a:pt x="291" y="291"/>
                    </a:cubicBezTo>
                    <a:cubicBezTo>
                      <a:pt x="280" y="293"/>
                      <a:pt x="280" y="293"/>
                      <a:pt x="280" y="293"/>
                    </a:cubicBezTo>
                    <a:cubicBezTo>
                      <a:pt x="283" y="281"/>
                      <a:pt x="283" y="281"/>
                      <a:pt x="283" y="281"/>
                    </a:cubicBezTo>
                    <a:cubicBezTo>
                      <a:pt x="280" y="272"/>
                      <a:pt x="280" y="272"/>
                      <a:pt x="280" y="272"/>
                    </a:cubicBezTo>
                    <a:cubicBezTo>
                      <a:pt x="284" y="267"/>
                      <a:pt x="284" y="267"/>
                      <a:pt x="284" y="267"/>
                    </a:cubicBezTo>
                    <a:cubicBezTo>
                      <a:pt x="277" y="265"/>
                      <a:pt x="277" y="265"/>
                      <a:pt x="277" y="265"/>
                    </a:cubicBezTo>
                    <a:cubicBezTo>
                      <a:pt x="288" y="259"/>
                      <a:pt x="288" y="259"/>
                      <a:pt x="288" y="259"/>
                    </a:cubicBezTo>
                    <a:cubicBezTo>
                      <a:pt x="288" y="259"/>
                      <a:pt x="286" y="249"/>
                      <a:pt x="281" y="240"/>
                    </a:cubicBezTo>
                    <a:cubicBezTo>
                      <a:pt x="277" y="232"/>
                      <a:pt x="264" y="225"/>
                      <a:pt x="264" y="225"/>
                    </a:cubicBezTo>
                    <a:cubicBezTo>
                      <a:pt x="261" y="223"/>
                      <a:pt x="262" y="214"/>
                      <a:pt x="254" y="208"/>
                    </a:cubicBezTo>
                    <a:cubicBezTo>
                      <a:pt x="248" y="204"/>
                      <a:pt x="237" y="187"/>
                      <a:pt x="237" y="187"/>
                    </a:cubicBezTo>
                    <a:cubicBezTo>
                      <a:pt x="237" y="187"/>
                      <a:pt x="252" y="152"/>
                      <a:pt x="251" y="142"/>
                    </a:cubicBezTo>
                    <a:cubicBezTo>
                      <a:pt x="250" y="133"/>
                      <a:pt x="238" y="133"/>
                      <a:pt x="238" y="133"/>
                    </a:cubicBezTo>
                    <a:cubicBezTo>
                      <a:pt x="226" y="117"/>
                      <a:pt x="226" y="117"/>
                      <a:pt x="226" y="117"/>
                    </a:cubicBezTo>
                    <a:cubicBezTo>
                      <a:pt x="205" y="113"/>
                      <a:pt x="205" y="113"/>
                      <a:pt x="205" y="113"/>
                    </a:cubicBezTo>
                    <a:cubicBezTo>
                      <a:pt x="196" y="90"/>
                      <a:pt x="196" y="90"/>
                      <a:pt x="196" y="90"/>
                    </a:cubicBezTo>
                    <a:cubicBezTo>
                      <a:pt x="199" y="70"/>
                      <a:pt x="199" y="70"/>
                      <a:pt x="199" y="70"/>
                    </a:cubicBezTo>
                    <a:cubicBezTo>
                      <a:pt x="188" y="68"/>
                      <a:pt x="188" y="68"/>
                      <a:pt x="188" y="68"/>
                    </a:cubicBezTo>
                    <a:cubicBezTo>
                      <a:pt x="197" y="57"/>
                      <a:pt x="197" y="57"/>
                      <a:pt x="197" y="57"/>
                    </a:cubicBezTo>
                    <a:cubicBezTo>
                      <a:pt x="197" y="57"/>
                      <a:pt x="194" y="52"/>
                      <a:pt x="194" y="46"/>
                    </a:cubicBezTo>
                    <a:cubicBezTo>
                      <a:pt x="194" y="41"/>
                      <a:pt x="202" y="27"/>
                      <a:pt x="202" y="27"/>
                    </a:cubicBezTo>
                    <a:cubicBezTo>
                      <a:pt x="195" y="16"/>
                      <a:pt x="195" y="16"/>
                      <a:pt x="195" y="16"/>
                    </a:cubicBezTo>
                    <a:cubicBezTo>
                      <a:pt x="172" y="13"/>
                      <a:pt x="172" y="13"/>
                      <a:pt x="172" y="13"/>
                    </a:cubicBezTo>
                    <a:cubicBezTo>
                      <a:pt x="172" y="13"/>
                      <a:pt x="163" y="0"/>
                      <a:pt x="157" y="1"/>
                    </a:cubicBezTo>
                    <a:cubicBezTo>
                      <a:pt x="151" y="2"/>
                      <a:pt x="142" y="14"/>
                      <a:pt x="142" y="14"/>
                    </a:cubicBezTo>
                    <a:cubicBezTo>
                      <a:pt x="142" y="14"/>
                      <a:pt x="135" y="12"/>
                      <a:pt x="129" y="15"/>
                    </a:cubicBezTo>
                    <a:cubicBezTo>
                      <a:pt x="123" y="17"/>
                      <a:pt x="124" y="29"/>
                      <a:pt x="124" y="29"/>
                    </a:cubicBezTo>
                    <a:cubicBezTo>
                      <a:pt x="121" y="33"/>
                      <a:pt x="121" y="33"/>
                      <a:pt x="121" y="33"/>
                    </a:cubicBezTo>
                    <a:cubicBezTo>
                      <a:pt x="119" y="66"/>
                      <a:pt x="119" y="66"/>
                      <a:pt x="119" y="66"/>
                    </a:cubicBezTo>
                    <a:cubicBezTo>
                      <a:pt x="119" y="66"/>
                      <a:pt x="121" y="75"/>
                      <a:pt x="122" y="80"/>
                    </a:cubicBezTo>
                    <a:cubicBezTo>
                      <a:pt x="122" y="86"/>
                      <a:pt x="119" y="90"/>
                      <a:pt x="117" y="93"/>
                    </a:cubicBezTo>
                    <a:cubicBezTo>
                      <a:pt x="114" y="97"/>
                      <a:pt x="112" y="110"/>
                      <a:pt x="112" y="110"/>
                    </a:cubicBezTo>
                    <a:cubicBezTo>
                      <a:pt x="105" y="103"/>
                      <a:pt x="105" y="103"/>
                      <a:pt x="105" y="103"/>
                    </a:cubicBezTo>
                    <a:cubicBezTo>
                      <a:pt x="93" y="102"/>
                      <a:pt x="93" y="102"/>
                      <a:pt x="93" y="102"/>
                    </a:cubicBezTo>
                    <a:cubicBezTo>
                      <a:pt x="93" y="102"/>
                      <a:pt x="91" y="97"/>
                      <a:pt x="86" y="97"/>
                    </a:cubicBezTo>
                    <a:cubicBezTo>
                      <a:pt x="80" y="97"/>
                      <a:pt x="78" y="105"/>
                      <a:pt x="78" y="105"/>
                    </a:cubicBezTo>
                    <a:cubicBezTo>
                      <a:pt x="69" y="111"/>
                      <a:pt x="69" y="111"/>
                      <a:pt x="69" y="111"/>
                    </a:cubicBezTo>
                    <a:cubicBezTo>
                      <a:pt x="62" y="107"/>
                      <a:pt x="62" y="107"/>
                      <a:pt x="62" y="107"/>
                    </a:cubicBezTo>
                    <a:cubicBezTo>
                      <a:pt x="51" y="107"/>
                      <a:pt x="51" y="107"/>
                      <a:pt x="51" y="107"/>
                    </a:cubicBezTo>
                    <a:cubicBezTo>
                      <a:pt x="46" y="108"/>
                      <a:pt x="46" y="108"/>
                      <a:pt x="46" y="108"/>
                    </a:cubicBezTo>
                    <a:cubicBezTo>
                      <a:pt x="46" y="108"/>
                      <a:pt x="44" y="99"/>
                      <a:pt x="37" y="93"/>
                    </a:cubicBezTo>
                    <a:cubicBezTo>
                      <a:pt x="32" y="88"/>
                      <a:pt x="25" y="78"/>
                      <a:pt x="25" y="78"/>
                    </a:cubicBezTo>
                    <a:cubicBezTo>
                      <a:pt x="25" y="78"/>
                      <a:pt x="16" y="75"/>
                      <a:pt x="12" y="80"/>
                    </a:cubicBezTo>
                    <a:cubicBezTo>
                      <a:pt x="6" y="84"/>
                      <a:pt x="14" y="91"/>
                      <a:pt x="13" y="93"/>
                    </a:cubicBezTo>
                    <a:cubicBezTo>
                      <a:pt x="11" y="95"/>
                      <a:pt x="2" y="90"/>
                      <a:pt x="2" y="90"/>
                    </a:cubicBezTo>
                    <a:cubicBezTo>
                      <a:pt x="0" y="95"/>
                      <a:pt x="0" y="95"/>
                      <a:pt x="0" y="95"/>
                    </a:cubicBezTo>
                    <a:cubicBezTo>
                      <a:pt x="5" y="95"/>
                      <a:pt x="5" y="95"/>
                      <a:pt x="5" y="95"/>
                    </a:cubicBezTo>
                    <a:cubicBezTo>
                      <a:pt x="8" y="98"/>
                      <a:pt x="8" y="98"/>
                      <a:pt x="8" y="98"/>
                    </a:cubicBezTo>
                    <a:cubicBezTo>
                      <a:pt x="9" y="104"/>
                      <a:pt x="9" y="104"/>
                      <a:pt x="9" y="104"/>
                    </a:cubicBezTo>
                    <a:cubicBezTo>
                      <a:pt x="19" y="108"/>
                      <a:pt x="19" y="108"/>
                      <a:pt x="19" y="108"/>
                    </a:cubicBezTo>
                    <a:cubicBezTo>
                      <a:pt x="23" y="108"/>
                      <a:pt x="23" y="108"/>
                      <a:pt x="23" y="108"/>
                    </a:cubicBezTo>
                    <a:cubicBezTo>
                      <a:pt x="25" y="115"/>
                      <a:pt x="25" y="115"/>
                      <a:pt x="25" y="115"/>
                    </a:cubicBezTo>
                    <a:cubicBezTo>
                      <a:pt x="30" y="117"/>
                      <a:pt x="30" y="117"/>
                      <a:pt x="30" y="117"/>
                    </a:cubicBezTo>
                    <a:cubicBezTo>
                      <a:pt x="32" y="120"/>
                      <a:pt x="32" y="120"/>
                      <a:pt x="32" y="120"/>
                    </a:cubicBezTo>
                    <a:cubicBezTo>
                      <a:pt x="36" y="120"/>
                      <a:pt x="36" y="120"/>
                      <a:pt x="36" y="120"/>
                    </a:cubicBezTo>
                    <a:cubicBezTo>
                      <a:pt x="40" y="124"/>
                      <a:pt x="40" y="124"/>
                      <a:pt x="40" y="124"/>
                    </a:cubicBezTo>
                    <a:cubicBezTo>
                      <a:pt x="40" y="124"/>
                      <a:pt x="53" y="126"/>
                      <a:pt x="63" y="131"/>
                    </a:cubicBezTo>
                    <a:cubicBezTo>
                      <a:pt x="72" y="136"/>
                      <a:pt x="73" y="146"/>
                      <a:pt x="73" y="146"/>
                    </a:cubicBezTo>
                    <a:cubicBezTo>
                      <a:pt x="77" y="143"/>
                      <a:pt x="77" y="143"/>
                      <a:pt x="77" y="143"/>
                    </a:cubicBezTo>
                    <a:cubicBezTo>
                      <a:pt x="77" y="143"/>
                      <a:pt x="86" y="152"/>
                      <a:pt x="88" y="155"/>
                    </a:cubicBezTo>
                    <a:cubicBezTo>
                      <a:pt x="90" y="158"/>
                      <a:pt x="85" y="158"/>
                      <a:pt x="84" y="162"/>
                    </a:cubicBezTo>
                    <a:cubicBezTo>
                      <a:pt x="83" y="167"/>
                      <a:pt x="85" y="170"/>
                      <a:pt x="86" y="174"/>
                    </a:cubicBezTo>
                    <a:cubicBezTo>
                      <a:pt x="88" y="180"/>
                      <a:pt x="86" y="186"/>
                      <a:pt x="86" y="186"/>
                    </a:cubicBezTo>
                    <a:cubicBezTo>
                      <a:pt x="97" y="188"/>
                      <a:pt x="97" y="188"/>
                      <a:pt x="97" y="188"/>
                    </a:cubicBezTo>
                    <a:cubicBezTo>
                      <a:pt x="98" y="194"/>
                      <a:pt x="98" y="194"/>
                      <a:pt x="98" y="194"/>
                    </a:cubicBezTo>
                    <a:cubicBezTo>
                      <a:pt x="95" y="197"/>
                      <a:pt x="95" y="197"/>
                      <a:pt x="95" y="197"/>
                    </a:cubicBezTo>
                    <a:cubicBezTo>
                      <a:pt x="95" y="197"/>
                      <a:pt x="94" y="199"/>
                      <a:pt x="94" y="204"/>
                    </a:cubicBezTo>
                    <a:cubicBezTo>
                      <a:pt x="94" y="210"/>
                      <a:pt x="103" y="215"/>
                      <a:pt x="105" y="218"/>
                    </a:cubicBezTo>
                    <a:cubicBezTo>
                      <a:pt x="107" y="222"/>
                      <a:pt x="106" y="229"/>
                      <a:pt x="106" y="229"/>
                    </a:cubicBezTo>
                    <a:cubicBezTo>
                      <a:pt x="106" y="229"/>
                      <a:pt x="108" y="233"/>
                      <a:pt x="110" y="237"/>
                    </a:cubicBezTo>
                    <a:cubicBezTo>
                      <a:pt x="111" y="240"/>
                      <a:pt x="106" y="243"/>
                      <a:pt x="103" y="248"/>
                    </a:cubicBezTo>
                    <a:cubicBezTo>
                      <a:pt x="101" y="252"/>
                      <a:pt x="106" y="253"/>
                      <a:pt x="106" y="253"/>
                    </a:cubicBezTo>
                    <a:cubicBezTo>
                      <a:pt x="106" y="253"/>
                      <a:pt x="106" y="254"/>
                      <a:pt x="105" y="260"/>
                    </a:cubicBezTo>
                    <a:cubicBezTo>
                      <a:pt x="105" y="264"/>
                      <a:pt x="112" y="265"/>
                      <a:pt x="114" y="266"/>
                    </a:cubicBezTo>
                    <a:cubicBezTo>
                      <a:pt x="116" y="268"/>
                      <a:pt x="115" y="271"/>
                      <a:pt x="116" y="275"/>
                    </a:cubicBezTo>
                    <a:cubicBezTo>
                      <a:pt x="117" y="279"/>
                      <a:pt x="122" y="281"/>
                      <a:pt x="122" y="281"/>
                    </a:cubicBezTo>
                    <a:cubicBezTo>
                      <a:pt x="123" y="288"/>
                      <a:pt x="123" y="288"/>
                      <a:pt x="123" y="288"/>
                    </a:cubicBezTo>
                    <a:cubicBezTo>
                      <a:pt x="128" y="286"/>
                      <a:pt x="128" y="286"/>
                      <a:pt x="128" y="286"/>
                    </a:cubicBezTo>
                    <a:cubicBezTo>
                      <a:pt x="139" y="293"/>
                      <a:pt x="139" y="293"/>
                      <a:pt x="139" y="293"/>
                    </a:cubicBezTo>
                    <a:cubicBezTo>
                      <a:pt x="139" y="295"/>
                      <a:pt x="139" y="295"/>
                      <a:pt x="139" y="295"/>
                    </a:cubicBezTo>
                    <a:cubicBezTo>
                      <a:pt x="147" y="294"/>
                      <a:pt x="147" y="294"/>
                      <a:pt x="147" y="294"/>
                    </a:cubicBezTo>
                    <a:cubicBezTo>
                      <a:pt x="154" y="297"/>
                      <a:pt x="154" y="297"/>
                      <a:pt x="154" y="297"/>
                    </a:cubicBezTo>
                    <a:cubicBezTo>
                      <a:pt x="154" y="297"/>
                      <a:pt x="159" y="301"/>
                      <a:pt x="162" y="308"/>
                    </a:cubicBezTo>
                    <a:cubicBezTo>
                      <a:pt x="166" y="314"/>
                      <a:pt x="162" y="324"/>
                      <a:pt x="162" y="324"/>
                    </a:cubicBezTo>
                    <a:cubicBezTo>
                      <a:pt x="166" y="325"/>
                      <a:pt x="166" y="325"/>
                      <a:pt x="166" y="325"/>
                    </a:cubicBezTo>
                    <a:cubicBezTo>
                      <a:pt x="169" y="334"/>
                      <a:pt x="169" y="334"/>
                      <a:pt x="169" y="334"/>
                    </a:cubicBezTo>
                    <a:cubicBezTo>
                      <a:pt x="163" y="331"/>
                      <a:pt x="163" y="331"/>
                      <a:pt x="163" y="331"/>
                    </a:cubicBezTo>
                    <a:cubicBezTo>
                      <a:pt x="162" y="334"/>
                      <a:pt x="162" y="334"/>
                      <a:pt x="162" y="334"/>
                    </a:cubicBezTo>
                    <a:cubicBezTo>
                      <a:pt x="170" y="339"/>
                      <a:pt x="170" y="339"/>
                      <a:pt x="170" y="339"/>
                    </a:cubicBezTo>
                    <a:cubicBezTo>
                      <a:pt x="167" y="342"/>
                      <a:pt x="167" y="342"/>
                      <a:pt x="167" y="342"/>
                    </a:cubicBezTo>
                    <a:cubicBezTo>
                      <a:pt x="167" y="342"/>
                      <a:pt x="160" y="340"/>
                      <a:pt x="154" y="341"/>
                    </a:cubicBezTo>
                    <a:cubicBezTo>
                      <a:pt x="150" y="342"/>
                      <a:pt x="147" y="346"/>
                      <a:pt x="147" y="346"/>
                    </a:cubicBezTo>
                    <a:cubicBezTo>
                      <a:pt x="147" y="355"/>
                      <a:pt x="147" y="355"/>
                      <a:pt x="147" y="355"/>
                    </a:cubicBezTo>
                    <a:cubicBezTo>
                      <a:pt x="145" y="357"/>
                      <a:pt x="145" y="357"/>
                      <a:pt x="145" y="357"/>
                    </a:cubicBezTo>
                    <a:cubicBezTo>
                      <a:pt x="145" y="366"/>
                      <a:pt x="145" y="366"/>
                      <a:pt x="145" y="366"/>
                    </a:cubicBezTo>
                    <a:cubicBezTo>
                      <a:pt x="142" y="367"/>
                      <a:pt x="142" y="367"/>
                      <a:pt x="142" y="367"/>
                    </a:cubicBezTo>
                    <a:cubicBezTo>
                      <a:pt x="137" y="376"/>
                      <a:pt x="137" y="376"/>
                      <a:pt x="137" y="376"/>
                    </a:cubicBezTo>
                    <a:cubicBezTo>
                      <a:pt x="129" y="395"/>
                      <a:pt x="129" y="395"/>
                      <a:pt x="129" y="395"/>
                    </a:cubicBezTo>
                    <a:cubicBezTo>
                      <a:pt x="131" y="401"/>
                      <a:pt x="131" y="401"/>
                      <a:pt x="131" y="401"/>
                    </a:cubicBezTo>
                    <a:cubicBezTo>
                      <a:pt x="123" y="399"/>
                      <a:pt x="123" y="399"/>
                      <a:pt x="123" y="399"/>
                    </a:cubicBezTo>
                    <a:cubicBezTo>
                      <a:pt x="124" y="409"/>
                      <a:pt x="124" y="409"/>
                      <a:pt x="124" y="409"/>
                    </a:cubicBezTo>
                    <a:cubicBezTo>
                      <a:pt x="117" y="413"/>
                      <a:pt x="117" y="413"/>
                      <a:pt x="117" y="413"/>
                    </a:cubicBezTo>
                    <a:cubicBezTo>
                      <a:pt x="114" y="418"/>
                      <a:pt x="114" y="418"/>
                      <a:pt x="114" y="418"/>
                    </a:cubicBezTo>
                    <a:cubicBezTo>
                      <a:pt x="112" y="413"/>
                      <a:pt x="112" y="413"/>
                      <a:pt x="112" y="413"/>
                    </a:cubicBezTo>
                    <a:cubicBezTo>
                      <a:pt x="108" y="414"/>
                      <a:pt x="108" y="414"/>
                      <a:pt x="108" y="414"/>
                    </a:cubicBezTo>
                    <a:cubicBezTo>
                      <a:pt x="108" y="417"/>
                      <a:pt x="108" y="417"/>
                      <a:pt x="108" y="417"/>
                    </a:cubicBezTo>
                    <a:cubicBezTo>
                      <a:pt x="106" y="418"/>
                      <a:pt x="106" y="418"/>
                      <a:pt x="106" y="418"/>
                    </a:cubicBezTo>
                    <a:cubicBezTo>
                      <a:pt x="105" y="421"/>
                      <a:pt x="105" y="421"/>
                      <a:pt x="105" y="421"/>
                    </a:cubicBezTo>
                    <a:cubicBezTo>
                      <a:pt x="111" y="421"/>
                      <a:pt x="111" y="421"/>
                      <a:pt x="111" y="421"/>
                    </a:cubicBezTo>
                    <a:cubicBezTo>
                      <a:pt x="113" y="422"/>
                      <a:pt x="113" y="422"/>
                      <a:pt x="113" y="422"/>
                    </a:cubicBezTo>
                    <a:cubicBezTo>
                      <a:pt x="111" y="430"/>
                      <a:pt x="111" y="430"/>
                      <a:pt x="111" y="430"/>
                    </a:cubicBezTo>
                    <a:cubicBezTo>
                      <a:pt x="111" y="430"/>
                      <a:pt x="107" y="426"/>
                      <a:pt x="104" y="428"/>
                    </a:cubicBezTo>
                    <a:cubicBezTo>
                      <a:pt x="100" y="430"/>
                      <a:pt x="102" y="436"/>
                      <a:pt x="102" y="436"/>
                    </a:cubicBezTo>
                    <a:cubicBezTo>
                      <a:pt x="102" y="439"/>
                      <a:pt x="102" y="439"/>
                      <a:pt x="102" y="439"/>
                    </a:cubicBezTo>
                    <a:cubicBezTo>
                      <a:pt x="101" y="441"/>
                      <a:pt x="100" y="442"/>
                      <a:pt x="100" y="442"/>
                    </a:cubicBezTo>
                    <a:cubicBezTo>
                      <a:pt x="97" y="437"/>
                      <a:pt x="97" y="437"/>
                      <a:pt x="97" y="437"/>
                    </a:cubicBezTo>
                    <a:cubicBezTo>
                      <a:pt x="96" y="438"/>
                      <a:pt x="96" y="438"/>
                      <a:pt x="96" y="438"/>
                    </a:cubicBezTo>
                    <a:cubicBezTo>
                      <a:pt x="98" y="444"/>
                      <a:pt x="98" y="444"/>
                      <a:pt x="98" y="444"/>
                    </a:cubicBezTo>
                    <a:cubicBezTo>
                      <a:pt x="95" y="444"/>
                      <a:pt x="95" y="444"/>
                      <a:pt x="95" y="444"/>
                    </a:cubicBezTo>
                    <a:cubicBezTo>
                      <a:pt x="95" y="444"/>
                      <a:pt x="99" y="455"/>
                      <a:pt x="98" y="457"/>
                    </a:cubicBezTo>
                    <a:cubicBezTo>
                      <a:pt x="97" y="460"/>
                      <a:pt x="91" y="458"/>
                      <a:pt x="89" y="458"/>
                    </a:cubicBezTo>
                    <a:cubicBezTo>
                      <a:pt x="82" y="458"/>
                      <a:pt x="82" y="458"/>
                      <a:pt x="82" y="458"/>
                    </a:cubicBezTo>
                    <a:cubicBezTo>
                      <a:pt x="82" y="458"/>
                      <a:pt x="82" y="462"/>
                      <a:pt x="80" y="462"/>
                    </a:cubicBezTo>
                    <a:cubicBezTo>
                      <a:pt x="79" y="462"/>
                      <a:pt x="77" y="459"/>
                      <a:pt x="77" y="459"/>
                    </a:cubicBezTo>
                    <a:cubicBezTo>
                      <a:pt x="75" y="467"/>
                      <a:pt x="75" y="467"/>
                      <a:pt x="75" y="467"/>
                    </a:cubicBezTo>
                    <a:cubicBezTo>
                      <a:pt x="83" y="475"/>
                      <a:pt x="83" y="475"/>
                      <a:pt x="83" y="475"/>
                    </a:cubicBezTo>
                    <a:cubicBezTo>
                      <a:pt x="77" y="474"/>
                      <a:pt x="77" y="474"/>
                      <a:pt x="77" y="474"/>
                    </a:cubicBezTo>
                    <a:cubicBezTo>
                      <a:pt x="75" y="482"/>
                      <a:pt x="75" y="482"/>
                      <a:pt x="75" y="482"/>
                    </a:cubicBezTo>
                    <a:cubicBezTo>
                      <a:pt x="75" y="482"/>
                      <a:pt x="77" y="484"/>
                      <a:pt x="77" y="486"/>
                    </a:cubicBezTo>
                    <a:cubicBezTo>
                      <a:pt x="77" y="487"/>
                      <a:pt x="72" y="487"/>
                      <a:pt x="72" y="487"/>
                    </a:cubicBezTo>
                    <a:cubicBezTo>
                      <a:pt x="69" y="492"/>
                      <a:pt x="69" y="492"/>
                      <a:pt x="69" y="492"/>
                    </a:cubicBezTo>
                    <a:cubicBezTo>
                      <a:pt x="68" y="504"/>
                      <a:pt x="68" y="504"/>
                      <a:pt x="68" y="504"/>
                    </a:cubicBezTo>
                    <a:cubicBezTo>
                      <a:pt x="72" y="504"/>
                      <a:pt x="72" y="504"/>
                      <a:pt x="72" y="504"/>
                    </a:cubicBezTo>
                    <a:cubicBezTo>
                      <a:pt x="72" y="504"/>
                      <a:pt x="69" y="508"/>
                      <a:pt x="70" y="513"/>
                    </a:cubicBezTo>
                    <a:cubicBezTo>
                      <a:pt x="70" y="517"/>
                      <a:pt x="78" y="519"/>
                      <a:pt x="80" y="523"/>
                    </a:cubicBezTo>
                    <a:cubicBezTo>
                      <a:pt x="83" y="528"/>
                      <a:pt x="80" y="534"/>
                      <a:pt x="80" y="534"/>
                    </a:cubicBezTo>
                    <a:cubicBezTo>
                      <a:pt x="80" y="543"/>
                      <a:pt x="80" y="543"/>
                      <a:pt x="80" y="543"/>
                    </a:cubicBezTo>
                    <a:cubicBezTo>
                      <a:pt x="83" y="546"/>
                      <a:pt x="83" y="546"/>
                      <a:pt x="83" y="546"/>
                    </a:cubicBezTo>
                    <a:cubicBezTo>
                      <a:pt x="86" y="544"/>
                      <a:pt x="86" y="544"/>
                      <a:pt x="86" y="544"/>
                    </a:cubicBezTo>
                    <a:cubicBezTo>
                      <a:pt x="86" y="544"/>
                      <a:pt x="86" y="550"/>
                      <a:pt x="87" y="552"/>
                    </a:cubicBezTo>
                    <a:cubicBezTo>
                      <a:pt x="88" y="555"/>
                      <a:pt x="91" y="559"/>
                      <a:pt x="91" y="559"/>
                    </a:cubicBezTo>
                    <a:cubicBezTo>
                      <a:pt x="90" y="561"/>
                      <a:pt x="90" y="561"/>
                      <a:pt x="90" y="561"/>
                    </a:cubicBezTo>
                    <a:cubicBezTo>
                      <a:pt x="94" y="562"/>
                      <a:pt x="94" y="562"/>
                      <a:pt x="94" y="562"/>
                    </a:cubicBezTo>
                    <a:cubicBezTo>
                      <a:pt x="95" y="567"/>
                      <a:pt x="95" y="567"/>
                      <a:pt x="95" y="567"/>
                    </a:cubicBezTo>
                    <a:cubicBezTo>
                      <a:pt x="90" y="566"/>
                      <a:pt x="90" y="566"/>
                      <a:pt x="90" y="566"/>
                    </a:cubicBezTo>
                    <a:cubicBezTo>
                      <a:pt x="90" y="569"/>
                      <a:pt x="90" y="569"/>
                      <a:pt x="90" y="569"/>
                    </a:cubicBezTo>
                    <a:cubicBezTo>
                      <a:pt x="93" y="572"/>
                      <a:pt x="93" y="572"/>
                      <a:pt x="93" y="572"/>
                    </a:cubicBezTo>
                    <a:cubicBezTo>
                      <a:pt x="89" y="572"/>
                      <a:pt x="89" y="572"/>
                      <a:pt x="89" y="572"/>
                    </a:cubicBezTo>
                    <a:cubicBezTo>
                      <a:pt x="93" y="577"/>
                      <a:pt x="93" y="577"/>
                      <a:pt x="93" y="577"/>
                    </a:cubicBezTo>
                    <a:cubicBezTo>
                      <a:pt x="90" y="578"/>
                      <a:pt x="90" y="578"/>
                      <a:pt x="90" y="578"/>
                    </a:cubicBezTo>
                    <a:cubicBezTo>
                      <a:pt x="95" y="584"/>
                      <a:pt x="95" y="584"/>
                      <a:pt x="95" y="584"/>
                    </a:cubicBezTo>
                    <a:cubicBezTo>
                      <a:pt x="95" y="584"/>
                      <a:pt x="96" y="588"/>
                      <a:pt x="94" y="591"/>
                    </a:cubicBezTo>
                    <a:cubicBezTo>
                      <a:pt x="91" y="593"/>
                      <a:pt x="95" y="598"/>
                      <a:pt x="95" y="598"/>
                    </a:cubicBezTo>
                    <a:cubicBezTo>
                      <a:pt x="95" y="598"/>
                      <a:pt x="90" y="599"/>
                      <a:pt x="90" y="603"/>
                    </a:cubicBezTo>
                    <a:cubicBezTo>
                      <a:pt x="91" y="607"/>
                      <a:pt x="94" y="610"/>
                      <a:pt x="94" y="610"/>
                    </a:cubicBezTo>
                    <a:cubicBezTo>
                      <a:pt x="91" y="610"/>
                      <a:pt x="91" y="610"/>
                      <a:pt x="91" y="610"/>
                    </a:cubicBezTo>
                    <a:cubicBezTo>
                      <a:pt x="88" y="607"/>
                      <a:pt x="88" y="607"/>
                      <a:pt x="88" y="607"/>
                    </a:cubicBezTo>
                    <a:cubicBezTo>
                      <a:pt x="87" y="613"/>
                      <a:pt x="87" y="613"/>
                      <a:pt x="87" y="613"/>
                    </a:cubicBezTo>
                    <a:cubicBezTo>
                      <a:pt x="95" y="613"/>
                      <a:pt x="95" y="613"/>
                      <a:pt x="95" y="613"/>
                    </a:cubicBezTo>
                    <a:cubicBezTo>
                      <a:pt x="93" y="614"/>
                      <a:pt x="93" y="614"/>
                      <a:pt x="93" y="614"/>
                    </a:cubicBezTo>
                    <a:cubicBezTo>
                      <a:pt x="94" y="619"/>
                      <a:pt x="94" y="619"/>
                      <a:pt x="94" y="619"/>
                    </a:cubicBezTo>
                    <a:cubicBezTo>
                      <a:pt x="97" y="622"/>
                      <a:pt x="97" y="622"/>
                      <a:pt x="97" y="622"/>
                    </a:cubicBezTo>
                    <a:cubicBezTo>
                      <a:pt x="97" y="622"/>
                      <a:pt x="95" y="624"/>
                      <a:pt x="97" y="628"/>
                    </a:cubicBezTo>
                    <a:cubicBezTo>
                      <a:pt x="99" y="632"/>
                      <a:pt x="101" y="632"/>
                      <a:pt x="101" y="632"/>
                    </a:cubicBezTo>
                    <a:cubicBezTo>
                      <a:pt x="104" y="635"/>
                      <a:pt x="104" y="635"/>
                      <a:pt x="104" y="635"/>
                    </a:cubicBezTo>
                    <a:cubicBezTo>
                      <a:pt x="104" y="630"/>
                      <a:pt x="104" y="630"/>
                      <a:pt x="104" y="630"/>
                    </a:cubicBezTo>
                    <a:cubicBezTo>
                      <a:pt x="110" y="626"/>
                      <a:pt x="110" y="626"/>
                      <a:pt x="110" y="626"/>
                    </a:cubicBezTo>
                    <a:cubicBezTo>
                      <a:pt x="110" y="635"/>
                      <a:pt x="110" y="635"/>
                      <a:pt x="110" y="635"/>
                    </a:cubicBezTo>
                    <a:cubicBezTo>
                      <a:pt x="112" y="635"/>
                      <a:pt x="112" y="635"/>
                      <a:pt x="112" y="635"/>
                    </a:cubicBezTo>
                    <a:cubicBezTo>
                      <a:pt x="113" y="631"/>
                      <a:pt x="113" y="631"/>
                      <a:pt x="113" y="631"/>
                    </a:cubicBezTo>
                    <a:cubicBezTo>
                      <a:pt x="118" y="635"/>
                      <a:pt x="118" y="635"/>
                      <a:pt x="118" y="635"/>
                    </a:cubicBezTo>
                    <a:cubicBezTo>
                      <a:pt x="124" y="635"/>
                      <a:pt x="124" y="635"/>
                      <a:pt x="124" y="635"/>
                    </a:cubicBezTo>
                    <a:cubicBezTo>
                      <a:pt x="131" y="638"/>
                      <a:pt x="131" y="638"/>
                      <a:pt x="131" y="638"/>
                    </a:cubicBezTo>
                    <a:cubicBezTo>
                      <a:pt x="137" y="638"/>
                      <a:pt x="137" y="638"/>
                      <a:pt x="137" y="638"/>
                    </a:cubicBezTo>
                    <a:cubicBezTo>
                      <a:pt x="135" y="646"/>
                      <a:pt x="135" y="646"/>
                      <a:pt x="135" y="646"/>
                    </a:cubicBezTo>
                    <a:cubicBezTo>
                      <a:pt x="137" y="648"/>
                      <a:pt x="137" y="648"/>
                      <a:pt x="137" y="648"/>
                    </a:cubicBezTo>
                    <a:cubicBezTo>
                      <a:pt x="144" y="645"/>
                      <a:pt x="144" y="645"/>
                      <a:pt x="144" y="645"/>
                    </a:cubicBezTo>
                    <a:cubicBezTo>
                      <a:pt x="151" y="639"/>
                      <a:pt x="151" y="639"/>
                      <a:pt x="151" y="639"/>
                    </a:cubicBezTo>
                    <a:cubicBezTo>
                      <a:pt x="152" y="640"/>
                      <a:pt x="152" y="640"/>
                      <a:pt x="152" y="640"/>
                    </a:cubicBezTo>
                    <a:cubicBezTo>
                      <a:pt x="149" y="649"/>
                      <a:pt x="149" y="649"/>
                      <a:pt x="149" y="649"/>
                    </a:cubicBezTo>
                    <a:cubicBezTo>
                      <a:pt x="154" y="653"/>
                      <a:pt x="154" y="653"/>
                      <a:pt x="154" y="653"/>
                    </a:cubicBezTo>
                    <a:cubicBezTo>
                      <a:pt x="153" y="657"/>
                      <a:pt x="153" y="657"/>
                      <a:pt x="153" y="657"/>
                    </a:cubicBezTo>
                    <a:cubicBezTo>
                      <a:pt x="157" y="656"/>
                      <a:pt x="157" y="656"/>
                      <a:pt x="157" y="656"/>
                    </a:cubicBezTo>
                    <a:cubicBezTo>
                      <a:pt x="157" y="658"/>
                      <a:pt x="157" y="658"/>
                      <a:pt x="157" y="658"/>
                    </a:cubicBezTo>
                    <a:cubicBezTo>
                      <a:pt x="150" y="664"/>
                      <a:pt x="150" y="664"/>
                      <a:pt x="150" y="664"/>
                    </a:cubicBezTo>
                    <a:cubicBezTo>
                      <a:pt x="151" y="666"/>
                      <a:pt x="151" y="666"/>
                      <a:pt x="151" y="666"/>
                    </a:cubicBezTo>
                    <a:cubicBezTo>
                      <a:pt x="156" y="666"/>
                      <a:pt x="156" y="666"/>
                      <a:pt x="156" y="666"/>
                    </a:cubicBezTo>
                    <a:cubicBezTo>
                      <a:pt x="159" y="662"/>
                      <a:pt x="159" y="662"/>
                      <a:pt x="159" y="662"/>
                    </a:cubicBezTo>
                    <a:cubicBezTo>
                      <a:pt x="159" y="662"/>
                      <a:pt x="161" y="664"/>
                      <a:pt x="161" y="666"/>
                    </a:cubicBezTo>
                    <a:cubicBezTo>
                      <a:pt x="162" y="669"/>
                      <a:pt x="152" y="674"/>
                      <a:pt x="152" y="674"/>
                    </a:cubicBezTo>
                    <a:cubicBezTo>
                      <a:pt x="163" y="671"/>
                      <a:pt x="163" y="671"/>
                      <a:pt x="163" y="671"/>
                    </a:cubicBezTo>
                    <a:cubicBezTo>
                      <a:pt x="171" y="655"/>
                      <a:pt x="171" y="655"/>
                      <a:pt x="171" y="655"/>
                    </a:cubicBezTo>
                    <a:cubicBezTo>
                      <a:pt x="169" y="663"/>
                      <a:pt x="169" y="663"/>
                      <a:pt x="169" y="663"/>
                    </a:cubicBezTo>
                    <a:cubicBezTo>
                      <a:pt x="181" y="660"/>
                      <a:pt x="181" y="660"/>
                      <a:pt x="181" y="660"/>
                    </a:cubicBezTo>
                    <a:cubicBezTo>
                      <a:pt x="189" y="654"/>
                      <a:pt x="189" y="654"/>
                      <a:pt x="189" y="654"/>
                    </a:cubicBezTo>
                    <a:cubicBezTo>
                      <a:pt x="192" y="654"/>
                      <a:pt x="192" y="654"/>
                      <a:pt x="192" y="654"/>
                    </a:cubicBezTo>
                    <a:cubicBezTo>
                      <a:pt x="198" y="649"/>
                      <a:pt x="198" y="649"/>
                      <a:pt x="198" y="649"/>
                    </a:cubicBezTo>
                    <a:cubicBezTo>
                      <a:pt x="201" y="650"/>
                      <a:pt x="201" y="650"/>
                      <a:pt x="201" y="650"/>
                    </a:cubicBezTo>
                    <a:cubicBezTo>
                      <a:pt x="203" y="655"/>
                      <a:pt x="203" y="655"/>
                      <a:pt x="203" y="655"/>
                    </a:cubicBezTo>
                    <a:cubicBezTo>
                      <a:pt x="206" y="653"/>
                      <a:pt x="206" y="653"/>
                      <a:pt x="206" y="653"/>
                    </a:cubicBezTo>
                    <a:cubicBezTo>
                      <a:pt x="206" y="645"/>
                      <a:pt x="206" y="645"/>
                      <a:pt x="206" y="645"/>
                    </a:cubicBezTo>
                    <a:cubicBezTo>
                      <a:pt x="221" y="638"/>
                      <a:pt x="221" y="638"/>
                      <a:pt x="221" y="638"/>
                    </a:cubicBezTo>
                    <a:cubicBezTo>
                      <a:pt x="222" y="635"/>
                      <a:pt x="222" y="635"/>
                      <a:pt x="222" y="635"/>
                    </a:cubicBezTo>
                    <a:cubicBezTo>
                      <a:pt x="235" y="629"/>
                      <a:pt x="235" y="629"/>
                      <a:pt x="235" y="629"/>
                    </a:cubicBezTo>
                    <a:cubicBezTo>
                      <a:pt x="235" y="622"/>
                      <a:pt x="235" y="622"/>
                      <a:pt x="235" y="622"/>
                    </a:cubicBezTo>
                    <a:cubicBezTo>
                      <a:pt x="235" y="622"/>
                      <a:pt x="237" y="628"/>
                      <a:pt x="241" y="628"/>
                    </a:cubicBezTo>
                    <a:cubicBezTo>
                      <a:pt x="244" y="628"/>
                      <a:pt x="248" y="626"/>
                      <a:pt x="248" y="626"/>
                    </a:cubicBezTo>
                    <a:cubicBezTo>
                      <a:pt x="245" y="624"/>
                      <a:pt x="245" y="624"/>
                      <a:pt x="245" y="624"/>
                    </a:cubicBezTo>
                    <a:cubicBezTo>
                      <a:pt x="246" y="620"/>
                      <a:pt x="246" y="620"/>
                      <a:pt x="246" y="620"/>
                    </a:cubicBezTo>
                    <a:cubicBezTo>
                      <a:pt x="251" y="624"/>
                      <a:pt x="251" y="624"/>
                      <a:pt x="251" y="624"/>
                    </a:cubicBezTo>
                    <a:cubicBezTo>
                      <a:pt x="251" y="622"/>
                      <a:pt x="251" y="622"/>
                      <a:pt x="251" y="622"/>
                    </a:cubicBezTo>
                    <a:cubicBezTo>
                      <a:pt x="245" y="613"/>
                      <a:pt x="245" y="613"/>
                      <a:pt x="245" y="613"/>
                    </a:cubicBezTo>
                    <a:cubicBezTo>
                      <a:pt x="245" y="613"/>
                      <a:pt x="254" y="619"/>
                      <a:pt x="260" y="617"/>
                    </a:cubicBezTo>
                    <a:cubicBezTo>
                      <a:pt x="264" y="614"/>
                      <a:pt x="262" y="611"/>
                      <a:pt x="262" y="611"/>
                    </a:cubicBezTo>
                    <a:cubicBezTo>
                      <a:pt x="268" y="610"/>
                      <a:pt x="268" y="610"/>
                      <a:pt x="268" y="610"/>
                    </a:cubicBezTo>
                    <a:cubicBezTo>
                      <a:pt x="273" y="608"/>
                      <a:pt x="273" y="608"/>
                      <a:pt x="273" y="608"/>
                    </a:cubicBezTo>
                    <a:cubicBezTo>
                      <a:pt x="279" y="608"/>
                      <a:pt x="279" y="608"/>
                      <a:pt x="279" y="608"/>
                    </a:cubicBezTo>
                    <a:cubicBezTo>
                      <a:pt x="283" y="602"/>
                      <a:pt x="283" y="602"/>
                      <a:pt x="283" y="602"/>
                    </a:cubicBezTo>
                    <a:cubicBezTo>
                      <a:pt x="293" y="603"/>
                      <a:pt x="293" y="603"/>
                      <a:pt x="293" y="603"/>
                    </a:cubicBezTo>
                    <a:cubicBezTo>
                      <a:pt x="304" y="598"/>
                      <a:pt x="304" y="598"/>
                      <a:pt x="304" y="598"/>
                    </a:cubicBezTo>
                    <a:cubicBezTo>
                      <a:pt x="304" y="597"/>
                      <a:pt x="304" y="597"/>
                      <a:pt x="304" y="597"/>
                    </a:cubicBezTo>
                    <a:cubicBezTo>
                      <a:pt x="312" y="581"/>
                      <a:pt x="312" y="581"/>
                      <a:pt x="312" y="581"/>
                    </a:cubicBezTo>
                    <a:cubicBezTo>
                      <a:pt x="323" y="566"/>
                      <a:pt x="323" y="566"/>
                      <a:pt x="323" y="566"/>
                    </a:cubicBezTo>
                    <a:cubicBezTo>
                      <a:pt x="327" y="563"/>
                      <a:pt x="327" y="563"/>
                      <a:pt x="327" y="563"/>
                    </a:cubicBezTo>
                    <a:cubicBezTo>
                      <a:pt x="328" y="554"/>
                      <a:pt x="328" y="554"/>
                      <a:pt x="328" y="554"/>
                    </a:cubicBezTo>
                    <a:cubicBezTo>
                      <a:pt x="341" y="540"/>
                      <a:pt x="341" y="540"/>
                      <a:pt x="341" y="540"/>
                    </a:cubicBezTo>
                    <a:cubicBezTo>
                      <a:pt x="341" y="540"/>
                      <a:pt x="346" y="527"/>
                      <a:pt x="349" y="521"/>
                    </a:cubicBezTo>
                    <a:cubicBezTo>
                      <a:pt x="352" y="516"/>
                      <a:pt x="360" y="496"/>
                      <a:pt x="363" y="485"/>
                    </a:cubicBezTo>
                    <a:cubicBezTo>
                      <a:pt x="366" y="473"/>
                      <a:pt x="375" y="460"/>
                      <a:pt x="375" y="460"/>
                    </a:cubicBezTo>
                    <a:cubicBezTo>
                      <a:pt x="375" y="460"/>
                      <a:pt x="377" y="456"/>
                      <a:pt x="378" y="452"/>
                    </a:cubicBezTo>
                    <a:cubicBezTo>
                      <a:pt x="380" y="448"/>
                      <a:pt x="382" y="424"/>
                      <a:pt x="382" y="418"/>
                    </a:cubicBezTo>
                    <a:close/>
                    <a:moveTo>
                      <a:pt x="52" y="662"/>
                    </a:moveTo>
                    <a:cubicBezTo>
                      <a:pt x="52" y="658"/>
                      <a:pt x="52" y="658"/>
                      <a:pt x="52" y="658"/>
                    </a:cubicBezTo>
                    <a:cubicBezTo>
                      <a:pt x="54" y="657"/>
                      <a:pt x="54" y="657"/>
                      <a:pt x="54" y="657"/>
                    </a:cubicBezTo>
                    <a:cubicBezTo>
                      <a:pt x="54" y="657"/>
                      <a:pt x="54" y="659"/>
                      <a:pt x="55" y="661"/>
                    </a:cubicBezTo>
                    <a:cubicBezTo>
                      <a:pt x="56" y="662"/>
                      <a:pt x="61" y="660"/>
                      <a:pt x="61" y="660"/>
                    </a:cubicBezTo>
                    <a:cubicBezTo>
                      <a:pt x="60" y="653"/>
                      <a:pt x="60" y="653"/>
                      <a:pt x="60" y="653"/>
                    </a:cubicBezTo>
                    <a:cubicBezTo>
                      <a:pt x="55" y="653"/>
                      <a:pt x="55" y="653"/>
                      <a:pt x="55" y="653"/>
                    </a:cubicBezTo>
                    <a:cubicBezTo>
                      <a:pt x="55" y="650"/>
                      <a:pt x="55" y="650"/>
                      <a:pt x="55" y="650"/>
                    </a:cubicBezTo>
                    <a:cubicBezTo>
                      <a:pt x="51" y="651"/>
                      <a:pt x="51" y="651"/>
                      <a:pt x="51" y="651"/>
                    </a:cubicBezTo>
                    <a:cubicBezTo>
                      <a:pt x="51" y="651"/>
                      <a:pt x="50" y="649"/>
                      <a:pt x="50" y="647"/>
                    </a:cubicBezTo>
                    <a:cubicBezTo>
                      <a:pt x="50" y="646"/>
                      <a:pt x="47" y="644"/>
                      <a:pt x="45" y="648"/>
                    </a:cubicBezTo>
                    <a:cubicBezTo>
                      <a:pt x="45" y="651"/>
                      <a:pt x="45" y="651"/>
                      <a:pt x="45" y="651"/>
                    </a:cubicBezTo>
                    <a:cubicBezTo>
                      <a:pt x="48" y="657"/>
                      <a:pt x="48" y="657"/>
                      <a:pt x="48" y="657"/>
                    </a:cubicBezTo>
                    <a:cubicBezTo>
                      <a:pt x="45" y="659"/>
                      <a:pt x="45" y="659"/>
                      <a:pt x="45" y="659"/>
                    </a:cubicBezTo>
                    <a:cubicBezTo>
                      <a:pt x="44" y="655"/>
                      <a:pt x="44" y="655"/>
                      <a:pt x="44" y="655"/>
                    </a:cubicBezTo>
                    <a:cubicBezTo>
                      <a:pt x="41" y="658"/>
                      <a:pt x="41" y="658"/>
                      <a:pt x="41" y="658"/>
                    </a:cubicBezTo>
                    <a:cubicBezTo>
                      <a:pt x="46" y="669"/>
                      <a:pt x="46" y="669"/>
                      <a:pt x="46" y="669"/>
                    </a:cubicBezTo>
                    <a:cubicBezTo>
                      <a:pt x="50" y="670"/>
                      <a:pt x="50" y="670"/>
                      <a:pt x="50" y="670"/>
                    </a:cubicBezTo>
                    <a:cubicBezTo>
                      <a:pt x="54" y="666"/>
                      <a:pt x="54" y="666"/>
                      <a:pt x="54" y="666"/>
                    </a:cubicBezTo>
                    <a:cubicBezTo>
                      <a:pt x="54" y="662"/>
                      <a:pt x="54" y="662"/>
                      <a:pt x="54" y="662"/>
                    </a:cubicBezTo>
                    <a:lnTo>
                      <a:pt x="52" y="662"/>
                    </a:lnTo>
                    <a:close/>
                    <a:moveTo>
                      <a:pt x="37" y="666"/>
                    </a:moveTo>
                    <a:cubicBezTo>
                      <a:pt x="41" y="664"/>
                      <a:pt x="41" y="664"/>
                      <a:pt x="41" y="664"/>
                    </a:cubicBezTo>
                    <a:cubicBezTo>
                      <a:pt x="39" y="658"/>
                      <a:pt x="39" y="658"/>
                      <a:pt x="39" y="658"/>
                    </a:cubicBezTo>
                    <a:lnTo>
                      <a:pt x="37" y="666"/>
                    </a:lnTo>
                    <a:close/>
                    <a:moveTo>
                      <a:pt x="55" y="670"/>
                    </a:moveTo>
                    <a:cubicBezTo>
                      <a:pt x="61" y="674"/>
                      <a:pt x="61" y="674"/>
                      <a:pt x="61" y="674"/>
                    </a:cubicBezTo>
                    <a:cubicBezTo>
                      <a:pt x="63" y="671"/>
                      <a:pt x="63" y="671"/>
                      <a:pt x="63" y="671"/>
                    </a:cubicBezTo>
                    <a:cubicBezTo>
                      <a:pt x="56" y="667"/>
                      <a:pt x="56" y="667"/>
                      <a:pt x="56" y="667"/>
                    </a:cubicBezTo>
                    <a:lnTo>
                      <a:pt x="55" y="670"/>
                    </a:lnTo>
                    <a:close/>
                    <a:moveTo>
                      <a:pt x="63" y="663"/>
                    </a:moveTo>
                    <a:cubicBezTo>
                      <a:pt x="61" y="664"/>
                      <a:pt x="61" y="667"/>
                      <a:pt x="64" y="667"/>
                    </a:cubicBezTo>
                    <a:cubicBezTo>
                      <a:pt x="66" y="666"/>
                      <a:pt x="66" y="662"/>
                      <a:pt x="63" y="663"/>
                    </a:cubicBezTo>
                    <a:close/>
                    <a:moveTo>
                      <a:pt x="107" y="657"/>
                    </a:moveTo>
                    <a:cubicBezTo>
                      <a:pt x="104" y="657"/>
                      <a:pt x="100" y="662"/>
                      <a:pt x="106" y="661"/>
                    </a:cubicBezTo>
                    <a:cubicBezTo>
                      <a:pt x="106" y="661"/>
                      <a:pt x="111" y="657"/>
                      <a:pt x="107" y="657"/>
                    </a:cubicBezTo>
                    <a:close/>
                    <a:moveTo>
                      <a:pt x="113" y="654"/>
                    </a:moveTo>
                    <a:cubicBezTo>
                      <a:pt x="111" y="655"/>
                      <a:pt x="112" y="657"/>
                      <a:pt x="112" y="657"/>
                    </a:cubicBezTo>
                    <a:cubicBezTo>
                      <a:pt x="110" y="659"/>
                      <a:pt x="110" y="659"/>
                      <a:pt x="110" y="659"/>
                    </a:cubicBezTo>
                    <a:cubicBezTo>
                      <a:pt x="111" y="660"/>
                      <a:pt x="111" y="660"/>
                      <a:pt x="111" y="660"/>
                    </a:cubicBezTo>
                    <a:cubicBezTo>
                      <a:pt x="117" y="655"/>
                      <a:pt x="117" y="655"/>
                      <a:pt x="117" y="655"/>
                    </a:cubicBezTo>
                    <a:cubicBezTo>
                      <a:pt x="117" y="655"/>
                      <a:pt x="115" y="653"/>
                      <a:pt x="113" y="654"/>
                    </a:cubicBezTo>
                    <a:close/>
                    <a:moveTo>
                      <a:pt x="119" y="654"/>
                    </a:moveTo>
                    <a:cubicBezTo>
                      <a:pt x="120" y="657"/>
                      <a:pt x="120" y="657"/>
                      <a:pt x="120" y="657"/>
                    </a:cubicBezTo>
                    <a:cubicBezTo>
                      <a:pt x="122" y="656"/>
                      <a:pt x="122" y="656"/>
                      <a:pt x="122" y="656"/>
                    </a:cubicBezTo>
                    <a:cubicBezTo>
                      <a:pt x="122" y="654"/>
                      <a:pt x="122" y="654"/>
                      <a:pt x="122" y="654"/>
                    </a:cubicBezTo>
                    <a:lnTo>
                      <a:pt x="119" y="654"/>
                    </a:lnTo>
                    <a:close/>
                    <a:moveTo>
                      <a:pt x="148" y="643"/>
                    </a:moveTo>
                    <a:cubicBezTo>
                      <a:pt x="146" y="647"/>
                      <a:pt x="146" y="647"/>
                      <a:pt x="146" y="647"/>
                    </a:cubicBezTo>
                    <a:cubicBezTo>
                      <a:pt x="142" y="648"/>
                      <a:pt x="142" y="648"/>
                      <a:pt x="142" y="648"/>
                    </a:cubicBezTo>
                    <a:cubicBezTo>
                      <a:pt x="139" y="650"/>
                      <a:pt x="139" y="650"/>
                      <a:pt x="139" y="650"/>
                    </a:cubicBezTo>
                    <a:cubicBezTo>
                      <a:pt x="134" y="651"/>
                      <a:pt x="134" y="651"/>
                      <a:pt x="134" y="651"/>
                    </a:cubicBezTo>
                    <a:cubicBezTo>
                      <a:pt x="133" y="655"/>
                      <a:pt x="133" y="655"/>
                      <a:pt x="133" y="655"/>
                    </a:cubicBezTo>
                    <a:cubicBezTo>
                      <a:pt x="136" y="655"/>
                      <a:pt x="136" y="655"/>
                      <a:pt x="136" y="655"/>
                    </a:cubicBezTo>
                    <a:cubicBezTo>
                      <a:pt x="133" y="659"/>
                      <a:pt x="133" y="659"/>
                      <a:pt x="133" y="659"/>
                    </a:cubicBezTo>
                    <a:cubicBezTo>
                      <a:pt x="133" y="664"/>
                      <a:pt x="133" y="664"/>
                      <a:pt x="133" y="664"/>
                    </a:cubicBezTo>
                    <a:cubicBezTo>
                      <a:pt x="139" y="661"/>
                      <a:pt x="139" y="661"/>
                      <a:pt x="139" y="661"/>
                    </a:cubicBezTo>
                    <a:cubicBezTo>
                      <a:pt x="145" y="661"/>
                      <a:pt x="145" y="661"/>
                      <a:pt x="145" y="661"/>
                    </a:cubicBezTo>
                    <a:cubicBezTo>
                      <a:pt x="149" y="654"/>
                      <a:pt x="149" y="654"/>
                      <a:pt x="149" y="654"/>
                    </a:cubicBezTo>
                    <a:cubicBezTo>
                      <a:pt x="147" y="649"/>
                      <a:pt x="147" y="649"/>
                      <a:pt x="147" y="649"/>
                    </a:cubicBezTo>
                    <a:cubicBezTo>
                      <a:pt x="149" y="644"/>
                      <a:pt x="149" y="644"/>
                      <a:pt x="149" y="644"/>
                    </a:cubicBezTo>
                    <a:lnTo>
                      <a:pt x="148" y="643"/>
                    </a:lnTo>
                    <a:close/>
                    <a:moveTo>
                      <a:pt x="111" y="639"/>
                    </a:moveTo>
                    <a:cubicBezTo>
                      <a:pt x="112" y="640"/>
                      <a:pt x="112" y="640"/>
                      <a:pt x="112" y="640"/>
                    </a:cubicBezTo>
                    <a:cubicBezTo>
                      <a:pt x="110" y="643"/>
                      <a:pt x="110" y="643"/>
                      <a:pt x="110" y="643"/>
                    </a:cubicBezTo>
                    <a:cubicBezTo>
                      <a:pt x="112" y="643"/>
                      <a:pt x="112" y="643"/>
                      <a:pt x="112" y="643"/>
                    </a:cubicBezTo>
                    <a:cubicBezTo>
                      <a:pt x="114" y="642"/>
                      <a:pt x="114" y="642"/>
                      <a:pt x="114" y="642"/>
                    </a:cubicBezTo>
                    <a:cubicBezTo>
                      <a:pt x="117" y="644"/>
                      <a:pt x="117" y="644"/>
                      <a:pt x="117" y="644"/>
                    </a:cubicBezTo>
                    <a:cubicBezTo>
                      <a:pt x="118" y="641"/>
                      <a:pt x="118" y="641"/>
                      <a:pt x="118" y="641"/>
                    </a:cubicBezTo>
                    <a:cubicBezTo>
                      <a:pt x="113" y="638"/>
                      <a:pt x="113" y="638"/>
                      <a:pt x="113" y="638"/>
                    </a:cubicBezTo>
                    <a:lnTo>
                      <a:pt x="111" y="639"/>
                    </a:lnTo>
                    <a:close/>
                    <a:moveTo>
                      <a:pt x="99" y="634"/>
                    </a:moveTo>
                    <a:cubicBezTo>
                      <a:pt x="95" y="631"/>
                      <a:pt x="94" y="630"/>
                      <a:pt x="95" y="632"/>
                    </a:cubicBezTo>
                    <a:cubicBezTo>
                      <a:pt x="97" y="637"/>
                      <a:pt x="97" y="637"/>
                      <a:pt x="97" y="637"/>
                    </a:cubicBezTo>
                    <a:cubicBezTo>
                      <a:pt x="102" y="637"/>
                      <a:pt x="102" y="637"/>
                      <a:pt x="99" y="634"/>
                    </a:cubicBezTo>
                    <a:close/>
                    <a:moveTo>
                      <a:pt x="90" y="628"/>
                    </a:moveTo>
                    <a:cubicBezTo>
                      <a:pt x="93" y="631"/>
                      <a:pt x="93" y="631"/>
                      <a:pt x="93" y="631"/>
                    </a:cubicBezTo>
                    <a:cubicBezTo>
                      <a:pt x="94" y="628"/>
                      <a:pt x="94" y="628"/>
                      <a:pt x="94" y="628"/>
                    </a:cubicBezTo>
                    <a:cubicBezTo>
                      <a:pt x="91" y="627"/>
                      <a:pt x="91" y="627"/>
                      <a:pt x="91" y="627"/>
                    </a:cubicBezTo>
                    <a:lnTo>
                      <a:pt x="90" y="628"/>
                    </a:lnTo>
                    <a:close/>
                    <a:moveTo>
                      <a:pt x="175" y="667"/>
                    </a:moveTo>
                    <a:cubicBezTo>
                      <a:pt x="175" y="664"/>
                      <a:pt x="175" y="664"/>
                      <a:pt x="175" y="664"/>
                    </a:cubicBezTo>
                    <a:cubicBezTo>
                      <a:pt x="170" y="666"/>
                      <a:pt x="170" y="666"/>
                      <a:pt x="170" y="666"/>
                    </a:cubicBezTo>
                    <a:lnTo>
                      <a:pt x="175" y="667"/>
                    </a:lnTo>
                    <a:close/>
                    <a:moveTo>
                      <a:pt x="74" y="466"/>
                    </a:moveTo>
                    <a:cubicBezTo>
                      <a:pt x="72" y="462"/>
                      <a:pt x="72" y="462"/>
                      <a:pt x="72" y="462"/>
                    </a:cubicBezTo>
                    <a:cubicBezTo>
                      <a:pt x="72" y="462"/>
                      <a:pt x="69" y="464"/>
                      <a:pt x="68" y="464"/>
                    </a:cubicBezTo>
                    <a:cubicBezTo>
                      <a:pt x="66" y="464"/>
                      <a:pt x="67" y="461"/>
                      <a:pt x="67" y="461"/>
                    </a:cubicBezTo>
                    <a:cubicBezTo>
                      <a:pt x="66" y="459"/>
                      <a:pt x="66" y="459"/>
                      <a:pt x="66" y="459"/>
                    </a:cubicBezTo>
                    <a:cubicBezTo>
                      <a:pt x="62" y="461"/>
                      <a:pt x="62" y="461"/>
                      <a:pt x="62" y="461"/>
                    </a:cubicBezTo>
                    <a:cubicBezTo>
                      <a:pt x="66" y="468"/>
                      <a:pt x="66" y="468"/>
                      <a:pt x="66" y="468"/>
                    </a:cubicBezTo>
                    <a:cubicBezTo>
                      <a:pt x="71" y="469"/>
                      <a:pt x="74" y="466"/>
                      <a:pt x="74" y="466"/>
                    </a:cubicBezTo>
                    <a:close/>
                    <a:moveTo>
                      <a:pt x="72" y="456"/>
                    </a:moveTo>
                    <a:cubicBezTo>
                      <a:pt x="67" y="457"/>
                      <a:pt x="67" y="457"/>
                      <a:pt x="67" y="457"/>
                    </a:cubicBezTo>
                    <a:cubicBezTo>
                      <a:pt x="70" y="460"/>
                      <a:pt x="70" y="460"/>
                      <a:pt x="70" y="460"/>
                    </a:cubicBezTo>
                    <a:lnTo>
                      <a:pt x="72" y="456"/>
                    </a:lnTo>
                    <a:close/>
                    <a:moveTo>
                      <a:pt x="93" y="452"/>
                    </a:moveTo>
                    <a:cubicBezTo>
                      <a:pt x="90" y="456"/>
                      <a:pt x="90" y="456"/>
                      <a:pt x="90" y="456"/>
                    </a:cubicBezTo>
                    <a:cubicBezTo>
                      <a:pt x="94" y="456"/>
                      <a:pt x="94" y="456"/>
                      <a:pt x="94" y="456"/>
                    </a:cubicBezTo>
                    <a:cubicBezTo>
                      <a:pt x="97" y="454"/>
                      <a:pt x="97" y="454"/>
                      <a:pt x="97" y="454"/>
                    </a:cubicBezTo>
                    <a:lnTo>
                      <a:pt x="93" y="452"/>
                    </a:lnTo>
                    <a:close/>
                    <a:moveTo>
                      <a:pt x="157" y="329"/>
                    </a:moveTo>
                    <a:cubicBezTo>
                      <a:pt x="153" y="331"/>
                      <a:pt x="153" y="331"/>
                      <a:pt x="153" y="331"/>
                    </a:cubicBezTo>
                    <a:cubicBezTo>
                      <a:pt x="152" y="328"/>
                      <a:pt x="152" y="328"/>
                      <a:pt x="152" y="328"/>
                    </a:cubicBezTo>
                    <a:cubicBezTo>
                      <a:pt x="145" y="331"/>
                      <a:pt x="145" y="331"/>
                      <a:pt x="145" y="331"/>
                    </a:cubicBezTo>
                    <a:cubicBezTo>
                      <a:pt x="145" y="335"/>
                      <a:pt x="145" y="335"/>
                      <a:pt x="145" y="335"/>
                    </a:cubicBezTo>
                    <a:cubicBezTo>
                      <a:pt x="145" y="336"/>
                      <a:pt x="147" y="338"/>
                      <a:pt x="147" y="338"/>
                    </a:cubicBezTo>
                    <a:cubicBezTo>
                      <a:pt x="153" y="336"/>
                      <a:pt x="153" y="336"/>
                      <a:pt x="153" y="336"/>
                    </a:cubicBezTo>
                    <a:cubicBezTo>
                      <a:pt x="152" y="332"/>
                      <a:pt x="152" y="332"/>
                      <a:pt x="152" y="332"/>
                    </a:cubicBezTo>
                    <a:cubicBezTo>
                      <a:pt x="157" y="331"/>
                      <a:pt x="157" y="331"/>
                      <a:pt x="157" y="331"/>
                    </a:cubicBezTo>
                    <a:lnTo>
                      <a:pt x="157" y="329"/>
                    </a:lnTo>
                    <a:close/>
                    <a:moveTo>
                      <a:pt x="244" y="634"/>
                    </a:moveTo>
                    <a:cubicBezTo>
                      <a:pt x="247" y="630"/>
                      <a:pt x="247" y="630"/>
                      <a:pt x="247" y="630"/>
                    </a:cubicBezTo>
                    <a:cubicBezTo>
                      <a:pt x="243" y="631"/>
                      <a:pt x="243" y="631"/>
                      <a:pt x="243" y="631"/>
                    </a:cubicBezTo>
                    <a:lnTo>
                      <a:pt x="244" y="634"/>
                    </a:lnTo>
                    <a:close/>
                    <a:moveTo>
                      <a:pt x="260" y="618"/>
                    </a:moveTo>
                    <a:cubicBezTo>
                      <a:pt x="265" y="619"/>
                      <a:pt x="265" y="619"/>
                      <a:pt x="265" y="619"/>
                    </a:cubicBezTo>
                    <a:cubicBezTo>
                      <a:pt x="263" y="616"/>
                      <a:pt x="263" y="616"/>
                      <a:pt x="263" y="616"/>
                    </a:cubicBezTo>
                    <a:lnTo>
                      <a:pt x="260" y="618"/>
                    </a:lnTo>
                    <a:close/>
                    <a:moveTo>
                      <a:pt x="265" y="614"/>
                    </a:moveTo>
                    <a:cubicBezTo>
                      <a:pt x="267" y="617"/>
                      <a:pt x="267" y="617"/>
                      <a:pt x="267" y="617"/>
                    </a:cubicBezTo>
                    <a:cubicBezTo>
                      <a:pt x="271" y="615"/>
                      <a:pt x="271" y="615"/>
                      <a:pt x="271" y="615"/>
                    </a:cubicBezTo>
                    <a:cubicBezTo>
                      <a:pt x="270" y="613"/>
                      <a:pt x="270" y="613"/>
                      <a:pt x="270" y="613"/>
                    </a:cubicBezTo>
                    <a:lnTo>
                      <a:pt x="265" y="614"/>
                    </a:ln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57" name="Faroe Islands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3732213" y="2273300"/>
                <a:ext cx="109537" cy="131762"/>
              </a:xfrm>
              <a:custGeom>
                <a:avLst/>
                <a:gdLst/>
                <a:ahLst/>
                <a:cxnLst>
                  <a:cxn ang="0">
                    <a:pos x="7" y="13"/>
                  </a:cxn>
                  <a:cxn ang="0">
                    <a:pos x="0" y="11"/>
                  </a:cxn>
                  <a:cxn ang="0">
                    <a:pos x="32" y="30"/>
                  </a:cxn>
                  <a:cxn ang="0">
                    <a:pos x="29" y="30"/>
                  </a:cxn>
                  <a:cxn ang="0">
                    <a:pos x="21" y="22"/>
                  </a:cxn>
                  <a:cxn ang="0">
                    <a:pos x="21" y="26"/>
                  </a:cxn>
                  <a:cxn ang="0">
                    <a:pos x="19" y="40"/>
                  </a:cxn>
                  <a:cxn ang="0">
                    <a:pos x="21" y="37"/>
                  </a:cxn>
                  <a:cxn ang="0">
                    <a:pos x="20" y="30"/>
                  </a:cxn>
                  <a:cxn ang="0">
                    <a:pos x="23" y="34"/>
                  </a:cxn>
                  <a:cxn ang="0">
                    <a:pos x="28" y="36"/>
                  </a:cxn>
                  <a:cxn ang="0">
                    <a:pos x="20" y="30"/>
                  </a:cxn>
                  <a:cxn ang="0">
                    <a:pos x="19" y="16"/>
                  </a:cxn>
                  <a:cxn ang="0">
                    <a:pos x="14" y="13"/>
                  </a:cxn>
                  <a:cxn ang="0">
                    <a:pos x="10" y="11"/>
                  </a:cxn>
                  <a:cxn ang="0">
                    <a:pos x="11" y="17"/>
                  </a:cxn>
                  <a:cxn ang="0">
                    <a:pos x="27" y="21"/>
                  </a:cxn>
                  <a:cxn ang="0">
                    <a:pos x="23" y="11"/>
                  </a:cxn>
                  <a:cxn ang="0">
                    <a:pos x="19" y="6"/>
                  </a:cxn>
                  <a:cxn ang="0">
                    <a:pos x="22" y="16"/>
                  </a:cxn>
                  <a:cxn ang="0">
                    <a:pos x="27" y="30"/>
                  </a:cxn>
                  <a:cxn ang="0">
                    <a:pos x="27" y="21"/>
                  </a:cxn>
                  <a:cxn ang="0">
                    <a:pos x="28" y="15"/>
                  </a:cxn>
                  <a:cxn ang="0">
                    <a:pos x="30" y="16"/>
                  </a:cxn>
                  <a:cxn ang="0">
                    <a:pos x="34" y="14"/>
                  </a:cxn>
                  <a:cxn ang="0">
                    <a:pos x="32" y="9"/>
                  </a:cxn>
                  <a:cxn ang="0">
                    <a:pos x="28" y="6"/>
                  </a:cxn>
                  <a:cxn ang="0">
                    <a:pos x="29" y="2"/>
                  </a:cxn>
                  <a:cxn ang="0">
                    <a:pos x="24" y="10"/>
                  </a:cxn>
                  <a:cxn ang="0">
                    <a:pos x="31" y="14"/>
                  </a:cxn>
                  <a:cxn ang="0">
                    <a:pos x="30" y="20"/>
                  </a:cxn>
                  <a:cxn ang="0">
                    <a:pos x="35" y="18"/>
                  </a:cxn>
                  <a:cxn ang="0">
                    <a:pos x="31" y="14"/>
                  </a:cxn>
                  <a:cxn ang="0">
                    <a:pos x="38" y="10"/>
                  </a:cxn>
                  <a:cxn ang="0">
                    <a:pos x="37" y="14"/>
                  </a:cxn>
                  <a:cxn ang="0">
                    <a:pos x="42" y="13"/>
                  </a:cxn>
                  <a:cxn ang="0">
                    <a:pos x="38" y="5"/>
                  </a:cxn>
                  <a:cxn ang="0">
                    <a:pos x="44" y="9"/>
                  </a:cxn>
                  <a:cxn ang="0">
                    <a:pos x="42" y="1"/>
                  </a:cxn>
                  <a:cxn ang="0">
                    <a:pos x="38" y="1"/>
                  </a:cxn>
                  <a:cxn ang="0">
                    <a:pos x="36" y="8"/>
                  </a:cxn>
                  <a:cxn ang="0">
                    <a:pos x="38" y="1"/>
                  </a:cxn>
                  <a:cxn ang="0">
                    <a:pos x="32" y="2"/>
                  </a:cxn>
                  <a:cxn ang="0">
                    <a:pos x="34" y="2"/>
                  </a:cxn>
                  <a:cxn ang="0">
                    <a:pos x="45" y="14"/>
                  </a:cxn>
                  <a:cxn ang="0">
                    <a:pos x="47" y="11"/>
                  </a:cxn>
                  <a:cxn ang="0">
                    <a:pos x="48" y="9"/>
                  </a:cxn>
                  <a:cxn ang="0">
                    <a:pos x="48" y="5"/>
                  </a:cxn>
                  <a:cxn ang="0">
                    <a:pos x="48" y="5"/>
                  </a:cxn>
                  <a:cxn ang="0">
                    <a:pos x="16" y="49"/>
                  </a:cxn>
                  <a:cxn ang="0">
                    <a:pos x="14" y="45"/>
                  </a:cxn>
                  <a:cxn ang="0">
                    <a:pos x="13" y="55"/>
                  </a:cxn>
                  <a:cxn ang="0">
                    <a:pos x="18" y="62"/>
                  </a:cxn>
                  <a:cxn ang="0">
                    <a:pos x="17" y="57"/>
                  </a:cxn>
                  <a:cxn ang="0">
                    <a:pos x="19" y="53"/>
                  </a:cxn>
                </a:cxnLst>
                <a:rect l="0" t="0" r="r" b="b"/>
                <a:pathLst>
                  <a:path w="51" h="62">
                    <a:moveTo>
                      <a:pt x="0" y="11"/>
                    </a:moveTo>
                    <a:cubicBezTo>
                      <a:pt x="7" y="13"/>
                      <a:pt x="7" y="13"/>
                      <a:pt x="7" y="13"/>
                    </a:cubicBezTo>
                    <a:cubicBezTo>
                      <a:pt x="6" y="10"/>
                      <a:pt x="6" y="10"/>
                      <a:pt x="6" y="10"/>
                    </a:cubicBezTo>
                    <a:lnTo>
                      <a:pt x="0" y="11"/>
                    </a:lnTo>
                    <a:close/>
                    <a:moveTo>
                      <a:pt x="29" y="30"/>
                    </a:moveTo>
                    <a:cubicBezTo>
                      <a:pt x="32" y="30"/>
                      <a:pt x="32" y="30"/>
                      <a:pt x="32" y="30"/>
                    </a:cubicBezTo>
                    <a:cubicBezTo>
                      <a:pt x="30" y="24"/>
                      <a:pt x="30" y="24"/>
                      <a:pt x="30" y="24"/>
                    </a:cubicBezTo>
                    <a:lnTo>
                      <a:pt x="29" y="30"/>
                    </a:lnTo>
                    <a:close/>
                    <a:moveTo>
                      <a:pt x="22" y="27"/>
                    </a:moveTo>
                    <a:cubicBezTo>
                      <a:pt x="21" y="22"/>
                      <a:pt x="21" y="22"/>
                      <a:pt x="21" y="22"/>
                    </a:cubicBezTo>
                    <a:cubicBezTo>
                      <a:pt x="19" y="23"/>
                      <a:pt x="19" y="23"/>
                      <a:pt x="19" y="23"/>
                    </a:cubicBezTo>
                    <a:cubicBezTo>
                      <a:pt x="21" y="26"/>
                      <a:pt x="21" y="26"/>
                      <a:pt x="21" y="26"/>
                    </a:cubicBezTo>
                    <a:lnTo>
                      <a:pt x="22" y="27"/>
                    </a:lnTo>
                    <a:close/>
                    <a:moveTo>
                      <a:pt x="19" y="40"/>
                    </a:moveTo>
                    <a:cubicBezTo>
                      <a:pt x="21" y="39"/>
                      <a:pt x="21" y="39"/>
                      <a:pt x="21" y="39"/>
                    </a:cubicBezTo>
                    <a:cubicBezTo>
                      <a:pt x="21" y="37"/>
                      <a:pt x="21" y="37"/>
                      <a:pt x="21" y="37"/>
                    </a:cubicBezTo>
                    <a:lnTo>
                      <a:pt x="19" y="40"/>
                    </a:lnTo>
                    <a:close/>
                    <a:moveTo>
                      <a:pt x="20" y="30"/>
                    </a:moveTo>
                    <a:cubicBezTo>
                      <a:pt x="20" y="34"/>
                      <a:pt x="20" y="34"/>
                      <a:pt x="20" y="34"/>
                    </a:cubicBezTo>
                    <a:cubicBezTo>
                      <a:pt x="23" y="34"/>
                      <a:pt x="23" y="34"/>
                      <a:pt x="23" y="34"/>
                    </a:cubicBezTo>
                    <a:cubicBezTo>
                      <a:pt x="24" y="40"/>
                      <a:pt x="24" y="40"/>
                      <a:pt x="24" y="40"/>
                    </a:cubicBezTo>
                    <a:cubicBezTo>
                      <a:pt x="28" y="36"/>
                      <a:pt x="28" y="36"/>
                      <a:pt x="28" y="36"/>
                    </a:cubicBezTo>
                    <a:cubicBezTo>
                      <a:pt x="28" y="36"/>
                      <a:pt x="27" y="34"/>
                      <a:pt x="24" y="32"/>
                    </a:cubicBezTo>
                    <a:cubicBezTo>
                      <a:pt x="23" y="31"/>
                      <a:pt x="20" y="30"/>
                      <a:pt x="20" y="30"/>
                    </a:cubicBezTo>
                    <a:close/>
                    <a:moveTo>
                      <a:pt x="15" y="20"/>
                    </a:moveTo>
                    <a:cubicBezTo>
                      <a:pt x="18" y="19"/>
                      <a:pt x="19" y="16"/>
                      <a:pt x="19" y="16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4" y="13"/>
                      <a:pt x="14" y="13"/>
                      <a:pt x="14" y="13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10" y="11"/>
                      <a:pt x="10" y="11"/>
                      <a:pt x="10" y="11"/>
                    </a:cubicBezTo>
                    <a:cubicBezTo>
                      <a:pt x="10" y="11"/>
                      <a:pt x="12" y="13"/>
                      <a:pt x="11" y="14"/>
                    </a:cubicBezTo>
                    <a:cubicBezTo>
                      <a:pt x="11" y="17"/>
                      <a:pt x="11" y="17"/>
                      <a:pt x="11" y="17"/>
                    </a:cubicBezTo>
                    <a:cubicBezTo>
                      <a:pt x="11" y="17"/>
                      <a:pt x="12" y="20"/>
                      <a:pt x="15" y="20"/>
                    </a:cubicBezTo>
                    <a:close/>
                    <a:moveTo>
                      <a:pt x="27" y="21"/>
                    </a:moveTo>
                    <a:cubicBezTo>
                      <a:pt x="27" y="21"/>
                      <a:pt x="28" y="19"/>
                      <a:pt x="27" y="18"/>
                    </a:cubicBezTo>
                    <a:cubicBezTo>
                      <a:pt x="26" y="17"/>
                      <a:pt x="23" y="11"/>
                      <a:pt x="23" y="11"/>
                    </a:cubicBezTo>
                    <a:cubicBezTo>
                      <a:pt x="23" y="11"/>
                      <a:pt x="23" y="3"/>
                      <a:pt x="21" y="3"/>
                    </a:cubicBezTo>
                    <a:cubicBezTo>
                      <a:pt x="20" y="3"/>
                      <a:pt x="19" y="6"/>
                      <a:pt x="19" y="6"/>
                    </a:cubicBezTo>
                    <a:cubicBezTo>
                      <a:pt x="18" y="10"/>
                      <a:pt x="18" y="10"/>
                      <a:pt x="18" y="10"/>
                    </a:cubicBezTo>
                    <a:cubicBezTo>
                      <a:pt x="19" y="14"/>
                      <a:pt x="22" y="13"/>
                      <a:pt x="22" y="16"/>
                    </a:cubicBezTo>
                    <a:cubicBezTo>
                      <a:pt x="22" y="19"/>
                      <a:pt x="23" y="25"/>
                      <a:pt x="24" y="26"/>
                    </a:cubicBezTo>
                    <a:cubicBezTo>
                      <a:pt x="26" y="26"/>
                      <a:pt x="27" y="30"/>
                      <a:pt x="27" y="30"/>
                    </a:cubicBezTo>
                    <a:cubicBezTo>
                      <a:pt x="27" y="30"/>
                      <a:pt x="29" y="26"/>
                      <a:pt x="29" y="24"/>
                    </a:cubicBezTo>
                    <a:cubicBezTo>
                      <a:pt x="28" y="22"/>
                      <a:pt x="27" y="21"/>
                      <a:pt x="27" y="21"/>
                    </a:cubicBezTo>
                    <a:close/>
                    <a:moveTo>
                      <a:pt x="28" y="13"/>
                    </a:moveTo>
                    <a:cubicBezTo>
                      <a:pt x="28" y="15"/>
                      <a:pt x="28" y="15"/>
                      <a:pt x="28" y="15"/>
                    </a:cubicBezTo>
                    <a:cubicBezTo>
                      <a:pt x="30" y="18"/>
                      <a:pt x="30" y="18"/>
                      <a:pt x="30" y="18"/>
                    </a:cubicBezTo>
                    <a:cubicBezTo>
                      <a:pt x="30" y="16"/>
                      <a:pt x="30" y="16"/>
                      <a:pt x="30" y="16"/>
                    </a:cubicBezTo>
                    <a:cubicBezTo>
                      <a:pt x="30" y="14"/>
                      <a:pt x="30" y="14"/>
                      <a:pt x="30" y="14"/>
                    </a:cubicBezTo>
                    <a:cubicBezTo>
                      <a:pt x="34" y="14"/>
                      <a:pt x="34" y="14"/>
                      <a:pt x="34" y="14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32" y="9"/>
                      <a:pt x="32" y="9"/>
                      <a:pt x="32" y="9"/>
                    </a:cubicBezTo>
                    <a:cubicBezTo>
                      <a:pt x="30" y="6"/>
                      <a:pt x="30" y="6"/>
                      <a:pt x="30" y="6"/>
                    </a:cubicBezTo>
                    <a:cubicBezTo>
                      <a:pt x="28" y="6"/>
                      <a:pt x="28" y="6"/>
                      <a:pt x="28" y="6"/>
                    </a:cubicBezTo>
                    <a:cubicBezTo>
                      <a:pt x="29" y="4"/>
                      <a:pt x="29" y="4"/>
                      <a:pt x="29" y="4"/>
                    </a:cubicBezTo>
                    <a:cubicBezTo>
                      <a:pt x="29" y="2"/>
                      <a:pt x="29" y="2"/>
                      <a:pt x="29" y="2"/>
                    </a:cubicBezTo>
                    <a:cubicBezTo>
                      <a:pt x="24" y="2"/>
                      <a:pt x="24" y="2"/>
                      <a:pt x="24" y="2"/>
                    </a:cubicBezTo>
                    <a:cubicBezTo>
                      <a:pt x="24" y="10"/>
                      <a:pt x="24" y="10"/>
                      <a:pt x="24" y="10"/>
                    </a:cubicBezTo>
                    <a:lnTo>
                      <a:pt x="28" y="13"/>
                    </a:lnTo>
                    <a:close/>
                    <a:moveTo>
                      <a:pt x="31" y="14"/>
                    </a:moveTo>
                    <a:cubicBezTo>
                      <a:pt x="32" y="17"/>
                      <a:pt x="32" y="17"/>
                      <a:pt x="32" y="17"/>
                    </a:cubicBezTo>
                    <a:cubicBezTo>
                      <a:pt x="30" y="20"/>
                      <a:pt x="30" y="20"/>
                      <a:pt x="30" y="20"/>
                    </a:cubicBezTo>
                    <a:cubicBezTo>
                      <a:pt x="32" y="21"/>
                      <a:pt x="32" y="21"/>
                      <a:pt x="32" y="21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3" y="15"/>
                      <a:pt x="33" y="15"/>
                      <a:pt x="33" y="15"/>
                    </a:cubicBezTo>
                    <a:lnTo>
                      <a:pt x="31" y="14"/>
                    </a:lnTo>
                    <a:close/>
                    <a:moveTo>
                      <a:pt x="38" y="5"/>
                    </a:moveTo>
                    <a:cubicBezTo>
                      <a:pt x="38" y="10"/>
                      <a:pt x="38" y="10"/>
                      <a:pt x="38" y="10"/>
                    </a:cubicBezTo>
                    <a:cubicBezTo>
                      <a:pt x="37" y="11"/>
                      <a:pt x="37" y="11"/>
                      <a:pt x="37" y="11"/>
                    </a:cubicBezTo>
                    <a:cubicBezTo>
                      <a:pt x="37" y="14"/>
                      <a:pt x="37" y="14"/>
                      <a:pt x="37" y="14"/>
                    </a:cubicBezTo>
                    <a:cubicBezTo>
                      <a:pt x="40" y="16"/>
                      <a:pt x="40" y="16"/>
                      <a:pt x="40" y="16"/>
                    </a:cubicBezTo>
                    <a:cubicBezTo>
                      <a:pt x="42" y="13"/>
                      <a:pt x="42" y="13"/>
                      <a:pt x="42" y="13"/>
                    </a:cubicBezTo>
                    <a:cubicBezTo>
                      <a:pt x="39" y="5"/>
                      <a:pt x="39" y="5"/>
                      <a:pt x="39" y="5"/>
                    </a:cubicBezTo>
                    <a:lnTo>
                      <a:pt x="38" y="5"/>
                    </a:lnTo>
                    <a:close/>
                    <a:moveTo>
                      <a:pt x="43" y="8"/>
                    </a:moveTo>
                    <a:cubicBezTo>
                      <a:pt x="44" y="9"/>
                      <a:pt x="44" y="9"/>
                      <a:pt x="44" y="9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42" y="1"/>
                      <a:pt x="42" y="1"/>
                      <a:pt x="42" y="1"/>
                    </a:cubicBezTo>
                    <a:lnTo>
                      <a:pt x="43" y="8"/>
                    </a:lnTo>
                    <a:close/>
                    <a:moveTo>
                      <a:pt x="38" y="1"/>
                    </a:moveTo>
                    <a:cubicBezTo>
                      <a:pt x="36" y="2"/>
                      <a:pt x="36" y="2"/>
                      <a:pt x="36" y="2"/>
                    </a:cubicBezTo>
                    <a:cubicBezTo>
                      <a:pt x="36" y="8"/>
                      <a:pt x="36" y="8"/>
                      <a:pt x="36" y="8"/>
                    </a:cubicBezTo>
                    <a:cubicBezTo>
                      <a:pt x="37" y="8"/>
                      <a:pt x="37" y="8"/>
                      <a:pt x="37" y="8"/>
                    </a:cubicBezTo>
                    <a:lnTo>
                      <a:pt x="38" y="1"/>
                    </a:lnTo>
                    <a:close/>
                    <a:moveTo>
                      <a:pt x="34" y="2"/>
                    </a:moveTo>
                    <a:cubicBezTo>
                      <a:pt x="32" y="2"/>
                      <a:pt x="32" y="2"/>
                      <a:pt x="32" y="2"/>
                    </a:cubicBezTo>
                    <a:cubicBezTo>
                      <a:pt x="34" y="9"/>
                      <a:pt x="34" y="9"/>
                      <a:pt x="34" y="9"/>
                    </a:cubicBezTo>
                    <a:lnTo>
                      <a:pt x="34" y="2"/>
                    </a:lnTo>
                    <a:close/>
                    <a:moveTo>
                      <a:pt x="45" y="11"/>
                    </a:moveTo>
                    <a:cubicBezTo>
                      <a:pt x="45" y="14"/>
                      <a:pt x="45" y="14"/>
                      <a:pt x="45" y="14"/>
                    </a:cubicBezTo>
                    <a:cubicBezTo>
                      <a:pt x="47" y="15"/>
                      <a:pt x="47" y="15"/>
                      <a:pt x="47" y="15"/>
                    </a:cubicBezTo>
                    <a:cubicBezTo>
                      <a:pt x="47" y="11"/>
                      <a:pt x="47" y="11"/>
                      <a:pt x="47" y="11"/>
                    </a:cubicBezTo>
                    <a:cubicBezTo>
                      <a:pt x="49" y="10"/>
                      <a:pt x="49" y="10"/>
                      <a:pt x="49" y="10"/>
                    </a:cubicBezTo>
                    <a:cubicBezTo>
                      <a:pt x="48" y="9"/>
                      <a:pt x="48" y="9"/>
                      <a:pt x="48" y="9"/>
                    </a:cubicBezTo>
                    <a:lnTo>
                      <a:pt x="45" y="11"/>
                    </a:lnTo>
                    <a:close/>
                    <a:moveTo>
                      <a:pt x="48" y="5"/>
                    </a:moveTo>
                    <a:cubicBezTo>
                      <a:pt x="45" y="6"/>
                      <a:pt x="48" y="7"/>
                      <a:pt x="48" y="7"/>
                    </a:cubicBezTo>
                    <a:cubicBezTo>
                      <a:pt x="50" y="7"/>
                      <a:pt x="51" y="4"/>
                      <a:pt x="48" y="5"/>
                    </a:cubicBezTo>
                    <a:close/>
                    <a:moveTo>
                      <a:pt x="20" y="51"/>
                    </a:moveTo>
                    <a:cubicBezTo>
                      <a:pt x="18" y="50"/>
                      <a:pt x="16" y="50"/>
                      <a:pt x="16" y="49"/>
                    </a:cubicBezTo>
                    <a:cubicBezTo>
                      <a:pt x="16" y="48"/>
                      <a:pt x="17" y="47"/>
                      <a:pt x="17" y="46"/>
                    </a:cubicBezTo>
                    <a:cubicBezTo>
                      <a:pt x="17" y="45"/>
                      <a:pt x="15" y="42"/>
                      <a:pt x="14" y="45"/>
                    </a:cubicBezTo>
                    <a:cubicBezTo>
                      <a:pt x="13" y="47"/>
                      <a:pt x="14" y="53"/>
                      <a:pt x="14" y="53"/>
                    </a:cubicBezTo>
                    <a:cubicBezTo>
                      <a:pt x="13" y="55"/>
                      <a:pt x="13" y="55"/>
                      <a:pt x="13" y="55"/>
                    </a:cubicBezTo>
                    <a:cubicBezTo>
                      <a:pt x="17" y="62"/>
                      <a:pt x="17" y="62"/>
                      <a:pt x="17" y="62"/>
                    </a:cubicBezTo>
                    <a:cubicBezTo>
                      <a:pt x="18" y="62"/>
                      <a:pt x="18" y="62"/>
                      <a:pt x="18" y="62"/>
                    </a:cubicBezTo>
                    <a:cubicBezTo>
                      <a:pt x="19" y="58"/>
                      <a:pt x="19" y="58"/>
                      <a:pt x="19" y="58"/>
                    </a:cubicBezTo>
                    <a:cubicBezTo>
                      <a:pt x="17" y="57"/>
                      <a:pt x="17" y="57"/>
                      <a:pt x="17" y="57"/>
                    </a:cubicBezTo>
                    <a:cubicBezTo>
                      <a:pt x="19" y="57"/>
                      <a:pt x="19" y="57"/>
                      <a:pt x="19" y="57"/>
                    </a:cubicBezTo>
                    <a:cubicBezTo>
                      <a:pt x="19" y="53"/>
                      <a:pt x="19" y="53"/>
                      <a:pt x="19" y="53"/>
                    </a:cubicBezTo>
                    <a:cubicBezTo>
                      <a:pt x="19" y="53"/>
                      <a:pt x="21" y="53"/>
                      <a:pt x="20" y="51"/>
                    </a:cubicBez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58" name="Estonia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5753100" y="2689225"/>
                <a:ext cx="458787" cy="290512"/>
              </a:xfrm>
              <a:custGeom>
                <a:avLst/>
                <a:gdLst/>
                <a:ahLst/>
                <a:cxnLst>
                  <a:cxn ang="0">
                    <a:pos x="199" y="82"/>
                  </a:cxn>
                  <a:cxn ang="0">
                    <a:pos x="192" y="42"/>
                  </a:cxn>
                  <a:cxn ang="0">
                    <a:pos x="198" y="11"/>
                  </a:cxn>
                  <a:cxn ang="0">
                    <a:pos x="194" y="5"/>
                  </a:cxn>
                  <a:cxn ang="0">
                    <a:pos x="150" y="5"/>
                  </a:cxn>
                  <a:cxn ang="0">
                    <a:pos x="133" y="7"/>
                  </a:cxn>
                  <a:cxn ang="0">
                    <a:pos x="129" y="8"/>
                  </a:cxn>
                  <a:cxn ang="0">
                    <a:pos x="124" y="7"/>
                  </a:cxn>
                  <a:cxn ang="0">
                    <a:pos x="118" y="3"/>
                  </a:cxn>
                  <a:cxn ang="0">
                    <a:pos x="114" y="8"/>
                  </a:cxn>
                  <a:cxn ang="0">
                    <a:pos x="103" y="17"/>
                  </a:cxn>
                  <a:cxn ang="0">
                    <a:pos x="91" y="24"/>
                  </a:cxn>
                  <a:cxn ang="0">
                    <a:pos x="75" y="30"/>
                  </a:cxn>
                  <a:cxn ang="0">
                    <a:pos x="66" y="31"/>
                  </a:cxn>
                  <a:cxn ang="0">
                    <a:pos x="67" y="39"/>
                  </a:cxn>
                  <a:cxn ang="0">
                    <a:pos x="56" y="44"/>
                  </a:cxn>
                  <a:cxn ang="0">
                    <a:pos x="51" y="45"/>
                  </a:cxn>
                  <a:cxn ang="0">
                    <a:pos x="52" y="50"/>
                  </a:cxn>
                  <a:cxn ang="0">
                    <a:pos x="52" y="61"/>
                  </a:cxn>
                  <a:cxn ang="0">
                    <a:pos x="51" y="65"/>
                  </a:cxn>
                  <a:cxn ang="0">
                    <a:pos x="58" y="72"/>
                  </a:cxn>
                  <a:cxn ang="0">
                    <a:pos x="56" y="77"/>
                  </a:cxn>
                  <a:cxn ang="0">
                    <a:pos x="57" y="88"/>
                  </a:cxn>
                  <a:cxn ang="0">
                    <a:pos x="69" y="101"/>
                  </a:cxn>
                  <a:cxn ang="0">
                    <a:pos x="78" y="99"/>
                  </a:cxn>
                  <a:cxn ang="0">
                    <a:pos x="87" y="94"/>
                  </a:cxn>
                  <a:cxn ang="0">
                    <a:pos x="97" y="112"/>
                  </a:cxn>
                  <a:cxn ang="0">
                    <a:pos x="98" y="126"/>
                  </a:cxn>
                  <a:cxn ang="0">
                    <a:pos x="105" y="122"/>
                  </a:cxn>
                  <a:cxn ang="0">
                    <a:pos x="119" y="108"/>
                  </a:cxn>
                  <a:cxn ang="0">
                    <a:pos x="127" y="108"/>
                  </a:cxn>
                  <a:cxn ang="0">
                    <a:pos x="140" y="117"/>
                  </a:cxn>
                  <a:cxn ang="0">
                    <a:pos x="154" y="117"/>
                  </a:cxn>
                  <a:cxn ang="0">
                    <a:pos x="164" y="131"/>
                  </a:cxn>
                  <a:cxn ang="0">
                    <a:pos x="188" y="126"/>
                  </a:cxn>
                  <a:cxn ang="0">
                    <a:pos x="202" y="123"/>
                  </a:cxn>
                  <a:cxn ang="0">
                    <a:pos x="205" y="108"/>
                  </a:cxn>
                  <a:cxn ang="0">
                    <a:pos x="28" y="91"/>
                  </a:cxn>
                  <a:cxn ang="0">
                    <a:pos x="15" y="93"/>
                  </a:cxn>
                  <a:cxn ang="0">
                    <a:pos x="11" y="104"/>
                  </a:cxn>
                  <a:cxn ang="0">
                    <a:pos x="0" y="99"/>
                  </a:cxn>
                  <a:cxn ang="0">
                    <a:pos x="6" y="108"/>
                  </a:cxn>
                  <a:cxn ang="0">
                    <a:pos x="16" y="119"/>
                  </a:cxn>
                  <a:cxn ang="0">
                    <a:pos x="13" y="125"/>
                  </a:cxn>
                  <a:cxn ang="0">
                    <a:pos x="13" y="137"/>
                  </a:cxn>
                  <a:cxn ang="0">
                    <a:pos x="24" y="114"/>
                  </a:cxn>
                  <a:cxn ang="0">
                    <a:pos x="44" y="99"/>
                  </a:cxn>
                  <a:cxn ang="0">
                    <a:pos x="28" y="91"/>
                  </a:cxn>
                  <a:cxn ang="0">
                    <a:pos x="18" y="77"/>
                  </a:cxn>
                  <a:cxn ang="0">
                    <a:pos x="26" y="80"/>
                  </a:cxn>
                  <a:cxn ang="0">
                    <a:pos x="32" y="76"/>
                  </a:cxn>
                  <a:cxn ang="0">
                    <a:pos x="32" y="65"/>
                  </a:cxn>
                  <a:cxn ang="0">
                    <a:pos x="19" y="57"/>
                  </a:cxn>
                  <a:cxn ang="0">
                    <a:pos x="8" y="71"/>
                  </a:cxn>
                  <a:cxn ang="0">
                    <a:pos x="9" y="75"/>
                  </a:cxn>
                  <a:cxn ang="0">
                    <a:pos x="45" y="83"/>
                  </a:cxn>
                  <a:cxn ang="0">
                    <a:pos x="45" y="88"/>
                  </a:cxn>
                  <a:cxn ang="0">
                    <a:pos x="51" y="83"/>
                  </a:cxn>
                  <a:cxn ang="0">
                    <a:pos x="45" y="58"/>
                  </a:cxn>
                </a:cxnLst>
                <a:rect l="0" t="0" r="r" b="b"/>
                <a:pathLst>
                  <a:path w="215" h="137">
                    <a:moveTo>
                      <a:pt x="205" y="96"/>
                    </a:moveTo>
                    <a:cubicBezTo>
                      <a:pt x="205" y="96"/>
                      <a:pt x="205" y="93"/>
                      <a:pt x="204" y="89"/>
                    </a:cubicBezTo>
                    <a:cubicBezTo>
                      <a:pt x="204" y="86"/>
                      <a:pt x="199" y="82"/>
                      <a:pt x="199" y="82"/>
                    </a:cubicBezTo>
                    <a:cubicBezTo>
                      <a:pt x="199" y="82"/>
                      <a:pt x="198" y="72"/>
                      <a:pt x="195" y="65"/>
                    </a:cubicBezTo>
                    <a:cubicBezTo>
                      <a:pt x="192" y="59"/>
                      <a:pt x="186" y="47"/>
                      <a:pt x="186" y="47"/>
                    </a:cubicBezTo>
                    <a:cubicBezTo>
                      <a:pt x="186" y="47"/>
                      <a:pt x="189" y="44"/>
                      <a:pt x="192" y="42"/>
                    </a:cubicBezTo>
                    <a:cubicBezTo>
                      <a:pt x="193" y="40"/>
                      <a:pt x="197" y="30"/>
                      <a:pt x="197" y="30"/>
                    </a:cubicBezTo>
                    <a:cubicBezTo>
                      <a:pt x="200" y="14"/>
                      <a:pt x="200" y="14"/>
                      <a:pt x="200" y="14"/>
                    </a:cubicBezTo>
                    <a:cubicBezTo>
                      <a:pt x="200" y="14"/>
                      <a:pt x="198" y="12"/>
                      <a:pt x="198" y="11"/>
                    </a:cubicBezTo>
                    <a:cubicBezTo>
                      <a:pt x="198" y="9"/>
                      <a:pt x="204" y="5"/>
                      <a:pt x="204" y="5"/>
                    </a:cubicBez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0"/>
                      <a:pt x="197" y="4"/>
                      <a:pt x="194" y="5"/>
                    </a:cubicBezTo>
                    <a:cubicBezTo>
                      <a:pt x="191" y="8"/>
                      <a:pt x="184" y="4"/>
                      <a:pt x="178" y="5"/>
                    </a:cubicBezTo>
                    <a:cubicBezTo>
                      <a:pt x="171" y="7"/>
                      <a:pt x="175" y="10"/>
                      <a:pt x="167" y="10"/>
                    </a:cubicBezTo>
                    <a:cubicBezTo>
                      <a:pt x="159" y="10"/>
                      <a:pt x="150" y="5"/>
                      <a:pt x="150" y="5"/>
                    </a:cubicBezTo>
                    <a:cubicBezTo>
                      <a:pt x="147" y="8"/>
                      <a:pt x="147" y="8"/>
                      <a:pt x="147" y="8"/>
                    </a:cubicBezTo>
                    <a:cubicBezTo>
                      <a:pt x="139" y="5"/>
                      <a:pt x="139" y="5"/>
                      <a:pt x="139" y="5"/>
                    </a:cubicBezTo>
                    <a:cubicBezTo>
                      <a:pt x="133" y="7"/>
                      <a:pt x="133" y="7"/>
                      <a:pt x="133" y="7"/>
                    </a:cubicBezTo>
                    <a:cubicBezTo>
                      <a:pt x="131" y="3"/>
                      <a:pt x="131" y="3"/>
                      <a:pt x="131" y="3"/>
                    </a:cubicBezTo>
                    <a:cubicBezTo>
                      <a:pt x="128" y="4"/>
                      <a:pt x="128" y="4"/>
                      <a:pt x="128" y="4"/>
                    </a:cubicBezTo>
                    <a:cubicBezTo>
                      <a:pt x="129" y="8"/>
                      <a:pt x="129" y="8"/>
                      <a:pt x="129" y="8"/>
                    </a:cubicBezTo>
                    <a:cubicBezTo>
                      <a:pt x="126" y="8"/>
                      <a:pt x="126" y="8"/>
                      <a:pt x="126" y="8"/>
                    </a:cubicBezTo>
                    <a:cubicBezTo>
                      <a:pt x="126" y="7"/>
                      <a:pt x="126" y="7"/>
                      <a:pt x="126" y="7"/>
                    </a:cubicBezTo>
                    <a:cubicBezTo>
                      <a:pt x="124" y="7"/>
                      <a:pt x="124" y="7"/>
                      <a:pt x="124" y="7"/>
                    </a:cubicBezTo>
                    <a:cubicBezTo>
                      <a:pt x="124" y="10"/>
                      <a:pt x="124" y="10"/>
                      <a:pt x="124" y="10"/>
                    </a:cubicBezTo>
                    <a:cubicBezTo>
                      <a:pt x="122" y="10"/>
                      <a:pt x="122" y="10"/>
                      <a:pt x="122" y="10"/>
                    </a:cubicBezTo>
                    <a:cubicBezTo>
                      <a:pt x="118" y="3"/>
                      <a:pt x="118" y="3"/>
                      <a:pt x="118" y="3"/>
                    </a:cubicBezTo>
                    <a:cubicBezTo>
                      <a:pt x="117" y="4"/>
                      <a:pt x="117" y="4"/>
                      <a:pt x="117" y="4"/>
                    </a:cubicBezTo>
                    <a:cubicBezTo>
                      <a:pt x="117" y="4"/>
                      <a:pt x="119" y="10"/>
                      <a:pt x="118" y="11"/>
                    </a:cubicBezTo>
                    <a:cubicBezTo>
                      <a:pt x="117" y="11"/>
                      <a:pt x="114" y="8"/>
                      <a:pt x="114" y="8"/>
                    </a:cubicBezTo>
                    <a:cubicBezTo>
                      <a:pt x="114" y="14"/>
                      <a:pt x="114" y="14"/>
                      <a:pt x="114" y="14"/>
                    </a:cubicBezTo>
                    <a:cubicBezTo>
                      <a:pt x="114" y="14"/>
                      <a:pt x="114" y="15"/>
                      <a:pt x="112" y="16"/>
                    </a:cubicBezTo>
                    <a:cubicBezTo>
                      <a:pt x="110" y="17"/>
                      <a:pt x="103" y="17"/>
                      <a:pt x="103" y="17"/>
                    </a:cubicBezTo>
                    <a:cubicBezTo>
                      <a:pt x="103" y="17"/>
                      <a:pt x="98" y="20"/>
                      <a:pt x="97" y="20"/>
                    </a:cubicBezTo>
                    <a:cubicBezTo>
                      <a:pt x="96" y="20"/>
                      <a:pt x="90" y="15"/>
                      <a:pt x="89" y="16"/>
                    </a:cubicBezTo>
                    <a:cubicBezTo>
                      <a:pt x="88" y="17"/>
                      <a:pt x="91" y="24"/>
                      <a:pt x="91" y="24"/>
                    </a:cubicBezTo>
                    <a:cubicBezTo>
                      <a:pt x="87" y="26"/>
                      <a:pt x="87" y="26"/>
                      <a:pt x="87" y="26"/>
                    </a:cubicBezTo>
                    <a:cubicBezTo>
                      <a:pt x="87" y="26"/>
                      <a:pt x="80" y="24"/>
                      <a:pt x="78" y="25"/>
                    </a:cubicBezTo>
                    <a:cubicBezTo>
                      <a:pt x="75" y="26"/>
                      <a:pt x="75" y="30"/>
                      <a:pt x="75" y="30"/>
                    </a:cubicBezTo>
                    <a:cubicBezTo>
                      <a:pt x="72" y="30"/>
                      <a:pt x="72" y="30"/>
                      <a:pt x="72" y="30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66" y="31"/>
                      <a:pt x="66" y="31"/>
                      <a:pt x="66" y="31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6" y="33"/>
                      <a:pt x="70" y="39"/>
                      <a:pt x="69" y="40"/>
                    </a:cubicBezTo>
                    <a:cubicBezTo>
                      <a:pt x="68" y="41"/>
                      <a:pt x="67" y="39"/>
                      <a:pt x="67" y="39"/>
                    </a:cubicBezTo>
                    <a:cubicBezTo>
                      <a:pt x="60" y="40"/>
                      <a:pt x="60" y="40"/>
                      <a:pt x="60" y="40"/>
                    </a:cubicBezTo>
                    <a:cubicBezTo>
                      <a:pt x="57" y="41"/>
                      <a:pt x="57" y="41"/>
                      <a:pt x="57" y="41"/>
                    </a:cubicBezTo>
                    <a:cubicBezTo>
                      <a:pt x="56" y="44"/>
                      <a:pt x="56" y="44"/>
                      <a:pt x="56" y="44"/>
                    </a:cubicBezTo>
                    <a:cubicBezTo>
                      <a:pt x="55" y="44"/>
                      <a:pt x="55" y="44"/>
                      <a:pt x="55" y="44"/>
                    </a:cubicBezTo>
                    <a:cubicBezTo>
                      <a:pt x="51" y="46"/>
                      <a:pt x="51" y="46"/>
                      <a:pt x="51" y="46"/>
                    </a:cubicBezTo>
                    <a:cubicBezTo>
                      <a:pt x="51" y="45"/>
                      <a:pt x="51" y="45"/>
                      <a:pt x="51" y="45"/>
                    </a:cubicBezTo>
                    <a:cubicBezTo>
                      <a:pt x="50" y="45"/>
                      <a:pt x="50" y="45"/>
                      <a:pt x="50" y="45"/>
                    </a:cubicBezTo>
                    <a:cubicBezTo>
                      <a:pt x="50" y="48"/>
                      <a:pt x="50" y="48"/>
                      <a:pt x="50" y="48"/>
                    </a:cubicBezTo>
                    <a:cubicBezTo>
                      <a:pt x="52" y="50"/>
                      <a:pt x="52" y="50"/>
                      <a:pt x="52" y="50"/>
                    </a:cubicBezTo>
                    <a:cubicBezTo>
                      <a:pt x="51" y="55"/>
                      <a:pt x="51" y="55"/>
                      <a:pt x="51" y="55"/>
                    </a:cubicBezTo>
                    <a:cubicBezTo>
                      <a:pt x="51" y="55"/>
                      <a:pt x="49" y="55"/>
                      <a:pt x="49" y="57"/>
                    </a:cubicBezTo>
                    <a:cubicBezTo>
                      <a:pt x="49" y="59"/>
                      <a:pt x="51" y="61"/>
                      <a:pt x="52" y="61"/>
                    </a:cubicBezTo>
                    <a:cubicBezTo>
                      <a:pt x="54" y="61"/>
                      <a:pt x="55" y="59"/>
                      <a:pt x="55" y="59"/>
                    </a:cubicBezTo>
                    <a:cubicBezTo>
                      <a:pt x="56" y="60"/>
                      <a:pt x="56" y="60"/>
                      <a:pt x="56" y="60"/>
                    </a:cubicBezTo>
                    <a:cubicBezTo>
                      <a:pt x="56" y="60"/>
                      <a:pt x="51" y="63"/>
                      <a:pt x="51" y="65"/>
                    </a:cubicBezTo>
                    <a:cubicBezTo>
                      <a:pt x="50" y="67"/>
                      <a:pt x="54" y="71"/>
                      <a:pt x="54" y="71"/>
                    </a:cubicBezTo>
                    <a:cubicBezTo>
                      <a:pt x="53" y="75"/>
                      <a:pt x="53" y="75"/>
                      <a:pt x="53" y="75"/>
                    </a:cubicBezTo>
                    <a:cubicBezTo>
                      <a:pt x="58" y="72"/>
                      <a:pt x="58" y="72"/>
                      <a:pt x="58" y="72"/>
                    </a:cubicBezTo>
                    <a:cubicBezTo>
                      <a:pt x="64" y="73"/>
                      <a:pt x="64" y="73"/>
                      <a:pt x="64" y="73"/>
                    </a:cubicBezTo>
                    <a:cubicBezTo>
                      <a:pt x="63" y="76"/>
                      <a:pt x="63" y="76"/>
                      <a:pt x="63" y="76"/>
                    </a:cubicBezTo>
                    <a:cubicBezTo>
                      <a:pt x="56" y="77"/>
                      <a:pt x="56" y="77"/>
                      <a:pt x="56" y="77"/>
                    </a:cubicBezTo>
                    <a:cubicBezTo>
                      <a:pt x="57" y="78"/>
                      <a:pt x="57" y="78"/>
                      <a:pt x="57" y="78"/>
                    </a:cubicBezTo>
                    <a:cubicBezTo>
                      <a:pt x="55" y="79"/>
                      <a:pt x="55" y="79"/>
                      <a:pt x="55" y="79"/>
                    </a:cubicBezTo>
                    <a:cubicBezTo>
                      <a:pt x="57" y="88"/>
                      <a:pt x="57" y="88"/>
                      <a:pt x="57" y="88"/>
                    </a:cubicBezTo>
                    <a:cubicBezTo>
                      <a:pt x="57" y="88"/>
                      <a:pt x="61" y="87"/>
                      <a:pt x="63" y="89"/>
                    </a:cubicBezTo>
                    <a:cubicBezTo>
                      <a:pt x="65" y="91"/>
                      <a:pt x="66" y="94"/>
                      <a:pt x="67" y="96"/>
                    </a:cubicBezTo>
                    <a:cubicBezTo>
                      <a:pt x="68" y="98"/>
                      <a:pt x="69" y="101"/>
                      <a:pt x="69" y="101"/>
                    </a:cubicBezTo>
                    <a:cubicBezTo>
                      <a:pt x="71" y="99"/>
                      <a:pt x="71" y="99"/>
                      <a:pt x="71" y="99"/>
                    </a:cubicBezTo>
                    <a:cubicBezTo>
                      <a:pt x="73" y="102"/>
                      <a:pt x="73" y="102"/>
                      <a:pt x="73" y="102"/>
                    </a:cubicBezTo>
                    <a:cubicBezTo>
                      <a:pt x="78" y="99"/>
                      <a:pt x="78" y="99"/>
                      <a:pt x="78" y="99"/>
                    </a:cubicBezTo>
                    <a:cubicBezTo>
                      <a:pt x="83" y="104"/>
                      <a:pt x="83" y="104"/>
                      <a:pt x="83" y="104"/>
                    </a:cubicBezTo>
                    <a:cubicBezTo>
                      <a:pt x="86" y="101"/>
                      <a:pt x="86" y="101"/>
                      <a:pt x="86" y="101"/>
                    </a:cubicBezTo>
                    <a:cubicBezTo>
                      <a:pt x="86" y="101"/>
                      <a:pt x="86" y="95"/>
                      <a:pt x="87" y="94"/>
                    </a:cubicBezTo>
                    <a:cubicBezTo>
                      <a:pt x="89" y="93"/>
                      <a:pt x="95" y="94"/>
                      <a:pt x="96" y="96"/>
                    </a:cubicBezTo>
                    <a:cubicBezTo>
                      <a:pt x="98" y="97"/>
                      <a:pt x="94" y="103"/>
                      <a:pt x="94" y="103"/>
                    </a:cubicBezTo>
                    <a:cubicBezTo>
                      <a:pt x="97" y="112"/>
                      <a:pt x="97" y="112"/>
                      <a:pt x="97" y="112"/>
                    </a:cubicBezTo>
                    <a:cubicBezTo>
                      <a:pt x="95" y="120"/>
                      <a:pt x="95" y="120"/>
                      <a:pt x="95" y="120"/>
                    </a:cubicBezTo>
                    <a:cubicBezTo>
                      <a:pt x="96" y="126"/>
                      <a:pt x="96" y="126"/>
                      <a:pt x="96" y="126"/>
                    </a:cubicBezTo>
                    <a:cubicBezTo>
                      <a:pt x="98" y="126"/>
                      <a:pt x="98" y="126"/>
                      <a:pt x="98" y="126"/>
                    </a:cubicBezTo>
                    <a:cubicBezTo>
                      <a:pt x="99" y="122"/>
                      <a:pt x="99" y="122"/>
                      <a:pt x="99" y="122"/>
                    </a:cubicBezTo>
                    <a:cubicBezTo>
                      <a:pt x="102" y="119"/>
                      <a:pt x="102" y="119"/>
                      <a:pt x="102" y="119"/>
                    </a:cubicBezTo>
                    <a:cubicBezTo>
                      <a:pt x="105" y="122"/>
                      <a:pt x="105" y="122"/>
                      <a:pt x="105" y="122"/>
                    </a:cubicBezTo>
                    <a:cubicBezTo>
                      <a:pt x="108" y="115"/>
                      <a:pt x="108" y="115"/>
                      <a:pt x="108" y="115"/>
                    </a:cubicBezTo>
                    <a:cubicBezTo>
                      <a:pt x="114" y="117"/>
                      <a:pt x="114" y="117"/>
                      <a:pt x="114" y="117"/>
                    </a:cubicBezTo>
                    <a:cubicBezTo>
                      <a:pt x="119" y="108"/>
                      <a:pt x="119" y="108"/>
                      <a:pt x="119" y="108"/>
                    </a:cubicBezTo>
                    <a:cubicBezTo>
                      <a:pt x="122" y="108"/>
                      <a:pt x="122" y="108"/>
                      <a:pt x="122" y="108"/>
                    </a:cubicBezTo>
                    <a:cubicBezTo>
                      <a:pt x="126" y="113"/>
                      <a:pt x="126" y="113"/>
                      <a:pt x="126" y="113"/>
                    </a:cubicBezTo>
                    <a:cubicBezTo>
                      <a:pt x="127" y="108"/>
                      <a:pt x="127" y="108"/>
                      <a:pt x="127" y="108"/>
                    </a:cubicBezTo>
                    <a:cubicBezTo>
                      <a:pt x="133" y="112"/>
                      <a:pt x="133" y="112"/>
                      <a:pt x="133" y="112"/>
                    </a:cubicBezTo>
                    <a:cubicBezTo>
                      <a:pt x="137" y="112"/>
                      <a:pt x="137" y="112"/>
                      <a:pt x="137" y="112"/>
                    </a:cubicBezTo>
                    <a:cubicBezTo>
                      <a:pt x="140" y="117"/>
                      <a:pt x="140" y="117"/>
                      <a:pt x="140" y="117"/>
                    </a:cubicBezTo>
                    <a:cubicBezTo>
                      <a:pt x="144" y="114"/>
                      <a:pt x="144" y="114"/>
                      <a:pt x="144" y="114"/>
                    </a:cubicBezTo>
                    <a:cubicBezTo>
                      <a:pt x="144" y="114"/>
                      <a:pt x="146" y="119"/>
                      <a:pt x="148" y="119"/>
                    </a:cubicBezTo>
                    <a:cubicBezTo>
                      <a:pt x="150" y="119"/>
                      <a:pt x="154" y="117"/>
                      <a:pt x="154" y="117"/>
                    </a:cubicBezTo>
                    <a:cubicBezTo>
                      <a:pt x="154" y="121"/>
                      <a:pt x="154" y="121"/>
                      <a:pt x="154" y="121"/>
                    </a:cubicBezTo>
                    <a:cubicBezTo>
                      <a:pt x="154" y="121"/>
                      <a:pt x="159" y="123"/>
                      <a:pt x="161" y="124"/>
                    </a:cubicBezTo>
                    <a:cubicBezTo>
                      <a:pt x="163" y="126"/>
                      <a:pt x="162" y="131"/>
                      <a:pt x="164" y="131"/>
                    </a:cubicBezTo>
                    <a:cubicBezTo>
                      <a:pt x="173" y="131"/>
                      <a:pt x="173" y="131"/>
                      <a:pt x="173" y="131"/>
                    </a:cubicBezTo>
                    <a:cubicBezTo>
                      <a:pt x="177" y="134"/>
                      <a:pt x="177" y="134"/>
                      <a:pt x="177" y="134"/>
                    </a:cubicBezTo>
                    <a:cubicBezTo>
                      <a:pt x="188" y="126"/>
                      <a:pt x="188" y="126"/>
                      <a:pt x="188" y="126"/>
                    </a:cubicBezTo>
                    <a:cubicBezTo>
                      <a:pt x="188" y="126"/>
                      <a:pt x="196" y="129"/>
                      <a:pt x="199" y="128"/>
                    </a:cubicBezTo>
                    <a:cubicBezTo>
                      <a:pt x="200" y="128"/>
                      <a:pt x="202" y="128"/>
                      <a:pt x="203" y="127"/>
                    </a:cubicBezTo>
                    <a:cubicBezTo>
                      <a:pt x="202" y="123"/>
                      <a:pt x="202" y="123"/>
                      <a:pt x="202" y="123"/>
                    </a:cubicBezTo>
                    <a:cubicBezTo>
                      <a:pt x="203" y="117"/>
                      <a:pt x="203" y="117"/>
                      <a:pt x="203" y="117"/>
                    </a:cubicBezTo>
                    <a:cubicBezTo>
                      <a:pt x="203" y="117"/>
                      <a:pt x="206" y="117"/>
                      <a:pt x="208" y="114"/>
                    </a:cubicBezTo>
                    <a:cubicBezTo>
                      <a:pt x="208" y="112"/>
                      <a:pt x="205" y="108"/>
                      <a:pt x="205" y="108"/>
                    </a:cubicBezTo>
                    <a:cubicBezTo>
                      <a:pt x="205" y="108"/>
                      <a:pt x="214" y="106"/>
                      <a:pt x="215" y="104"/>
                    </a:cubicBezTo>
                    <a:cubicBezTo>
                      <a:pt x="215" y="102"/>
                      <a:pt x="205" y="96"/>
                      <a:pt x="205" y="96"/>
                    </a:cubicBezTo>
                    <a:close/>
                    <a:moveTo>
                      <a:pt x="28" y="91"/>
                    </a:moveTo>
                    <a:cubicBezTo>
                      <a:pt x="24" y="88"/>
                      <a:pt x="24" y="88"/>
                      <a:pt x="24" y="88"/>
                    </a:cubicBezTo>
                    <a:cubicBezTo>
                      <a:pt x="24" y="88"/>
                      <a:pt x="22" y="90"/>
                      <a:pt x="21" y="91"/>
                    </a:cubicBezTo>
                    <a:cubicBezTo>
                      <a:pt x="20" y="92"/>
                      <a:pt x="15" y="93"/>
                      <a:pt x="15" y="93"/>
                    </a:cubicBezTo>
                    <a:cubicBezTo>
                      <a:pt x="15" y="93"/>
                      <a:pt x="18" y="98"/>
                      <a:pt x="16" y="99"/>
                    </a:cubicBezTo>
                    <a:cubicBezTo>
                      <a:pt x="14" y="99"/>
                      <a:pt x="12" y="94"/>
                      <a:pt x="12" y="94"/>
                    </a:cubicBezTo>
                    <a:cubicBezTo>
                      <a:pt x="11" y="104"/>
                      <a:pt x="11" y="104"/>
                      <a:pt x="11" y="104"/>
                    </a:cubicBezTo>
                    <a:cubicBezTo>
                      <a:pt x="6" y="102"/>
                      <a:pt x="6" y="102"/>
                      <a:pt x="6" y="102"/>
                    </a:cubicBezTo>
                    <a:cubicBezTo>
                      <a:pt x="6" y="99"/>
                      <a:pt x="6" y="99"/>
                      <a:pt x="6" y="99"/>
                    </a:cubicBezTo>
                    <a:cubicBezTo>
                      <a:pt x="0" y="99"/>
                      <a:pt x="0" y="99"/>
                      <a:pt x="0" y="99"/>
                    </a:cubicBezTo>
                    <a:cubicBezTo>
                      <a:pt x="0" y="102"/>
                      <a:pt x="0" y="102"/>
                      <a:pt x="0" y="102"/>
                    </a:cubicBezTo>
                    <a:cubicBezTo>
                      <a:pt x="4" y="105"/>
                      <a:pt x="4" y="105"/>
                      <a:pt x="4" y="105"/>
                    </a:cubicBezTo>
                    <a:cubicBezTo>
                      <a:pt x="6" y="108"/>
                      <a:pt x="6" y="108"/>
                      <a:pt x="6" y="108"/>
                    </a:cubicBezTo>
                    <a:cubicBezTo>
                      <a:pt x="2" y="114"/>
                      <a:pt x="2" y="114"/>
                      <a:pt x="2" y="114"/>
                    </a:cubicBezTo>
                    <a:cubicBezTo>
                      <a:pt x="2" y="114"/>
                      <a:pt x="7" y="117"/>
                      <a:pt x="9" y="118"/>
                    </a:cubicBezTo>
                    <a:cubicBezTo>
                      <a:pt x="12" y="120"/>
                      <a:pt x="16" y="119"/>
                      <a:pt x="16" y="119"/>
                    </a:cubicBezTo>
                    <a:cubicBezTo>
                      <a:pt x="16" y="119"/>
                      <a:pt x="17" y="120"/>
                      <a:pt x="17" y="123"/>
                    </a:cubicBezTo>
                    <a:cubicBezTo>
                      <a:pt x="17" y="125"/>
                      <a:pt x="16" y="126"/>
                      <a:pt x="16" y="126"/>
                    </a:cubicBezTo>
                    <a:cubicBezTo>
                      <a:pt x="13" y="125"/>
                      <a:pt x="13" y="125"/>
                      <a:pt x="13" y="125"/>
                    </a:cubicBezTo>
                    <a:cubicBezTo>
                      <a:pt x="13" y="129"/>
                      <a:pt x="13" y="129"/>
                      <a:pt x="13" y="129"/>
                    </a:cubicBezTo>
                    <a:cubicBezTo>
                      <a:pt x="13" y="131"/>
                      <a:pt x="9" y="134"/>
                      <a:pt x="9" y="134"/>
                    </a:cubicBezTo>
                    <a:cubicBezTo>
                      <a:pt x="13" y="137"/>
                      <a:pt x="13" y="137"/>
                      <a:pt x="13" y="137"/>
                    </a:cubicBezTo>
                    <a:cubicBezTo>
                      <a:pt x="13" y="137"/>
                      <a:pt x="16" y="134"/>
                      <a:pt x="18" y="130"/>
                    </a:cubicBezTo>
                    <a:cubicBezTo>
                      <a:pt x="20" y="126"/>
                      <a:pt x="20" y="118"/>
                      <a:pt x="20" y="118"/>
                    </a:cubicBezTo>
                    <a:cubicBezTo>
                      <a:pt x="20" y="118"/>
                      <a:pt x="23" y="115"/>
                      <a:pt x="24" y="114"/>
                    </a:cubicBezTo>
                    <a:cubicBezTo>
                      <a:pt x="25" y="114"/>
                      <a:pt x="32" y="112"/>
                      <a:pt x="32" y="112"/>
                    </a:cubicBezTo>
                    <a:cubicBezTo>
                      <a:pt x="41" y="103"/>
                      <a:pt x="41" y="103"/>
                      <a:pt x="41" y="103"/>
                    </a:cubicBezTo>
                    <a:cubicBezTo>
                      <a:pt x="44" y="99"/>
                      <a:pt x="44" y="99"/>
                      <a:pt x="44" y="99"/>
                    </a:cubicBezTo>
                    <a:cubicBezTo>
                      <a:pt x="48" y="93"/>
                      <a:pt x="48" y="93"/>
                      <a:pt x="48" y="93"/>
                    </a:cubicBezTo>
                    <a:cubicBezTo>
                      <a:pt x="48" y="93"/>
                      <a:pt x="39" y="87"/>
                      <a:pt x="34" y="87"/>
                    </a:cubicBezTo>
                    <a:cubicBezTo>
                      <a:pt x="30" y="87"/>
                      <a:pt x="28" y="91"/>
                      <a:pt x="28" y="91"/>
                    </a:cubicBezTo>
                    <a:close/>
                    <a:moveTo>
                      <a:pt x="14" y="72"/>
                    </a:moveTo>
                    <a:cubicBezTo>
                      <a:pt x="19" y="75"/>
                      <a:pt x="19" y="75"/>
                      <a:pt x="19" y="75"/>
                    </a:cubicBezTo>
                    <a:cubicBezTo>
                      <a:pt x="18" y="77"/>
                      <a:pt x="18" y="77"/>
                      <a:pt x="18" y="77"/>
                    </a:cubicBezTo>
                    <a:cubicBezTo>
                      <a:pt x="21" y="83"/>
                      <a:pt x="21" y="83"/>
                      <a:pt x="21" y="83"/>
                    </a:cubicBezTo>
                    <a:cubicBezTo>
                      <a:pt x="24" y="83"/>
                      <a:pt x="24" y="83"/>
                      <a:pt x="24" y="83"/>
                    </a:cubicBezTo>
                    <a:cubicBezTo>
                      <a:pt x="26" y="80"/>
                      <a:pt x="26" y="80"/>
                      <a:pt x="26" y="80"/>
                    </a:cubicBezTo>
                    <a:cubicBezTo>
                      <a:pt x="28" y="78"/>
                      <a:pt x="28" y="78"/>
                      <a:pt x="28" y="78"/>
                    </a:cubicBezTo>
                    <a:cubicBezTo>
                      <a:pt x="30" y="78"/>
                      <a:pt x="30" y="78"/>
                      <a:pt x="30" y="78"/>
                    </a:cubicBezTo>
                    <a:cubicBezTo>
                      <a:pt x="32" y="76"/>
                      <a:pt x="32" y="76"/>
                      <a:pt x="32" y="76"/>
                    </a:cubicBezTo>
                    <a:cubicBezTo>
                      <a:pt x="31" y="73"/>
                      <a:pt x="31" y="73"/>
                      <a:pt x="31" y="73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38" y="72"/>
                      <a:pt x="34" y="67"/>
                      <a:pt x="32" y="65"/>
                    </a:cubicBezTo>
                    <a:cubicBezTo>
                      <a:pt x="29" y="63"/>
                      <a:pt x="26" y="63"/>
                      <a:pt x="26" y="63"/>
                    </a:cubicBezTo>
                    <a:cubicBezTo>
                      <a:pt x="22" y="59"/>
                      <a:pt x="22" y="59"/>
                      <a:pt x="22" y="59"/>
                    </a:cubicBezTo>
                    <a:cubicBezTo>
                      <a:pt x="19" y="57"/>
                      <a:pt x="19" y="57"/>
                      <a:pt x="19" y="57"/>
                    </a:cubicBezTo>
                    <a:cubicBezTo>
                      <a:pt x="20" y="62"/>
                      <a:pt x="20" y="62"/>
                      <a:pt x="20" y="62"/>
                    </a:cubicBezTo>
                    <a:cubicBezTo>
                      <a:pt x="16" y="68"/>
                      <a:pt x="16" y="68"/>
                      <a:pt x="16" y="68"/>
                    </a:cubicBezTo>
                    <a:cubicBezTo>
                      <a:pt x="8" y="71"/>
                      <a:pt x="8" y="71"/>
                      <a:pt x="8" y="71"/>
                    </a:cubicBezTo>
                    <a:cubicBezTo>
                      <a:pt x="6" y="70"/>
                      <a:pt x="6" y="70"/>
                      <a:pt x="6" y="70"/>
                    </a:cubicBezTo>
                    <a:cubicBezTo>
                      <a:pt x="2" y="72"/>
                      <a:pt x="2" y="72"/>
                      <a:pt x="2" y="72"/>
                    </a:cubicBezTo>
                    <a:cubicBezTo>
                      <a:pt x="9" y="75"/>
                      <a:pt x="9" y="75"/>
                      <a:pt x="9" y="75"/>
                    </a:cubicBezTo>
                    <a:lnTo>
                      <a:pt x="14" y="72"/>
                    </a:lnTo>
                    <a:close/>
                    <a:moveTo>
                      <a:pt x="45" y="80"/>
                    </a:moveTo>
                    <a:cubicBezTo>
                      <a:pt x="45" y="83"/>
                      <a:pt x="45" y="83"/>
                      <a:pt x="45" y="83"/>
                    </a:cubicBezTo>
                    <a:cubicBezTo>
                      <a:pt x="41" y="86"/>
                      <a:pt x="41" y="86"/>
                      <a:pt x="41" y="86"/>
                    </a:cubicBezTo>
                    <a:cubicBezTo>
                      <a:pt x="44" y="88"/>
                      <a:pt x="44" y="88"/>
                      <a:pt x="44" y="88"/>
                    </a:cubicBezTo>
                    <a:cubicBezTo>
                      <a:pt x="45" y="88"/>
                      <a:pt x="45" y="88"/>
                      <a:pt x="45" y="88"/>
                    </a:cubicBezTo>
                    <a:cubicBezTo>
                      <a:pt x="48" y="91"/>
                      <a:pt x="48" y="91"/>
                      <a:pt x="48" y="91"/>
                    </a:cubicBezTo>
                    <a:cubicBezTo>
                      <a:pt x="53" y="89"/>
                      <a:pt x="53" y="89"/>
                      <a:pt x="53" y="89"/>
                    </a:cubicBezTo>
                    <a:cubicBezTo>
                      <a:pt x="51" y="83"/>
                      <a:pt x="51" y="83"/>
                      <a:pt x="51" y="83"/>
                    </a:cubicBezTo>
                    <a:lnTo>
                      <a:pt x="45" y="80"/>
                    </a:lnTo>
                    <a:close/>
                    <a:moveTo>
                      <a:pt x="42" y="62"/>
                    </a:moveTo>
                    <a:cubicBezTo>
                      <a:pt x="53" y="65"/>
                      <a:pt x="48" y="58"/>
                      <a:pt x="45" y="58"/>
                    </a:cubicBezTo>
                    <a:cubicBezTo>
                      <a:pt x="41" y="58"/>
                      <a:pt x="35" y="60"/>
                      <a:pt x="42" y="62"/>
                    </a:cubicBez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59" name="Denmark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4700588" y="3048000"/>
                <a:ext cx="571500" cy="436562"/>
              </a:xfrm>
              <a:custGeom>
                <a:avLst/>
                <a:gdLst/>
                <a:ahLst/>
                <a:cxnLst>
                  <a:cxn ang="0">
                    <a:pos x="148" y="197"/>
                  </a:cxn>
                  <a:cxn ang="0">
                    <a:pos x="162" y="174"/>
                  </a:cxn>
                  <a:cxn ang="0">
                    <a:pos x="155" y="185"/>
                  </a:cxn>
                  <a:cxn ang="0">
                    <a:pos x="81" y="186"/>
                  </a:cxn>
                  <a:cxn ang="0">
                    <a:pos x="98" y="185"/>
                  </a:cxn>
                  <a:cxn ang="0">
                    <a:pos x="97" y="176"/>
                  </a:cxn>
                  <a:cxn ang="0">
                    <a:pos x="84" y="179"/>
                  </a:cxn>
                  <a:cxn ang="0">
                    <a:pos x="65" y="179"/>
                  </a:cxn>
                  <a:cxn ang="0">
                    <a:pos x="68" y="176"/>
                  </a:cxn>
                  <a:cxn ang="0">
                    <a:pos x="99" y="173"/>
                  </a:cxn>
                  <a:cxn ang="0">
                    <a:pos x="94" y="137"/>
                  </a:cxn>
                  <a:cxn ang="0">
                    <a:pos x="84" y="138"/>
                  </a:cxn>
                  <a:cxn ang="0">
                    <a:pos x="63" y="150"/>
                  </a:cxn>
                  <a:cxn ang="0">
                    <a:pos x="75" y="165"/>
                  </a:cxn>
                  <a:cxn ang="0">
                    <a:pos x="93" y="113"/>
                  </a:cxn>
                  <a:cxn ang="0">
                    <a:pos x="127" y="188"/>
                  </a:cxn>
                  <a:cxn ang="0">
                    <a:pos x="108" y="187"/>
                  </a:cxn>
                  <a:cxn ang="0">
                    <a:pos x="132" y="200"/>
                  </a:cxn>
                  <a:cxn ang="0">
                    <a:pos x="17" y="66"/>
                  </a:cxn>
                  <a:cxn ang="0">
                    <a:pos x="35" y="48"/>
                  </a:cxn>
                  <a:cxn ang="0">
                    <a:pos x="66" y="43"/>
                  </a:cxn>
                  <a:cxn ang="0">
                    <a:pos x="89" y="13"/>
                  </a:cxn>
                  <a:cxn ang="0">
                    <a:pos x="63" y="28"/>
                  </a:cxn>
                  <a:cxn ang="0">
                    <a:pos x="10" y="63"/>
                  </a:cxn>
                  <a:cxn ang="0">
                    <a:pos x="20" y="67"/>
                  </a:cxn>
                  <a:cxn ang="0">
                    <a:pos x="20" y="64"/>
                  </a:cxn>
                  <a:cxn ang="0">
                    <a:pos x="120" y="123"/>
                  </a:cxn>
                  <a:cxn ang="0">
                    <a:pos x="107" y="29"/>
                  </a:cxn>
                  <a:cxn ang="0">
                    <a:pos x="15" y="163"/>
                  </a:cxn>
                  <a:cxn ang="0">
                    <a:pos x="50" y="175"/>
                  </a:cxn>
                  <a:cxn ang="0">
                    <a:pos x="59" y="159"/>
                  </a:cxn>
                  <a:cxn ang="0">
                    <a:pos x="59" y="133"/>
                  </a:cxn>
                  <a:cxn ang="0">
                    <a:pos x="73" y="120"/>
                  </a:cxn>
                  <a:cxn ang="0">
                    <a:pos x="89" y="95"/>
                  </a:cxn>
                  <a:cxn ang="0">
                    <a:pos x="96" y="99"/>
                  </a:cxn>
                  <a:cxn ang="0">
                    <a:pos x="106" y="86"/>
                  </a:cxn>
                  <a:cxn ang="0">
                    <a:pos x="82" y="78"/>
                  </a:cxn>
                  <a:cxn ang="0">
                    <a:pos x="84" y="54"/>
                  </a:cxn>
                  <a:cxn ang="0">
                    <a:pos x="57" y="48"/>
                  </a:cxn>
                  <a:cxn ang="0">
                    <a:pos x="48" y="76"/>
                  </a:cxn>
                  <a:cxn ang="0">
                    <a:pos x="39" y="76"/>
                  </a:cxn>
                  <a:cxn ang="0">
                    <a:pos x="24" y="75"/>
                  </a:cxn>
                  <a:cxn ang="0">
                    <a:pos x="5" y="70"/>
                  </a:cxn>
                  <a:cxn ang="0">
                    <a:pos x="5" y="95"/>
                  </a:cxn>
                  <a:cxn ang="0">
                    <a:pos x="8" y="107"/>
                  </a:cxn>
                  <a:cxn ang="0">
                    <a:pos x="2" y="132"/>
                  </a:cxn>
                  <a:cxn ang="0">
                    <a:pos x="17" y="147"/>
                  </a:cxn>
                  <a:cxn ang="0">
                    <a:pos x="39" y="185"/>
                  </a:cxn>
                  <a:cxn ang="0">
                    <a:pos x="61" y="188"/>
                  </a:cxn>
                  <a:cxn ang="0">
                    <a:pos x="157" y="104"/>
                  </a:cxn>
                  <a:cxn ang="0">
                    <a:pos x="151" y="133"/>
                  </a:cxn>
                  <a:cxn ang="0">
                    <a:pos x="145" y="122"/>
                  </a:cxn>
                  <a:cxn ang="0">
                    <a:pos x="133" y="125"/>
                  </a:cxn>
                  <a:cxn ang="0">
                    <a:pos x="130" y="117"/>
                  </a:cxn>
                  <a:cxn ang="0">
                    <a:pos x="108" y="131"/>
                  </a:cxn>
                  <a:cxn ang="0">
                    <a:pos x="114" y="144"/>
                  </a:cxn>
                  <a:cxn ang="0">
                    <a:pos x="137" y="166"/>
                  </a:cxn>
                  <a:cxn ang="0">
                    <a:pos x="142" y="177"/>
                  </a:cxn>
                  <a:cxn ang="0">
                    <a:pos x="165" y="158"/>
                  </a:cxn>
                  <a:cxn ang="0">
                    <a:pos x="169" y="142"/>
                  </a:cxn>
                  <a:cxn ang="0">
                    <a:pos x="12" y="151"/>
                  </a:cxn>
                  <a:cxn ang="0">
                    <a:pos x="249" y="169"/>
                  </a:cxn>
                  <a:cxn ang="0">
                    <a:pos x="174" y="134"/>
                  </a:cxn>
                </a:cxnLst>
                <a:rect l="0" t="0" r="r" b="b"/>
                <a:pathLst>
                  <a:path w="268" h="205">
                    <a:moveTo>
                      <a:pt x="143" y="181"/>
                    </a:moveTo>
                    <a:cubicBezTo>
                      <a:pt x="142" y="179"/>
                      <a:pt x="142" y="179"/>
                      <a:pt x="142" y="179"/>
                    </a:cubicBezTo>
                    <a:cubicBezTo>
                      <a:pt x="142" y="179"/>
                      <a:pt x="138" y="178"/>
                      <a:pt x="137" y="179"/>
                    </a:cubicBezTo>
                    <a:cubicBezTo>
                      <a:pt x="137" y="179"/>
                      <a:pt x="138" y="185"/>
                      <a:pt x="140" y="187"/>
                    </a:cubicBezTo>
                    <a:cubicBezTo>
                      <a:pt x="142" y="190"/>
                      <a:pt x="143" y="192"/>
                      <a:pt x="143" y="192"/>
                    </a:cubicBezTo>
                    <a:cubicBezTo>
                      <a:pt x="143" y="205"/>
                      <a:pt x="143" y="205"/>
                      <a:pt x="143" y="205"/>
                    </a:cubicBezTo>
                    <a:cubicBezTo>
                      <a:pt x="147" y="205"/>
                      <a:pt x="147" y="205"/>
                      <a:pt x="147" y="205"/>
                    </a:cubicBezTo>
                    <a:cubicBezTo>
                      <a:pt x="148" y="197"/>
                      <a:pt x="148" y="197"/>
                      <a:pt x="148" y="197"/>
                    </a:cubicBezTo>
                    <a:cubicBezTo>
                      <a:pt x="154" y="186"/>
                      <a:pt x="154" y="186"/>
                      <a:pt x="154" y="186"/>
                    </a:cubicBezTo>
                    <a:cubicBezTo>
                      <a:pt x="147" y="180"/>
                      <a:pt x="147" y="180"/>
                      <a:pt x="147" y="180"/>
                    </a:cubicBezTo>
                    <a:lnTo>
                      <a:pt x="143" y="181"/>
                    </a:lnTo>
                    <a:close/>
                    <a:moveTo>
                      <a:pt x="131" y="178"/>
                    </a:moveTo>
                    <a:cubicBezTo>
                      <a:pt x="131" y="176"/>
                      <a:pt x="129" y="177"/>
                      <a:pt x="129" y="178"/>
                    </a:cubicBezTo>
                    <a:cubicBezTo>
                      <a:pt x="130" y="180"/>
                      <a:pt x="131" y="178"/>
                      <a:pt x="131" y="178"/>
                    </a:cubicBezTo>
                    <a:close/>
                    <a:moveTo>
                      <a:pt x="166" y="175"/>
                    </a:moveTo>
                    <a:cubicBezTo>
                      <a:pt x="165" y="175"/>
                      <a:pt x="162" y="175"/>
                      <a:pt x="162" y="174"/>
                    </a:cubicBezTo>
                    <a:cubicBezTo>
                      <a:pt x="161" y="174"/>
                      <a:pt x="157" y="173"/>
                      <a:pt x="157" y="173"/>
                    </a:cubicBezTo>
                    <a:cubicBezTo>
                      <a:pt x="156" y="173"/>
                      <a:pt x="156" y="173"/>
                      <a:pt x="156" y="173"/>
                    </a:cubicBezTo>
                    <a:cubicBezTo>
                      <a:pt x="158" y="175"/>
                      <a:pt x="158" y="175"/>
                      <a:pt x="158" y="175"/>
                    </a:cubicBezTo>
                    <a:cubicBezTo>
                      <a:pt x="158" y="175"/>
                      <a:pt x="161" y="177"/>
                      <a:pt x="158" y="177"/>
                    </a:cubicBezTo>
                    <a:cubicBezTo>
                      <a:pt x="157" y="178"/>
                      <a:pt x="154" y="178"/>
                      <a:pt x="154" y="178"/>
                    </a:cubicBezTo>
                    <a:cubicBezTo>
                      <a:pt x="152" y="179"/>
                      <a:pt x="152" y="179"/>
                      <a:pt x="152" y="179"/>
                    </a:cubicBezTo>
                    <a:cubicBezTo>
                      <a:pt x="153" y="182"/>
                      <a:pt x="153" y="182"/>
                      <a:pt x="153" y="182"/>
                    </a:cubicBezTo>
                    <a:cubicBezTo>
                      <a:pt x="154" y="185"/>
                      <a:pt x="155" y="185"/>
                      <a:pt x="155" y="185"/>
                    </a:cubicBezTo>
                    <a:cubicBezTo>
                      <a:pt x="157" y="181"/>
                      <a:pt x="157" y="181"/>
                      <a:pt x="157" y="181"/>
                    </a:cubicBezTo>
                    <a:cubicBezTo>
                      <a:pt x="157" y="181"/>
                      <a:pt x="161" y="179"/>
                      <a:pt x="162" y="179"/>
                    </a:cubicBezTo>
                    <a:cubicBezTo>
                      <a:pt x="163" y="179"/>
                      <a:pt x="165" y="181"/>
                      <a:pt x="168" y="180"/>
                    </a:cubicBezTo>
                    <a:cubicBezTo>
                      <a:pt x="170" y="179"/>
                      <a:pt x="168" y="175"/>
                      <a:pt x="166" y="175"/>
                    </a:cubicBezTo>
                    <a:close/>
                    <a:moveTo>
                      <a:pt x="84" y="185"/>
                    </a:moveTo>
                    <a:cubicBezTo>
                      <a:pt x="84" y="185"/>
                      <a:pt x="84" y="183"/>
                      <a:pt x="82" y="181"/>
                    </a:cubicBezTo>
                    <a:cubicBezTo>
                      <a:pt x="81" y="180"/>
                      <a:pt x="79" y="179"/>
                      <a:pt x="79" y="179"/>
                    </a:cubicBezTo>
                    <a:cubicBezTo>
                      <a:pt x="79" y="179"/>
                      <a:pt x="80" y="185"/>
                      <a:pt x="81" y="186"/>
                    </a:cubicBezTo>
                    <a:cubicBezTo>
                      <a:pt x="83" y="187"/>
                      <a:pt x="84" y="189"/>
                      <a:pt x="84" y="189"/>
                    </a:cubicBezTo>
                    <a:cubicBezTo>
                      <a:pt x="90" y="188"/>
                      <a:pt x="90" y="188"/>
                      <a:pt x="90" y="188"/>
                    </a:cubicBezTo>
                    <a:cubicBezTo>
                      <a:pt x="86" y="185"/>
                      <a:pt x="86" y="185"/>
                      <a:pt x="86" y="185"/>
                    </a:cubicBezTo>
                    <a:lnTo>
                      <a:pt x="84" y="185"/>
                    </a:lnTo>
                    <a:close/>
                    <a:moveTo>
                      <a:pt x="106" y="167"/>
                    </a:moveTo>
                    <a:cubicBezTo>
                      <a:pt x="103" y="175"/>
                      <a:pt x="103" y="175"/>
                      <a:pt x="103" y="175"/>
                    </a:cubicBezTo>
                    <a:cubicBezTo>
                      <a:pt x="96" y="183"/>
                      <a:pt x="96" y="183"/>
                      <a:pt x="96" y="183"/>
                    </a:cubicBezTo>
                    <a:cubicBezTo>
                      <a:pt x="98" y="185"/>
                      <a:pt x="98" y="185"/>
                      <a:pt x="98" y="185"/>
                    </a:cubicBezTo>
                    <a:cubicBezTo>
                      <a:pt x="93" y="188"/>
                      <a:pt x="93" y="188"/>
                      <a:pt x="93" y="188"/>
                    </a:cubicBezTo>
                    <a:cubicBezTo>
                      <a:pt x="98" y="196"/>
                      <a:pt x="98" y="196"/>
                      <a:pt x="98" y="196"/>
                    </a:cubicBezTo>
                    <a:cubicBezTo>
                      <a:pt x="106" y="175"/>
                      <a:pt x="106" y="175"/>
                      <a:pt x="106" y="175"/>
                    </a:cubicBezTo>
                    <a:cubicBezTo>
                      <a:pt x="107" y="174"/>
                      <a:pt x="107" y="167"/>
                      <a:pt x="107" y="167"/>
                    </a:cubicBezTo>
                    <a:lnTo>
                      <a:pt x="106" y="167"/>
                    </a:lnTo>
                    <a:close/>
                    <a:moveTo>
                      <a:pt x="97" y="177"/>
                    </a:moveTo>
                    <a:cubicBezTo>
                      <a:pt x="94" y="177"/>
                      <a:pt x="94" y="177"/>
                      <a:pt x="94" y="177"/>
                    </a:cubicBezTo>
                    <a:cubicBezTo>
                      <a:pt x="97" y="176"/>
                      <a:pt x="97" y="176"/>
                      <a:pt x="97" y="176"/>
                    </a:cubicBezTo>
                    <a:cubicBezTo>
                      <a:pt x="97" y="176"/>
                      <a:pt x="96" y="175"/>
                      <a:pt x="94" y="175"/>
                    </a:cubicBezTo>
                    <a:cubicBezTo>
                      <a:pt x="90" y="177"/>
                      <a:pt x="90" y="177"/>
                      <a:pt x="90" y="177"/>
                    </a:cubicBezTo>
                    <a:cubicBezTo>
                      <a:pt x="91" y="181"/>
                      <a:pt x="91" y="181"/>
                      <a:pt x="91" y="181"/>
                    </a:cubicBezTo>
                    <a:cubicBezTo>
                      <a:pt x="91" y="181"/>
                      <a:pt x="96" y="180"/>
                      <a:pt x="97" y="180"/>
                    </a:cubicBezTo>
                    <a:cubicBezTo>
                      <a:pt x="98" y="179"/>
                      <a:pt x="97" y="177"/>
                      <a:pt x="97" y="177"/>
                    </a:cubicBezTo>
                    <a:close/>
                    <a:moveTo>
                      <a:pt x="87" y="180"/>
                    </a:moveTo>
                    <a:cubicBezTo>
                      <a:pt x="88" y="180"/>
                      <a:pt x="88" y="179"/>
                      <a:pt x="88" y="179"/>
                    </a:cubicBezTo>
                    <a:cubicBezTo>
                      <a:pt x="84" y="179"/>
                      <a:pt x="84" y="179"/>
                      <a:pt x="84" y="179"/>
                    </a:cubicBezTo>
                    <a:lnTo>
                      <a:pt x="87" y="180"/>
                    </a:lnTo>
                    <a:close/>
                    <a:moveTo>
                      <a:pt x="126" y="181"/>
                    </a:moveTo>
                    <a:cubicBezTo>
                      <a:pt x="129" y="180"/>
                      <a:pt x="129" y="179"/>
                      <a:pt x="125" y="179"/>
                    </a:cubicBezTo>
                    <a:cubicBezTo>
                      <a:pt x="125" y="179"/>
                      <a:pt x="123" y="179"/>
                      <a:pt x="123" y="180"/>
                    </a:cubicBezTo>
                    <a:cubicBezTo>
                      <a:pt x="123" y="181"/>
                      <a:pt x="124" y="182"/>
                      <a:pt x="126" y="181"/>
                    </a:cubicBezTo>
                    <a:close/>
                    <a:moveTo>
                      <a:pt x="61" y="172"/>
                    </a:moveTo>
                    <a:cubicBezTo>
                      <a:pt x="60" y="172"/>
                      <a:pt x="58" y="173"/>
                      <a:pt x="58" y="175"/>
                    </a:cubicBezTo>
                    <a:cubicBezTo>
                      <a:pt x="58" y="176"/>
                      <a:pt x="64" y="178"/>
                      <a:pt x="65" y="179"/>
                    </a:cubicBezTo>
                    <a:cubicBezTo>
                      <a:pt x="67" y="180"/>
                      <a:pt x="65" y="181"/>
                      <a:pt x="65" y="181"/>
                    </a:cubicBezTo>
                    <a:cubicBezTo>
                      <a:pt x="64" y="180"/>
                      <a:pt x="64" y="180"/>
                      <a:pt x="64" y="180"/>
                    </a:cubicBezTo>
                    <a:cubicBezTo>
                      <a:pt x="63" y="180"/>
                      <a:pt x="63" y="180"/>
                      <a:pt x="63" y="180"/>
                    </a:cubicBezTo>
                    <a:cubicBezTo>
                      <a:pt x="64" y="183"/>
                      <a:pt x="64" y="183"/>
                      <a:pt x="64" y="183"/>
                    </a:cubicBezTo>
                    <a:cubicBezTo>
                      <a:pt x="66" y="183"/>
                      <a:pt x="66" y="183"/>
                      <a:pt x="66" y="183"/>
                    </a:cubicBezTo>
                    <a:cubicBezTo>
                      <a:pt x="69" y="187"/>
                      <a:pt x="69" y="187"/>
                      <a:pt x="69" y="187"/>
                    </a:cubicBezTo>
                    <a:cubicBezTo>
                      <a:pt x="73" y="186"/>
                      <a:pt x="73" y="186"/>
                      <a:pt x="73" y="186"/>
                    </a:cubicBezTo>
                    <a:cubicBezTo>
                      <a:pt x="73" y="186"/>
                      <a:pt x="71" y="180"/>
                      <a:pt x="68" y="176"/>
                    </a:cubicBezTo>
                    <a:cubicBezTo>
                      <a:pt x="68" y="176"/>
                      <a:pt x="64" y="172"/>
                      <a:pt x="61" y="172"/>
                    </a:cubicBezTo>
                    <a:close/>
                    <a:moveTo>
                      <a:pt x="77" y="169"/>
                    </a:moveTo>
                    <a:cubicBezTo>
                      <a:pt x="74" y="171"/>
                      <a:pt x="74" y="171"/>
                      <a:pt x="74" y="171"/>
                    </a:cubicBezTo>
                    <a:cubicBezTo>
                      <a:pt x="79" y="173"/>
                      <a:pt x="79" y="173"/>
                      <a:pt x="79" y="173"/>
                    </a:cubicBezTo>
                    <a:cubicBezTo>
                      <a:pt x="80" y="172"/>
                      <a:pt x="80" y="172"/>
                      <a:pt x="80" y="172"/>
                    </a:cubicBezTo>
                    <a:cubicBezTo>
                      <a:pt x="80" y="172"/>
                      <a:pt x="81" y="174"/>
                      <a:pt x="86" y="175"/>
                    </a:cubicBezTo>
                    <a:cubicBezTo>
                      <a:pt x="91" y="176"/>
                      <a:pt x="92" y="172"/>
                      <a:pt x="92" y="172"/>
                    </a:cubicBezTo>
                    <a:cubicBezTo>
                      <a:pt x="92" y="172"/>
                      <a:pt x="98" y="175"/>
                      <a:pt x="99" y="173"/>
                    </a:cubicBezTo>
                    <a:cubicBezTo>
                      <a:pt x="101" y="170"/>
                      <a:pt x="103" y="163"/>
                      <a:pt x="103" y="163"/>
                    </a:cubicBezTo>
                    <a:cubicBezTo>
                      <a:pt x="103" y="163"/>
                      <a:pt x="100" y="161"/>
                      <a:pt x="101" y="159"/>
                    </a:cubicBezTo>
                    <a:cubicBezTo>
                      <a:pt x="101" y="158"/>
                      <a:pt x="102" y="158"/>
                      <a:pt x="102" y="158"/>
                    </a:cubicBezTo>
                    <a:cubicBezTo>
                      <a:pt x="99" y="149"/>
                      <a:pt x="99" y="149"/>
                      <a:pt x="99" y="149"/>
                    </a:cubicBezTo>
                    <a:cubicBezTo>
                      <a:pt x="92" y="149"/>
                      <a:pt x="92" y="149"/>
                      <a:pt x="92" y="149"/>
                    </a:cubicBezTo>
                    <a:cubicBezTo>
                      <a:pt x="94" y="148"/>
                      <a:pt x="97" y="148"/>
                      <a:pt x="98" y="147"/>
                    </a:cubicBezTo>
                    <a:cubicBezTo>
                      <a:pt x="99" y="145"/>
                      <a:pt x="100" y="145"/>
                      <a:pt x="99" y="143"/>
                    </a:cubicBezTo>
                    <a:cubicBezTo>
                      <a:pt x="97" y="141"/>
                      <a:pt x="94" y="137"/>
                      <a:pt x="94" y="137"/>
                    </a:cubicBezTo>
                    <a:cubicBezTo>
                      <a:pt x="93" y="138"/>
                      <a:pt x="93" y="138"/>
                      <a:pt x="93" y="138"/>
                    </a:cubicBezTo>
                    <a:cubicBezTo>
                      <a:pt x="94" y="142"/>
                      <a:pt x="94" y="142"/>
                      <a:pt x="94" y="142"/>
                    </a:cubicBezTo>
                    <a:cubicBezTo>
                      <a:pt x="93" y="143"/>
                      <a:pt x="93" y="143"/>
                      <a:pt x="93" y="143"/>
                    </a:cubicBezTo>
                    <a:cubicBezTo>
                      <a:pt x="94" y="145"/>
                      <a:pt x="94" y="145"/>
                      <a:pt x="94" y="145"/>
                    </a:cubicBezTo>
                    <a:cubicBezTo>
                      <a:pt x="89" y="149"/>
                      <a:pt x="89" y="149"/>
                      <a:pt x="89" y="149"/>
                    </a:cubicBezTo>
                    <a:cubicBezTo>
                      <a:pt x="88" y="147"/>
                      <a:pt x="88" y="147"/>
                      <a:pt x="88" y="147"/>
                    </a:cubicBezTo>
                    <a:cubicBezTo>
                      <a:pt x="91" y="144"/>
                      <a:pt x="91" y="144"/>
                      <a:pt x="91" y="144"/>
                    </a:cubicBezTo>
                    <a:cubicBezTo>
                      <a:pt x="84" y="138"/>
                      <a:pt x="84" y="138"/>
                      <a:pt x="84" y="138"/>
                    </a:cubicBezTo>
                    <a:cubicBezTo>
                      <a:pt x="83" y="140"/>
                      <a:pt x="83" y="140"/>
                      <a:pt x="83" y="140"/>
                    </a:cubicBezTo>
                    <a:cubicBezTo>
                      <a:pt x="81" y="138"/>
                      <a:pt x="81" y="138"/>
                      <a:pt x="81" y="138"/>
                    </a:cubicBezTo>
                    <a:cubicBezTo>
                      <a:pt x="67" y="144"/>
                      <a:pt x="67" y="144"/>
                      <a:pt x="67" y="144"/>
                    </a:cubicBezTo>
                    <a:cubicBezTo>
                      <a:pt x="65" y="142"/>
                      <a:pt x="65" y="142"/>
                      <a:pt x="65" y="142"/>
                    </a:cubicBezTo>
                    <a:cubicBezTo>
                      <a:pt x="61" y="145"/>
                      <a:pt x="61" y="145"/>
                      <a:pt x="61" y="145"/>
                    </a:cubicBezTo>
                    <a:cubicBezTo>
                      <a:pt x="64" y="147"/>
                      <a:pt x="64" y="147"/>
                      <a:pt x="64" y="147"/>
                    </a:cubicBezTo>
                    <a:cubicBezTo>
                      <a:pt x="61" y="147"/>
                      <a:pt x="61" y="147"/>
                      <a:pt x="61" y="147"/>
                    </a:cubicBezTo>
                    <a:cubicBezTo>
                      <a:pt x="63" y="150"/>
                      <a:pt x="63" y="150"/>
                      <a:pt x="63" y="150"/>
                    </a:cubicBezTo>
                    <a:cubicBezTo>
                      <a:pt x="65" y="150"/>
                      <a:pt x="65" y="150"/>
                      <a:pt x="65" y="150"/>
                    </a:cubicBezTo>
                    <a:cubicBezTo>
                      <a:pt x="64" y="154"/>
                      <a:pt x="64" y="154"/>
                      <a:pt x="64" y="154"/>
                    </a:cubicBezTo>
                    <a:cubicBezTo>
                      <a:pt x="67" y="155"/>
                      <a:pt x="67" y="155"/>
                      <a:pt x="67" y="155"/>
                    </a:cubicBezTo>
                    <a:cubicBezTo>
                      <a:pt x="67" y="155"/>
                      <a:pt x="66" y="161"/>
                      <a:pt x="68" y="162"/>
                    </a:cubicBezTo>
                    <a:cubicBezTo>
                      <a:pt x="70" y="163"/>
                      <a:pt x="71" y="170"/>
                      <a:pt x="71" y="170"/>
                    </a:cubicBezTo>
                    <a:cubicBezTo>
                      <a:pt x="72" y="170"/>
                      <a:pt x="72" y="170"/>
                      <a:pt x="72" y="170"/>
                    </a:cubicBezTo>
                    <a:cubicBezTo>
                      <a:pt x="72" y="165"/>
                      <a:pt x="72" y="165"/>
                      <a:pt x="72" y="165"/>
                    </a:cubicBezTo>
                    <a:cubicBezTo>
                      <a:pt x="75" y="165"/>
                      <a:pt x="75" y="165"/>
                      <a:pt x="75" y="165"/>
                    </a:cubicBezTo>
                    <a:lnTo>
                      <a:pt x="77" y="169"/>
                    </a:lnTo>
                    <a:close/>
                    <a:moveTo>
                      <a:pt x="91" y="123"/>
                    </a:moveTo>
                    <a:cubicBezTo>
                      <a:pt x="91" y="125"/>
                      <a:pt x="92" y="127"/>
                      <a:pt x="92" y="127"/>
                    </a:cubicBezTo>
                    <a:cubicBezTo>
                      <a:pt x="96" y="129"/>
                      <a:pt x="96" y="129"/>
                      <a:pt x="96" y="129"/>
                    </a:cubicBezTo>
                    <a:cubicBezTo>
                      <a:pt x="98" y="127"/>
                      <a:pt x="99" y="126"/>
                      <a:pt x="99" y="124"/>
                    </a:cubicBezTo>
                    <a:cubicBezTo>
                      <a:pt x="99" y="123"/>
                      <a:pt x="97" y="118"/>
                      <a:pt x="97" y="118"/>
                    </a:cubicBezTo>
                    <a:cubicBezTo>
                      <a:pt x="97" y="118"/>
                      <a:pt x="96" y="119"/>
                      <a:pt x="94" y="117"/>
                    </a:cubicBezTo>
                    <a:cubicBezTo>
                      <a:pt x="94" y="115"/>
                      <a:pt x="93" y="113"/>
                      <a:pt x="93" y="113"/>
                    </a:cubicBezTo>
                    <a:cubicBezTo>
                      <a:pt x="91" y="113"/>
                      <a:pt x="91" y="113"/>
                      <a:pt x="91" y="113"/>
                    </a:cubicBezTo>
                    <a:cubicBezTo>
                      <a:pt x="93" y="119"/>
                      <a:pt x="93" y="119"/>
                      <a:pt x="93" y="119"/>
                    </a:cubicBezTo>
                    <a:cubicBezTo>
                      <a:pt x="93" y="119"/>
                      <a:pt x="91" y="120"/>
                      <a:pt x="91" y="123"/>
                    </a:cubicBezTo>
                    <a:close/>
                    <a:moveTo>
                      <a:pt x="140" y="190"/>
                    </a:moveTo>
                    <a:cubicBezTo>
                      <a:pt x="139" y="188"/>
                      <a:pt x="135" y="182"/>
                      <a:pt x="135" y="182"/>
                    </a:cubicBezTo>
                    <a:cubicBezTo>
                      <a:pt x="133" y="182"/>
                      <a:pt x="133" y="182"/>
                      <a:pt x="133" y="182"/>
                    </a:cubicBezTo>
                    <a:cubicBezTo>
                      <a:pt x="133" y="186"/>
                      <a:pt x="133" y="186"/>
                      <a:pt x="133" y="186"/>
                    </a:cubicBezTo>
                    <a:cubicBezTo>
                      <a:pt x="127" y="188"/>
                      <a:pt x="127" y="188"/>
                      <a:pt x="127" y="188"/>
                    </a:cubicBezTo>
                    <a:cubicBezTo>
                      <a:pt x="127" y="186"/>
                      <a:pt x="127" y="186"/>
                      <a:pt x="127" y="186"/>
                    </a:cubicBezTo>
                    <a:cubicBezTo>
                      <a:pt x="125" y="185"/>
                      <a:pt x="125" y="185"/>
                      <a:pt x="125" y="185"/>
                    </a:cubicBezTo>
                    <a:cubicBezTo>
                      <a:pt x="125" y="185"/>
                      <a:pt x="124" y="180"/>
                      <a:pt x="118" y="180"/>
                    </a:cubicBezTo>
                    <a:cubicBezTo>
                      <a:pt x="112" y="179"/>
                      <a:pt x="109" y="183"/>
                      <a:pt x="109" y="183"/>
                    </a:cubicBezTo>
                    <a:cubicBezTo>
                      <a:pt x="114" y="188"/>
                      <a:pt x="114" y="188"/>
                      <a:pt x="114" y="188"/>
                    </a:cubicBezTo>
                    <a:cubicBezTo>
                      <a:pt x="110" y="190"/>
                      <a:pt x="110" y="190"/>
                      <a:pt x="110" y="190"/>
                    </a:cubicBezTo>
                    <a:cubicBezTo>
                      <a:pt x="108" y="189"/>
                      <a:pt x="108" y="189"/>
                      <a:pt x="108" y="189"/>
                    </a:cubicBezTo>
                    <a:cubicBezTo>
                      <a:pt x="108" y="187"/>
                      <a:pt x="108" y="187"/>
                      <a:pt x="108" y="187"/>
                    </a:cubicBezTo>
                    <a:cubicBezTo>
                      <a:pt x="107" y="188"/>
                      <a:pt x="107" y="188"/>
                      <a:pt x="107" y="188"/>
                    </a:cubicBezTo>
                    <a:cubicBezTo>
                      <a:pt x="107" y="192"/>
                      <a:pt x="107" y="192"/>
                      <a:pt x="107" y="192"/>
                    </a:cubicBezTo>
                    <a:cubicBezTo>
                      <a:pt x="121" y="196"/>
                      <a:pt x="121" y="196"/>
                      <a:pt x="121" y="196"/>
                    </a:cubicBezTo>
                    <a:cubicBezTo>
                      <a:pt x="121" y="196"/>
                      <a:pt x="122" y="198"/>
                      <a:pt x="123" y="200"/>
                    </a:cubicBezTo>
                    <a:cubicBezTo>
                      <a:pt x="123" y="202"/>
                      <a:pt x="126" y="204"/>
                      <a:pt x="126" y="204"/>
                    </a:cubicBezTo>
                    <a:cubicBezTo>
                      <a:pt x="129" y="203"/>
                      <a:pt x="129" y="203"/>
                      <a:pt x="129" y="203"/>
                    </a:cubicBezTo>
                    <a:cubicBezTo>
                      <a:pt x="129" y="201"/>
                      <a:pt x="129" y="201"/>
                      <a:pt x="129" y="201"/>
                    </a:cubicBezTo>
                    <a:cubicBezTo>
                      <a:pt x="129" y="201"/>
                      <a:pt x="130" y="200"/>
                      <a:pt x="132" y="200"/>
                    </a:cubicBezTo>
                    <a:cubicBezTo>
                      <a:pt x="134" y="200"/>
                      <a:pt x="140" y="198"/>
                      <a:pt x="140" y="198"/>
                    </a:cubicBezTo>
                    <a:cubicBezTo>
                      <a:pt x="141" y="196"/>
                      <a:pt x="141" y="196"/>
                      <a:pt x="141" y="196"/>
                    </a:cubicBezTo>
                    <a:cubicBezTo>
                      <a:pt x="140" y="194"/>
                      <a:pt x="140" y="194"/>
                      <a:pt x="140" y="194"/>
                    </a:cubicBezTo>
                    <a:cubicBezTo>
                      <a:pt x="140" y="194"/>
                      <a:pt x="141" y="192"/>
                      <a:pt x="140" y="190"/>
                    </a:cubicBezTo>
                    <a:close/>
                    <a:moveTo>
                      <a:pt x="10" y="63"/>
                    </a:moveTo>
                    <a:cubicBezTo>
                      <a:pt x="11" y="67"/>
                      <a:pt x="11" y="67"/>
                      <a:pt x="11" y="67"/>
                    </a:cubicBezTo>
                    <a:cubicBezTo>
                      <a:pt x="11" y="67"/>
                      <a:pt x="14" y="68"/>
                      <a:pt x="15" y="68"/>
                    </a:cubicBezTo>
                    <a:cubicBezTo>
                      <a:pt x="16" y="68"/>
                      <a:pt x="17" y="66"/>
                      <a:pt x="17" y="66"/>
                    </a:cubicBezTo>
                    <a:cubicBezTo>
                      <a:pt x="19" y="65"/>
                      <a:pt x="19" y="65"/>
                      <a:pt x="19" y="65"/>
                    </a:cubicBezTo>
                    <a:cubicBezTo>
                      <a:pt x="19" y="65"/>
                      <a:pt x="18" y="63"/>
                      <a:pt x="17" y="62"/>
                    </a:cubicBezTo>
                    <a:cubicBezTo>
                      <a:pt x="17" y="60"/>
                      <a:pt x="21" y="58"/>
                      <a:pt x="22" y="56"/>
                    </a:cubicBezTo>
                    <a:cubicBezTo>
                      <a:pt x="23" y="55"/>
                      <a:pt x="25" y="51"/>
                      <a:pt x="25" y="51"/>
                    </a:cubicBezTo>
                    <a:cubicBezTo>
                      <a:pt x="32" y="49"/>
                      <a:pt x="32" y="49"/>
                      <a:pt x="32" y="49"/>
                    </a:cubicBezTo>
                    <a:cubicBezTo>
                      <a:pt x="32" y="47"/>
                      <a:pt x="32" y="47"/>
                      <a:pt x="32" y="47"/>
                    </a:cubicBezTo>
                    <a:cubicBezTo>
                      <a:pt x="33" y="48"/>
                      <a:pt x="33" y="48"/>
                      <a:pt x="33" y="48"/>
                    </a:cubicBezTo>
                    <a:cubicBezTo>
                      <a:pt x="35" y="48"/>
                      <a:pt x="35" y="48"/>
                      <a:pt x="35" y="48"/>
                    </a:cubicBezTo>
                    <a:cubicBezTo>
                      <a:pt x="35" y="47"/>
                      <a:pt x="35" y="47"/>
                      <a:pt x="35" y="47"/>
                    </a:cubicBezTo>
                    <a:cubicBezTo>
                      <a:pt x="42" y="46"/>
                      <a:pt x="42" y="46"/>
                      <a:pt x="42" y="46"/>
                    </a:cubicBezTo>
                    <a:cubicBezTo>
                      <a:pt x="42" y="46"/>
                      <a:pt x="44" y="47"/>
                      <a:pt x="47" y="48"/>
                    </a:cubicBezTo>
                    <a:cubicBezTo>
                      <a:pt x="48" y="48"/>
                      <a:pt x="53" y="45"/>
                      <a:pt x="53" y="45"/>
                    </a:cubicBezTo>
                    <a:cubicBezTo>
                      <a:pt x="60" y="45"/>
                      <a:pt x="60" y="45"/>
                      <a:pt x="60" y="45"/>
                    </a:cubicBezTo>
                    <a:cubicBezTo>
                      <a:pt x="60" y="45"/>
                      <a:pt x="60" y="41"/>
                      <a:pt x="61" y="41"/>
                    </a:cubicBezTo>
                    <a:cubicBezTo>
                      <a:pt x="64" y="41"/>
                      <a:pt x="63" y="44"/>
                      <a:pt x="63" y="44"/>
                    </a:cubicBezTo>
                    <a:cubicBezTo>
                      <a:pt x="63" y="44"/>
                      <a:pt x="64" y="44"/>
                      <a:pt x="66" y="43"/>
                    </a:cubicBezTo>
                    <a:cubicBezTo>
                      <a:pt x="72" y="43"/>
                      <a:pt x="72" y="43"/>
                      <a:pt x="72" y="43"/>
                    </a:cubicBezTo>
                    <a:cubicBezTo>
                      <a:pt x="74" y="43"/>
                      <a:pt x="79" y="46"/>
                      <a:pt x="80" y="47"/>
                    </a:cubicBezTo>
                    <a:cubicBezTo>
                      <a:pt x="82" y="48"/>
                      <a:pt x="83" y="49"/>
                      <a:pt x="85" y="48"/>
                    </a:cubicBezTo>
                    <a:cubicBezTo>
                      <a:pt x="87" y="48"/>
                      <a:pt x="89" y="39"/>
                      <a:pt x="89" y="39"/>
                    </a:cubicBezTo>
                    <a:cubicBezTo>
                      <a:pt x="94" y="32"/>
                      <a:pt x="94" y="32"/>
                      <a:pt x="94" y="32"/>
                    </a:cubicBezTo>
                    <a:cubicBezTo>
                      <a:pt x="94" y="32"/>
                      <a:pt x="93" y="30"/>
                      <a:pt x="93" y="29"/>
                    </a:cubicBezTo>
                    <a:cubicBezTo>
                      <a:pt x="92" y="28"/>
                      <a:pt x="94" y="23"/>
                      <a:pt x="93" y="19"/>
                    </a:cubicBezTo>
                    <a:cubicBezTo>
                      <a:pt x="93" y="14"/>
                      <a:pt x="90" y="15"/>
                      <a:pt x="89" y="13"/>
                    </a:cubicBezTo>
                    <a:cubicBezTo>
                      <a:pt x="89" y="12"/>
                      <a:pt x="93" y="4"/>
                      <a:pt x="94" y="3"/>
                    </a:cubicBezTo>
                    <a:cubicBezTo>
                      <a:pt x="96" y="2"/>
                      <a:pt x="99" y="1"/>
                      <a:pt x="99" y="1"/>
                    </a:cubicBezTo>
                    <a:cubicBezTo>
                      <a:pt x="98" y="0"/>
                      <a:pt x="98" y="0"/>
                      <a:pt x="98" y="0"/>
                    </a:cubicBezTo>
                    <a:cubicBezTo>
                      <a:pt x="93" y="1"/>
                      <a:pt x="93" y="1"/>
                      <a:pt x="93" y="1"/>
                    </a:cubicBezTo>
                    <a:cubicBezTo>
                      <a:pt x="93" y="1"/>
                      <a:pt x="91" y="3"/>
                      <a:pt x="90" y="4"/>
                    </a:cubicBezTo>
                    <a:cubicBezTo>
                      <a:pt x="88" y="6"/>
                      <a:pt x="83" y="11"/>
                      <a:pt x="83" y="11"/>
                    </a:cubicBezTo>
                    <a:cubicBezTo>
                      <a:pt x="83" y="11"/>
                      <a:pt x="73" y="11"/>
                      <a:pt x="72" y="12"/>
                    </a:cubicBezTo>
                    <a:cubicBezTo>
                      <a:pt x="70" y="12"/>
                      <a:pt x="64" y="24"/>
                      <a:pt x="63" y="28"/>
                    </a:cubicBezTo>
                    <a:cubicBezTo>
                      <a:pt x="61" y="30"/>
                      <a:pt x="55" y="37"/>
                      <a:pt x="50" y="38"/>
                    </a:cubicBezTo>
                    <a:cubicBezTo>
                      <a:pt x="43" y="39"/>
                      <a:pt x="40" y="37"/>
                      <a:pt x="38" y="37"/>
                    </a:cubicBezTo>
                    <a:cubicBezTo>
                      <a:pt x="35" y="37"/>
                      <a:pt x="34" y="39"/>
                      <a:pt x="34" y="39"/>
                    </a:cubicBezTo>
                    <a:cubicBezTo>
                      <a:pt x="34" y="39"/>
                      <a:pt x="28" y="40"/>
                      <a:pt x="27" y="40"/>
                    </a:cubicBezTo>
                    <a:cubicBezTo>
                      <a:pt x="27" y="40"/>
                      <a:pt x="26" y="38"/>
                      <a:pt x="23" y="38"/>
                    </a:cubicBezTo>
                    <a:cubicBezTo>
                      <a:pt x="21" y="39"/>
                      <a:pt x="16" y="48"/>
                      <a:pt x="12" y="52"/>
                    </a:cubicBezTo>
                    <a:cubicBezTo>
                      <a:pt x="9" y="56"/>
                      <a:pt x="8" y="63"/>
                      <a:pt x="8" y="63"/>
                    </a:cubicBezTo>
                    <a:lnTo>
                      <a:pt x="10" y="63"/>
                    </a:lnTo>
                    <a:close/>
                    <a:moveTo>
                      <a:pt x="20" y="67"/>
                    </a:moveTo>
                    <a:cubicBezTo>
                      <a:pt x="18" y="67"/>
                      <a:pt x="18" y="67"/>
                      <a:pt x="18" y="67"/>
                    </a:cubicBezTo>
                    <a:cubicBezTo>
                      <a:pt x="18" y="68"/>
                      <a:pt x="18" y="68"/>
                      <a:pt x="18" y="68"/>
                    </a:cubicBezTo>
                    <a:cubicBezTo>
                      <a:pt x="16" y="69"/>
                      <a:pt x="16" y="69"/>
                      <a:pt x="16" y="69"/>
                    </a:cubicBezTo>
                    <a:cubicBezTo>
                      <a:pt x="16" y="69"/>
                      <a:pt x="17" y="70"/>
                      <a:pt x="18" y="71"/>
                    </a:cubicBezTo>
                    <a:cubicBezTo>
                      <a:pt x="19" y="71"/>
                      <a:pt x="22" y="71"/>
                      <a:pt x="23" y="70"/>
                    </a:cubicBezTo>
                    <a:cubicBezTo>
                      <a:pt x="24" y="69"/>
                      <a:pt x="21" y="69"/>
                      <a:pt x="21" y="69"/>
                    </a:cubicBezTo>
                    <a:lnTo>
                      <a:pt x="20" y="67"/>
                    </a:lnTo>
                    <a:close/>
                    <a:moveTo>
                      <a:pt x="34" y="55"/>
                    </a:moveTo>
                    <a:cubicBezTo>
                      <a:pt x="36" y="55"/>
                      <a:pt x="35" y="51"/>
                      <a:pt x="35" y="51"/>
                    </a:cubicBezTo>
                    <a:cubicBezTo>
                      <a:pt x="33" y="51"/>
                      <a:pt x="33" y="51"/>
                      <a:pt x="33" y="51"/>
                    </a:cubicBezTo>
                    <a:cubicBezTo>
                      <a:pt x="31" y="53"/>
                      <a:pt x="31" y="53"/>
                      <a:pt x="31" y="53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4" y="60"/>
                      <a:pt x="24" y="60"/>
                      <a:pt x="24" y="60"/>
                    </a:cubicBezTo>
                    <a:cubicBezTo>
                      <a:pt x="22" y="61"/>
                      <a:pt x="22" y="61"/>
                      <a:pt x="22" y="61"/>
                    </a:cubicBezTo>
                    <a:cubicBezTo>
                      <a:pt x="20" y="64"/>
                      <a:pt x="20" y="64"/>
                      <a:pt x="20" y="64"/>
                    </a:cubicBezTo>
                    <a:cubicBezTo>
                      <a:pt x="20" y="64"/>
                      <a:pt x="22" y="65"/>
                      <a:pt x="22" y="66"/>
                    </a:cubicBezTo>
                    <a:cubicBezTo>
                      <a:pt x="23" y="66"/>
                      <a:pt x="24" y="67"/>
                      <a:pt x="24" y="67"/>
                    </a:cubicBezTo>
                    <a:cubicBezTo>
                      <a:pt x="28" y="65"/>
                      <a:pt x="28" y="65"/>
                      <a:pt x="28" y="65"/>
                    </a:cubicBezTo>
                    <a:cubicBezTo>
                      <a:pt x="28" y="65"/>
                      <a:pt x="33" y="61"/>
                      <a:pt x="33" y="60"/>
                    </a:cubicBezTo>
                    <a:cubicBezTo>
                      <a:pt x="33" y="60"/>
                      <a:pt x="31" y="56"/>
                      <a:pt x="32" y="55"/>
                    </a:cubicBezTo>
                    <a:cubicBezTo>
                      <a:pt x="33" y="54"/>
                      <a:pt x="33" y="56"/>
                      <a:pt x="34" y="55"/>
                    </a:cubicBezTo>
                    <a:close/>
                    <a:moveTo>
                      <a:pt x="116" y="120"/>
                    </a:moveTo>
                    <a:cubicBezTo>
                      <a:pt x="117" y="122"/>
                      <a:pt x="120" y="123"/>
                      <a:pt x="120" y="123"/>
                    </a:cubicBezTo>
                    <a:cubicBezTo>
                      <a:pt x="120" y="123"/>
                      <a:pt x="118" y="120"/>
                      <a:pt x="117" y="119"/>
                    </a:cubicBezTo>
                    <a:cubicBezTo>
                      <a:pt x="116" y="118"/>
                      <a:pt x="113" y="117"/>
                      <a:pt x="113" y="117"/>
                    </a:cubicBezTo>
                    <a:cubicBezTo>
                      <a:pt x="113" y="117"/>
                      <a:pt x="114" y="120"/>
                      <a:pt x="116" y="120"/>
                    </a:cubicBezTo>
                    <a:close/>
                    <a:moveTo>
                      <a:pt x="112" y="34"/>
                    </a:moveTo>
                    <a:cubicBezTo>
                      <a:pt x="113" y="34"/>
                      <a:pt x="112" y="33"/>
                      <a:pt x="113" y="31"/>
                    </a:cubicBezTo>
                    <a:cubicBezTo>
                      <a:pt x="115" y="30"/>
                      <a:pt x="117" y="30"/>
                      <a:pt x="117" y="30"/>
                    </a:cubicBezTo>
                    <a:cubicBezTo>
                      <a:pt x="116" y="25"/>
                      <a:pt x="116" y="25"/>
                      <a:pt x="116" y="25"/>
                    </a:cubicBezTo>
                    <a:cubicBezTo>
                      <a:pt x="116" y="25"/>
                      <a:pt x="109" y="27"/>
                      <a:pt x="107" y="29"/>
                    </a:cubicBezTo>
                    <a:cubicBezTo>
                      <a:pt x="106" y="30"/>
                      <a:pt x="105" y="32"/>
                      <a:pt x="105" y="32"/>
                    </a:cubicBezTo>
                    <a:cubicBezTo>
                      <a:pt x="108" y="33"/>
                      <a:pt x="108" y="33"/>
                      <a:pt x="108" y="33"/>
                    </a:cubicBezTo>
                    <a:cubicBezTo>
                      <a:pt x="108" y="33"/>
                      <a:pt x="109" y="35"/>
                      <a:pt x="112" y="34"/>
                    </a:cubicBezTo>
                    <a:close/>
                    <a:moveTo>
                      <a:pt x="41" y="58"/>
                    </a:moveTo>
                    <a:cubicBezTo>
                      <a:pt x="35" y="59"/>
                      <a:pt x="35" y="59"/>
                      <a:pt x="35" y="59"/>
                    </a:cubicBezTo>
                    <a:cubicBezTo>
                      <a:pt x="37" y="60"/>
                      <a:pt x="37" y="60"/>
                      <a:pt x="37" y="60"/>
                    </a:cubicBezTo>
                    <a:lnTo>
                      <a:pt x="41" y="58"/>
                    </a:lnTo>
                    <a:close/>
                    <a:moveTo>
                      <a:pt x="15" y="163"/>
                    </a:moveTo>
                    <a:cubicBezTo>
                      <a:pt x="15" y="163"/>
                      <a:pt x="12" y="164"/>
                      <a:pt x="12" y="167"/>
                    </a:cubicBezTo>
                    <a:cubicBezTo>
                      <a:pt x="12" y="170"/>
                      <a:pt x="15" y="172"/>
                      <a:pt x="16" y="172"/>
                    </a:cubicBezTo>
                    <a:cubicBezTo>
                      <a:pt x="17" y="172"/>
                      <a:pt x="16" y="167"/>
                      <a:pt x="16" y="167"/>
                    </a:cubicBezTo>
                    <a:cubicBezTo>
                      <a:pt x="16" y="167"/>
                      <a:pt x="18" y="163"/>
                      <a:pt x="15" y="163"/>
                    </a:cubicBezTo>
                    <a:close/>
                    <a:moveTo>
                      <a:pt x="61" y="183"/>
                    </a:moveTo>
                    <a:cubicBezTo>
                      <a:pt x="59" y="178"/>
                      <a:pt x="59" y="178"/>
                      <a:pt x="59" y="178"/>
                    </a:cubicBezTo>
                    <a:cubicBezTo>
                      <a:pt x="53" y="174"/>
                      <a:pt x="53" y="174"/>
                      <a:pt x="53" y="174"/>
                    </a:cubicBezTo>
                    <a:cubicBezTo>
                      <a:pt x="50" y="175"/>
                      <a:pt x="50" y="175"/>
                      <a:pt x="50" y="175"/>
                    </a:cubicBezTo>
                    <a:cubicBezTo>
                      <a:pt x="50" y="175"/>
                      <a:pt x="52" y="173"/>
                      <a:pt x="53" y="173"/>
                    </a:cubicBezTo>
                    <a:cubicBezTo>
                      <a:pt x="54" y="172"/>
                      <a:pt x="53" y="170"/>
                      <a:pt x="53" y="170"/>
                    </a:cubicBezTo>
                    <a:cubicBezTo>
                      <a:pt x="52" y="170"/>
                      <a:pt x="52" y="170"/>
                      <a:pt x="52" y="170"/>
                    </a:cubicBezTo>
                    <a:cubicBezTo>
                      <a:pt x="56" y="165"/>
                      <a:pt x="56" y="165"/>
                      <a:pt x="56" y="165"/>
                    </a:cubicBezTo>
                    <a:cubicBezTo>
                      <a:pt x="56" y="165"/>
                      <a:pt x="58" y="165"/>
                      <a:pt x="59" y="164"/>
                    </a:cubicBezTo>
                    <a:cubicBezTo>
                      <a:pt x="60" y="163"/>
                      <a:pt x="59" y="159"/>
                      <a:pt x="59" y="159"/>
                    </a:cubicBezTo>
                    <a:cubicBezTo>
                      <a:pt x="57" y="160"/>
                      <a:pt x="57" y="160"/>
                      <a:pt x="57" y="160"/>
                    </a:cubicBezTo>
                    <a:cubicBezTo>
                      <a:pt x="59" y="159"/>
                      <a:pt x="59" y="159"/>
                      <a:pt x="59" y="159"/>
                    </a:cubicBezTo>
                    <a:cubicBezTo>
                      <a:pt x="59" y="159"/>
                      <a:pt x="57" y="155"/>
                      <a:pt x="57" y="154"/>
                    </a:cubicBezTo>
                    <a:cubicBezTo>
                      <a:pt x="57" y="151"/>
                      <a:pt x="59" y="148"/>
                      <a:pt x="59" y="148"/>
                    </a:cubicBezTo>
                    <a:cubicBezTo>
                      <a:pt x="58" y="145"/>
                      <a:pt x="58" y="145"/>
                      <a:pt x="58" y="145"/>
                    </a:cubicBezTo>
                    <a:cubicBezTo>
                      <a:pt x="58" y="145"/>
                      <a:pt x="53" y="146"/>
                      <a:pt x="53" y="145"/>
                    </a:cubicBezTo>
                    <a:cubicBezTo>
                      <a:pt x="54" y="144"/>
                      <a:pt x="59" y="143"/>
                      <a:pt x="59" y="143"/>
                    </a:cubicBezTo>
                    <a:cubicBezTo>
                      <a:pt x="67" y="137"/>
                      <a:pt x="67" y="137"/>
                      <a:pt x="67" y="137"/>
                    </a:cubicBezTo>
                    <a:cubicBezTo>
                      <a:pt x="63" y="137"/>
                      <a:pt x="63" y="137"/>
                      <a:pt x="63" y="137"/>
                    </a:cubicBezTo>
                    <a:cubicBezTo>
                      <a:pt x="63" y="137"/>
                      <a:pt x="60" y="133"/>
                      <a:pt x="59" y="133"/>
                    </a:cubicBezTo>
                    <a:cubicBezTo>
                      <a:pt x="56" y="132"/>
                      <a:pt x="56" y="132"/>
                      <a:pt x="56" y="132"/>
                    </a:cubicBezTo>
                    <a:cubicBezTo>
                      <a:pt x="56" y="132"/>
                      <a:pt x="57" y="131"/>
                      <a:pt x="59" y="131"/>
                    </a:cubicBezTo>
                    <a:cubicBezTo>
                      <a:pt x="60" y="131"/>
                      <a:pt x="65" y="134"/>
                      <a:pt x="68" y="133"/>
                    </a:cubicBezTo>
                    <a:cubicBezTo>
                      <a:pt x="71" y="132"/>
                      <a:pt x="73" y="128"/>
                      <a:pt x="73" y="128"/>
                    </a:cubicBezTo>
                    <a:cubicBezTo>
                      <a:pt x="73" y="125"/>
                      <a:pt x="73" y="125"/>
                      <a:pt x="73" y="125"/>
                    </a:cubicBezTo>
                    <a:cubicBezTo>
                      <a:pt x="73" y="124"/>
                      <a:pt x="67" y="122"/>
                      <a:pt x="67" y="122"/>
                    </a:cubicBezTo>
                    <a:cubicBezTo>
                      <a:pt x="67" y="120"/>
                      <a:pt x="70" y="122"/>
                      <a:pt x="70" y="122"/>
                    </a:cubicBezTo>
                    <a:cubicBezTo>
                      <a:pt x="73" y="120"/>
                      <a:pt x="73" y="120"/>
                      <a:pt x="73" y="120"/>
                    </a:cubicBezTo>
                    <a:cubicBezTo>
                      <a:pt x="77" y="120"/>
                      <a:pt x="77" y="120"/>
                      <a:pt x="77" y="120"/>
                    </a:cubicBezTo>
                    <a:cubicBezTo>
                      <a:pt x="79" y="123"/>
                      <a:pt x="79" y="123"/>
                      <a:pt x="79" y="123"/>
                    </a:cubicBezTo>
                    <a:cubicBezTo>
                      <a:pt x="80" y="123"/>
                      <a:pt x="80" y="123"/>
                      <a:pt x="80" y="123"/>
                    </a:cubicBezTo>
                    <a:cubicBezTo>
                      <a:pt x="80" y="123"/>
                      <a:pt x="81" y="119"/>
                      <a:pt x="81" y="118"/>
                    </a:cubicBezTo>
                    <a:cubicBezTo>
                      <a:pt x="82" y="117"/>
                      <a:pt x="83" y="116"/>
                      <a:pt x="83" y="116"/>
                    </a:cubicBezTo>
                    <a:cubicBezTo>
                      <a:pt x="83" y="110"/>
                      <a:pt x="83" y="110"/>
                      <a:pt x="83" y="110"/>
                    </a:cubicBezTo>
                    <a:cubicBezTo>
                      <a:pt x="83" y="109"/>
                      <a:pt x="81" y="104"/>
                      <a:pt x="81" y="103"/>
                    </a:cubicBezTo>
                    <a:cubicBezTo>
                      <a:pt x="81" y="102"/>
                      <a:pt x="87" y="95"/>
                      <a:pt x="89" y="95"/>
                    </a:cubicBezTo>
                    <a:cubicBezTo>
                      <a:pt x="90" y="95"/>
                      <a:pt x="90" y="97"/>
                      <a:pt x="90" y="97"/>
                    </a:cubicBezTo>
                    <a:cubicBezTo>
                      <a:pt x="87" y="101"/>
                      <a:pt x="87" y="101"/>
                      <a:pt x="87" y="101"/>
                    </a:cubicBezTo>
                    <a:cubicBezTo>
                      <a:pt x="87" y="103"/>
                      <a:pt x="87" y="103"/>
                      <a:pt x="87" y="103"/>
                    </a:cubicBezTo>
                    <a:cubicBezTo>
                      <a:pt x="87" y="103"/>
                      <a:pt x="90" y="102"/>
                      <a:pt x="91" y="102"/>
                    </a:cubicBezTo>
                    <a:cubicBezTo>
                      <a:pt x="92" y="103"/>
                      <a:pt x="91" y="104"/>
                      <a:pt x="90" y="106"/>
                    </a:cubicBezTo>
                    <a:cubicBezTo>
                      <a:pt x="89" y="106"/>
                      <a:pt x="92" y="107"/>
                      <a:pt x="93" y="107"/>
                    </a:cubicBezTo>
                    <a:cubicBezTo>
                      <a:pt x="94" y="106"/>
                      <a:pt x="93" y="102"/>
                      <a:pt x="93" y="102"/>
                    </a:cubicBezTo>
                    <a:cubicBezTo>
                      <a:pt x="93" y="102"/>
                      <a:pt x="94" y="99"/>
                      <a:pt x="96" y="99"/>
                    </a:cubicBezTo>
                    <a:cubicBezTo>
                      <a:pt x="97" y="99"/>
                      <a:pt x="98" y="101"/>
                      <a:pt x="97" y="101"/>
                    </a:cubicBezTo>
                    <a:cubicBezTo>
                      <a:pt x="96" y="102"/>
                      <a:pt x="96" y="103"/>
                      <a:pt x="97" y="104"/>
                    </a:cubicBezTo>
                    <a:cubicBezTo>
                      <a:pt x="98" y="104"/>
                      <a:pt x="100" y="103"/>
                      <a:pt x="100" y="103"/>
                    </a:cubicBezTo>
                    <a:cubicBezTo>
                      <a:pt x="100" y="100"/>
                      <a:pt x="100" y="100"/>
                      <a:pt x="100" y="100"/>
                    </a:cubicBezTo>
                    <a:cubicBezTo>
                      <a:pt x="103" y="97"/>
                      <a:pt x="103" y="97"/>
                      <a:pt x="103" y="97"/>
                    </a:cubicBezTo>
                    <a:cubicBezTo>
                      <a:pt x="103" y="96"/>
                      <a:pt x="103" y="96"/>
                      <a:pt x="103" y="96"/>
                    </a:cubicBezTo>
                    <a:cubicBezTo>
                      <a:pt x="107" y="92"/>
                      <a:pt x="107" y="92"/>
                      <a:pt x="107" y="92"/>
                    </a:cubicBezTo>
                    <a:cubicBezTo>
                      <a:pt x="106" y="86"/>
                      <a:pt x="106" y="86"/>
                      <a:pt x="106" y="86"/>
                    </a:cubicBezTo>
                    <a:cubicBezTo>
                      <a:pt x="107" y="85"/>
                      <a:pt x="107" y="85"/>
                      <a:pt x="107" y="85"/>
                    </a:cubicBezTo>
                    <a:cubicBezTo>
                      <a:pt x="107" y="82"/>
                      <a:pt x="107" y="82"/>
                      <a:pt x="107" y="82"/>
                    </a:cubicBezTo>
                    <a:cubicBezTo>
                      <a:pt x="107" y="80"/>
                      <a:pt x="103" y="78"/>
                      <a:pt x="103" y="78"/>
                    </a:cubicBezTo>
                    <a:cubicBezTo>
                      <a:pt x="91" y="80"/>
                      <a:pt x="91" y="80"/>
                      <a:pt x="91" y="80"/>
                    </a:cubicBezTo>
                    <a:cubicBezTo>
                      <a:pt x="87" y="78"/>
                      <a:pt x="87" y="78"/>
                      <a:pt x="87" y="78"/>
                    </a:cubicBezTo>
                    <a:cubicBezTo>
                      <a:pt x="87" y="78"/>
                      <a:pt x="86" y="75"/>
                      <a:pt x="85" y="75"/>
                    </a:cubicBezTo>
                    <a:cubicBezTo>
                      <a:pt x="84" y="74"/>
                      <a:pt x="82" y="76"/>
                      <a:pt x="82" y="76"/>
                    </a:cubicBezTo>
                    <a:cubicBezTo>
                      <a:pt x="82" y="78"/>
                      <a:pt x="82" y="78"/>
                      <a:pt x="82" y="78"/>
                    </a:cubicBezTo>
                    <a:cubicBezTo>
                      <a:pt x="81" y="76"/>
                      <a:pt x="81" y="76"/>
                      <a:pt x="81" y="76"/>
                    </a:cubicBezTo>
                    <a:cubicBezTo>
                      <a:pt x="84" y="72"/>
                      <a:pt x="84" y="72"/>
                      <a:pt x="84" y="72"/>
                    </a:cubicBezTo>
                    <a:cubicBezTo>
                      <a:pt x="85" y="72"/>
                      <a:pt x="85" y="72"/>
                      <a:pt x="85" y="72"/>
                    </a:cubicBezTo>
                    <a:cubicBezTo>
                      <a:pt x="87" y="69"/>
                      <a:pt x="87" y="69"/>
                      <a:pt x="87" y="69"/>
                    </a:cubicBezTo>
                    <a:cubicBezTo>
                      <a:pt x="85" y="68"/>
                      <a:pt x="85" y="68"/>
                      <a:pt x="85" y="68"/>
                    </a:cubicBezTo>
                    <a:cubicBezTo>
                      <a:pt x="86" y="65"/>
                      <a:pt x="86" y="65"/>
                      <a:pt x="86" y="65"/>
                    </a:cubicBezTo>
                    <a:cubicBezTo>
                      <a:pt x="85" y="63"/>
                      <a:pt x="85" y="63"/>
                      <a:pt x="85" y="63"/>
                    </a:cubicBezTo>
                    <a:cubicBezTo>
                      <a:pt x="84" y="54"/>
                      <a:pt x="84" y="54"/>
                      <a:pt x="84" y="54"/>
                    </a:cubicBezTo>
                    <a:cubicBezTo>
                      <a:pt x="85" y="51"/>
                      <a:pt x="85" y="51"/>
                      <a:pt x="85" y="51"/>
                    </a:cubicBezTo>
                    <a:cubicBezTo>
                      <a:pt x="85" y="50"/>
                      <a:pt x="81" y="50"/>
                      <a:pt x="81" y="50"/>
                    </a:cubicBezTo>
                    <a:cubicBezTo>
                      <a:pt x="74" y="45"/>
                      <a:pt x="74" y="45"/>
                      <a:pt x="74" y="45"/>
                    </a:cubicBezTo>
                    <a:cubicBezTo>
                      <a:pt x="72" y="45"/>
                      <a:pt x="72" y="45"/>
                      <a:pt x="72" y="45"/>
                    </a:cubicBezTo>
                    <a:cubicBezTo>
                      <a:pt x="64" y="46"/>
                      <a:pt x="64" y="46"/>
                      <a:pt x="64" y="46"/>
                    </a:cubicBezTo>
                    <a:cubicBezTo>
                      <a:pt x="64" y="46"/>
                      <a:pt x="60" y="48"/>
                      <a:pt x="60" y="49"/>
                    </a:cubicBezTo>
                    <a:cubicBezTo>
                      <a:pt x="59" y="50"/>
                      <a:pt x="57" y="52"/>
                      <a:pt x="56" y="51"/>
                    </a:cubicBezTo>
                    <a:cubicBezTo>
                      <a:pt x="56" y="50"/>
                      <a:pt x="58" y="49"/>
                      <a:pt x="57" y="48"/>
                    </a:cubicBezTo>
                    <a:cubicBezTo>
                      <a:pt x="57" y="46"/>
                      <a:pt x="49" y="48"/>
                      <a:pt x="49" y="48"/>
                    </a:cubicBezTo>
                    <a:cubicBezTo>
                      <a:pt x="43" y="54"/>
                      <a:pt x="43" y="54"/>
                      <a:pt x="43" y="54"/>
                    </a:cubicBezTo>
                    <a:cubicBezTo>
                      <a:pt x="43" y="54"/>
                      <a:pt x="44" y="62"/>
                      <a:pt x="44" y="63"/>
                    </a:cubicBezTo>
                    <a:cubicBezTo>
                      <a:pt x="43" y="63"/>
                      <a:pt x="45" y="64"/>
                      <a:pt x="45" y="64"/>
                    </a:cubicBezTo>
                    <a:cubicBezTo>
                      <a:pt x="45" y="64"/>
                      <a:pt x="45" y="65"/>
                      <a:pt x="44" y="65"/>
                    </a:cubicBezTo>
                    <a:cubicBezTo>
                      <a:pt x="43" y="66"/>
                      <a:pt x="44" y="68"/>
                      <a:pt x="44" y="68"/>
                    </a:cubicBezTo>
                    <a:cubicBezTo>
                      <a:pt x="45" y="68"/>
                      <a:pt x="48" y="69"/>
                      <a:pt x="48" y="69"/>
                    </a:cubicBezTo>
                    <a:cubicBezTo>
                      <a:pt x="48" y="76"/>
                      <a:pt x="48" y="76"/>
                      <a:pt x="48" y="76"/>
                    </a:cubicBezTo>
                    <a:cubicBezTo>
                      <a:pt x="51" y="76"/>
                      <a:pt x="51" y="76"/>
                      <a:pt x="51" y="76"/>
                    </a:cubicBezTo>
                    <a:cubicBezTo>
                      <a:pt x="51" y="76"/>
                      <a:pt x="50" y="78"/>
                      <a:pt x="48" y="78"/>
                    </a:cubicBezTo>
                    <a:cubicBezTo>
                      <a:pt x="45" y="79"/>
                      <a:pt x="45" y="76"/>
                      <a:pt x="45" y="76"/>
                    </a:cubicBezTo>
                    <a:cubicBezTo>
                      <a:pt x="47" y="72"/>
                      <a:pt x="47" y="72"/>
                      <a:pt x="47" y="72"/>
                    </a:cubicBezTo>
                    <a:cubicBezTo>
                      <a:pt x="43" y="70"/>
                      <a:pt x="43" y="70"/>
                      <a:pt x="43" y="70"/>
                    </a:cubicBezTo>
                    <a:cubicBezTo>
                      <a:pt x="43" y="70"/>
                      <a:pt x="41" y="72"/>
                      <a:pt x="40" y="72"/>
                    </a:cubicBezTo>
                    <a:cubicBezTo>
                      <a:pt x="40" y="76"/>
                      <a:pt x="40" y="76"/>
                      <a:pt x="40" y="76"/>
                    </a:cubicBezTo>
                    <a:cubicBezTo>
                      <a:pt x="39" y="76"/>
                      <a:pt x="39" y="76"/>
                      <a:pt x="39" y="76"/>
                    </a:cubicBezTo>
                    <a:cubicBezTo>
                      <a:pt x="38" y="74"/>
                      <a:pt x="38" y="74"/>
                      <a:pt x="38" y="74"/>
                    </a:cubicBezTo>
                    <a:cubicBezTo>
                      <a:pt x="42" y="67"/>
                      <a:pt x="42" y="67"/>
                      <a:pt x="42" y="67"/>
                    </a:cubicBezTo>
                    <a:cubicBezTo>
                      <a:pt x="40" y="62"/>
                      <a:pt x="40" y="62"/>
                      <a:pt x="40" y="62"/>
                    </a:cubicBezTo>
                    <a:cubicBezTo>
                      <a:pt x="35" y="62"/>
                      <a:pt x="35" y="62"/>
                      <a:pt x="35" y="62"/>
                    </a:cubicBezTo>
                    <a:cubicBezTo>
                      <a:pt x="33" y="62"/>
                      <a:pt x="32" y="64"/>
                      <a:pt x="32" y="66"/>
                    </a:cubicBezTo>
                    <a:cubicBezTo>
                      <a:pt x="31" y="67"/>
                      <a:pt x="33" y="67"/>
                      <a:pt x="33" y="67"/>
                    </a:cubicBezTo>
                    <a:cubicBezTo>
                      <a:pt x="30" y="68"/>
                      <a:pt x="30" y="68"/>
                      <a:pt x="30" y="68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27" y="77"/>
                      <a:pt x="27" y="79"/>
                    </a:cubicBezTo>
                    <a:cubicBezTo>
                      <a:pt x="27" y="82"/>
                      <a:pt x="22" y="81"/>
                      <a:pt x="22" y="81"/>
                    </a:cubicBezTo>
                    <a:cubicBezTo>
                      <a:pt x="20" y="76"/>
                      <a:pt x="20" y="76"/>
                      <a:pt x="20" y="76"/>
                    </a:cubicBezTo>
                    <a:cubicBezTo>
                      <a:pt x="20" y="76"/>
                      <a:pt x="12" y="75"/>
                      <a:pt x="9" y="74"/>
                    </a:cubicBezTo>
                    <a:cubicBezTo>
                      <a:pt x="6" y="72"/>
                      <a:pt x="7" y="70"/>
                      <a:pt x="7" y="68"/>
                    </a:cubicBezTo>
                    <a:cubicBezTo>
                      <a:pt x="7" y="67"/>
                      <a:pt x="8" y="66"/>
                      <a:pt x="8" y="66"/>
                    </a:cubicBezTo>
                    <a:cubicBezTo>
                      <a:pt x="7" y="64"/>
                      <a:pt x="7" y="64"/>
                      <a:pt x="7" y="64"/>
                    </a:cubicBezTo>
                    <a:cubicBezTo>
                      <a:pt x="5" y="70"/>
                      <a:pt x="5" y="70"/>
                      <a:pt x="5" y="70"/>
                    </a:cubicBezTo>
                    <a:cubicBezTo>
                      <a:pt x="4" y="74"/>
                      <a:pt x="3" y="85"/>
                      <a:pt x="3" y="85"/>
                    </a:cubicBezTo>
                    <a:cubicBezTo>
                      <a:pt x="4" y="84"/>
                      <a:pt x="4" y="84"/>
                      <a:pt x="4" y="84"/>
                    </a:cubicBezTo>
                    <a:cubicBezTo>
                      <a:pt x="9" y="92"/>
                      <a:pt x="9" y="92"/>
                      <a:pt x="9" y="92"/>
                    </a:cubicBezTo>
                    <a:cubicBezTo>
                      <a:pt x="7" y="92"/>
                      <a:pt x="7" y="92"/>
                      <a:pt x="7" y="92"/>
                    </a:cubicBezTo>
                    <a:cubicBezTo>
                      <a:pt x="6" y="90"/>
                      <a:pt x="6" y="90"/>
                      <a:pt x="6" y="90"/>
                    </a:cubicBezTo>
                    <a:cubicBezTo>
                      <a:pt x="4" y="88"/>
                      <a:pt x="4" y="88"/>
                      <a:pt x="4" y="88"/>
                    </a:cubicBezTo>
                    <a:cubicBezTo>
                      <a:pt x="3" y="96"/>
                      <a:pt x="3" y="96"/>
                      <a:pt x="3" y="96"/>
                    </a:cubicBezTo>
                    <a:cubicBezTo>
                      <a:pt x="5" y="95"/>
                      <a:pt x="5" y="95"/>
                      <a:pt x="5" y="95"/>
                    </a:cubicBezTo>
                    <a:cubicBezTo>
                      <a:pt x="7" y="99"/>
                      <a:pt x="7" y="99"/>
                      <a:pt x="7" y="99"/>
                    </a:cubicBezTo>
                    <a:cubicBezTo>
                      <a:pt x="5" y="100"/>
                      <a:pt x="5" y="100"/>
                      <a:pt x="5" y="100"/>
                    </a:cubicBezTo>
                    <a:cubicBezTo>
                      <a:pt x="4" y="98"/>
                      <a:pt x="4" y="98"/>
                      <a:pt x="4" y="98"/>
                    </a:cubicBezTo>
                    <a:cubicBezTo>
                      <a:pt x="2" y="99"/>
                      <a:pt x="2" y="99"/>
                      <a:pt x="2" y="99"/>
                    </a:cubicBezTo>
                    <a:cubicBezTo>
                      <a:pt x="1" y="110"/>
                      <a:pt x="1" y="110"/>
                      <a:pt x="1" y="110"/>
                    </a:cubicBezTo>
                    <a:cubicBezTo>
                      <a:pt x="2" y="109"/>
                      <a:pt x="2" y="109"/>
                      <a:pt x="2" y="109"/>
                    </a:cubicBezTo>
                    <a:cubicBezTo>
                      <a:pt x="4" y="104"/>
                      <a:pt x="4" y="104"/>
                      <a:pt x="4" y="104"/>
                    </a:cubicBezTo>
                    <a:cubicBezTo>
                      <a:pt x="8" y="107"/>
                      <a:pt x="8" y="107"/>
                      <a:pt x="8" y="107"/>
                    </a:cubicBezTo>
                    <a:cubicBezTo>
                      <a:pt x="8" y="113"/>
                      <a:pt x="8" y="113"/>
                      <a:pt x="8" y="113"/>
                    </a:cubicBezTo>
                    <a:cubicBezTo>
                      <a:pt x="8" y="113"/>
                      <a:pt x="12" y="115"/>
                      <a:pt x="11" y="117"/>
                    </a:cubicBezTo>
                    <a:cubicBezTo>
                      <a:pt x="10" y="119"/>
                      <a:pt x="8" y="122"/>
                      <a:pt x="6" y="120"/>
                    </a:cubicBezTo>
                    <a:cubicBezTo>
                      <a:pt x="3" y="119"/>
                      <a:pt x="4" y="112"/>
                      <a:pt x="4" y="112"/>
                    </a:cubicBezTo>
                    <a:cubicBezTo>
                      <a:pt x="3" y="112"/>
                      <a:pt x="3" y="112"/>
                      <a:pt x="3" y="112"/>
                    </a:cubicBezTo>
                    <a:cubicBezTo>
                      <a:pt x="3" y="112"/>
                      <a:pt x="4" y="122"/>
                      <a:pt x="4" y="124"/>
                    </a:cubicBezTo>
                    <a:cubicBezTo>
                      <a:pt x="4" y="127"/>
                      <a:pt x="1" y="131"/>
                      <a:pt x="1" y="131"/>
                    </a:cubicBezTo>
                    <a:cubicBezTo>
                      <a:pt x="2" y="132"/>
                      <a:pt x="2" y="132"/>
                      <a:pt x="2" y="132"/>
                    </a:cubicBezTo>
                    <a:cubicBezTo>
                      <a:pt x="0" y="140"/>
                      <a:pt x="0" y="140"/>
                      <a:pt x="0" y="140"/>
                    </a:cubicBezTo>
                    <a:cubicBezTo>
                      <a:pt x="2" y="141"/>
                      <a:pt x="2" y="141"/>
                      <a:pt x="2" y="141"/>
                    </a:cubicBezTo>
                    <a:cubicBezTo>
                      <a:pt x="7" y="145"/>
                      <a:pt x="7" y="145"/>
                      <a:pt x="7" y="145"/>
                    </a:cubicBezTo>
                    <a:cubicBezTo>
                      <a:pt x="5" y="138"/>
                      <a:pt x="5" y="138"/>
                      <a:pt x="5" y="138"/>
                    </a:cubicBezTo>
                    <a:cubicBezTo>
                      <a:pt x="7" y="138"/>
                      <a:pt x="7" y="138"/>
                      <a:pt x="7" y="138"/>
                    </a:cubicBezTo>
                    <a:cubicBezTo>
                      <a:pt x="9" y="145"/>
                      <a:pt x="9" y="145"/>
                      <a:pt x="9" y="145"/>
                    </a:cubicBezTo>
                    <a:cubicBezTo>
                      <a:pt x="15" y="147"/>
                      <a:pt x="15" y="147"/>
                      <a:pt x="15" y="147"/>
                    </a:cubicBezTo>
                    <a:cubicBezTo>
                      <a:pt x="17" y="147"/>
                      <a:pt x="17" y="147"/>
                      <a:pt x="17" y="147"/>
                    </a:cubicBezTo>
                    <a:cubicBezTo>
                      <a:pt x="21" y="156"/>
                      <a:pt x="21" y="156"/>
                      <a:pt x="21" y="156"/>
                    </a:cubicBezTo>
                    <a:cubicBezTo>
                      <a:pt x="20" y="159"/>
                      <a:pt x="20" y="159"/>
                      <a:pt x="20" y="159"/>
                    </a:cubicBezTo>
                    <a:cubicBezTo>
                      <a:pt x="20" y="159"/>
                      <a:pt x="21" y="163"/>
                      <a:pt x="21" y="166"/>
                    </a:cubicBezTo>
                    <a:cubicBezTo>
                      <a:pt x="21" y="169"/>
                      <a:pt x="18" y="173"/>
                      <a:pt x="18" y="175"/>
                    </a:cubicBezTo>
                    <a:cubicBezTo>
                      <a:pt x="18" y="177"/>
                      <a:pt x="20" y="178"/>
                      <a:pt x="20" y="179"/>
                    </a:cubicBezTo>
                    <a:cubicBezTo>
                      <a:pt x="19" y="179"/>
                      <a:pt x="19" y="180"/>
                      <a:pt x="19" y="181"/>
                    </a:cubicBezTo>
                    <a:cubicBezTo>
                      <a:pt x="20" y="181"/>
                      <a:pt x="21" y="182"/>
                      <a:pt x="22" y="182"/>
                    </a:cubicBezTo>
                    <a:cubicBezTo>
                      <a:pt x="28" y="181"/>
                      <a:pt x="33" y="183"/>
                      <a:pt x="39" y="185"/>
                    </a:cubicBezTo>
                    <a:cubicBezTo>
                      <a:pt x="41" y="185"/>
                      <a:pt x="40" y="190"/>
                      <a:pt x="44" y="189"/>
                    </a:cubicBezTo>
                    <a:cubicBezTo>
                      <a:pt x="47" y="187"/>
                      <a:pt x="48" y="183"/>
                      <a:pt x="49" y="189"/>
                    </a:cubicBezTo>
                    <a:cubicBezTo>
                      <a:pt x="49" y="189"/>
                      <a:pt x="49" y="188"/>
                      <a:pt x="50" y="188"/>
                    </a:cubicBezTo>
                    <a:cubicBezTo>
                      <a:pt x="50" y="186"/>
                      <a:pt x="50" y="186"/>
                      <a:pt x="50" y="186"/>
                    </a:cubicBezTo>
                    <a:cubicBezTo>
                      <a:pt x="54" y="183"/>
                      <a:pt x="54" y="183"/>
                      <a:pt x="54" y="183"/>
                    </a:cubicBezTo>
                    <a:cubicBezTo>
                      <a:pt x="54" y="183"/>
                      <a:pt x="56" y="181"/>
                      <a:pt x="57" y="181"/>
                    </a:cubicBezTo>
                    <a:cubicBezTo>
                      <a:pt x="58" y="181"/>
                      <a:pt x="57" y="185"/>
                      <a:pt x="57" y="186"/>
                    </a:cubicBezTo>
                    <a:cubicBezTo>
                      <a:pt x="57" y="187"/>
                      <a:pt x="59" y="188"/>
                      <a:pt x="61" y="188"/>
                    </a:cubicBezTo>
                    <a:cubicBezTo>
                      <a:pt x="63" y="187"/>
                      <a:pt x="60" y="186"/>
                      <a:pt x="59" y="185"/>
                    </a:cubicBezTo>
                    <a:cubicBezTo>
                      <a:pt x="59" y="183"/>
                      <a:pt x="61" y="183"/>
                      <a:pt x="61" y="183"/>
                    </a:cubicBezTo>
                    <a:close/>
                    <a:moveTo>
                      <a:pt x="170" y="130"/>
                    </a:moveTo>
                    <a:cubicBezTo>
                      <a:pt x="170" y="129"/>
                      <a:pt x="169" y="126"/>
                      <a:pt x="169" y="125"/>
                    </a:cubicBezTo>
                    <a:cubicBezTo>
                      <a:pt x="167" y="116"/>
                      <a:pt x="167" y="116"/>
                      <a:pt x="167" y="116"/>
                    </a:cubicBezTo>
                    <a:cubicBezTo>
                      <a:pt x="167" y="116"/>
                      <a:pt x="167" y="112"/>
                      <a:pt x="168" y="111"/>
                    </a:cubicBezTo>
                    <a:cubicBezTo>
                      <a:pt x="170" y="111"/>
                      <a:pt x="171" y="109"/>
                      <a:pt x="169" y="108"/>
                    </a:cubicBezTo>
                    <a:cubicBezTo>
                      <a:pt x="167" y="107"/>
                      <a:pt x="157" y="104"/>
                      <a:pt x="157" y="104"/>
                    </a:cubicBezTo>
                    <a:cubicBezTo>
                      <a:pt x="157" y="104"/>
                      <a:pt x="152" y="108"/>
                      <a:pt x="149" y="110"/>
                    </a:cubicBezTo>
                    <a:cubicBezTo>
                      <a:pt x="146" y="111"/>
                      <a:pt x="142" y="112"/>
                      <a:pt x="142" y="112"/>
                    </a:cubicBezTo>
                    <a:cubicBezTo>
                      <a:pt x="142" y="114"/>
                      <a:pt x="142" y="114"/>
                      <a:pt x="142" y="114"/>
                    </a:cubicBezTo>
                    <a:cubicBezTo>
                      <a:pt x="142" y="114"/>
                      <a:pt x="147" y="113"/>
                      <a:pt x="148" y="114"/>
                    </a:cubicBezTo>
                    <a:cubicBezTo>
                      <a:pt x="149" y="116"/>
                      <a:pt x="149" y="120"/>
                      <a:pt x="149" y="120"/>
                    </a:cubicBezTo>
                    <a:cubicBezTo>
                      <a:pt x="151" y="126"/>
                      <a:pt x="151" y="126"/>
                      <a:pt x="151" y="126"/>
                    </a:cubicBezTo>
                    <a:cubicBezTo>
                      <a:pt x="150" y="131"/>
                      <a:pt x="150" y="131"/>
                      <a:pt x="150" y="131"/>
                    </a:cubicBezTo>
                    <a:cubicBezTo>
                      <a:pt x="151" y="133"/>
                      <a:pt x="151" y="133"/>
                      <a:pt x="151" y="133"/>
                    </a:cubicBezTo>
                    <a:cubicBezTo>
                      <a:pt x="148" y="132"/>
                      <a:pt x="148" y="132"/>
                      <a:pt x="148" y="132"/>
                    </a:cubicBezTo>
                    <a:cubicBezTo>
                      <a:pt x="143" y="133"/>
                      <a:pt x="143" y="133"/>
                      <a:pt x="143" y="133"/>
                    </a:cubicBezTo>
                    <a:cubicBezTo>
                      <a:pt x="146" y="129"/>
                      <a:pt x="146" y="129"/>
                      <a:pt x="146" y="129"/>
                    </a:cubicBezTo>
                    <a:cubicBezTo>
                      <a:pt x="149" y="129"/>
                      <a:pt x="149" y="129"/>
                      <a:pt x="149" y="129"/>
                    </a:cubicBezTo>
                    <a:cubicBezTo>
                      <a:pt x="149" y="128"/>
                      <a:pt x="149" y="125"/>
                      <a:pt x="148" y="124"/>
                    </a:cubicBezTo>
                    <a:cubicBezTo>
                      <a:pt x="148" y="117"/>
                      <a:pt x="148" y="117"/>
                      <a:pt x="148" y="117"/>
                    </a:cubicBezTo>
                    <a:cubicBezTo>
                      <a:pt x="148" y="117"/>
                      <a:pt x="146" y="115"/>
                      <a:pt x="145" y="116"/>
                    </a:cubicBezTo>
                    <a:cubicBezTo>
                      <a:pt x="142" y="117"/>
                      <a:pt x="145" y="122"/>
                      <a:pt x="145" y="122"/>
                    </a:cubicBezTo>
                    <a:cubicBezTo>
                      <a:pt x="145" y="122"/>
                      <a:pt x="142" y="123"/>
                      <a:pt x="142" y="125"/>
                    </a:cubicBezTo>
                    <a:cubicBezTo>
                      <a:pt x="142" y="130"/>
                      <a:pt x="142" y="130"/>
                      <a:pt x="142" y="130"/>
                    </a:cubicBezTo>
                    <a:cubicBezTo>
                      <a:pt x="139" y="134"/>
                      <a:pt x="139" y="134"/>
                      <a:pt x="139" y="134"/>
                    </a:cubicBezTo>
                    <a:cubicBezTo>
                      <a:pt x="140" y="130"/>
                      <a:pt x="140" y="130"/>
                      <a:pt x="140" y="130"/>
                    </a:cubicBezTo>
                    <a:cubicBezTo>
                      <a:pt x="135" y="130"/>
                      <a:pt x="135" y="130"/>
                      <a:pt x="135" y="130"/>
                    </a:cubicBezTo>
                    <a:cubicBezTo>
                      <a:pt x="138" y="128"/>
                      <a:pt x="138" y="128"/>
                      <a:pt x="138" y="128"/>
                    </a:cubicBezTo>
                    <a:cubicBezTo>
                      <a:pt x="136" y="125"/>
                      <a:pt x="136" y="125"/>
                      <a:pt x="136" y="125"/>
                    </a:cubicBezTo>
                    <a:cubicBezTo>
                      <a:pt x="133" y="125"/>
                      <a:pt x="133" y="125"/>
                      <a:pt x="133" y="125"/>
                    </a:cubicBezTo>
                    <a:cubicBezTo>
                      <a:pt x="133" y="125"/>
                      <a:pt x="137" y="122"/>
                      <a:pt x="137" y="120"/>
                    </a:cubicBezTo>
                    <a:cubicBezTo>
                      <a:pt x="137" y="118"/>
                      <a:pt x="137" y="117"/>
                      <a:pt x="138" y="116"/>
                    </a:cubicBezTo>
                    <a:cubicBezTo>
                      <a:pt x="139" y="116"/>
                      <a:pt x="140" y="114"/>
                      <a:pt x="140" y="114"/>
                    </a:cubicBezTo>
                    <a:cubicBezTo>
                      <a:pt x="139" y="113"/>
                      <a:pt x="139" y="113"/>
                      <a:pt x="139" y="113"/>
                    </a:cubicBezTo>
                    <a:cubicBezTo>
                      <a:pt x="139" y="113"/>
                      <a:pt x="131" y="115"/>
                      <a:pt x="129" y="114"/>
                    </a:cubicBezTo>
                    <a:cubicBezTo>
                      <a:pt x="125" y="113"/>
                      <a:pt x="120" y="110"/>
                      <a:pt x="120" y="110"/>
                    </a:cubicBezTo>
                    <a:cubicBezTo>
                      <a:pt x="121" y="113"/>
                      <a:pt x="121" y="113"/>
                      <a:pt x="121" y="113"/>
                    </a:cubicBezTo>
                    <a:cubicBezTo>
                      <a:pt x="121" y="113"/>
                      <a:pt x="127" y="115"/>
                      <a:pt x="130" y="117"/>
                    </a:cubicBezTo>
                    <a:cubicBezTo>
                      <a:pt x="131" y="119"/>
                      <a:pt x="123" y="122"/>
                      <a:pt x="123" y="122"/>
                    </a:cubicBezTo>
                    <a:cubicBezTo>
                      <a:pt x="123" y="122"/>
                      <a:pt x="123" y="127"/>
                      <a:pt x="121" y="128"/>
                    </a:cubicBezTo>
                    <a:cubicBezTo>
                      <a:pt x="119" y="129"/>
                      <a:pt x="115" y="127"/>
                      <a:pt x="115" y="127"/>
                    </a:cubicBezTo>
                    <a:cubicBezTo>
                      <a:pt x="113" y="129"/>
                      <a:pt x="113" y="129"/>
                      <a:pt x="113" y="129"/>
                    </a:cubicBezTo>
                    <a:cubicBezTo>
                      <a:pt x="109" y="128"/>
                      <a:pt x="109" y="128"/>
                      <a:pt x="109" y="128"/>
                    </a:cubicBezTo>
                    <a:cubicBezTo>
                      <a:pt x="105" y="128"/>
                      <a:pt x="105" y="128"/>
                      <a:pt x="105" y="128"/>
                    </a:cubicBezTo>
                    <a:cubicBezTo>
                      <a:pt x="105" y="130"/>
                      <a:pt x="105" y="130"/>
                      <a:pt x="105" y="130"/>
                    </a:cubicBezTo>
                    <a:cubicBezTo>
                      <a:pt x="108" y="131"/>
                      <a:pt x="108" y="131"/>
                      <a:pt x="108" y="131"/>
                    </a:cubicBezTo>
                    <a:cubicBezTo>
                      <a:pt x="110" y="132"/>
                      <a:pt x="110" y="132"/>
                      <a:pt x="110" y="132"/>
                    </a:cubicBezTo>
                    <a:cubicBezTo>
                      <a:pt x="107" y="132"/>
                      <a:pt x="107" y="132"/>
                      <a:pt x="107" y="132"/>
                    </a:cubicBezTo>
                    <a:cubicBezTo>
                      <a:pt x="107" y="134"/>
                      <a:pt x="107" y="134"/>
                      <a:pt x="107" y="134"/>
                    </a:cubicBezTo>
                    <a:cubicBezTo>
                      <a:pt x="109" y="134"/>
                      <a:pt x="109" y="134"/>
                      <a:pt x="109" y="134"/>
                    </a:cubicBezTo>
                    <a:cubicBezTo>
                      <a:pt x="115" y="138"/>
                      <a:pt x="115" y="138"/>
                      <a:pt x="115" y="138"/>
                    </a:cubicBezTo>
                    <a:cubicBezTo>
                      <a:pt x="115" y="141"/>
                      <a:pt x="115" y="141"/>
                      <a:pt x="115" y="141"/>
                    </a:cubicBezTo>
                    <a:cubicBezTo>
                      <a:pt x="113" y="142"/>
                      <a:pt x="113" y="142"/>
                      <a:pt x="113" y="142"/>
                    </a:cubicBezTo>
                    <a:cubicBezTo>
                      <a:pt x="114" y="144"/>
                      <a:pt x="114" y="144"/>
                      <a:pt x="114" y="144"/>
                    </a:cubicBezTo>
                    <a:cubicBezTo>
                      <a:pt x="117" y="145"/>
                      <a:pt x="117" y="145"/>
                      <a:pt x="117" y="145"/>
                    </a:cubicBezTo>
                    <a:cubicBezTo>
                      <a:pt x="117" y="151"/>
                      <a:pt x="117" y="151"/>
                      <a:pt x="117" y="151"/>
                    </a:cubicBezTo>
                    <a:cubicBezTo>
                      <a:pt x="113" y="155"/>
                      <a:pt x="113" y="155"/>
                      <a:pt x="113" y="155"/>
                    </a:cubicBezTo>
                    <a:cubicBezTo>
                      <a:pt x="121" y="163"/>
                      <a:pt x="121" y="163"/>
                      <a:pt x="121" y="163"/>
                    </a:cubicBezTo>
                    <a:cubicBezTo>
                      <a:pt x="121" y="163"/>
                      <a:pt x="125" y="162"/>
                      <a:pt x="127" y="162"/>
                    </a:cubicBezTo>
                    <a:cubicBezTo>
                      <a:pt x="129" y="162"/>
                      <a:pt x="130" y="165"/>
                      <a:pt x="132" y="164"/>
                    </a:cubicBezTo>
                    <a:cubicBezTo>
                      <a:pt x="134" y="164"/>
                      <a:pt x="135" y="161"/>
                      <a:pt x="137" y="162"/>
                    </a:cubicBezTo>
                    <a:cubicBezTo>
                      <a:pt x="138" y="164"/>
                      <a:pt x="137" y="166"/>
                      <a:pt x="137" y="166"/>
                    </a:cubicBezTo>
                    <a:cubicBezTo>
                      <a:pt x="139" y="166"/>
                      <a:pt x="139" y="166"/>
                      <a:pt x="139" y="166"/>
                    </a:cubicBezTo>
                    <a:cubicBezTo>
                      <a:pt x="137" y="169"/>
                      <a:pt x="137" y="169"/>
                      <a:pt x="137" y="169"/>
                    </a:cubicBezTo>
                    <a:cubicBezTo>
                      <a:pt x="138" y="171"/>
                      <a:pt x="138" y="171"/>
                      <a:pt x="138" y="171"/>
                    </a:cubicBezTo>
                    <a:cubicBezTo>
                      <a:pt x="139" y="171"/>
                      <a:pt x="139" y="171"/>
                      <a:pt x="139" y="171"/>
                    </a:cubicBezTo>
                    <a:cubicBezTo>
                      <a:pt x="139" y="173"/>
                      <a:pt x="139" y="173"/>
                      <a:pt x="139" y="173"/>
                    </a:cubicBezTo>
                    <a:cubicBezTo>
                      <a:pt x="134" y="171"/>
                      <a:pt x="134" y="171"/>
                      <a:pt x="134" y="171"/>
                    </a:cubicBezTo>
                    <a:cubicBezTo>
                      <a:pt x="134" y="172"/>
                      <a:pt x="134" y="172"/>
                      <a:pt x="134" y="172"/>
                    </a:cubicBezTo>
                    <a:cubicBezTo>
                      <a:pt x="142" y="177"/>
                      <a:pt x="142" y="177"/>
                      <a:pt x="142" y="177"/>
                    </a:cubicBezTo>
                    <a:cubicBezTo>
                      <a:pt x="147" y="176"/>
                      <a:pt x="147" y="176"/>
                      <a:pt x="147" y="176"/>
                    </a:cubicBezTo>
                    <a:cubicBezTo>
                      <a:pt x="149" y="179"/>
                      <a:pt x="149" y="179"/>
                      <a:pt x="149" y="179"/>
                    </a:cubicBezTo>
                    <a:cubicBezTo>
                      <a:pt x="154" y="177"/>
                      <a:pt x="154" y="177"/>
                      <a:pt x="154" y="177"/>
                    </a:cubicBezTo>
                    <a:cubicBezTo>
                      <a:pt x="154" y="177"/>
                      <a:pt x="151" y="175"/>
                      <a:pt x="153" y="174"/>
                    </a:cubicBezTo>
                    <a:cubicBezTo>
                      <a:pt x="154" y="173"/>
                      <a:pt x="156" y="171"/>
                      <a:pt x="154" y="170"/>
                    </a:cubicBezTo>
                    <a:cubicBezTo>
                      <a:pt x="151" y="170"/>
                      <a:pt x="148" y="170"/>
                      <a:pt x="148" y="167"/>
                    </a:cubicBezTo>
                    <a:cubicBezTo>
                      <a:pt x="149" y="166"/>
                      <a:pt x="155" y="161"/>
                      <a:pt x="158" y="161"/>
                    </a:cubicBezTo>
                    <a:cubicBezTo>
                      <a:pt x="161" y="161"/>
                      <a:pt x="164" y="161"/>
                      <a:pt x="165" y="158"/>
                    </a:cubicBezTo>
                    <a:cubicBezTo>
                      <a:pt x="165" y="155"/>
                      <a:pt x="162" y="150"/>
                      <a:pt x="159" y="150"/>
                    </a:cubicBezTo>
                    <a:cubicBezTo>
                      <a:pt x="157" y="149"/>
                      <a:pt x="153" y="148"/>
                      <a:pt x="154" y="147"/>
                    </a:cubicBezTo>
                    <a:cubicBezTo>
                      <a:pt x="155" y="146"/>
                      <a:pt x="155" y="142"/>
                      <a:pt x="155" y="142"/>
                    </a:cubicBezTo>
                    <a:cubicBezTo>
                      <a:pt x="155" y="142"/>
                      <a:pt x="157" y="138"/>
                      <a:pt x="158" y="138"/>
                    </a:cubicBezTo>
                    <a:cubicBezTo>
                      <a:pt x="159" y="137"/>
                      <a:pt x="164" y="137"/>
                      <a:pt x="164" y="137"/>
                    </a:cubicBezTo>
                    <a:cubicBezTo>
                      <a:pt x="164" y="137"/>
                      <a:pt x="165" y="133"/>
                      <a:pt x="166" y="134"/>
                    </a:cubicBezTo>
                    <a:cubicBezTo>
                      <a:pt x="168" y="134"/>
                      <a:pt x="166" y="134"/>
                      <a:pt x="166" y="137"/>
                    </a:cubicBezTo>
                    <a:cubicBezTo>
                      <a:pt x="166" y="138"/>
                      <a:pt x="167" y="143"/>
                      <a:pt x="169" y="142"/>
                    </a:cubicBezTo>
                    <a:cubicBezTo>
                      <a:pt x="171" y="141"/>
                      <a:pt x="173" y="138"/>
                      <a:pt x="173" y="138"/>
                    </a:cubicBezTo>
                    <a:cubicBezTo>
                      <a:pt x="173" y="138"/>
                      <a:pt x="171" y="130"/>
                      <a:pt x="170" y="130"/>
                    </a:cubicBezTo>
                    <a:close/>
                    <a:moveTo>
                      <a:pt x="11" y="148"/>
                    </a:moveTo>
                    <a:cubicBezTo>
                      <a:pt x="9" y="146"/>
                      <a:pt x="9" y="146"/>
                      <a:pt x="9" y="146"/>
                    </a:cubicBezTo>
                    <a:cubicBezTo>
                      <a:pt x="9" y="149"/>
                      <a:pt x="9" y="149"/>
                      <a:pt x="9" y="149"/>
                    </a:cubicBezTo>
                    <a:cubicBezTo>
                      <a:pt x="10" y="151"/>
                      <a:pt x="10" y="151"/>
                      <a:pt x="10" y="151"/>
                    </a:cubicBezTo>
                    <a:cubicBezTo>
                      <a:pt x="11" y="155"/>
                      <a:pt x="11" y="155"/>
                      <a:pt x="11" y="155"/>
                    </a:cubicBezTo>
                    <a:cubicBezTo>
                      <a:pt x="12" y="151"/>
                      <a:pt x="12" y="151"/>
                      <a:pt x="12" y="151"/>
                    </a:cubicBezTo>
                    <a:cubicBezTo>
                      <a:pt x="12" y="148"/>
                      <a:pt x="11" y="148"/>
                      <a:pt x="11" y="148"/>
                    </a:cubicBezTo>
                    <a:close/>
                    <a:moveTo>
                      <a:pt x="267" y="166"/>
                    </a:moveTo>
                    <a:cubicBezTo>
                      <a:pt x="261" y="162"/>
                      <a:pt x="261" y="162"/>
                      <a:pt x="261" y="162"/>
                    </a:cubicBezTo>
                    <a:cubicBezTo>
                      <a:pt x="256" y="161"/>
                      <a:pt x="256" y="161"/>
                      <a:pt x="256" y="161"/>
                    </a:cubicBezTo>
                    <a:cubicBezTo>
                      <a:pt x="252" y="156"/>
                      <a:pt x="252" y="156"/>
                      <a:pt x="252" y="156"/>
                    </a:cubicBezTo>
                    <a:cubicBezTo>
                      <a:pt x="249" y="161"/>
                      <a:pt x="249" y="161"/>
                      <a:pt x="249" y="161"/>
                    </a:cubicBezTo>
                    <a:cubicBezTo>
                      <a:pt x="249" y="161"/>
                      <a:pt x="251" y="162"/>
                      <a:pt x="250" y="164"/>
                    </a:cubicBezTo>
                    <a:cubicBezTo>
                      <a:pt x="250" y="166"/>
                      <a:pt x="249" y="169"/>
                      <a:pt x="249" y="169"/>
                    </a:cubicBezTo>
                    <a:cubicBezTo>
                      <a:pt x="264" y="175"/>
                      <a:pt x="264" y="175"/>
                      <a:pt x="264" y="175"/>
                    </a:cubicBezTo>
                    <a:cubicBezTo>
                      <a:pt x="265" y="174"/>
                      <a:pt x="265" y="174"/>
                      <a:pt x="265" y="174"/>
                    </a:cubicBezTo>
                    <a:cubicBezTo>
                      <a:pt x="265" y="171"/>
                      <a:pt x="265" y="171"/>
                      <a:pt x="265" y="171"/>
                    </a:cubicBezTo>
                    <a:cubicBezTo>
                      <a:pt x="268" y="170"/>
                      <a:pt x="268" y="170"/>
                      <a:pt x="268" y="170"/>
                    </a:cubicBezTo>
                    <a:lnTo>
                      <a:pt x="267" y="166"/>
                    </a:lnTo>
                    <a:close/>
                    <a:moveTo>
                      <a:pt x="174" y="134"/>
                    </a:moveTo>
                    <a:cubicBezTo>
                      <a:pt x="175" y="138"/>
                      <a:pt x="178" y="138"/>
                      <a:pt x="176" y="134"/>
                    </a:cubicBezTo>
                    <a:cubicBezTo>
                      <a:pt x="176" y="131"/>
                      <a:pt x="174" y="134"/>
                      <a:pt x="174" y="134"/>
                    </a:cubicBezTo>
                    <a:close/>
                    <a:moveTo>
                      <a:pt x="131" y="69"/>
                    </a:moveTo>
                    <a:cubicBezTo>
                      <a:pt x="134" y="68"/>
                      <a:pt x="136" y="65"/>
                      <a:pt x="136" y="65"/>
                    </a:cubicBezTo>
                    <a:cubicBezTo>
                      <a:pt x="129" y="65"/>
                      <a:pt x="129" y="65"/>
                      <a:pt x="129" y="65"/>
                    </a:cubicBezTo>
                    <a:cubicBezTo>
                      <a:pt x="129" y="65"/>
                      <a:pt x="129" y="69"/>
                      <a:pt x="131" y="69"/>
                    </a:cubicBez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60" name="Cyprus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7440613" y="5705475"/>
                <a:ext cx="239712" cy="227012"/>
              </a:xfrm>
              <a:custGeom>
                <a:avLst/>
                <a:gdLst/>
                <a:ahLst/>
                <a:cxnLst>
                  <a:cxn ang="0">
                    <a:pos x="0" y="75"/>
                  </a:cxn>
                  <a:cxn ang="0">
                    <a:pos x="8" y="81"/>
                  </a:cxn>
                  <a:cxn ang="0">
                    <a:pos x="11" y="67"/>
                  </a:cxn>
                  <a:cxn ang="0">
                    <a:pos x="30" y="65"/>
                  </a:cxn>
                  <a:cxn ang="0">
                    <a:pos x="28" y="47"/>
                  </a:cxn>
                  <a:cxn ang="0">
                    <a:pos x="36" y="48"/>
                  </a:cxn>
                  <a:cxn ang="0">
                    <a:pos x="37" y="46"/>
                  </a:cxn>
                  <a:cxn ang="0">
                    <a:pos x="52" y="46"/>
                  </a:cxn>
                  <a:cxn ang="0">
                    <a:pos x="57" y="44"/>
                  </a:cxn>
                  <a:cxn ang="0">
                    <a:pos x="68" y="40"/>
                  </a:cxn>
                  <a:cxn ang="0">
                    <a:pos x="75" y="29"/>
                  </a:cxn>
                  <a:cxn ang="0">
                    <a:pos x="86" y="22"/>
                  </a:cxn>
                  <a:cxn ang="0">
                    <a:pos x="91" y="14"/>
                  </a:cxn>
                  <a:cxn ang="0">
                    <a:pos x="95" y="13"/>
                  </a:cxn>
                  <a:cxn ang="0">
                    <a:pos x="113" y="0"/>
                  </a:cxn>
                  <a:cxn ang="0">
                    <a:pos x="105" y="9"/>
                  </a:cxn>
                  <a:cxn ang="0">
                    <a:pos x="103" y="16"/>
                  </a:cxn>
                  <a:cxn ang="0">
                    <a:pos x="91" y="28"/>
                  </a:cxn>
                  <a:cxn ang="0">
                    <a:pos x="91" y="33"/>
                  </a:cxn>
                  <a:cxn ang="0">
                    <a:pos x="83" y="41"/>
                  </a:cxn>
                  <a:cxn ang="0">
                    <a:pos x="101" y="53"/>
                  </a:cxn>
                  <a:cxn ang="0">
                    <a:pos x="98" y="57"/>
                  </a:cxn>
                  <a:cxn ang="0">
                    <a:pos x="93" y="56"/>
                  </a:cxn>
                  <a:cxn ang="0">
                    <a:pos x="90" y="60"/>
                  </a:cxn>
                  <a:cxn ang="0">
                    <a:pos x="78" y="62"/>
                  </a:cxn>
                  <a:cxn ang="0">
                    <a:pos x="77" y="74"/>
                  </a:cxn>
                  <a:cxn ang="0">
                    <a:pos x="74" y="74"/>
                  </a:cxn>
                  <a:cxn ang="0">
                    <a:pos x="72" y="77"/>
                  </a:cxn>
                  <a:cxn ang="0">
                    <a:pos x="50" y="92"/>
                  </a:cxn>
                  <a:cxn ang="0">
                    <a:pos x="50" y="101"/>
                  </a:cxn>
                  <a:cxn ang="0">
                    <a:pos x="41" y="95"/>
                  </a:cxn>
                  <a:cxn ang="0">
                    <a:pos x="17" y="101"/>
                  </a:cxn>
                  <a:cxn ang="0">
                    <a:pos x="0" y="75"/>
                  </a:cxn>
                </a:cxnLst>
                <a:rect l="0" t="0" r="r" b="b"/>
                <a:pathLst>
                  <a:path w="113" h="106">
                    <a:moveTo>
                      <a:pt x="0" y="75"/>
                    </a:moveTo>
                    <a:cubicBezTo>
                      <a:pt x="0" y="75"/>
                      <a:pt x="4" y="83"/>
                      <a:pt x="8" y="81"/>
                    </a:cubicBezTo>
                    <a:cubicBezTo>
                      <a:pt x="11" y="79"/>
                      <a:pt x="7" y="72"/>
                      <a:pt x="11" y="67"/>
                    </a:cubicBezTo>
                    <a:cubicBezTo>
                      <a:pt x="16" y="64"/>
                      <a:pt x="26" y="72"/>
                      <a:pt x="30" y="65"/>
                    </a:cubicBezTo>
                    <a:cubicBezTo>
                      <a:pt x="34" y="59"/>
                      <a:pt x="28" y="47"/>
                      <a:pt x="28" y="47"/>
                    </a:cubicBezTo>
                    <a:cubicBezTo>
                      <a:pt x="36" y="48"/>
                      <a:pt x="36" y="48"/>
                      <a:pt x="36" y="48"/>
                    </a:cubicBezTo>
                    <a:cubicBezTo>
                      <a:pt x="37" y="46"/>
                      <a:pt x="37" y="46"/>
                      <a:pt x="37" y="46"/>
                    </a:cubicBezTo>
                    <a:cubicBezTo>
                      <a:pt x="52" y="46"/>
                      <a:pt x="52" y="46"/>
                      <a:pt x="52" y="46"/>
                    </a:cubicBezTo>
                    <a:cubicBezTo>
                      <a:pt x="57" y="44"/>
                      <a:pt x="57" y="44"/>
                      <a:pt x="57" y="44"/>
                    </a:cubicBezTo>
                    <a:cubicBezTo>
                      <a:pt x="57" y="44"/>
                      <a:pt x="64" y="43"/>
                      <a:pt x="68" y="40"/>
                    </a:cubicBezTo>
                    <a:cubicBezTo>
                      <a:pt x="72" y="36"/>
                      <a:pt x="70" y="31"/>
                      <a:pt x="75" y="29"/>
                    </a:cubicBezTo>
                    <a:cubicBezTo>
                      <a:pt x="80" y="28"/>
                      <a:pt x="82" y="25"/>
                      <a:pt x="86" y="22"/>
                    </a:cubicBezTo>
                    <a:cubicBezTo>
                      <a:pt x="90" y="19"/>
                      <a:pt x="91" y="14"/>
                      <a:pt x="91" y="14"/>
                    </a:cubicBezTo>
                    <a:cubicBezTo>
                      <a:pt x="95" y="13"/>
                      <a:pt x="95" y="13"/>
                      <a:pt x="95" y="13"/>
                    </a:cubicBezTo>
                    <a:cubicBezTo>
                      <a:pt x="113" y="0"/>
                      <a:pt x="113" y="0"/>
                      <a:pt x="113" y="0"/>
                    </a:cubicBezTo>
                    <a:cubicBezTo>
                      <a:pt x="105" y="9"/>
                      <a:pt x="105" y="9"/>
                      <a:pt x="105" y="9"/>
                    </a:cubicBezTo>
                    <a:cubicBezTo>
                      <a:pt x="103" y="16"/>
                      <a:pt x="103" y="16"/>
                      <a:pt x="103" y="16"/>
                    </a:cubicBezTo>
                    <a:cubicBezTo>
                      <a:pt x="91" y="28"/>
                      <a:pt x="91" y="28"/>
                      <a:pt x="91" y="28"/>
                    </a:cubicBezTo>
                    <a:cubicBezTo>
                      <a:pt x="91" y="33"/>
                      <a:pt x="91" y="33"/>
                      <a:pt x="91" y="33"/>
                    </a:cubicBezTo>
                    <a:cubicBezTo>
                      <a:pt x="91" y="33"/>
                      <a:pt x="80" y="34"/>
                      <a:pt x="83" y="41"/>
                    </a:cubicBezTo>
                    <a:cubicBezTo>
                      <a:pt x="88" y="48"/>
                      <a:pt x="101" y="53"/>
                      <a:pt x="101" y="53"/>
                    </a:cubicBezTo>
                    <a:cubicBezTo>
                      <a:pt x="98" y="57"/>
                      <a:pt x="98" y="57"/>
                      <a:pt x="98" y="57"/>
                    </a:cubicBezTo>
                    <a:cubicBezTo>
                      <a:pt x="93" y="56"/>
                      <a:pt x="93" y="56"/>
                      <a:pt x="93" y="56"/>
                    </a:cubicBezTo>
                    <a:cubicBezTo>
                      <a:pt x="90" y="60"/>
                      <a:pt x="90" y="60"/>
                      <a:pt x="90" y="60"/>
                    </a:cubicBezTo>
                    <a:cubicBezTo>
                      <a:pt x="90" y="60"/>
                      <a:pt x="81" y="59"/>
                      <a:pt x="78" y="62"/>
                    </a:cubicBezTo>
                    <a:cubicBezTo>
                      <a:pt x="75" y="64"/>
                      <a:pt x="77" y="74"/>
                      <a:pt x="77" y="74"/>
                    </a:cubicBezTo>
                    <a:cubicBezTo>
                      <a:pt x="74" y="74"/>
                      <a:pt x="74" y="74"/>
                      <a:pt x="74" y="74"/>
                    </a:cubicBezTo>
                    <a:cubicBezTo>
                      <a:pt x="72" y="77"/>
                      <a:pt x="72" y="77"/>
                      <a:pt x="72" y="77"/>
                    </a:cubicBezTo>
                    <a:cubicBezTo>
                      <a:pt x="72" y="77"/>
                      <a:pt x="52" y="87"/>
                      <a:pt x="50" y="92"/>
                    </a:cubicBezTo>
                    <a:cubicBezTo>
                      <a:pt x="49" y="96"/>
                      <a:pt x="54" y="101"/>
                      <a:pt x="50" y="101"/>
                    </a:cubicBezTo>
                    <a:cubicBezTo>
                      <a:pt x="45" y="103"/>
                      <a:pt x="41" y="95"/>
                      <a:pt x="41" y="95"/>
                    </a:cubicBezTo>
                    <a:cubicBezTo>
                      <a:pt x="41" y="95"/>
                      <a:pt x="27" y="106"/>
                      <a:pt x="17" y="101"/>
                    </a:cubicBezTo>
                    <a:cubicBezTo>
                      <a:pt x="8" y="96"/>
                      <a:pt x="2" y="92"/>
                      <a:pt x="0" y="75"/>
                    </a:cubicBez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61" name="Czech Republic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030788" y="3970338"/>
                <a:ext cx="628650" cy="355600"/>
              </a:xfrm>
              <a:custGeom>
                <a:avLst/>
                <a:gdLst/>
                <a:ahLst/>
                <a:cxnLst>
                  <a:cxn ang="0">
                    <a:pos x="282" y="79"/>
                  </a:cxn>
                  <a:cxn ang="0">
                    <a:pos x="269" y="64"/>
                  </a:cxn>
                  <a:cxn ang="0">
                    <a:pos x="252" y="63"/>
                  </a:cxn>
                  <a:cxn ang="0">
                    <a:pos x="243" y="58"/>
                  </a:cxn>
                  <a:cxn ang="0">
                    <a:pos x="243" y="48"/>
                  </a:cxn>
                  <a:cxn ang="0">
                    <a:pos x="227" y="48"/>
                  </a:cxn>
                  <a:cxn ang="0">
                    <a:pos x="204" y="37"/>
                  </a:cxn>
                  <a:cxn ang="0">
                    <a:pos x="211" y="46"/>
                  </a:cxn>
                  <a:cxn ang="0">
                    <a:pos x="207" y="51"/>
                  </a:cxn>
                  <a:cxn ang="0">
                    <a:pos x="191" y="58"/>
                  </a:cxn>
                  <a:cxn ang="0">
                    <a:pos x="175" y="41"/>
                  </a:cxn>
                  <a:cxn ang="0">
                    <a:pos x="179" y="25"/>
                  </a:cxn>
                  <a:cxn ang="0">
                    <a:pos x="165" y="25"/>
                  </a:cxn>
                  <a:cxn ang="0">
                    <a:pos x="143" y="22"/>
                  </a:cxn>
                  <a:cxn ang="0">
                    <a:pos x="137" y="7"/>
                  </a:cxn>
                  <a:cxn ang="0">
                    <a:pos x="121" y="8"/>
                  </a:cxn>
                  <a:cxn ang="0">
                    <a:pos x="121" y="13"/>
                  </a:cxn>
                  <a:cxn ang="0">
                    <a:pos x="110" y="14"/>
                  </a:cxn>
                  <a:cxn ang="0">
                    <a:pos x="101" y="9"/>
                  </a:cxn>
                  <a:cxn ang="0">
                    <a:pos x="89" y="5"/>
                  </a:cxn>
                  <a:cxn ang="0">
                    <a:pos x="89" y="12"/>
                  </a:cxn>
                  <a:cxn ang="0">
                    <a:pos x="64" y="23"/>
                  </a:cxn>
                  <a:cxn ang="0">
                    <a:pos x="47" y="37"/>
                  </a:cxn>
                  <a:cxn ang="0">
                    <a:pos x="30" y="44"/>
                  </a:cxn>
                  <a:cxn ang="0">
                    <a:pos x="16" y="49"/>
                  </a:cxn>
                  <a:cxn ang="0">
                    <a:pos x="2" y="52"/>
                  </a:cxn>
                  <a:cxn ang="0">
                    <a:pos x="7" y="67"/>
                  </a:cxn>
                  <a:cxn ang="0">
                    <a:pos x="19" y="77"/>
                  </a:cxn>
                  <a:cxn ang="0">
                    <a:pos x="14" y="88"/>
                  </a:cxn>
                  <a:cxn ang="0">
                    <a:pos x="23" y="103"/>
                  </a:cxn>
                  <a:cxn ang="0">
                    <a:pos x="50" y="130"/>
                  </a:cxn>
                  <a:cxn ang="0">
                    <a:pos x="69" y="141"/>
                  </a:cxn>
                  <a:cxn ang="0">
                    <a:pos x="81" y="153"/>
                  </a:cxn>
                  <a:cxn ang="0">
                    <a:pos x="89" y="161"/>
                  </a:cxn>
                  <a:cxn ang="0">
                    <a:pos x="91" y="165"/>
                  </a:cxn>
                  <a:cxn ang="0">
                    <a:pos x="106" y="161"/>
                  </a:cxn>
                  <a:cxn ang="0">
                    <a:pos x="112" y="162"/>
                  </a:cxn>
                  <a:cxn ang="0">
                    <a:pos x="116" y="156"/>
                  </a:cxn>
                  <a:cxn ang="0">
                    <a:pos x="128" y="153"/>
                  </a:cxn>
                  <a:cxn ang="0">
                    <a:pos x="135" y="136"/>
                  </a:cxn>
                  <a:cxn ang="0">
                    <a:pos x="143" y="136"/>
                  </a:cxn>
                  <a:cxn ang="0">
                    <a:pos x="161" y="143"/>
                  </a:cxn>
                  <a:cxn ang="0">
                    <a:pos x="177" y="150"/>
                  </a:cxn>
                  <a:cxn ang="0">
                    <a:pos x="193" y="144"/>
                  </a:cxn>
                  <a:cxn ang="0">
                    <a:pos x="206" y="150"/>
                  </a:cxn>
                  <a:cxn ang="0">
                    <a:pos x="216" y="152"/>
                  </a:cxn>
                  <a:cxn ang="0">
                    <a:pos x="242" y="141"/>
                  </a:cxn>
                  <a:cxn ang="0">
                    <a:pos x="256" y="126"/>
                  </a:cxn>
                  <a:cxn ang="0">
                    <a:pos x="266" y="107"/>
                  </a:cxn>
                  <a:cxn ang="0">
                    <a:pos x="281" y="92"/>
                  </a:cxn>
                  <a:cxn ang="0">
                    <a:pos x="295" y="90"/>
                  </a:cxn>
                </a:cxnLst>
                <a:rect l="0" t="0" r="r" b="b"/>
                <a:pathLst>
                  <a:path w="295" h="167">
                    <a:moveTo>
                      <a:pt x="291" y="79"/>
                    </a:moveTo>
                    <a:cubicBezTo>
                      <a:pt x="282" y="79"/>
                      <a:pt x="282" y="79"/>
                      <a:pt x="282" y="79"/>
                    </a:cubicBezTo>
                    <a:cubicBezTo>
                      <a:pt x="279" y="67"/>
                      <a:pt x="279" y="67"/>
                      <a:pt x="279" y="67"/>
                    </a:cubicBezTo>
                    <a:cubicBezTo>
                      <a:pt x="269" y="64"/>
                      <a:pt x="269" y="64"/>
                      <a:pt x="269" y="64"/>
                    </a:cubicBezTo>
                    <a:cubicBezTo>
                      <a:pt x="253" y="59"/>
                      <a:pt x="253" y="59"/>
                      <a:pt x="253" y="59"/>
                    </a:cubicBezTo>
                    <a:cubicBezTo>
                      <a:pt x="252" y="63"/>
                      <a:pt x="252" y="63"/>
                      <a:pt x="252" y="63"/>
                    </a:cubicBezTo>
                    <a:cubicBezTo>
                      <a:pt x="247" y="65"/>
                      <a:pt x="247" y="65"/>
                      <a:pt x="247" y="65"/>
                    </a:cubicBezTo>
                    <a:cubicBezTo>
                      <a:pt x="247" y="65"/>
                      <a:pt x="245" y="59"/>
                      <a:pt x="243" y="58"/>
                    </a:cubicBezTo>
                    <a:cubicBezTo>
                      <a:pt x="242" y="57"/>
                      <a:pt x="239" y="53"/>
                      <a:pt x="239" y="53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39" y="43"/>
                      <a:pt x="239" y="43"/>
                      <a:pt x="239" y="43"/>
                    </a:cubicBezTo>
                    <a:cubicBezTo>
                      <a:pt x="227" y="48"/>
                      <a:pt x="227" y="48"/>
                      <a:pt x="227" y="48"/>
                    </a:cubicBezTo>
                    <a:cubicBezTo>
                      <a:pt x="227" y="48"/>
                      <a:pt x="223" y="43"/>
                      <a:pt x="217" y="41"/>
                    </a:cubicBezTo>
                    <a:cubicBezTo>
                      <a:pt x="211" y="39"/>
                      <a:pt x="204" y="37"/>
                      <a:pt x="204" y="37"/>
                    </a:cubicBezTo>
                    <a:cubicBezTo>
                      <a:pt x="205" y="43"/>
                      <a:pt x="205" y="43"/>
                      <a:pt x="205" y="43"/>
                    </a:cubicBezTo>
                    <a:cubicBezTo>
                      <a:pt x="205" y="43"/>
                      <a:pt x="209" y="46"/>
                      <a:pt x="211" y="46"/>
                    </a:cubicBezTo>
                    <a:cubicBezTo>
                      <a:pt x="213" y="46"/>
                      <a:pt x="211" y="52"/>
                      <a:pt x="211" y="52"/>
                    </a:cubicBezTo>
                    <a:cubicBezTo>
                      <a:pt x="207" y="51"/>
                      <a:pt x="207" y="51"/>
                      <a:pt x="207" y="51"/>
                    </a:cubicBezTo>
                    <a:cubicBezTo>
                      <a:pt x="207" y="51"/>
                      <a:pt x="201" y="54"/>
                      <a:pt x="201" y="56"/>
                    </a:cubicBezTo>
                    <a:cubicBezTo>
                      <a:pt x="200" y="58"/>
                      <a:pt x="194" y="60"/>
                      <a:pt x="191" y="58"/>
                    </a:cubicBezTo>
                    <a:cubicBezTo>
                      <a:pt x="188" y="56"/>
                      <a:pt x="189" y="48"/>
                      <a:pt x="187" y="45"/>
                    </a:cubicBezTo>
                    <a:cubicBezTo>
                      <a:pt x="186" y="42"/>
                      <a:pt x="177" y="43"/>
                      <a:pt x="175" y="41"/>
                    </a:cubicBezTo>
                    <a:cubicBezTo>
                      <a:pt x="173" y="38"/>
                      <a:pt x="186" y="30"/>
                      <a:pt x="186" y="30"/>
                    </a:cubicBezTo>
                    <a:cubicBezTo>
                      <a:pt x="179" y="25"/>
                      <a:pt x="179" y="25"/>
                      <a:pt x="179" y="25"/>
                    </a:cubicBezTo>
                    <a:cubicBezTo>
                      <a:pt x="166" y="31"/>
                      <a:pt x="166" y="31"/>
                      <a:pt x="166" y="31"/>
                    </a:cubicBezTo>
                    <a:cubicBezTo>
                      <a:pt x="165" y="25"/>
                      <a:pt x="165" y="25"/>
                      <a:pt x="165" y="25"/>
                    </a:cubicBezTo>
                    <a:cubicBezTo>
                      <a:pt x="143" y="17"/>
                      <a:pt x="143" y="17"/>
                      <a:pt x="143" y="17"/>
                    </a:cubicBezTo>
                    <a:cubicBezTo>
                      <a:pt x="143" y="22"/>
                      <a:pt x="143" y="22"/>
                      <a:pt x="143" y="22"/>
                    </a:cubicBezTo>
                    <a:cubicBezTo>
                      <a:pt x="135" y="14"/>
                      <a:pt x="135" y="14"/>
                      <a:pt x="135" y="14"/>
                    </a:cubicBezTo>
                    <a:cubicBezTo>
                      <a:pt x="137" y="7"/>
                      <a:pt x="137" y="7"/>
                      <a:pt x="137" y="7"/>
                    </a:cubicBezTo>
                    <a:cubicBezTo>
                      <a:pt x="123" y="5"/>
                      <a:pt x="123" y="5"/>
                      <a:pt x="123" y="5"/>
                    </a:cubicBezTo>
                    <a:cubicBezTo>
                      <a:pt x="121" y="8"/>
                      <a:pt x="121" y="8"/>
                      <a:pt x="121" y="8"/>
                    </a:cubicBezTo>
                    <a:cubicBezTo>
                      <a:pt x="123" y="11"/>
                      <a:pt x="123" y="11"/>
                      <a:pt x="123" y="11"/>
                    </a:cubicBezTo>
                    <a:cubicBezTo>
                      <a:pt x="121" y="13"/>
                      <a:pt x="121" y="13"/>
                      <a:pt x="121" y="13"/>
                    </a:cubicBezTo>
                    <a:cubicBezTo>
                      <a:pt x="113" y="11"/>
                      <a:pt x="113" y="11"/>
                      <a:pt x="113" y="11"/>
                    </a:cubicBezTo>
                    <a:cubicBezTo>
                      <a:pt x="113" y="13"/>
                      <a:pt x="112" y="16"/>
                      <a:pt x="110" y="14"/>
                    </a:cubicBezTo>
                    <a:cubicBezTo>
                      <a:pt x="107" y="12"/>
                      <a:pt x="101" y="14"/>
                      <a:pt x="106" y="8"/>
                    </a:cubicBezTo>
                    <a:cubicBezTo>
                      <a:pt x="105" y="9"/>
                      <a:pt x="102" y="9"/>
                      <a:pt x="101" y="9"/>
                    </a:cubicBezTo>
                    <a:cubicBezTo>
                      <a:pt x="107" y="1"/>
                      <a:pt x="94" y="2"/>
                      <a:pt x="91" y="0"/>
                    </a:cubicBezTo>
                    <a:cubicBezTo>
                      <a:pt x="90" y="1"/>
                      <a:pt x="89" y="4"/>
                      <a:pt x="89" y="5"/>
                    </a:cubicBezTo>
                    <a:cubicBezTo>
                      <a:pt x="90" y="5"/>
                      <a:pt x="95" y="7"/>
                      <a:pt x="95" y="8"/>
                    </a:cubicBezTo>
                    <a:cubicBezTo>
                      <a:pt x="95" y="12"/>
                      <a:pt x="92" y="10"/>
                      <a:pt x="89" y="12"/>
                    </a:cubicBezTo>
                    <a:cubicBezTo>
                      <a:pt x="84" y="14"/>
                      <a:pt x="80" y="18"/>
                      <a:pt x="77" y="18"/>
                    </a:cubicBezTo>
                    <a:cubicBezTo>
                      <a:pt x="74" y="18"/>
                      <a:pt x="66" y="22"/>
                      <a:pt x="64" y="23"/>
                    </a:cubicBezTo>
                    <a:cubicBezTo>
                      <a:pt x="60" y="25"/>
                      <a:pt x="58" y="35"/>
                      <a:pt x="53" y="30"/>
                    </a:cubicBezTo>
                    <a:cubicBezTo>
                      <a:pt x="53" y="30"/>
                      <a:pt x="50" y="32"/>
                      <a:pt x="47" y="37"/>
                    </a:cubicBezTo>
                    <a:cubicBezTo>
                      <a:pt x="45" y="39"/>
                      <a:pt x="43" y="40"/>
                      <a:pt x="41" y="39"/>
                    </a:cubicBezTo>
                    <a:cubicBezTo>
                      <a:pt x="40" y="48"/>
                      <a:pt x="33" y="42"/>
                      <a:pt x="30" y="44"/>
                    </a:cubicBezTo>
                    <a:cubicBezTo>
                      <a:pt x="29" y="44"/>
                      <a:pt x="25" y="46"/>
                      <a:pt x="25" y="46"/>
                    </a:cubicBezTo>
                    <a:cubicBezTo>
                      <a:pt x="19" y="43"/>
                      <a:pt x="18" y="48"/>
                      <a:pt x="16" y="49"/>
                    </a:cubicBezTo>
                    <a:cubicBezTo>
                      <a:pt x="14" y="52"/>
                      <a:pt x="11" y="61"/>
                      <a:pt x="10" y="62"/>
                    </a:cubicBezTo>
                    <a:cubicBezTo>
                      <a:pt x="9" y="62"/>
                      <a:pt x="3" y="54"/>
                      <a:pt x="2" y="52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57"/>
                      <a:pt x="4" y="63"/>
                      <a:pt x="7" y="67"/>
                    </a:cubicBezTo>
                    <a:cubicBezTo>
                      <a:pt x="9" y="70"/>
                      <a:pt x="18" y="72"/>
                      <a:pt x="16" y="76"/>
                    </a:cubicBezTo>
                    <a:cubicBezTo>
                      <a:pt x="17" y="76"/>
                      <a:pt x="18" y="77"/>
                      <a:pt x="19" y="77"/>
                    </a:cubicBezTo>
                    <a:cubicBezTo>
                      <a:pt x="19" y="79"/>
                      <a:pt x="18" y="84"/>
                      <a:pt x="17" y="84"/>
                    </a:cubicBezTo>
                    <a:cubicBezTo>
                      <a:pt x="14" y="88"/>
                      <a:pt x="14" y="88"/>
                      <a:pt x="14" y="88"/>
                    </a:cubicBezTo>
                    <a:cubicBezTo>
                      <a:pt x="14" y="92"/>
                      <a:pt x="18" y="92"/>
                      <a:pt x="19" y="93"/>
                    </a:cubicBezTo>
                    <a:cubicBezTo>
                      <a:pt x="21" y="96"/>
                      <a:pt x="21" y="100"/>
                      <a:pt x="23" y="103"/>
                    </a:cubicBezTo>
                    <a:cubicBezTo>
                      <a:pt x="24" y="106"/>
                      <a:pt x="29" y="115"/>
                      <a:pt x="33" y="116"/>
                    </a:cubicBezTo>
                    <a:cubicBezTo>
                      <a:pt x="40" y="117"/>
                      <a:pt x="49" y="130"/>
                      <a:pt x="50" y="130"/>
                    </a:cubicBezTo>
                    <a:cubicBezTo>
                      <a:pt x="53" y="130"/>
                      <a:pt x="59" y="131"/>
                      <a:pt x="59" y="135"/>
                    </a:cubicBezTo>
                    <a:cubicBezTo>
                      <a:pt x="60" y="143"/>
                      <a:pt x="66" y="136"/>
                      <a:pt x="69" y="141"/>
                    </a:cubicBezTo>
                    <a:cubicBezTo>
                      <a:pt x="72" y="146"/>
                      <a:pt x="76" y="149"/>
                      <a:pt x="77" y="154"/>
                    </a:cubicBezTo>
                    <a:cubicBezTo>
                      <a:pt x="81" y="153"/>
                      <a:pt x="81" y="153"/>
                      <a:pt x="81" y="153"/>
                    </a:cubicBezTo>
                    <a:cubicBezTo>
                      <a:pt x="81" y="153"/>
                      <a:pt x="83" y="155"/>
                      <a:pt x="85" y="155"/>
                    </a:cubicBezTo>
                    <a:cubicBezTo>
                      <a:pt x="86" y="156"/>
                      <a:pt x="89" y="161"/>
                      <a:pt x="89" y="161"/>
                    </a:cubicBezTo>
                    <a:cubicBezTo>
                      <a:pt x="88" y="163"/>
                      <a:pt x="88" y="163"/>
                      <a:pt x="88" y="163"/>
                    </a:cubicBezTo>
                    <a:cubicBezTo>
                      <a:pt x="91" y="165"/>
                      <a:pt x="91" y="165"/>
                      <a:pt x="91" y="165"/>
                    </a:cubicBezTo>
                    <a:cubicBezTo>
                      <a:pt x="101" y="167"/>
                      <a:pt x="101" y="167"/>
                      <a:pt x="101" y="167"/>
                    </a:cubicBezTo>
                    <a:cubicBezTo>
                      <a:pt x="106" y="161"/>
                      <a:pt x="106" y="161"/>
                      <a:pt x="106" y="161"/>
                    </a:cubicBezTo>
                    <a:cubicBezTo>
                      <a:pt x="109" y="162"/>
                      <a:pt x="109" y="162"/>
                      <a:pt x="109" y="162"/>
                    </a:cubicBezTo>
                    <a:cubicBezTo>
                      <a:pt x="112" y="162"/>
                      <a:pt x="112" y="162"/>
                      <a:pt x="112" y="162"/>
                    </a:cubicBezTo>
                    <a:cubicBezTo>
                      <a:pt x="112" y="162"/>
                      <a:pt x="116" y="164"/>
                      <a:pt x="118" y="164"/>
                    </a:cubicBezTo>
                    <a:cubicBezTo>
                      <a:pt x="119" y="164"/>
                      <a:pt x="116" y="158"/>
                      <a:pt x="116" y="156"/>
                    </a:cubicBezTo>
                    <a:cubicBezTo>
                      <a:pt x="117" y="154"/>
                      <a:pt x="121" y="150"/>
                      <a:pt x="121" y="150"/>
                    </a:cubicBezTo>
                    <a:cubicBezTo>
                      <a:pt x="128" y="153"/>
                      <a:pt x="128" y="153"/>
                      <a:pt x="128" y="153"/>
                    </a:cubicBezTo>
                    <a:cubicBezTo>
                      <a:pt x="129" y="136"/>
                      <a:pt x="129" y="136"/>
                      <a:pt x="129" y="136"/>
                    </a:cubicBezTo>
                    <a:cubicBezTo>
                      <a:pt x="135" y="136"/>
                      <a:pt x="135" y="136"/>
                      <a:pt x="135" y="136"/>
                    </a:cubicBezTo>
                    <a:cubicBezTo>
                      <a:pt x="135" y="136"/>
                      <a:pt x="137" y="138"/>
                      <a:pt x="140" y="138"/>
                    </a:cubicBezTo>
                    <a:cubicBezTo>
                      <a:pt x="142" y="137"/>
                      <a:pt x="143" y="136"/>
                      <a:pt x="143" y="136"/>
                    </a:cubicBezTo>
                    <a:cubicBezTo>
                      <a:pt x="143" y="136"/>
                      <a:pt x="150" y="138"/>
                      <a:pt x="151" y="138"/>
                    </a:cubicBezTo>
                    <a:cubicBezTo>
                      <a:pt x="152" y="138"/>
                      <a:pt x="161" y="143"/>
                      <a:pt x="161" y="143"/>
                    </a:cubicBezTo>
                    <a:cubicBezTo>
                      <a:pt x="161" y="143"/>
                      <a:pt x="163" y="142"/>
                      <a:pt x="167" y="142"/>
                    </a:cubicBezTo>
                    <a:cubicBezTo>
                      <a:pt x="172" y="142"/>
                      <a:pt x="177" y="150"/>
                      <a:pt x="177" y="150"/>
                    </a:cubicBezTo>
                    <a:cubicBezTo>
                      <a:pt x="191" y="149"/>
                      <a:pt x="191" y="149"/>
                      <a:pt x="191" y="149"/>
                    </a:cubicBezTo>
                    <a:cubicBezTo>
                      <a:pt x="193" y="144"/>
                      <a:pt x="193" y="144"/>
                      <a:pt x="193" y="144"/>
                    </a:cubicBezTo>
                    <a:cubicBezTo>
                      <a:pt x="204" y="147"/>
                      <a:pt x="204" y="147"/>
                      <a:pt x="204" y="147"/>
                    </a:cubicBezTo>
                    <a:cubicBezTo>
                      <a:pt x="206" y="150"/>
                      <a:pt x="206" y="150"/>
                      <a:pt x="206" y="150"/>
                    </a:cubicBezTo>
                    <a:cubicBezTo>
                      <a:pt x="213" y="150"/>
                      <a:pt x="213" y="150"/>
                      <a:pt x="213" y="150"/>
                    </a:cubicBezTo>
                    <a:cubicBezTo>
                      <a:pt x="216" y="152"/>
                      <a:pt x="216" y="152"/>
                      <a:pt x="216" y="152"/>
                    </a:cubicBezTo>
                    <a:cubicBezTo>
                      <a:pt x="217" y="149"/>
                      <a:pt x="222" y="141"/>
                      <a:pt x="226" y="139"/>
                    </a:cubicBezTo>
                    <a:cubicBezTo>
                      <a:pt x="230" y="137"/>
                      <a:pt x="242" y="141"/>
                      <a:pt x="242" y="141"/>
                    </a:cubicBezTo>
                    <a:cubicBezTo>
                      <a:pt x="255" y="133"/>
                      <a:pt x="255" y="133"/>
                      <a:pt x="255" y="133"/>
                    </a:cubicBezTo>
                    <a:cubicBezTo>
                      <a:pt x="255" y="133"/>
                      <a:pt x="253" y="130"/>
                      <a:pt x="256" y="126"/>
                    </a:cubicBezTo>
                    <a:cubicBezTo>
                      <a:pt x="259" y="123"/>
                      <a:pt x="261" y="127"/>
                      <a:pt x="263" y="123"/>
                    </a:cubicBezTo>
                    <a:cubicBezTo>
                      <a:pt x="266" y="119"/>
                      <a:pt x="264" y="111"/>
                      <a:pt x="266" y="107"/>
                    </a:cubicBezTo>
                    <a:cubicBezTo>
                      <a:pt x="270" y="104"/>
                      <a:pt x="272" y="106"/>
                      <a:pt x="276" y="103"/>
                    </a:cubicBezTo>
                    <a:cubicBezTo>
                      <a:pt x="280" y="100"/>
                      <a:pt x="281" y="92"/>
                      <a:pt x="281" y="92"/>
                    </a:cubicBezTo>
                    <a:cubicBezTo>
                      <a:pt x="288" y="93"/>
                      <a:pt x="288" y="93"/>
                      <a:pt x="288" y="93"/>
                    </a:cubicBezTo>
                    <a:cubicBezTo>
                      <a:pt x="295" y="90"/>
                      <a:pt x="295" y="90"/>
                      <a:pt x="295" y="90"/>
                    </a:cubicBezTo>
                    <a:lnTo>
                      <a:pt x="291" y="79"/>
                    </a:ln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62" name="Croatia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5175250" y="4592638"/>
                <a:ext cx="596900" cy="547687"/>
              </a:xfrm>
              <a:custGeom>
                <a:avLst/>
                <a:gdLst/>
                <a:ahLst/>
                <a:cxnLst>
                  <a:cxn ang="0">
                    <a:pos x="260" y="53"/>
                  </a:cxn>
                  <a:cxn ang="0">
                    <a:pos x="248" y="34"/>
                  </a:cxn>
                  <a:cxn ang="0">
                    <a:pos x="195" y="44"/>
                  </a:cxn>
                  <a:cxn ang="0">
                    <a:pos x="157" y="12"/>
                  </a:cxn>
                  <a:cxn ang="0">
                    <a:pos x="127" y="1"/>
                  </a:cxn>
                  <a:cxn ang="0">
                    <a:pos x="97" y="28"/>
                  </a:cxn>
                  <a:cxn ang="0">
                    <a:pos x="80" y="58"/>
                  </a:cxn>
                  <a:cxn ang="0">
                    <a:pos x="89" y="72"/>
                  </a:cxn>
                  <a:cxn ang="0">
                    <a:pos x="67" y="75"/>
                  </a:cxn>
                  <a:cxn ang="0">
                    <a:pos x="50" y="66"/>
                  </a:cxn>
                  <a:cxn ang="0">
                    <a:pos x="27" y="75"/>
                  </a:cxn>
                  <a:cxn ang="0">
                    <a:pos x="2" y="77"/>
                  </a:cxn>
                  <a:cxn ang="0">
                    <a:pos x="11" y="98"/>
                  </a:cxn>
                  <a:cxn ang="0">
                    <a:pos x="26" y="119"/>
                  </a:cxn>
                  <a:cxn ang="0">
                    <a:pos x="62" y="95"/>
                  </a:cxn>
                  <a:cxn ang="0">
                    <a:pos x="102" y="151"/>
                  </a:cxn>
                  <a:cxn ang="0">
                    <a:pos x="99" y="176"/>
                  </a:cxn>
                  <a:cxn ang="0">
                    <a:pos x="144" y="197"/>
                  </a:cxn>
                  <a:cxn ang="0">
                    <a:pos x="210" y="235"/>
                  </a:cxn>
                  <a:cxn ang="0">
                    <a:pos x="182" y="229"/>
                  </a:cxn>
                  <a:cxn ang="0">
                    <a:pos x="231" y="249"/>
                  </a:cxn>
                  <a:cxn ang="0">
                    <a:pos x="248" y="248"/>
                  </a:cxn>
                  <a:cxn ang="0">
                    <a:pos x="210" y="221"/>
                  </a:cxn>
                  <a:cxn ang="0">
                    <a:pos x="161" y="176"/>
                  </a:cxn>
                  <a:cxn ang="0">
                    <a:pos x="123" y="129"/>
                  </a:cxn>
                  <a:cxn ang="0">
                    <a:pos x="109" y="90"/>
                  </a:cxn>
                  <a:cxn ang="0">
                    <a:pos x="159" y="87"/>
                  </a:cxn>
                  <a:cxn ang="0">
                    <a:pos x="206" y="92"/>
                  </a:cxn>
                  <a:cxn ang="0">
                    <a:pos x="233" y="85"/>
                  </a:cxn>
                  <a:cxn ang="0">
                    <a:pos x="267" y="94"/>
                  </a:cxn>
                  <a:cxn ang="0">
                    <a:pos x="280" y="74"/>
                  </a:cxn>
                  <a:cxn ang="0">
                    <a:pos x="60" y="102"/>
                  </a:cxn>
                  <a:cxn ang="0">
                    <a:pos x="50" y="97"/>
                  </a:cxn>
                  <a:cxn ang="0">
                    <a:pos x="56" y="107"/>
                  </a:cxn>
                  <a:cxn ang="0">
                    <a:pos x="47" y="115"/>
                  </a:cxn>
                  <a:cxn ang="0">
                    <a:pos x="40" y="95"/>
                  </a:cxn>
                  <a:cxn ang="0">
                    <a:pos x="41" y="111"/>
                  </a:cxn>
                  <a:cxn ang="0">
                    <a:pos x="51" y="140"/>
                  </a:cxn>
                  <a:cxn ang="0">
                    <a:pos x="49" y="130"/>
                  </a:cxn>
                  <a:cxn ang="0">
                    <a:pos x="37" y="130"/>
                  </a:cxn>
                  <a:cxn ang="0">
                    <a:pos x="70" y="131"/>
                  </a:cxn>
                  <a:cxn ang="0">
                    <a:pos x="76" y="143"/>
                  </a:cxn>
                  <a:cxn ang="0">
                    <a:pos x="63" y="121"/>
                  </a:cxn>
                  <a:cxn ang="0">
                    <a:pos x="59" y="121"/>
                  </a:cxn>
                  <a:cxn ang="0">
                    <a:pos x="75" y="165"/>
                  </a:cxn>
                  <a:cxn ang="0">
                    <a:pos x="79" y="169"/>
                  </a:cxn>
                  <a:cxn ang="0">
                    <a:pos x="169" y="208"/>
                  </a:cxn>
                  <a:cxn ang="0">
                    <a:pos x="144" y="209"/>
                  </a:cxn>
                  <a:cxn ang="0">
                    <a:pos x="136" y="206"/>
                  </a:cxn>
                  <a:cxn ang="0">
                    <a:pos x="163" y="219"/>
                  </a:cxn>
                  <a:cxn ang="0">
                    <a:pos x="153" y="218"/>
                  </a:cxn>
                  <a:cxn ang="0">
                    <a:pos x="182" y="222"/>
                  </a:cxn>
                  <a:cxn ang="0">
                    <a:pos x="135" y="227"/>
                  </a:cxn>
                  <a:cxn ang="0">
                    <a:pos x="169" y="233"/>
                  </a:cxn>
                  <a:cxn ang="0">
                    <a:pos x="160" y="235"/>
                  </a:cxn>
                  <a:cxn ang="0">
                    <a:pos x="186" y="235"/>
                  </a:cxn>
                  <a:cxn ang="0">
                    <a:pos x="213" y="246"/>
                  </a:cxn>
                  <a:cxn ang="0">
                    <a:pos x="71" y="155"/>
                  </a:cxn>
                  <a:cxn ang="0">
                    <a:pos x="63" y="153"/>
                  </a:cxn>
                  <a:cxn ang="0">
                    <a:pos x="77" y="153"/>
                  </a:cxn>
                  <a:cxn ang="0">
                    <a:pos x="61" y="143"/>
                  </a:cxn>
                  <a:cxn ang="0">
                    <a:pos x="91" y="182"/>
                  </a:cxn>
                  <a:cxn ang="0">
                    <a:pos x="81" y="164"/>
                  </a:cxn>
                </a:cxnLst>
                <a:rect l="0" t="0" r="r" b="b"/>
                <a:pathLst>
                  <a:path w="280" h="257">
                    <a:moveTo>
                      <a:pt x="269" y="74"/>
                    </a:moveTo>
                    <a:cubicBezTo>
                      <a:pt x="258" y="67"/>
                      <a:pt x="258" y="67"/>
                      <a:pt x="258" y="67"/>
                    </a:cubicBezTo>
                    <a:cubicBezTo>
                      <a:pt x="258" y="67"/>
                      <a:pt x="253" y="63"/>
                      <a:pt x="258" y="61"/>
                    </a:cubicBezTo>
                    <a:cubicBezTo>
                      <a:pt x="264" y="59"/>
                      <a:pt x="266" y="53"/>
                      <a:pt x="260" y="53"/>
                    </a:cubicBezTo>
                    <a:cubicBezTo>
                      <a:pt x="256" y="54"/>
                      <a:pt x="256" y="59"/>
                      <a:pt x="253" y="54"/>
                    </a:cubicBezTo>
                    <a:cubicBezTo>
                      <a:pt x="250" y="51"/>
                      <a:pt x="255" y="46"/>
                      <a:pt x="255" y="41"/>
                    </a:cubicBezTo>
                    <a:cubicBezTo>
                      <a:pt x="255" y="40"/>
                      <a:pt x="253" y="37"/>
                      <a:pt x="250" y="34"/>
                    </a:cubicBezTo>
                    <a:cubicBezTo>
                      <a:pt x="248" y="34"/>
                      <a:pt x="248" y="34"/>
                      <a:pt x="248" y="34"/>
                    </a:cubicBezTo>
                    <a:cubicBezTo>
                      <a:pt x="241" y="35"/>
                      <a:pt x="241" y="35"/>
                      <a:pt x="241" y="35"/>
                    </a:cubicBezTo>
                    <a:cubicBezTo>
                      <a:pt x="234" y="45"/>
                      <a:pt x="234" y="45"/>
                      <a:pt x="234" y="45"/>
                    </a:cubicBezTo>
                    <a:cubicBezTo>
                      <a:pt x="234" y="45"/>
                      <a:pt x="223" y="46"/>
                      <a:pt x="218" y="46"/>
                    </a:cubicBezTo>
                    <a:cubicBezTo>
                      <a:pt x="213" y="46"/>
                      <a:pt x="195" y="44"/>
                      <a:pt x="195" y="44"/>
                    </a:cubicBezTo>
                    <a:cubicBezTo>
                      <a:pt x="195" y="44"/>
                      <a:pt x="194" y="38"/>
                      <a:pt x="190" y="36"/>
                    </a:cubicBezTo>
                    <a:cubicBezTo>
                      <a:pt x="186" y="34"/>
                      <a:pt x="179" y="35"/>
                      <a:pt x="179" y="35"/>
                    </a:cubicBezTo>
                    <a:cubicBezTo>
                      <a:pt x="161" y="20"/>
                      <a:pt x="161" y="20"/>
                      <a:pt x="161" y="20"/>
                    </a:cubicBezTo>
                    <a:cubicBezTo>
                      <a:pt x="161" y="20"/>
                      <a:pt x="159" y="15"/>
                      <a:pt x="157" y="12"/>
                    </a:cubicBezTo>
                    <a:cubicBezTo>
                      <a:pt x="155" y="9"/>
                      <a:pt x="148" y="11"/>
                      <a:pt x="148" y="11"/>
                    </a:cubicBezTo>
                    <a:cubicBezTo>
                      <a:pt x="146" y="6"/>
                      <a:pt x="146" y="6"/>
                      <a:pt x="146" y="6"/>
                    </a:cubicBezTo>
                    <a:cubicBezTo>
                      <a:pt x="140" y="3"/>
                      <a:pt x="140" y="3"/>
                      <a:pt x="140" y="3"/>
                    </a:cubicBezTo>
                    <a:cubicBezTo>
                      <a:pt x="140" y="3"/>
                      <a:pt x="131" y="0"/>
                      <a:pt x="127" y="1"/>
                    </a:cubicBezTo>
                    <a:cubicBezTo>
                      <a:pt x="124" y="1"/>
                      <a:pt x="127" y="12"/>
                      <a:pt x="127" y="12"/>
                    </a:cubicBezTo>
                    <a:cubicBezTo>
                      <a:pt x="127" y="12"/>
                      <a:pt x="121" y="9"/>
                      <a:pt x="119" y="9"/>
                    </a:cubicBezTo>
                    <a:cubicBezTo>
                      <a:pt x="116" y="9"/>
                      <a:pt x="119" y="16"/>
                      <a:pt x="119" y="16"/>
                    </a:cubicBezTo>
                    <a:cubicBezTo>
                      <a:pt x="119" y="16"/>
                      <a:pt x="100" y="24"/>
                      <a:pt x="97" y="28"/>
                    </a:cubicBezTo>
                    <a:cubicBezTo>
                      <a:pt x="94" y="32"/>
                      <a:pt x="104" y="36"/>
                      <a:pt x="104" y="36"/>
                    </a:cubicBezTo>
                    <a:cubicBezTo>
                      <a:pt x="102" y="49"/>
                      <a:pt x="102" y="49"/>
                      <a:pt x="102" y="49"/>
                    </a:cubicBezTo>
                    <a:cubicBezTo>
                      <a:pt x="96" y="47"/>
                      <a:pt x="96" y="47"/>
                      <a:pt x="96" y="47"/>
                    </a:cubicBezTo>
                    <a:cubicBezTo>
                      <a:pt x="96" y="47"/>
                      <a:pt x="82" y="54"/>
                      <a:pt x="80" y="58"/>
                    </a:cubicBezTo>
                    <a:cubicBezTo>
                      <a:pt x="78" y="62"/>
                      <a:pt x="88" y="58"/>
                      <a:pt x="88" y="58"/>
                    </a:cubicBezTo>
                    <a:cubicBezTo>
                      <a:pt x="90" y="61"/>
                      <a:pt x="90" y="61"/>
                      <a:pt x="90" y="61"/>
                    </a:cubicBezTo>
                    <a:cubicBezTo>
                      <a:pt x="90" y="61"/>
                      <a:pt x="88" y="64"/>
                      <a:pt x="86" y="66"/>
                    </a:cubicBezTo>
                    <a:cubicBezTo>
                      <a:pt x="83" y="68"/>
                      <a:pt x="89" y="72"/>
                      <a:pt x="89" y="72"/>
                    </a:cubicBezTo>
                    <a:cubicBezTo>
                      <a:pt x="89" y="72"/>
                      <a:pt x="86" y="77"/>
                      <a:pt x="79" y="77"/>
                    </a:cubicBezTo>
                    <a:cubicBezTo>
                      <a:pt x="73" y="77"/>
                      <a:pt x="75" y="74"/>
                      <a:pt x="75" y="74"/>
                    </a:cubicBezTo>
                    <a:cubicBezTo>
                      <a:pt x="75" y="74"/>
                      <a:pt x="70" y="70"/>
                      <a:pt x="67" y="70"/>
                    </a:cubicBezTo>
                    <a:cubicBezTo>
                      <a:pt x="66" y="70"/>
                      <a:pt x="67" y="75"/>
                      <a:pt x="67" y="75"/>
                    </a:cubicBezTo>
                    <a:cubicBezTo>
                      <a:pt x="57" y="71"/>
                      <a:pt x="57" y="71"/>
                      <a:pt x="57" y="71"/>
                    </a:cubicBezTo>
                    <a:cubicBezTo>
                      <a:pt x="53" y="66"/>
                      <a:pt x="53" y="66"/>
                      <a:pt x="53" y="66"/>
                    </a:cubicBezTo>
                    <a:cubicBezTo>
                      <a:pt x="53" y="66"/>
                      <a:pt x="53" y="62"/>
                      <a:pt x="50" y="62"/>
                    </a:cubicBezTo>
                    <a:cubicBezTo>
                      <a:pt x="49" y="63"/>
                      <a:pt x="50" y="66"/>
                      <a:pt x="50" y="66"/>
                    </a:cubicBezTo>
                    <a:cubicBezTo>
                      <a:pt x="48" y="67"/>
                      <a:pt x="48" y="67"/>
                      <a:pt x="48" y="67"/>
                    </a:cubicBezTo>
                    <a:cubicBezTo>
                      <a:pt x="47" y="71"/>
                      <a:pt x="47" y="71"/>
                      <a:pt x="47" y="71"/>
                    </a:cubicBezTo>
                    <a:cubicBezTo>
                      <a:pt x="30" y="77"/>
                      <a:pt x="30" y="77"/>
                      <a:pt x="30" y="77"/>
                    </a:cubicBezTo>
                    <a:cubicBezTo>
                      <a:pt x="27" y="75"/>
                      <a:pt x="27" y="75"/>
                      <a:pt x="27" y="75"/>
                    </a:cubicBezTo>
                    <a:cubicBezTo>
                      <a:pt x="20" y="80"/>
                      <a:pt x="20" y="80"/>
                      <a:pt x="20" y="80"/>
                    </a:cubicBezTo>
                    <a:cubicBezTo>
                      <a:pt x="14" y="76"/>
                      <a:pt x="14" y="76"/>
                      <a:pt x="14" y="76"/>
                    </a:cubicBezTo>
                    <a:cubicBezTo>
                      <a:pt x="14" y="76"/>
                      <a:pt x="10" y="80"/>
                      <a:pt x="9" y="80"/>
                    </a:cubicBezTo>
                    <a:cubicBezTo>
                      <a:pt x="7" y="80"/>
                      <a:pt x="2" y="77"/>
                      <a:pt x="2" y="77"/>
                    </a:cubicBezTo>
                    <a:cubicBezTo>
                      <a:pt x="0" y="80"/>
                      <a:pt x="0" y="80"/>
                      <a:pt x="0" y="80"/>
                    </a:cubicBezTo>
                    <a:cubicBezTo>
                      <a:pt x="4" y="83"/>
                      <a:pt x="4" y="83"/>
                      <a:pt x="4" y="83"/>
                    </a:cubicBezTo>
                    <a:cubicBezTo>
                      <a:pt x="7" y="97"/>
                      <a:pt x="7" y="97"/>
                      <a:pt x="7" y="97"/>
                    </a:cubicBezTo>
                    <a:cubicBezTo>
                      <a:pt x="11" y="98"/>
                      <a:pt x="11" y="98"/>
                      <a:pt x="11" y="98"/>
                    </a:cubicBezTo>
                    <a:cubicBezTo>
                      <a:pt x="7" y="100"/>
                      <a:pt x="7" y="100"/>
                      <a:pt x="7" y="100"/>
                    </a:cubicBezTo>
                    <a:cubicBezTo>
                      <a:pt x="14" y="108"/>
                      <a:pt x="14" y="108"/>
                      <a:pt x="14" y="108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6" y="119"/>
                      <a:pt x="26" y="119"/>
                      <a:pt x="26" y="119"/>
                    </a:cubicBezTo>
                    <a:cubicBezTo>
                      <a:pt x="27" y="107"/>
                      <a:pt x="27" y="107"/>
                      <a:pt x="27" y="107"/>
                    </a:cubicBezTo>
                    <a:cubicBezTo>
                      <a:pt x="27" y="107"/>
                      <a:pt x="30" y="111"/>
                      <a:pt x="33" y="110"/>
                    </a:cubicBezTo>
                    <a:cubicBezTo>
                      <a:pt x="37" y="108"/>
                      <a:pt x="34" y="88"/>
                      <a:pt x="39" y="85"/>
                    </a:cubicBezTo>
                    <a:cubicBezTo>
                      <a:pt x="43" y="82"/>
                      <a:pt x="62" y="95"/>
                      <a:pt x="62" y="95"/>
                    </a:cubicBezTo>
                    <a:cubicBezTo>
                      <a:pt x="70" y="108"/>
                      <a:pt x="70" y="108"/>
                      <a:pt x="70" y="108"/>
                    </a:cubicBezTo>
                    <a:cubicBezTo>
                      <a:pt x="70" y="108"/>
                      <a:pt x="64" y="121"/>
                      <a:pt x="70" y="126"/>
                    </a:cubicBezTo>
                    <a:cubicBezTo>
                      <a:pt x="74" y="131"/>
                      <a:pt x="88" y="146"/>
                      <a:pt x="88" y="146"/>
                    </a:cubicBezTo>
                    <a:cubicBezTo>
                      <a:pt x="88" y="146"/>
                      <a:pt x="98" y="150"/>
                      <a:pt x="102" y="151"/>
                    </a:cubicBezTo>
                    <a:cubicBezTo>
                      <a:pt x="104" y="153"/>
                      <a:pt x="108" y="158"/>
                      <a:pt x="108" y="158"/>
                    </a:cubicBezTo>
                    <a:cubicBezTo>
                      <a:pt x="108" y="158"/>
                      <a:pt x="93" y="153"/>
                      <a:pt x="91" y="151"/>
                    </a:cubicBezTo>
                    <a:cubicBezTo>
                      <a:pt x="89" y="151"/>
                      <a:pt x="82" y="154"/>
                      <a:pt x="82" y="154"/>
                    </a:cubicBezTo>
                    <a:cubicBezTo>
                      <a:pt x="82" y="154"/>
                      <a:pt x="90" y="173"/>
                      <a:pt x="99" y="176"/>
                    </a:cubicBezTo>
                    <a:cubicBezTo>
                      <a:pt x="108" y="179"/>
                      <a:pt x="123" y="190"/>
                      <a:pt x="123" y="190"/>
                    </a:cubicBezTo>
                    <a:cubicBezTo>
                      <a:pt x="123" y="190"/>
                      <a:pt x="120" y="195"/>
                      <a:pt x="123" y="198"/>
                    </a:cubicBezTo>
                    <a:cubicBezTo>
                      <a:pt x="127" y="202"/>
                      <a:pt x="131" y="201"/>
                      <a:pt x="131" y="201"/>
                    </a:cubicBezTo>
                    <a:cubicBezTo>
                      <a:pt x="144" y="197"/>
                      <a:pt x="144" y="197"/>
                      <a:pt x="144" y="197"/>
                    </a:cubicBezTo>
                    <a:cubicBezTo>
                      <a:pt x="169" y="204"/>
                      <a:pt x="169" y="204"/>
                      <a:pt x="169" y="204"/>
                    </a:cubicBezTo>
                    <a:cubicBezTo>
                      <a:pt x="169" y="204"/>
                      <a:pt x="173" y="213"/>
                      <a:pt x="180" y="217"/>
                    </a:cubicBezTo>
                    <a:cubicBezTo>
                      <a:pt x="187" y="219"/>
                      <a:pt x="195" y="225"/>
                      <a:pt x="200" y="228"/>
                    </a:cubicBezTo>
                    <a:cubicBezTo>
                      <a:pt x="203" y="232"/>
                      <a:pt x="210" y="235"/>
                      <a:pt x="210" y="235"/>
                    </a:cubicBezTo>
                    <a:cubicBezTo>
                      <a:pt x="210" y="235"/>
                      <a:pt x="202" y="233"/>
                      <a:pt x="200" y="232"/>
                    </a:cubicBezTo>
                    <a:cubicBezTo>
                      <a:pt x="197" y="230"/>
                      <a:pt x="194" y="228"/>
                      <a:pt x="192" y="228"/>
                    </a:cubicBezTo>
                    <a:cubicBezTo>
                      <a:pt x="189" y="227"/>
                      <a:pt x="176" y="225"/>
                      <a:pt x="176" y="225"/>
                    </a:cubicBezTo>
                    <a:cubicBezTo>
                      <a:pt x="176" y="225"/>
                      <a:pt x="180" y="229"/>
                      <a:pt x="182" y="229"/>
                    </a:cubicBezTo>
                    <a:cubicBezTo>
                      <a:pt x="185" y="230"/>
                      <a:pt x="197" y="235"/>
                      <a:pt x="197" y="235"/>
                    </a:cubicBezTo>
                    <a:cubicBezTo>
                      <a:pt x="212" y="241"/>
                      <a:pt x="212" y="241"/>
                      <a:pt x="212" y="241"/>
                    </a:cubicBezTo>
                    <a:cubicBezTo>
                      <a:pt x="214" y="239"/>
                      <a:pt x="214" y="239"/>
                      <a:pt x="214" y="239"/>
                    </a:cubicBezTo>
                    <a:cubicBezTo>
                      <a:pt x="231" y="249"/>
                      <a:pt x="231" y="249"/>
                      <a:pt x="231" y="249"/>
                    </a:cubicBezTo>
                    <a:cubicBezTo>
                      <a:pt x="236" y="249"/>
                      <a:pt x="236" y="249"/>
                      <a:pt x="236" y="249"/>
                    </a:cubicBezTo>
                    <a:cubicBezTo>
                      <a:pt x="239" y="251"/>
                      <a:pt x="239" y="251"/>
                      <a:pt x="239" y="251"/>
                    </a:cubicBezTo>
                    <a:cubicBezTo>
                      <a:pt x="251" y="257"/>
                      <a:pt x="251" y="257"/>
                      <a:pt x="251" y="257"/>
                    </a:cubicBezTo>
                    <a:cubicBezTo>
                      <a:pt x="251" y="257"/>
                      <a:pt x="253" y="248"/>
                      <a:pt x="248" y="248"/>
                    </a:cubicBezTo>
                    <a:cubicBezTo>
                      <a:pt x="244" y="246"/>
                      <a:pt x="242" y="249"/>
                      <a:pt x="242" y="249"/>
                    </a:cubicBezTo>
                    <a:cubicBezTo>
                      <a:pt x="220" y="230"/>
                      <a:pt x="220" y="230"/>
                      <a:pt x="220" y="230"/>
                    </a:cubicBezTo>
                    <a:cubicBezTo>
                      <a:pt x="212" y="232"/>
                      <a:pt x="212" y="232"/>
                      <a:pt x="212" y="232"/>
                    </a:cubicBezTo>
                    <a:cubicBezTo>
                      <a:pt x="212" y="232"/>
                      <a:pt x="215" y="226"/>
                      <a:pt x="210" y="221"/>
                    </a:cubicBezTo>
                    <a:cubicBezTo>
                      <a:pt x="204" y="216"/>
                      <a:pt x="191" y="210"/>
                      <a:pt x="190" y="206"/>
                    </a:cubicBezTo>
                    <a:cubicBezTo>
                      <a:pt x="189" y="201"/>
                      <a:pt x="190" y="197"/>
                      <a:pt x="190" y="197"/>
                    </a:cubicBezTo>
                    <a:cubicBezTo>
                      <a:pt x="178" y="191"/>
                      <a:pt x="178" y="191"/>
                      <a:pt x="178" y="191"/>
                    </a:cubicBezTo>
                    <a:cubicBezTo>
                      <a:pt x="161" y="176"/>
                      <a:pt x="161" y="176"/>
                      <a:pt x="161" y="176"/>
                    </a:cubicBezTo>
                    <a:cubicBezTo>
                      <a:pt x="159" y="173"/>
                      <a:pt x="159" y="173"/>
                      <a:pt x="159" y="173"/>
                    </a:cubicBezTo>
                    <a:cubicBezTo>
                      <a:pt x="159" y="173"/>
                      <a:pt x="146" y="164"/>
                      <a:pt x="140" y="157"/>
                    </a:cubicBezTo>
                    <a:cubicBezTo>
                      <a:pt x="132" y="149"/>
                      <a:pt x="133" y="144"/>
                      <a:pt x="131" y="139"/>
                    </a:cubicBezTo>
                    <a:cubicBezTo>
                      <a:pt x="128" y="132"/>
                      <a:pt x="123" y="129"/>
                      <a:pt x="123" y="129"/>
                    </a:cubicBezTo>
                    <a:cubicBezTo>
                      <a:pt x="125" y="125"/>
                      <a:pt x="125" y="125"/>
                      <a:pt x="125" y="125"/>
                    </a:cubicBezTo>
                    <a:cubicBezTo>
                      <a:pt x="120" y="118"/>
                      <a:pt x="120" y="118"/>
                      <a:pt x="120" y="118"/>
                    </a:cubicBezTo>
                    <a:cubicBezTo>
                      <a:pt x="110" y="117"/>
                      <a:pt x="110" y="117"/>
                      <a:pt x="110" y="117"/>
                    </a:cubicBezTo>
                    <a:cubicBezTo>
                      <a:pt x="110" y="117"/>
                      <a:pt x="102" y="93"/>
                      <a:pt x="109" y="90"/>
                    </a:cubicBezTo>
                    <a:cubicBezTo>
                      <a:pt x="116" y="85"/>
                      <a:pt x="120" y="90"/>
                      <a:pt x="123" y="93"/>
                    </a:cubicBezTo>
                    <a:cubicBezTo>
                      <a:pt x="126" y="96"/>
                      <a:pt x="132" y="102"/>
                      <a:pt x="136" y="100"/>
                    </a:cubicBezTo>
                    <a:cubicBezTo>
                      <a:pt x="140" y="99"/>
                      <a:pt x="140" y="86"/>
                      <a:pt x="144" y="85"/>
                    </a:cubicBezTo>
                    <a:cubicBezTo>
                      <a:pt x="148" y="85"/>
                      <a:pt x="159" y="87"/>
                      <a:pt x="159" y="87"/>
                    </a:cubicBezTo>
                    <a:cubicBezTo>
                      <a:pt x="164" y="81"/>
                      <a:pt x="164" y="81"/>
                      <a:pt x="164" y="81"/>
                    </a:cubicBezTo>
                    <a:cubicBezTo>
                      <a:pt x="164" y="81"/>
                      <a:pt x="172" y="88"/>
                      <a:pt x="176" y="88"/>
                    </a:cubicBezTo>
                    <a:cubicBezTo>
                      <a:pt x="198" y="88"/>
                      <a:pt x="198" y="88"/>
                      <a:pt x="198" y="88"/>
                    </a:cubicBezTo>
                    <a:cubicBezTo>
                      <a:pt x="198" y="88"/>
                      <a:pt x="203" y="92"/>
                      <a:pt x="206" y="92"/>
                    </a:cubicBezTo>
                    <a:cubicBezTo>
                      <a:pt x="210" y="92"/>
                      <a:pt x="214" y="84"/>
                      <a:pt x="214" y="84"/>
                    </a:cubicBezTo>
                    <a:cubicBezTo>
                      <a:pt x="214" y="84"/>
                      <a:pt x="219" y="90"/>
                      <a:pt x="222" y="90"/>
                    </a:cubicBezTo>
                    <a:cubicBezTo>
                      <a:pt x="225" y="90"/>
                      <a:pt x="225" y="84"/>
                      <a:pt x="225" y="84"/>
                    </a:cubicBezTo>
                    <a:cubicBezTo>
                      <a:pt x="233" y="85"/>
                      <a:pt x="233" y="85"/>
                      <a:pt x="233" y="85"/>
                    </a:cubicBezTo>
                    <a:cubicBezTo>
                      <a:pt x="239" y="90"/>
                      <a:pt x="239" y="90"/>
                      <a:pt x="239" y="90"/>
                    </a:cubicBezTo>
                    <a:cubicBezTo>
                      <a:pt x="239" y="90"/>
                      <a:pt x="241" y="86"/>
                      <a:pt x="247" y="87"/>
                    </a:cubicBezTo>
                    <a:cubicBezTo>
                      <a:pt x="253" y="90"/>
                      <a:pt x="251" y="99"/>
                      <a:pt x="256" y="99"/>
                    </a:cubicBezTo>
                    <a:cubicBezTo>
                      <a:pt x="262" y="99"/>
                      <a:pt x="267" y="94"/>
                      <a:pt x="267" y="94"/>
                    </a:cubicBezTo>
                    <a:cubicBezTo>
                      <a:pt x="264" y="82"/>
                      <a:pt x="264" y="82"/>
                      <a:pt x="264" y="82"/>
                    </a:cubicBezTo>
                    <a:cubicBezTo>
                      <a:pt x="269" y="77"/>
                      <a:pt x="269" y="77"/>
                      <a:pt x="269" y="77"/>
                    </a:cubicBezTo>
                    <a:cubicBezTo>
                      <a:pt x="280" y="77"/>
                      <a:pt x="280" y="77"/>
                      <a:pt x="280" y="77"/>
                    </a:cubicBezTo>
                    <a:cubicBezTo>
                      <a:pt x="280" y="74"/>
                      <a:pt x="280" y="74"/>
                      <a:pt x="280" y="74"/>
                    </a:cubicBezTo>
                    <a:lnTo>
                      <a:pt x="269" y="74"/>
                    </a:lnTo>
                    <a:close/>
                    <a:moveTo>
                      <a:pt x="60" y="109"/>
                    </a:moveTo>
                    <a:cubicBezTo>
                      <a:pt x="64" y="106"/>
                      <a:pt x="64" y="106"/>
                      <a:pt x="64" y="106"/>
                    </a:cubicBezTo>
                    <a:cubicBezTo>
                      <a:pt x="60" y="102"/>
                      <a:pt x="60" y="102"/>
                      <a:pt x="60" y="102"/>
                    </a:cubicBezTo>
                    <a:cubicBezTo>
                      <a:pt x="58" y="98"/>
                      <a:pt x="58" y="98"/>
                      <a:pt x="58" y="98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49" y="92"/>
                      <a:pt x="49" y="92"/>
                      <a:pt x="49" y="92"/>
                    </a:cubicBezTo>
                    <a:cubicBezTo>
                      <a:pt x="50" y="97"/>
                      <a:pt x="50" y="97"/>
                      <a:pt x="50" y="97"/>
                    </a:cubicBezTo>
                    <a:cubicBezTo>
                      <a:pt x="46" y="101"/>
                      <a:pt x="46" y="101"/>
                      <a:pt x="46" y="101"/>
                    </a:cubicBezTo>
                    <a:cubicBezTo>
                      <a:pt x="51" y="107"/>
                      <a:pt x="51" y="107"/>
                      <a:pt x="51" y="107"/>
                    </a:cubicBezTo>
                    <a:cubicBezTo>
                      <a:pt x="56" y="104"/>
                      <a:pt x="56" y="104"/>
                      <a:pt x="56" y="104"/>
                    </a:cubicBezTo>
                    <a:cubicBezTo>
                      <a:pt x="56" y="107"/>
                      <a:pt x="56" y="107"/>
                      <a:pt x="56" y="107"/>
                    </a:cubicBezTo>
                    <a:lnTo>
                      <a:pt x="60" y="109"/>
                    </a:lnTo>
                    <a:close/>
                    <a:moveTo>
                      <a:pt x="53" y="129"/>
                    </a:moveTo>
                    <a:cubicBezTo>
                      <a:pt x="49" y="126"/>
                      <a:pt x="49" y="126"/>
                      <a:pt x="49" y="126"/>
                    </a:cubicBezTo>
                    <a:cubicBezTo>
                      <a:pt x="47" y="115"/>
                      <a:pt x="47" y="115"/>
                      <a:pt x="47" y="115"/>
                    </a:cubicBezTo>
                    <a:cubicBezTo>
                      <a:pt x="47" y="115"/>
                      <a:pt x="50" y="112"/>
                      <a:pt x="48" y="110"/>
                    </a:cubicBezTo>
                    <a:cubicBezTo>
                      <a:pt x="47" y="108"/>
                      <a:pt x="45" y="106"/>
                      <a:pt x="44" y="102"/>
                    </a:cubicBezTo>
                    <a:cubicBezTo>
                      <a:pt x="44" y="100"/>
                      <a:pt x="43" y="95"/>
                      <a:pt x="43" y="95"/>
                    </a:cubicBezTo>
                    <a:cubicBezTo>
                      <a:pt x="40" y="95"/>
                      <a:pt x="40" y="95"/>
                      <a:pt x="40" y="95"/>
                    </a:cubicBezTo>
                    <a:cubicBezTo>
                      <a:pt x="38" y="100"/>
                      <a:pt x="38" y="100"/>
                      <a:pt x="38" y="100"/>
                    </a:cubicBezTo>
                    <a:cubicBezTo>
                      <a:pt x="38" y="100"/>
                      <a:pt x="42" y="106"/>
                      <a:pt x="44" y="107"/>
                    </a:cubicBezTo>
                    <a:cubicBezTo>
                      <a:pt x="45" y="109"/>
                      <a:pt x="44" y="112"/>
                      <a:pt x="44" y="112"/>
                    </a:cubicBezTo>
                    <a:cubicBezTo>
                      <a:pt x="41" y="111"/>
                      <a:pt x="41" y="111"/>
                      <a:pt x="41" y="111"/>
                    </a:cubicBezTo>
                    <a:cubicBezTo>
                      <a:pt x="46" y="124"/>
                      <a:pt x="46" y="124"/>
                      <a:pt x="46" y="124"/>
                    </a:cubicBezTo>
                    <a:cubicBezTo>
                      <a:pt x="42" y="124"/>
                      <a:pt x="42" y="124"/>
                      <a:pt x="42" y="124"/>
                    </a:cubicBezTo>
                    <a:cubicBezTo>
                      <a:pt x="45" y="135"/>
                      <a:pt x="45" y="135"/>
                      <a:pt x="45" y="135"/>
                    </a:cubicBezTo>
                    <a:cubicBezTo>
                      <a:pt x="51" y="140"/>
                      <a:pt x="51" y="140"/>
                      <a:pt x="51" y="140"/>
                    </a:cubicBezTo>
                    <a:cubicBezTo>
                      <a:pt x="53" y="138"/>
                      <a:pt x="53" y="138"/>
                      <a:pt x="53" y="138"/>
                    </a:cubicBezTo>
                    <a:cubicBezTo>
                      <a:pt x="47" y="132"/>
                      <a:pt x="47" y="132"/>
                      <a:pt x="47" y="132"/>
                    </a:cubicBezTo>
                    <a:cubicBezTo>
                      <a:pt x="46" y="129"/>
                      <a:pt x="46" y="129"/>
                      <a:pt x="46" y="129"/>
                    </a:cubicBezTo>
                    <a:cubicBezTo>
                      <a:pt x="49" y="130"/>
                      <a:pt x="49" y="130"/>
                      <a:pt x="49" y="130"/>
                    </a:cubicBezTo>
                    <a:lnTo>
                      <a:pt x="53" y="129"/>
                    </a:lnTo>
                    <a:close/>
                    <a:moveTo>
                      <a:pt x="37" y="130"/>
                    </a:moveTo>
                    <a:cubicBezTo>
                      <a:pt x="37" y="133"/>
                      <a:pt x="40" y="129"/>
                      <a:pt x="40" y="129"/>
                    </a:cubicBezTo>
                    <a:cubicBezTo>
                      <a:pt x="40" y="125"/>
                      <a:pt x="37" y="127"/>
                      <a:pt x="37" y="130"/>
                    </a:cubicBezTo>
                    <a:close/>
                    <a:moveTo>
                      <a:pt x="86" y="147"/>
                    </a:moveTo>
                    <a:cubicBezTo>
                      <a:pt x="78" y="140"/>
                      <a:pt x="78" y="140"/>
                      <a:pt x="78" y="140"/>
                    </a:cubicBezTo>
                    <a:cubicBezTo>
                      <a:pt x="74" y="139"/>
                      <a:pt x="74" y="139"/>
                      <a:pt x="74" y="139"/>
                    </a:cubicBezTo>
                    <a:cubicBezTo>
                      <a:pt x="70" y="131"/>
                      <a:pt x="70" y="131"/>
                      <a:pt x="70" y="131"/>
                    </a:cubicBezTo>
                    <a:cubicBezTo>
                      <a:pt x="67" y="130"/>
                      <a:pt x="67" y="130"/>
                      <a:pt x="67" y="130"/>
                    </a:cubicBezTo>
                    <a:cubicBezTo>
                      <a:pt x="62" y="127"/>
                      <a:pt x="62" y="127"/>
                      <a:pt x="62" y="127"/>
                    </a:cubicBezTo>
                    <a:cubicBezTo>
                      <a:pt x="72" y="140"/>
                      <a:pt x="72" y="140"/>
                      <a:pt x="72" y="140"/>
                    </a:cubicBezTo>
                    <a:cubicBezTo>
                      <a:pt x="76" y="143"/>
                      <a:pt x="76" y="143"/>
                      <a:pt x="76" y="143"/>
                    </a:cubicBezTo>
                    <a:cubicBezTo>
                      <a:pt x="82" y="149"/>
                      <a:pt x="82" y="149"/>
                      <a:pt x="82" y="149"/>
                    </a:cubicBezTo>
                    <a:lnTo>
                      <a:pt x="86" y="147"/>
                    </a:lnTo>
                    <a:close/>
                    <a:moveTo>
                      <a:pt x="59" y="121"/>
                    </a:moveTo>
                    <a:cubicBezTo>
                      <a:pt x="63" y="121"/>
                      <a:pt x="63" y="121"/>
                      <a:pt x="63" y="121"/>
                    </a:cubicBezTo>
                    <a:cubicBezTo>
                      <a:pt x="61" y="114"/>
                      <a:pt x="61" y="114"/>
                      <a:pt x="61" y="114"/>
                    </a:cubicBezTo>
                    <a:cubicBezTo>
                      <a:pt x="58" y="115"/>
                      <a:pt x="58" y="115"/>
                      <a:pt x="58" y="115"/>
                    </a:cubicBezTo>
                    <a:cubicBezTo>
                      <a:pt x="60" y="117"/>
                      <a:pt x="60" y="117"/>
                      <a:pt x="60" y="117"/>
                    </a:cubicBezTo>
                    <a:lnTo>
                      <a:pt x="59" y="121"/>
                    </a:lnTo>
                    <a:close/>
                    <a:moveTo>
                      <a:pt x="77" y="165"/>
                    </a:moveTo>
                    <a:cubicBezTo>
                      <a:pt x="72" y="160"/>
                      <a:pt x="72" y="160"/>
                      <a:pt x="72" y="160"/>
                    </a:cubicBezTo>
                    <a:cubicBezTo>
                      <a:pt x="69" y="160"/>
                      <a:pt x="69" y="160"/>
                      <a:pt x="69" y="160"/>
                    </a:cubicBezTo>
                    <a:cubicBezTo>
                      <a:pt x="75" y="165"/>
                      <a:pt x="75" y="165"/>
                      <a:pt x="75" y="165"/>
                    </a:cubicBezTo>
                    <a:cubicBezTo>
                      <a:pt x="78" y="170"/>
                      <a:pt x="78" y="170"/>
                      <a:pt x="78" y="170"/>
                    </a:cubicBezTo>
                    <a:cubicBezTo>
                      <a:pt x="84" y="177"/>
                      <a:pt x="84" y="177"/>
                      <a:pt x="84" y="177"/>
                    </a:cubicBezTo>
                    <a:cubicBezTo>
                      <a:pt x="86" y="174"/>
                      <a:pt x="86" y="174"/>
                      <a:pt x="86" y="174"/>
                    </a:cubicBezTo>
                    <a:cubicBezTo>
                      <a:pt x="79" y="169"/>
                      <a:pt x="79" y="169"/>
                      <a:pt x="79" y="169"/>
                    </a:cubicBezTo>
                    <a:lnTo>
                      <a:pt x="77" y="165"/>
                    </a:lnTo>
                    <a:close/>
                    <a:moveTo>
                      <a:pt x="162" y="212"/>
                    </a:moveTo>
                    <a:cubicBezTo>
                      <a:pt x="168" y="210"/>
                      <a:pt x="168" y="210"/>
                      <a:pt x="168" y="210"/>
                    </a:cubicBezTo>
                    <a:cubicBezTo>
                      <a:pt x="169" y="208"/>
                      <a:pt x="169" y="208"/>
                      <a:pt x="169" y="208"/>
                    </a:cubicBezTo>
                    <a:cubicBezTo>
                      <a:pt x="163" y="207"/>
                      <a:pt x="163" y="207"/>
                      <a:pt x="163" y="207"/>
                    </a:cubicBezTo>
                    <a:cubicBezTo>
                      <a:pt x="148" y="205"/>
                      <a:pt x="148" y="205"/>
                      <a:pt x="148" y="205"/>
                    </a:cubicBezTo>
                    <a:cubicBezTo>
                      <a:pt x="148" y="208"/>
                      <a:pt x="148" y="208"/>
                      <a:pt x="148" y="208"/>
                    </a:cubicBezTo>
                    <a:cubicBezTo>
                      <a:pt x="144" y="209"/>
                      <a:pt x="144" y="209"/>
                      <a:pt x="144" y="209"/>
                    </a:cubicBezTo>
                    <a:cubicBezTo>
                      <a:pt x="159" y="214"/>
                      <a:pt x="159" y="214"/>
                      <a:pt x="159" y="214"/>
                    </a:cubicBezTo>
                    <a:lnTo>
                      <a:pt x="162" y="212"/>
                    </a:lnTo>
                    <a:close/>
                    <a:moveTo>
                      <a:pt x="141" y="204"/>
                    </a:moveTo>
                    <a:cubicBezTo>
                      <a:pt x="133" y="202"/>
                      <a:pt x="136" y="206"/>
                      <a:pt x="136" y="206"/>
                    </a:cubicBezTo>
                    <a:cubicBezTo>
                      <a:pt x="140" y="208"/>
                      <a:pt x="147" y="206"/>
                      <a:pt x="141" y="204"/>
                    </a:cubicBezTo>
                    <a:close/>
                    <a:moveTo>
                      <a:pt x="182" y="222"/>
                    </a:moveTo>
                    <a:cubicBezTo>
                      <a:pt x="180" y="220"/>
                      <a:pt x="180" y="220"/>
                      <a:pt x="180" y="220"/>
                    </a:cubicBezTo>
                    <a:cubicBezTo>
                      <a:pt x="163" y="219"/>
                      <a:pt x="163" y="219"/>
                      <a:pt x="163" y="219"/>
                    </a:cubicBezTo>
                    <a:cubicBezTo>
                      <a:pt x="161" y="217"/>
                      <a:pt x="161" y="217"/>
                      <a:pt x="161" y="217"/>
                    </a:cubicBezTo>
                    <a:cubicBezTo>
                      <a:pt x="154" y="214"/>
                      <a:pt x="154" y="214"/>
                      <a:pt x="154" y="214"/>
                    </a:cubicBezTo>
                    <a:cubicBezTo>
                      <a:pt x="152" y="216"/>
                      <a:pt x="152" y="216"/>
                      <a:pt x="152" y="216"/>
                    </a:cubicBezTo>
                    <a:cubicBezTo>
                      <a:pt x="153" y="218"/>
                      <a:pt x="153" y="218"/>
                      <a:pt x="153" y="218"/>
                    </a:cubicBezTo>
                    <a:cubicBezTo>
                      <a:pt x="149" y="218"/>
                      <a:pt x="149" y="218"/>
                      <a:pt x="149" y="218"/>
                    </a:cubicBezTo>
                    <a:cubicBezTo>
                      <a:pt x="146" y="221"/>
                      <a:pt x="146" y="221"/>
                      <a:pt x="146" y="221"/>
                    </a:cubicBezTo>
                    <a:cubicBezTo>
                      <a:pt x="159" y="223"/>
                      <a:pt x="159" y="223"/>
                      <a:pt x="159" y="223"/>
                    </a:cubicBezTo>
                    <a:lnTo>
                      <a:pt x="182" y="222"/>
                    </a:lnTo>
                    <a:close/>
                    <a:moveTo>
                      <a:pt x="135" y="227"/>
                    </a:moveTo>
                    <a:cubicBezTo>
                      <a:pt x="129" y="229"/>
                      <a:pt x="129" y="229"/>
                      <a:pt x="129" y="229"/>
                    </a:cubicBezTo>
                    <a:cubicBezTo>
                      <a:pt x="129" y="229"/>
                      <a:pt x="131" y="232"/>
                      <a:pt x="138" y="230"/>
                    </a:cubicBezTo>
                    <a:cubicBezTo>
                      <a:pt x="144" y="228"/>
                      <a:pt x="143" y="225"/>
                      <a:pt x="135" y="227"/>
                    </a:cubicBezTo>
                    <a:close/>
                    <a:moveTo>
                      <a:pt x="170" y="243"/>
                    </a:moveTo>
                    <a:cubicBezTo>
                      <a:pt x="170" y="243"/>
                      <a:pt x="163" y="248"/>
                      <a:pt x="171" y="246"/>
                    </a:cubicBezTo>
                    <a:cubicBezTo>
                      <a:pt x="177" y="246"/>
                      <a:pt x="179" y="243"/>
                      <a:pt x="170" y="243"/>
                    </a:cubicBezTo>
                    <a:close/>
                    <a:moveTo>
                      <a:pt x="169" y="233"/>
                    </a:moveTo>
                    <a:cubicBezTo>
                      <a:pt x="160" y="229"/>
                      <a:pt x="160" y="229"/>
                      <a:pt x="160" y="229"/>
                    </a:cubicBezTo>
                    <a:cubicBezTo>
                      <a:pt x="159" y="232"/>
                      <a:pt x="159" y="232"/>
                      <a:pt x="159" y="232"/>
                    </a:cubicBezTo>
                    <a:cubicBezTo>
                      <a:pt x="162" y="233"/>
                      <a:pt x="162" y="233"/>
                      <a:pt x="162" y="233"/>
                    </a:cubicBezTo>
                    <a:cubicBezTo>
                      <a:pt x="160" y="235"/>
                      <a:pt x="160" y="235"/>
                      <a:pt x="160" y="235"/>
                    </a:cubicBezTo>
                    <a:cubicBezTo>
                      <a:pt x="169" y="237"/>
                      <a:pt x="169" y="237"/>
                      <a:pt x="169" y="237"/>
                    </a:cubicBezTo>
                    <a:cubicBezTo>
                      <a:pt x="174" y="235"/>
                      <a:pt x="174" y="235"/>
                      <a:pt x="174" y="235"/>
                    </a:cubicBezTo>
                    <a:cubicBezTo>
                      <a:pt x="184" y="236"/>
                      <a:pt x="184" y="236"/>
                      <a:pt x="184" y="236"/>
                    </a:cubicBezTo>
                    <a:cubicBezTo>
                      <a:pt x="186" y="235"/>
                      <a:pt x="186" y="235"/>
                      <a:pt x="186" y="235"/>
                    </a:cubicBezTo>
                    <a:cubicBezTo>
                      <a:pt x="176" y="230"/>
                      <a:pt x="176" y="230"/>
                      <a:pt x="176" y="230"/>
                    </a:cubicBezTo>
                    <a:lnTo>
                      <a:pt x="169" y="233"/>
                    </a:lnTo>
                    <a:close/>
                    <a:moveTo>
                      <a:pt x="194" y="243"/>
                    </a:moveTo>
                    <a:cubicBezTo>
                      <a:pt x="213" y="246"/>
                      <a:pt x="213" y="246"/>
                      <a:pt x="213" y="246"/>
                    </a:cubicBezTo>
                    <a:cubicBezTo>
                      <a:pt x="213" y="244"/>
                      <a:pt x="213" y="244"/>
                      <a:pt x="213" y="244"/>
                    </a:cubicBezTo>
                    <a:cubicBezTo>
                      <a:pt x="195" y="240"/>
                      <a:pt x="195" y="240"/>
                      <a:pt x="195" y="240"/>
                    </a:cubicBezTo>
                    <a:lnTo>
                      <a:pt x="194" y="243"/>
                    </a:lnTo>
                    <a:close/>
                    <a:moveTo>
                      <a:pt x="71" y="155"/>
                    </a:moveTo>
                    <a:cubicBezTo>
                      <a:pt x="67" y="153"/>
                      <a:pt x="65" y="156"/>
                      <a:pt x="65" y="156"/>
                    </a:cubicBezTo>
                    <a:cubicBezTo>
                      <a:pt x="71" y="158"/>
                      <a:pt x="74" y="157"/>
                      <a:pt x="71" y="155"/>
                    </a:cubicBezTo>
                    <a:close/>
                    <a:moveTo>
                      <a:pt x="65" y="150"/>
                    </a:moveTo>
                    <a:cubicBezTo>
                      <a:pt x="62" y="150"/>
                      <a:pt x="60" y="151"/>
                      <a:pt x="63" y="153"/>
                    </a:cubicBezTo>
                    <a:cubicBezTo>
                      <a:pt x="63" y="153"/>
                      <a:pt x="67" y="151"/>
                      <a:pt x="65" y="150"/>
                    </a:cubicBezTo>
                    <a:close/>
                    <a:moveTo>
                      <a:pt x="77" y="153"/>
                    </a:moveTo>
                    <a:cubicBezTo>
                      <a:pt x="80" y="153"/>
                      <a:pt x="84" y="149"/>
                      <a:pt x="79" y="149"/>
                    </a:cubicBezTo>
                    <a:cubicBezTo>
                      <a:pt x="75" y="148"/>
                      <a:pt x="77" y="153"/>
                      <a:pt x="77" y="153"/>
                    </a:cubicBezTo>
                    <a:close/>
                    <a:moveTo>
                      <a:pt x="65" y="146"/>
                    </a:moveTo>
                    <a:cubicBezTo>
                      <a:pt x="69" y="147"/>
                      <a:pt x="71" y="145"/>
                      <a:pt x="67" y="144"/>
                    </a:cubicBezTo>
                    <a:cubicBezTo>
                      <a:pt x="65" y="143"/>
                      <a:pt x="65" y="146"/>
                      <a:pt x="65" y="146"/>
                    </a:cubicBezTo>
                    <a:close/>
                    <a:moveTo>
                      <a:pt x="61" y="143"/>
                    </a:moveTo>
                    <a:cubicBezTo>
                      <a:pt x="60" y="142"/>
                      <a:pt x="57" y="145"/>
                      <a:pt x="59" y="146"/>
                    </a:cubicBezTo>
                    <a:cubicBezTo>
                      <a:pt x="59" y="146"/>
                      <a:pt x="63" y="144"/>
                      <a:pt x="61" y="143"/>
                    </a:cubicBezTo>
                    <a:close/>
                    <a:moveTo>
                      <a:pt x="91" y="179"/>
                    </a:moveTo>
                    <a:cubicBezTo>
                      <a:pt x="88" y="178"/>
                      <a:pt x="91" y="182"/>
                      <a:pt x="91" y="182"/>
                    </a:cubicBezTo>
                    <a:cubicBezTo>
                      <a:pt x="96" y="185"/>
                      <a:pt x="95" y="181"/>
                      <a:pt x="91" y="179"/>
                    </a:cubicBezTo>
                    <a:close/>
                    <a:moveTo>
                      <a:pt x="81" y="164"/>
                    </a:moveTo>
                    <a:cubicBezTo>
                      <a:pt x="88" y="171"/>
                      <a:pt x="88" y="167"/>
                      <a:pt x="83" y="163"/>
                    </a:cubicBezTo>
                    <a:cubicBezTo>
                      <a:pt x="78" y="158"/>
                      <a:pt x="81" y="164"/>
                      <a:pt x="81" y="164"/>
                    </a:cubicBez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63" name="Bulgaria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6092825" y="4772025"/>
                <a:ext cx="639762" cy="465137"/>
              </a:xfrm>
              <a:custGeom>
                <a:avLst/>
                <a:gdLst/>
                <a:ahLst/>
                <a:cxnLst>
                  <a:cxn ang="0">
                    <a:pos x="278" y="15"/>
                  </a:cxn>
                  <a:cxn ang="0">
                    <a:pos x="262" y="3"/>
                  </a:cxn>
                  <a:cxn ang="0">
                    <a:pos x="248" y="3"/>
                  </a:cxn>
                  <a:cxn ang="0">
                    <a:pos x="218" y="3"/>
                  </a:cxn>
                  <a:cxn ang="0">
                    <a:pos x="171" y="33"/>
                  </a:cxn>
                  <a:cxn ang="0">
                    <a:pos x="137" y="48"/>
                  </a:cxn>
                  <a:cxn ang="0">
                    <a:pos x="124" y="48"/>
                  </a:cxn>
                  <a:cxn ang="0">
                    <a:pos x="102" y="50"/>
                  </a:cxn>
                  <a:cxn ang="0">
                    <a:pos x="68" y="55"/>
                  </a:cxn>
                  <a:cxn ang="0">
                    <a:pos x="51" y="51"/>
                  </a:cxn>
                  <a:cxn ang="0">
                    <a:pos x="22" y="53"/>
                  </a:cxn>
                  <a:cxn ang="0">
                    <a:pos x="22" y="40"/>
                  </a:cxn>
                  <a:cxn ang="0">
                    <a:pos x="8" y="39"/>
                  </a:cxn>
                  <a:cxn ang="0">
                    <a:pos x="2" y="50"/>
                  </a:cxn>
                  <a:cxn ang="0">
                    <a:pos x="8" y="74"/>
                  </a:cxn>
                  <a:cxn ang="0">
                    <a:pos x="27" y="89"/>
                  </a:cxn>
                  <a:cxn ang="0">
                    <a:pos x="29" y="116"/>
                  </a:cxn>
                  <a:cxn ang="0">
                    <a:pos x="16" y="123"/>
                  </a:cxn>
                  <a:cxn ang="0">
                    <a:pos x="17" y="132"/>
                  </a:cxn>
                  <a:cxn ang="0">
                    <a:pos x="21" y="149"/>
                  </a:cxn>
                  <a:cxn ang="0">
                    <a:pos x="22" y="166"/>
                  </a:cxn>
                  <a:cxn ang="0">
                    <a:pos x="42" y="173"/>
                  </a:cxn>
                  <a:cxn ang="0">
                    <a:pos x="52" y="190"/>
                  </a:cxn>
                  <a:cxn ang="0">
                    <a:pos x="53" y="219"/>
                  </a:cxn>
                  <a:cxn ang="0">
                    <a:pos x="68" y="213"/>
                  </a:cxn>
                  <a:cxn ang="0">
                    <a:pos x="75" y="211"/>
                  </a:cxn>
                  <a:cxn ang="0">
                    <a:pos x="89" y="208"/>
                  </a:cxn>
                  <a:cxn ang="0">
                    <a:pos x="99" y="202"/>
                  </a:cxn>
                  <a:cxn ang="0">
                    <a:pos x="106" y="201"/>
                  </a:cxn>
                  <a:cxn ang="0">
                    <a:pos x="111" y="196"/>
                  </a:cxn>
                  <a:cxn ang="0">
                    <a:pos x="119" y="197"/>
                  </a:cxn>
                  <a:cxn ang="0">
                    <a:pos x="134" y="198"/>
                  </a:cxn>
                  <a:cxn ang="0">
                    <a:pos x="143" y="203"/>
                  </a:cxn>
                  <a:cxn ang="0">
                    <a:pos x="163" y="202"/>
                  </a:cxn>
                  <a:cxn ang="0">
                    <a:pos x="192" y="195"/>
                  </a:cxn>
                  <a:cxn ang="0">
                    <a:pos x="209" y="185"/>
                  </a:cxn>
                  <a:cxn ang="0">
                    <a:pos x="215" y="165"/>
                  </a:cxn>
                  <a:cxn ang="0">
                    <a:pos x="225" y="156"/>
                  </a:cxn>
                  <a:cxn ang="0">
                    <a:pos x="239" y="143"/>
                  </a:cxn>
                  <a:cxn ang="0">
                    <a:pos x="250" y="136"/>
                  </a:cxn>
                  <a:cxn ang="0">
                    <a:pos x="268" y="139"/>
                  </a:cxn>
                  <a:cxn ang="0">
                    <a:pos x="285" y="138"/>
                  </a:cxn>
                  <a:cxn ang="0">
                    <a:pos x="288" y="133"/>
                  </a:cxn>
                  <a:cxn ang="0">
                    <a:pos x="284" y="121"/>
                  </a:cxn>
                  <a:cxn ang="0">
                    <a:pos x="276" y="111"/>
                  </a:cxn>
                  <a:cxn ang="0">
                    <a:pos x="264" y="108"/>
                  </a:cxn>
                  <a:cxn ang="0">
                    <a:pos x="260" y="98"/>
                  </a:cxn>
                  <a:cxn ang="0">
                    <a:pos x="268" y="88"/>
                  </a:cxn>
                  <a:cxn ang="0">
                    <a:pos x="273" y="73"/>
                  </a:cxn>
                  <a:cxn ang="0">
                    <a:pos x="264" y="56"/>
                  </a:cxn>
                  <a:cxn ang="0">
                    <a:pos x="279" y="40"/>
                  </a:cxn>
                  <a:cxn ang="0">
                    <a:pos x="300" y="26"/>
                  </a:cxn>
                  <a:cxn ang="0">
                    <a:pos x="294" y="14"/>
                  </a:cxn>
                </a:cxnLst>
                <a:rect l="0" t="0" r="r" b="b"/>
                <a:pathLst>
                  <a:path w="300" h="219">
                    <a:moveTo>
                      <a:pt x="294" y="14"/>
                    </a:moveTo>
                    <a:cubicBezTo>
                      <a:pt x="294" y="14"/>
                      <a:pt x="282" y="16"/>
                      <a:pt x="278" y="15"/>
                    </a:cubicBezTo>
                    <a:cubicBezTo>
                      <a:pt x="274" y="15"/>
                      <a:pt x="266" y="13"/>
                      <a:pt x="266" y="13"/>
                    </a:cubicBezTo>
                    <a:cubicBezTo>
                      <a:pt x="262" y="3"/>
                      <a:pt x="262" y="3"/>
                      <a:pt x="262" y="3"/>
                    </a:cubicBezTo>
                    <a:cubicBezTo>
                      <a:pt x="262" y="3"/>
                      <a:pt x="256" y="10"/>
                      <a:pt x="253" y="9"/>
                    </a:cubicBezTo>
                    <a:cubicBezTo>
                      <a:pt x="250" y="8"/>
                      <a:pt x="250" y="3"/>
                      <a:pt x="248" y="3"/>
                    </a:cubicBezTo>
                    <a:cubicBezTo>
                      <a:pt x="246" y="3"/>
                      <a:pt x="240" y="10"/>
                      <a:pt x="236" y="9"/>
                    </a:cubicBezTo>
                    <a:cubicBezTo>
                      <a:pt x="232" y="8"/>
                      <a:pt x="226" y="0"/>
                      <a:pt x="218" y="3"/>
                    </a:cubicBezTo>
                    <a:cubicBezTo>
                      <a:pt x="209" y="6"/>
                      <a:pt x="194" y="15"/>
                      <a:pt x="189" y="16"/>
                    </a:cubicBezTo>
                    <a:cubicBezTo>
                      <a:pt x="183" y="17"/>
                      <a:pt x="175" y="27"/>
                      <a:pt x="171" y="33"/>
                    </a:cubicBezTo>
                    <a:cubicBezTo>
                      <a:pt x="167" y="39"/>
                      <a:pt x="164" y="47"/>
                      <a:pt x="152" y="50"/>
                    </a:cubicBezTo>
                    <a:cubicBezTo>
                      <a:pt x="139" y="53"/>
                      <a:pt x="137" y="48"/>
                      <a:pt x="137" y="48"/>
                    </a:cubicBezTo>
                    <a:cubicBezTo>
                      <a:pt x="131" y="51"/>
                      <a:pt x="131" y="51"/>
                      <a:pt x="131" y="51"/>
                    </a:cubicBezTo>
                    <a:cubicBezTo>
                      <a:pt x="124" y="48"/>
                      <a:pt x="124" y="48"/>
                      <a:pt x="124" y="48"/>
                    </a:cubicBezTo>
                    <a:cubicBezTo>
                      <a:pt x="124" y="48"/>
                      <a:pt x="115" y="53"/>
                      <a:pt x="110" y="51"/>
                    </a:cubicBezTo>
                    <a:cubicBezTo>
                      <a:pt x="107" y="51"/>
                      <a:pt x="106" y="49"/>
                      <a:pt x="102" y="50"/>
                    </a:cubicBezTo>
                    <a:cubicBezTo>
                      <a:pt x="99" y="53"/>
                      <a:pt x="98" y="58"/>
                      <a:pt x="87" y="59"/>
                    </a:cubicBezTo>
                    <a:cubicBezTo>
                      <a:pt x="77" y="60"/>
                      <a:pt x="68" y="55"/>
                      <a:pt x="68" y="55"/>
                    </a:cubicBezTo>
                    <a:cubicBezTo>
                      <a:pt x="60" y="55"/>
                      <a:pt x="60" y="55"/>
                      <a:pt x="60" y="55"/>
                    </a:cubicBezTo>
                    <a:cubicBezTo>
                      <a:pt x="60" y="55"/>
                      <a:pt x="54" y="51"/>
                      <a:pt x="51" y="51"/>
                    </a:cubicBezTo>
                    <a:cubicBezTo>
                      <a:pt x="47" y="51"/>
                      <a:pt x="37" y="60"/>
                      <a:pt x="32" y="59"/>
                    </a:cubicBezTo>
                    <a:cubicBezTo>
                      <a:pt x="26" y="59"/>
                      <a:pt x="22" y="58"/>
                      <a:pt x="22" y="53"/>
                    </a:cubicBezTo>
                    <a:cubicBezTo>
                      <a:pt x="23" y="47"/>
                      <a:pt x="30" y="48"/>
                      <a:pt x="29" y="43"/>
                    </a:cubicBezTo>
                    <a:cubicBezTo>
                      <a:pt x="29" y="39"/>
                      <a:pt x="26" y="41"/>
                      <a:pt x="22" y="40"/>
                    </a:cubicBezTo>
                    <a:cubicBezTo>
                      <a:pt x="20" y="40"/>
                      <a:pt x="14" y="37"/>
                      <a:pt x="10" y="35"/>
                    </a:cubicBezTo>
                    <a:cubicBezTo>
                      <a:pt x="9" y="38"/>
                      <a:pt x="8" y="39"/>
                      <a:pt x="8" y="39"/>
                    </a:cubicBezTo>
                    <a:cubicBezTo>
                      <a:pt x="8" y="39"/>
                      <a:pt x="9" y="44"/>
                      <a:pt x="7" y="47"/>
                    </a:cubicBezTo>
                    <a:cubicBezTo>
                      <a:pt x="5" y="49"/>
                      <a:pt x="2" y="50"/>
                      <a:pt x="2" y="50"/>
                    </a:cubicBezTo>
                    <a:cubicBezTo>
                      <a:pt x="0" y="65"/>
                      <a:pt x="0" y="65"/>
                      <a:pt x="0" y="65"/>
                    </a:cubicBezTo>
                    <a:cubicBezTo>
                      <a:pt x="8" y="74"/>
                      <a:pt x="8" y="74"/>
                      <a:pt x="8" y="74"/>
                    </a:cubicBezTo>
                    <a:cubicBezTo>
                      <a:pt x="11" y="83"/>
                      <a:pt x="11" y="83"/>
                      <a:pt x="11" y="83"/>
                    </a:cubicBezTo>
                    <a:cubicBezTo>
                      <a:pt x="11" y="83"/>
                      <a:pt x="23" y="86"/>
                      <a:pt x="27" y="89"/>
                    </a:cubicBezTo>
                    <a:cubicBezTo>
                      <a:pt x="33" y="92"/>
                      <a:pt x="38" y="101"/>
                      <a:pt x="38" y="101"/>
                    </a:cubicBezTo>
                    <a:cubicBezTo>
                      <a:pt x="29" y="116"/>
                      <a:pt x="29" y="116"/>
                      <a:pt x="29" y="116"/>
                    </a:cubicBezTo>
                    <a:cubicBezTo>
                      <a:pt x="29" y="116"/>
                      <a:pt x="28" y="120"/>
                      <a:pt x="26" y="121"/>
                    </a:cubicBezTo>
                    <a:cubicBezTo>
                      <a:pt x="23" y="122"/>
                      <a:pt x="19" y="120"/>
                      <a:pt x="16" y="123"/>
                    </a:cubicBezTo>
                    <a:cubicBezTo>
                      <a:pt x="11" y="126"/>
                      <a:pt x="11" y="130"/>
                      <a:pt x="11" y="130"/>
                    </a:cubicBezTo>
                    <a:cubicBezTo>
                      <a:pt x="17" y="132"/>
                      <a:pt x="17" y="132"/>
                      <a:pt x="17" y="132"/>
                    </a:cubicBezTo>
                    <a:cubicBezTo>
                      <a:pt x="13" y="141"/>
                      <a:pt x="13" y="141"/>
                      <a:pt x="13" y="141"/>
                    </a:cubicBezTo>
                    <a:cubicBezTo>
                      <a:pt x="21" y="149"/>
                      <a:pt x="21" y="149"/>
                      <a:pt x="21" y="149"/>
                    </a:cubicBezTo>
                    <a:cubicBezTo>
                      <a:pt x="13" y="160"/>
                      <a:pt x="13" y="160"/>
                      <a:pt x="13" y="160"/>
                    </a:cubicBezTo>
                    <a:cubicBezTo>
                      <a:pt x="13" y="160"/>
                      <a:pt x="20" y="164"/>
                      <a:pt x="22" y="166"/>
                    </a:cubicBezTo>
                    <a:cubicBezTo>
                      <a:pt x="24" y="169"/>
                      <a:pt x="27" y="174"/>
                      <a:pt x="32" y="173"/>
                    </a:cubicBezTo>
                    <a:cubicBezTo>
                      <a:pt x="42" y="173"/>
                      <a:pt x="42" y="173"/>
                      <a:pt x="42" y="173"/>
                    </a:cubicBezTo>
                    <a:cubicBezTo>
                      <a:pt x="43" y="186"/>
                      <a:pt x="43" y="186"/>
                      <a:pt x="43" y="186"/>
                    </a:cubicBezTo>
                    <a:cubicBezTo>
                      <a:pt x="52" y="190"/>
                      <a:pt x="52" y="190"/>
                      <a:pt x="52" y="190"/>
                    </a:cubicBezTo>
                    <a:cubicBezTo>
                      <a:pt x="49" y="199"/>
                      <a:pt x="49" y="199"/>
                      <a:pt x="49" y="199"/>
                    </a:cubicBezTo>
                    <a:cubicBezTo>
                      <a:pt x="53" y="219"/>
                      <a:pt x="53" y="219"/>
                      <a:pt x="53" y="219"/>
                    </a:cubicBezTo>
                    <a:cubicBezTo>
                      <a:pt x="63" y="218"/>
                      <a:pt x="63" y="218"/>
                      <a:pt x="63" y="218"/>
                    </a:cubicBezTo>
                    <a:cubicBezTo>
                      <a:pt x="68" y="213"/>
                      <a:pt x="68" y="213"/>
                      <a:pt x="68" y="213"/>
                    </a:cubicBezTo>
                    <a:cubicBezTo>
                      <a:pt x="73" y="215"/>
                      <a:pt x="73" y="215"/>
                      <a:pt x="73" y="215"/>
                    </a:cubicBezTo>
                    <a:cubicBezTo>
                      <a:pt x="75" y="211"/>
                      <a:pt x="75" y="211"/>
                      <a:pt x="75" y="211"/>
                    </a:cubicBezTo>
                    <a:cubicBezTo>
                      <a:pt x="87" y="211"/>
                      <a:pt x="87" y="211"/>
                      <a:pt x="87" y="211"/>
                    </a:cubicBezTo>
                    <a:cubicBezTo>
                      <a:pt x="89" y="208"/>
                      <a:pt x="89" y="208"/>
                      <a:pt x="89" y="208"/>
                    </a:cubicBezTo>
                    <a:cubicBezTo>
                      <a:pt x="92" y="207"/>
                      <a:pt x="92" y="207"/>
                      <a:pt x="92" y="207"/>
                    </a:cubicBezTo>
                    <a:cubicBezTo>
                      <a:pt x="99" y="202"/>
                      <a:pt x="99" y="202"/>
                      <a:pt x="99" y="202"/>
                    </a:cubicBezTo>
                    <a:cubicBezTo>
                      <a:pt x="101" y="205"/>
                      <a:pt x="101" y="205"/>
                      <a:pt x="101" y="205"/>
                    </a:cubicBezTo>
                    <a:cubicBezTo>
                      <a:pt x="106" y="201"/>
                      <a:pt x="106" y="201"/>
                      <a:pt x="106" y="201"/>
                    </a:cubicBezTo>
                    <a:cubicBezTo>
                      <a:pt x="105" y="196"/>
                      <a:pt x="105" y="196"/>
                      <a:pt x="105" y="196"/>
                    </a:cubicBezTo>
                    <a:cubicBezTo>
                      <a:pt x="111" y="196"/>
                      <a:pt x="111" y="196"/>
                      <a:pt x="111" y="196"/>
                    </a:cubicBezTo>
                    <a:cubicBezTo>
                      <a:pt x="114" y="192"/>
                      <a:pt x="114" y="192"/>
                      <a:pt x="114" y="192"/>
                    </a:cubicBezTo>
                    <a:cubicBezTo>
                      <a:pt x="114" y="192"/>
                      <a:pt x="117" y="198"/>
                      <a:pt x="119" y="197"/>
                    </a:cubicBezTo>
                    <a:cubicBezTo>
                      <a:pt x="121" y="195"/>
                      <a:pt x="128" y="191"/>
                      <a:pt x="128" y="191"/>
                    </a:cubicBezTo>
                    <a:cubicBezTo>
                      <a:pt x="134" y="198"/>
                      <a:pt x="134" y="198"/>
                      <a:pt x="134" y="198"/>
                    </a:cubicBezTo>
                    <a:cubicBezTo>
                      <a:pt x="138" y="197"/>
                      <a:pt x="138" y="197"/>
                      <a:pt x="138" y="197"/>
                    </a:cubicBezTo>
                    <a:cubicBezTo>
                      <a:pt x="143" y="203"/>
                      <a:pt x="143" y="203"/>
                      <a:pt x="143" y="203"/>
                    </a:cubicBezTo>
                    <a:cubicBezTo>
                      <a:pt x="149" y="198"/>
                      <a:pt x="149" y="198"/>
                      <a:pt x="149" y="198"/>
                    </a:cubicBezTo>
                    <a:cubicBezTo>
                      <a:pt x="163" y="202"/>
                      <a:pt x="163" y="202"/>
                      <a:pt x="163" y="202"/>
                    </a:cubicBezTo>
                    <a:cubicBezTo>
                      <a:pt x="163" y="202"/>
                      <a:pt x="166" y="207"/>
                      <a:pt x="168" y="206"/>
                    </a:cubicBezTo>
                    <a:cubicBezTo>
                      <a:pt x="169" y="206"/>
                      <a:pt x="192" y="195"/>
                      <a:pt x="192" y="195"/>
                    </a:cubicBezTo>
                    <a:cubicBezTo>
                      <a:pt x="199" y="196"/>
                      <a:pt x="199" y="196"/>
                      <a:pt x="199" y="196"/>
                    </a:cubicBezTo>
                    <a:cubicBezTo>
                      <a:pt x="199" y="196"/>
                      <a:pt x="208" y="192"/>
                      <a:pt x="209" y="185"/>
                    </a:cubicBezTo>
                    <a:cubicBezTo>
                      <a:pt x="209" y="176"/>
                      <a:pt x="199" y="171"/>
                      <a:pt x="201" y="168"/>
                    </a:cubicBezTo>
                    <a:cubicBezTo>
                      <a:pt x="204" y="166"/>
                      <a:pt x="215" y="165"/>
                      <a:pt x="215" y="165"/>
                    </a:cubicBezTo>
                    <a:cubicBezTo>
                      <a:pt x="215" y="165"/>
                      <a:pt x="213" y="160"/>
                      <a:pt x="216" y="158"/>
                    </a:cubicBezTo>
                    <a:cubicBezTo>
                      <a:pt x="218" y="156"/>
                      <a:pt x="223" y="159"/>
                      <a:pt x="225" y="156"/>
                    </a:cubicBezTo>
                    <a:cubicBezTo>
                      <a:pt x="226" y="152"/>
                      <a:pt x="221" y="148"/>
                      <a:pt x="224" y="145"/>
                    </a:cubicBezTo>
                    <a:cubicBezTo>
                      <a:pt x="229" y="144"/>
                      <a:pt x="235" y="148"/>
                      <a:pt x="239" y="143"/>
                    </a:cubicBezTo>
                    <a:cubicBezTo>
                      <a:pt x="245" y="139"/>
                      <a:pt x="245" y="136"/>
                      <a:pt x="247" y="134"/>
                    </a:cubicBezTo>
                    <a:cubicBezTo>
                      <a:pt x="249" y="133"/>
                      <a:pt x="250" y="136"/>
                      <a:pt x="250" y="136"/>
                    </a:cubicBezTo>
                    <a:cubicBezTo>
                      <a:pt x="250" y="136"/>
                      <a:pt x="252" y="130"/>
                      <a:pt x="256" y="130"/>
                    </a:cubicBezTo>
                    <a:cubicBezTo>
                      <a:pt x="259" y="132"/>
                      <a:pt x="264" y="138"/>
                      <a:pt x="268" y="139"/>
                    </a:cubicBezTo>
                    <a:cubicBezTo>
                      <a:pt x="273" y="139"/>
                      <a:pt x="278" y="135"/>
                      <a:pt x="278" y="135"/>
                    </a:cubicBezTo>
                    <a:cubicBezTo>
                      <a:pt x="285" y="138"/>
                      <a:pt x="285" y="138"/>
                      <a:pt x="285" y="138"/>
                    </a:cubicBezTo>
                    <a:cubicBezTo>
                      <a:pt x="285" y="133"/>
                      <a:pt x="285" y="133"/>
                      <a:pt x="285" y="133"/>
                    </a:cubicBezTo>
                    <a:cubicBezTo>
                      <a:pt x="288" y="133"/>
                      <a:pt x="288" y="133"/>
                      <a:pt x="288" y="133"/>
                    </a:cubicBezTo>
                    <a:cubicBezTo>
                      <a:pt x="294" y="130"/>
                      <a:pt x="294" y="130"/>
                      <a:pt x="294" y="130"/>
                    </a:cubicBezTo>
                    <a:cubicBezTo>
                      <a:pt x="284" y="121"/>
                      <a:pt x="284" y="121"/>
                      <a:pt x="284" y="121"/>
                    </a:cubicBezTo>
                    <a:cubicBezTo>
                      <a:pt x="278" y="117"/>
                      <a:pt x="278" y="117"/>
                      <a:pt x="278" y="117"/>
                    </a:cubicBezTo>
                    <a:cubicBezTo>
                      <a:pt x="276" y="111"/>
                      <a:pt x="276" y="111"/>
                      <a:pt x="276" y="111"/>
                    </a:cubicBezTo>
                    <a:cubicBezTo>
                      <a:pt x="267" y="103"/>
                      <a:pt x="267" y="103"/>
                      <a:pt x="267" y="103"/>
                    </a:cubicBezTo>
                    <a:cubicBezTo>
                      <a:pt x="267" y="103"/>
                      <a:pt x="266" y="106"/>
                      <a:pt x="264" y="108"/>
                    </a:cubicBezTo>
                    <a:cubicBezTo>
                      <a:pt x="262" y="110"/>
                      <a:pt x="256" y="108"/>
                      <a:pt x="256" y="108"/>
                    </a:cubicBezTo>
                    <a:cubicBezTo>
                      <a:pt x="260" y="98"/>
                      <a:pt x="260" y="98"/>
                      <a:pt x="260" y="98"/>
                    </a:cubicBezTo>
                    <a:cubicBezTo>
                      <a:pt x="268" y="97"/>
                      <a:pt x="268" y="97"/>
                      <a:pt x="268" y="97"/>
                    </a:cubicBezTo>
                    <a:cubicBezTo>
                      <a:pt x="268" y="88"/>
                      <a:pt x="268" y="88"/>
                      <a:pt x="268" y="88"/>
                    </a:cubicBezTo>
                    <a:cubicBezTo>
                      <a:pt x="278" y="85"/>
                      <a:pt x="278" y="85"/>
                      <a:pt x="278" y="85"/>
                    </a:cubicBezTo>
                    <a:cubicBezTo>
                      <a:pt x="278" y="85"/>
                      <a:pt x="274" y="80"/>
                      <a:pt x="273" y="73"/>
                    </a:cubicBezTo>
                    <a:cubicBezTo>
                      <a:pt x="273" y="66"/>
                      <a:pt x="272" y="56"/>
                      <a:pt x="272" y="56"/>
                    </a:cubicBezTo>
                    <a:cubicBezTo>
                      <a:pt x="264" y="56"/>
                      <a:pt x="264" y="56"/>
                      <a:pt x="264" y="56"/>
                    </a:cubicBezTo>
                    <a:cubicBezTo>
                      <a:pt x="264" y="56"/>
                      <a:pt x="274" y="54"/>
                      <a:pt x="275" y="51"/>
                    </a:cubicBezTo>
                    <a:cubicBezTo>
                      <a:pt x="276" y="49"/>
                      <a:pt x="271" y="44"/>
                      <a:pt x="279" y="40"/>
                    </a:cubicBezTo>
                    <a:cubicBezTo>
                      <a:pt x="286" y="34"/>
                      <a:pt x="294" y="38"/>
                      <a:pt x="294" y="38"/>
                    </a:cubicBezTo>
                    <a:cubicBezTo>
                      <a:pt x="300" y="26"/>
                      <a:pt x="300" y="26"/>
                      <a:pt x="300" y="26"/>
                    </a:cubicBezTo>
                    <a:cubicBezTo>
                      <a:pt x="300" y="26"/>
                      <a:pt x="297" y="23"/>
                      <a:pt x="296" y="19"/>
                    </a:cubicBezTo>
                    <a:cubicBezTo>
                      <a:pt x="295" y="17"/>
                      <a:pt x="294" y="14"/>
                      <a:pt x="294" y="14"/>
                    </a:cubicBez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64" name="Bosnia a. Herzegovina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392738" y="4765675"/>
                <a:ext cx="422275" cy="361950"/>
              </a:xfrm>
              <a:custGeom>
                <a:avLst/>
                <a:gdLst/>
                <a:ahLst/>
                <a:cxnLst>
                  <a:cxn ang="0">
                    <a:pos x="195" y="66"/>
                  </a:cxn>
                  <a:cxn ang="0">
                    <a:pos x="180" y="54"/>
                  </a:cxn>
                  <a:cxn ang="0">
                    <a:pos x="168" y="53"/>
                  </a:cxn>
                  <a:cxn ang="0">
                    <a:pos x="169" y="45"/>
                  </a:cxn>
                  <a:cxn ang="0">
                    <a:pos x="168" y="41"/>
                  </a:cxn>
                  <a:cxn ang="0">
                    <a:pos x="174" y="31"/>
                  </a:cxn>
                  <a:cxn ang="0">
                    <a:pos x="177" y="18"/>
                  </a:cxn>
                  <a:cxn ang="0">
                    <a:pos x="180" y="15"/>
                  </a:cxn>
                  <a:cxn ang="0">
                    <a:pos x="165" y="13"/>
                  </a:cxn>
                  <a:cxn ang="0">
                    <a:pos x="154" y="18"/>
                  </a:cxn>
                  <a:cxn ang="0">
                    <a:pos x="145" y="6"/>
                  </a:cxn>
                  <a:cxn ang="0">
                    <a:pos x="137" y="9"/>
                  </a:cxn>
                  <a:cxn ang="0">
                    <a:pos x="131" y="4"/>
                  </a:cxn>
                  <a:cxn ang="0">
                    <a:pos x="123" y="3"/>
                  </a:cxn>
                  <a:cxn ang="0">
                    <a:pos x="120" y="9"/>
                  </a:cxn>
                  <a:cxn ang="0">
                    <a:pos x="112" y="3"/>
                  </a:cxn>
                  <a:cxn ang="0">
                    <a:pos x="104" y="11"/>
                  </a:cxn>
                  <a:cxn ang="0">
                    <a:pos x="96" y="7"/>
                  </a:cxn>
                  <a:cxn ang="0">
                    <a:pos x="74" y="7"/>
                  </a:cxn>
                  <a:cxn ang="0">
                    <a:pos x="62" y="0"/>
                  </a:cxn>
                  <a:cxn ang="0">
                    <a:pos x="57" y="6"/>
                  </a:cxn>
                  <a:cxn ang="0">
                    <a:pos x="42" y="4"/>
                  </a:cxn>
                  <a:cxn ang="0">
                    <a:pos x="34" y="19"/>
                  </a:cxn>
                  <a:cxn ang="0">
                    <a:pos x="21" y="12"/>
                  </a:cxn>
                  <a:cxn ang="0">
                    <a:pos x="7" y="9"/>
                  </a:cxn>
                  <a:cxn ang="0">
                    <a:pos x="8" y="36"/>
                  </a:cxn>
                  <a:cxn ang="0">
                    <a:pos x="18" y="37"/>
                  </a:cxn>
                  <a:cxn ang="0">
                    <a:pos x="23" y="44"/>
                  </a:cxn>
                  <a:cxn ang="0">
                    <a:pos x="21" y="48"/>
                  </a:cxn>
                  <a:cxn ang="0">
                    <a:pos x="29" y="58"/>
                  </a:cxn>
                  <a:cxn ang="0">
                    <a:pos x="38" y="76"/>
                  </a:cxn>
                  <a:cxn ang="0">
                    <a:pos x="57" y="92"/>
                  </a:cxn>
                  <a:cxn ang="0">
                    <a:pos x="59" y="95"/>
                  </a:cxn>
                  <a:cxn ang="0">
                    <a:pos x="76" y="110"/>
                  </a:cxn>
                  <a:cxn ang="0">
                    <a:pos x="88" y="116"/>
                  </a:cxn>
                  <a:cxn ang="0">
                    <a:pos x="88" y="125"/>
                  </a:cxn>
                  <a:cxn ang="0">
                    <a:pos x="108" y="140"/>
                  </a:cxn>
                  <a:cxn ang="0">
                    <a:pos x="110" y="151"/>
                  </a:cxn>
                  <a:cxn ang="0">
                    <a:pos x="118" y="149"/>
                  </a:cxn>
                  <a:cxn ang="0">
                    <a:pos x="140" y="168"/>
                  </a:cxn>
                  <a:cxn ang="0">
                    <a:pos x="146" y="167"/>
                  </a:cxn>
                  <a:cxn ang="0">
                    <a:pos x="149" y="170"/>
                  </a:cxn>
                  <a:cxn ang="0">
                    <a:pos x="154" y="167"/>
                  </a:cxn>
                  <a:cxn ang="0">
                    <a:pos x="154" y="157"/>
                  </a:cxn>
                  <a:cxn ang="0">
                    <a:pos x="151" y="157"/>
                  </a:cxn>
                  <a:cxn ang="0">
                    <a:pos x="150" y="141"/>
                  </a:cxn>
                  <a:cxn ang="0">
                    <a:pos x="157" y="137"/>
                  </a:cxn>
                  <a:cxn ang="0">
                    <a:pos x="156" y="123"/>
                  </a:cxn>
                  <a:cxn ang="0">
                    <a:pos x="165" y="117"/>
                  </a:cxn>
                  <a:cxn ang="0">
                    <a:pos x="175" y="119"/>
                  </a:cxn>
                  <a:cxn ang="0">
                    <a:pos x="166" y="107"/>
                  </a:cxn>
                  <a:cxn ang="0">
                    <a:pos x="167" y="101"/>
                  </a:cxn>
                  <a:cxn ang="0">
                    <a:pos x="172" y="105"/>
                  </a:cxn>
                  <a:cxn ang="0">
                    <a:pos x="180" y="105"/>
                  </a:cxn>
                  <a:cxn ang="0">
                    <a:pos x="181" y="99"/>
                  </a:cxn>
                  <a:cxn ang="0">
                    <a:pos x="191" y="99"/>
                  </a:cxn>
                  <a:cxn ang="0">
                    <a:pos x="185" y="84"/>
                  </a:cxn>
                  <a:cxn ang="0">
                    <a:pos x="177" y="73"/>
                  </a:cxn>
                  <a:cxn ang="0">
                    <a:pos x="190" y="74"/>
                  </a:cxn>
                  <a:cxn ang="0">
                    <a:pos x="195" y="66"/>
                  </a:cxn>
                </a:cxnLst>
                <a:rect l="0" t="0" r="r" b="b"/>
                <a:pathLst>
                  <a:path w="198" h="170">
                    <a:moveTo>
                      <a:pt x="195" y="66"/>
                    </a:moveTo>
                    <a:cubicBezTo>
                      <a:pt x="180" y="54"/>
                      <a:pt x="180" y="54"/>
                      <a:pt x="180" y="54"/>
                    </a:cubicBezTo>
                    <a:cubicBezTo>
                      <a:pt x="180" y="54"/>
                      <a:pt x="172" y="54"/>
                      <a:pt x="168" y="53"/>
                    </a:cubicBezTo>
                    <a:cubicBezTo>
                      <a:pt x="165" y="52"/>
                      <a:pt x="169" y="45"/>
                      <a:pt x="169" y="45"/>
                    </a:cubicBezTo>
                    <a:cubicBezTo>
                      <a:pt x="168" y="41"/>
                      <a:pt x="168" y="41"/>
                      <a:pt x="168" y="41"/>
                    </a:cubicBezTo>
                    <a:cubicBezTo>
                      <a:pt x="168" y="41"/>
                      <a:pt x="172" y="35"/>
                      <a:pt x="174" y="31"/>
                    </a:cubicBezTo>
                    <a:cubicBezTo>
                      <a:pt x="176" y="27"/>
                      <a:pt x="177" y="18"/>
                      <a:pt x="177" y="18"/>
                    </a:cubicBezTo>
                    <a:cubicBezTo>
                      <a:pt x="180" y="15"/>
                      <a:pt x="180" y="15"/>
                      <a:pt x="180" y="15"/>
                    </a:cubicBezTo>
                    <a:cubicBezTo>
                      <a:pt x="165" y="13"/>
                      <a:pt x="165" y="13"/>
                      <a:pt x="165" y="13"/>
                    </a:cubicBezTo>
                    <a:cubicBezTo>
                      <a:pt x="165" y="13"/>
                      <a:pt x="160" y="18"/>
                      <a:pt x="154" y="18"/>
                    </a:cubicBezTo>
                    <a:cubicBezTo>
                      <a:pt x="149" y="18"/>
                      <a:pt x="151" y="9"/>
                      <a:pt x="145" y="6"/>
                    </a:cubicBezTo>
                    <a:cubicBezTo>
                      <a:pt x="139" y="5"/>
                      <a:pt x="137" y="9"/>
                      <a:pt x="137" y="9"/>
                    </a:cubicBezTo>
                    <a:cubicBezTo>
                      <a:pt x="131" y="4"/>
                      <a:pt x="131" y="4"/>
                      <a:pt x="131" y="4"/>
                    </a:cubicBezTo>
                    <a:cubicBezTo>
                      <a:pt x="123" y="3"/>
                      <a:pt x="123" y="3"/>
                      <a:pt x="123" y="3"/>
                    </a:cubicBezTo>
                    <a:cubicBezTo>
                      <a:pt x="123" y="3"/>
                      <a:pt x="123" y="9"/>
                      <a:pt x="120" y="9"/>
                    </a:cubicBezTo>
                    <a:cubicBezTo>
                      <a:pt x="117" y="9"/>
                      <a:pt x="112" y="3"/>
                      <a:pt x="112" y="3"/>
                    </a:cubicBezTo>
                    <a:cubicBezTo>
                      <a:pt x="112" y="3"/>
                      <a:pt x="108" y="11"/>
                      <a:pt x="104" y="11"/>
                    </a:cubicBezTo>
                    <a:cubicBezTo>
                      <a:pt x="101" y="11"/>
                      <a:pt x="96" y="7"/>
                      <a:pt x="96" y="7"/>
                    </a:cubicBezTo>
                    <a:cubicBezTo>
                      <a:pt x="74" y="7"/>
                      <a:pt x="74" y="7"/>
                      <a:pt x="74" y="7"/>
                    </a:cubicBezTo>
                    <a:cubicBezTo>
                      <a:pt x="70" y="7"/>
                      <a:pt x="62" y="0"/>
                      <a:pt x="62" y="0"/>
                    </a:cubicBezTo>
                    <a:cubicBezTo>
                      <a:pt x="57" y="6"/>
                      <a:pt x="57" y="6"/>
                      <a:pt x="57" y="6"/>
                    </a:cubicBezTo>
                    <a:cubicBezTo>
                      <a:pt x="57" y="6"/>
                      <a:pt x="46" y="4"/>
                      <a:pt x="42" y="4"/>
                    </a:cubicBezTo>
                    <a:cubicBezTo>
                      <a:pt x="38" y="5"/>
                      <a:pt x="38" y="18"/>
                      <a:pt x="34" y="19"/>
                    </a:cubicBezTo>
                    <a:cubicBezTo>
                      <a:pt x="30" y="21"/>
                      <a:pt x="24" y="15"/>
                      <a:pt x="21" y="12"/>
                    </a:cubicBezTo>
                    <a:cubicBezTo>
                      <a:pt x="18" y="9"/>
                      <a:pt x="14" y="4"/>
                      <a:pt x="7" y="9"/>
                    </a:cubicBezTo>
                    <a:cubicBezTo>
                      <a:pt x="0" y="12"/>
                      <a:pt x="8" y="36"/>
                      <a:pt x="8" y="36"/>
                    </a:cubicBezTo>
                    <a:cubicBezTo>
                      <a:pt x="18" y="37"/>
                      <a:pt x="18" y="37"/>
                      <a:pt x="18" y="37"/>
                    </a:cubicBezTo>
                    <a:cubicBezTo>
                      <a:pt x="23" y="44"/>
                      <a:pt x="23" y="44"/>
                      <a:pt x="23" y="44"/>
                    </a:cubicBezTo>
                    <a:cubicBezTo>
                      <a:pt x="21" y="48"/>
                      <a:pt x="21" y="48"/>
                      <a:pt x="21" y="48"/>
                    </a:cubicBezTo>
                    <a:cubicBezTo>
                      <a:pt x="21" y="48"/>
                      <a:pt x="26" y="51"/>
                      <a:pt x="29" y="58"/>
                    </a:cubicBezTo>
                    <a:cubicBezTo>
                      <a:pt x="31" y="63"/>
                      <a:pt x="30" y="68"/>
                      <a:pt x="38" y="76"/>
                    </a:cubicBezTo>
                    <a:cubicBezTo>
                      <a:pt x="44" y="83"/>
                      <a:pt x="57" y="92"/>
                      <a:pt x="57" y="92"/>
                    </a:cubicBezTo>
                    <a:cubicBezTo>
                      <a:pt x="59" y="95"/>
                      <a:pt x="59" y="95"/>
                      <a:pt x="59" y="95"/>
                    </a:cubicBezTo>
                    <a:cubicBezTo>
                      <a:pt x="76" y="110"/>
                      <a:pt x="76" y="110"/>
                      <a:pt x="76" y="110"/>
                    </a:cubicBezTo>
                    <a:cubicBezTo>
                      <a:pt x="88" y="116"/>
                      <a:pt x="88" y="116"/>
                      <a:pt x="88" y="116"/>
                    </a:cubicBezTo>
                    <a:cubicBezTo>
                      <a:pt x="88" y="116"/>
                      <a:pt x="87" y="120"/>
                      <a:pt x="88" y="125"/>
                    </a:cubicBezTo>
                    <a:cubicBezTo>
                      <a:pt x="89" y="129"/>
                      <a:pt x="102" y="135"/>
                      <a:pt x="108" y="140"/>
                    </a:cubicBezTo>
                    <a:cubicBezTo>
                      <a:pt x="113" y="145"/>
                      <a:pt x="110" y="151"/>
                      <a:pt x="110" y="151"/>
                    </a:cubicBezTo>
                    <a:cubicBezTo>
                      <a:pt x="118" y="149"/>
                      <a:pt x="118" y="149"/>
                      <a:pt x="118" y="149"/>
                    </a:cubicBezTo>
                    <a:cubicBezTo>
                      <a:pt x="140" y="168"/>
                      <a:pt x="140" y="168"/>
                      <a:pt x="140" y="168"/>
                    </a:cubicBezTo>
                    <a:cubicBezTo>
                      <a:pt x="140" y="168"/>
                      <a:pt x="142" y="165"/>
                      <a:pt x="146" y="167"/>
                    </a:cubicBezTo>
                    <a:cubicBezTo>
                      <a:pt x="148" y="167"/>
                      <a:pt x="149" y="168"/>
                      <a:pt x="149" y="170"/>
                    </a:cubicBezTo>
                    <a:cubicBezTo>
                      <a:pt x="154" y="167"/>
                      <a:pt x="154" y="167"/>
                      <a:pt x="154" y="167"/>
                    </a:cubicBezTo>
                    <a:cubicBezTo>
                      <a:pt x="154" y="157"/>
                      <a:pt x="154" y="157"/>
                      <a:pt x="154" y="157"/>
                    </a:cubicBezTo>
                    <a:cubicBezTo>
                      <a:pt x="151" y="157"/>
                      <a:pt x="151" y="157"/>
                      <a:pt x="151" y="157"/>
                    </a:cubicBezTo>
                    <a:cubicBezTo>
                      <a:pt x="151" y="157"/>
                      <a:pt x="149" y="144"/>
                      <a:pt x="150" y="141"/>
                    </a:cubicBezTo>
                    <a:cubicBezTo>
                      <a:pt x="152" y="138"/>
                      <a:pt x="155" y="138"/>
                      <a:pt x="157" y="137"/>
                    </a:cubicBezTo>
                    <a:cubicBezTo>
                      <a:pt x="159" y="135"/>
                      <a:pt x="154" y="126"/>
                      <a:pt x="156" y="123"/>
                    </a:cubicBezTo>
                    <a:cubicBezTo>
                      <a:pt x="157" y="121"/>
                      <a:pt x="160" y="117"/>
                      <a:pt x="165" y="117"/>
                    </a:cubicBezTo>
                    <a:cubicBezTo>
                      <a:pt x="168" y="117"/>
                      <a:pt x="172" y="122"/>
                      <a:pt x="175" y="119"/>
                    </a:cubicBezTo>
                    <a:cubicBezTo>
                      <a:pt x="177" y="116"/>
                      <a:pt x="166" y="107"/>
                      <a:pt x="166" y="107"/>
                    </a:cubicBezTo>
                    <a:cubicBezTo>
                      <a:pt x="167" y="101"/>
                      <a:pt x="167" y="101"/>
                      <a:pt x="167" y="101"/>
                    </a:cubicBezTo>
                    <a:cubicBezTo>
                      <a:pt x="172" y="105"/>
                      <a:pt x="172" y="105"/>
                      <a:pt x="172" y="105"/>
                    </a:cubicBezTo>
                    <a:cubicBezTo>
                      <a:pt x="180" y="105"/>
                      <a:pt x="180" y="105"/>
                      <a:pt x="180" y="105"/>
                    </a:cubicBezTo>
                    <a:cubicBezTo>
                      <a:pt x="181" y="99"/>
                      <a:pt x="181" y="99"/>
                      <a:pt x="181" y="99"/>
                    </a:cubicBezTo>
                    <a:cubicBezTo>
                      <a:pt x="181" y="99"/>
                      <a:pt x="186" y="104"/>
                      <a:pt x="191" y="99"/>
                    </a:cubicBezTo>
                    <a:cubicBezTo>
                      <a:pt x="198" y="96"/>
                      <a:pt x="185" y="84"/>
                      <a:pt x="185" y="84"/>
                    </a:cubicBezTo>
                    <a:cubicBezTo>
                      <a:pt x="177" y="73"/>
                      <a:pt x="177" y="73"/>
                      <a:pt x="177" y="73"/>
                    </a:cubicBezTo>
                    <a:cubicBezTo>
                      <a:pt x="177" y="73"/>
                      <a:pt x="185" y="74"/>
                      <a:pt x="190" y="74"/>
                    </a:cubicBezTo>
                    <a:cubicBezTo>
                      <a:pt x="195" y="74"/>
                      <a:pt x="195" y="66"/>
                      <a:pt x="195" y="66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65" name="Belgium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4183063" y="3900488"/>
                <a:ext cx="341312" cy="282575"/>
              </a:xfrm>
              <a:custGeom>
                <a:avLst/>
                <a:gdLst/>
                <a:ahLst/>
                <a:cxnLst>
                  <a:cxn ang="0">
                    <a:pos x="150" y="64"/>
                  </a:cxn>
                  <a:cxn ang="0">
                    <a:pos x="144" y="49"/>
                  </a:cxn>
                  <a:cxn ang="0">
                    <a:pos x="128" y="48"/>
                  </a:cxn>
                  <a:cxn ang="0">
                    <a:pos x="132" y="42"/>
                  </a:cxn>
                  <a:cxn ang="0">
                    <a:pos x="133" y="33"/>
                  </a:cxn>
                  <a:cxn ang="0">
                    <a:pos x="130" y="24"/>
                  </a:cxn>
                  <a:cxn ang="0">
                    <a:pos x="123" y="16"/>
                  </a:cxn>
                  <a:cxn ang="0">
                    <a:pos x="110" y="12"/>
                  </a:cxn>
                  <a:cxn ang="0">
                    <a:pos x="106" y="3"/>
                  </a:cxn>
                  <a:cxn ang="0">
                    <a:pos x="96" y="8"/>
                  </a:cxn>
                  <a:cxn ang="0">
                    <a:pos x="88" y="5"/>
                  </a:cxn>
                  <a:cxn ang="0">
                    <a:pos x="82" y="2"/>
                  </a:cxn>
                  <a:cxn ang="0">
                    <a:pos x="77" y="9"/>
                  </a:cxn>
                  <a:cxn ang="0">
                    <a:pos x="56" y="17"/>
                  </a:cxn>
                  <a:cxn ang="0">
                    <a:pos x="42" y="9"/>
                  </a:cxn>
                  <a:cxn ang="0">
                    <a:pos x="35" y="12"/>
                  </a:cxn>
                  <a:cxn ang="0">
                    <a:pos x="36" y="5"/>
                  </a:cxn>
                  <a:cxn ang="0">
                    <a:pos x="11" y="15"/>
                  </a:cxn>
                  <a:cxn ang="0">
                    <a:pos x="1" y="25"/>
                  </a:cxn>
                  <a:cxn ang="0">
                    <a:pos x="2" y="29"/>
                  </a:cxn>
                  <a:cxn ang="0">
                    <a:pos x="0" y="37"/>
                  </a:cxn>
                  <a:cxn ang="0">
                    <a:pos x="8" y="44"/>
                  </a:cxn>
                  <a:cxn ang="0">
                    <a:pos x="15" y="41"/>
                  </a:cxn>
                  <a:cxn ang="0">
                    <a:pos x="25" y="48"/>
                  </a:cxn>
                  <a:cxn ang="0">
                    <a:pos x="28" y="62"/>
                  </a:cxn>
                  <a:cxn ang="0">
                    <a:pos x="41" y="64"/>
                  </a:cxn>
                  <a:cxn ang="0">
                    <a:pos x="49" y="72"/>
                  </a:cxn>
                  <a:cxn ang="0">
                    <a:pos x="58" y="87"/>
                  </a:cxn>
                  <a:cxn ang="0">
                    <a:pos x="60" y="100"/>
                  </a:cxn>
                  <a:cxn ang="0">
                    <a:pos x="73" y="103"/>
                  </a:cxn>
                  <a:cxn ang="0">
                    <a:pos x="80" y="98"/>
                  </a:cxn>
                  <a:cxn ang="0">
                    <a:pos x="86" y="100"/>
                  </a:cxn>
                  <a:cxn ang="0">
                    <a:pos x="86" y="110"/>
                  </a:cxn>
                  <a:cxn ang="0">
                    <a:pos x="95" y="112"/>
                  </a:cxn>
                  <a:cxn ang="0">
                    <a:pos x="107" y="124"/>
                  </a:cxn>
                  <a:cxn ang="0">
                    <a:pos x="129" y="132"/>
                  </a:cxn>
                  <a:cxn ang="0">
                    <a:pos x="128" y="105"/>
                  </a:cxn>
                  <a:cxn ang="0">
                    <a:pos x="138" y="90"/>
                  </a:cxn>
                  <a:cxn ang="0">
                    <a:pos x="150" y="85"/>
                  </a:cxn>
                  <a:cxn ang="0">
                    <a:pos x="156" y="69"/>
                  </a:cxn>
                </a:cxnLst>
                <a:rect l="0" t="0" r="r" b="b"/>
                <a:pathLst>
                  <a:path w="160" h="133">
                    <a:moveTo>
                      <a:pt x="156" y="69"/>
                    </a:moveTo>
                    <a:cubicBezTo>
                      <a:pt x="154" y="66"/>
                      <a:pt x="150" y="70"/>
                      <a:pt x="150" y="64"/>
                    </a:cubicBezTo>
                    <a:cubicBezTo>
                      <a:pt x="150" y="63"/>
                      <a:pt x="153" y="61"/>
                      <a:pt x="154" y="60"/>
                    </a:cubicBezTo>
                    <a:cubicBezTo>
                      <a:pt x="150" y="59"/>
                      <a:pt x="146" y="54"/>
                      <a:pt x="144" y="49"/>
                    </a:cubicBezTo>
                    <a:cubicBezTo>
                      <a:pt x="143" y="49"/>
                      <a:pt x="139" y="51"/>
                      <a:pt x="136" y="50"/>
                    </a:cubicBezTo>
                    <a:cubicBezTo>
                      <a:pt x="132" y="50"/>
                      <a:pt x="128" y="48"/>
                      <a:pt x="128" y="48"/>
                    </a:cubicBezTo>
                    <a:cubicBezTo>
                      <a:pt x="128" y="48"/>
                      <a:pt x="124" y="47"/>
                      <a:pt x="127" y="44"/>
                    </a:cubicBezTo>
                    <a:cubicBezTo>
                      <a:pt x="128" y="42"/>
                      <a:pt x="132" y="42"/>
                      <a:pt x="132" y="42"/>
                    </a:cubicBezTo>
                    <a:cubicBezTo>
                      <a:pt x="133" y="37"/>
                      <a:pt x="133" y="37"/>
                      <a:pt x="133" y="37"/>
                    </a:cubicBezTo>
                    <a:cubicBezTo>
                      <a:pt x="133" y="37"/>
                      <a:pt x="132" y="34"/>
                      <a:pt x="133" y="33"/>
                    </a:cubicBezTo>
                    <a:cubicBezTo>
                      <a:pt x="135" y="31"/>
                      <a:pt x="138" y="29"/>
                      <a:pt x="136" y="27"/>
                    </a:cubicBezTo>
                    <a:cubicBezTo>
                      <a:pt x="133" y="24"/>
                      <a:pt x="130" y="24"/>
                      <a:pt x="130" y="24"/>
                    </a:cubicBezTo>
                    <a:cubicBezTo>
                      <a:pt x="126" y="19"/>
                      <a:pt x="126" y="19"/>
                      <a:pt x="126" y="19"/>
                    </a:cubicBezTo>
                    <a:cubicBezTo>
                      <a:pt x="126" y="19"/>
                      <a:pt x="127" y="16"/>
                      <a:pt x="123" y="16"/>
                    </a:cubicBezTo>
                    <a:cubicBezTo>
                      <a:pt x="120" y="15"/>
                      <a:pt x="117" y="18"/>
                      <a:pt x="114" y="17"/>
                    </a:cubicBezTo>
                    <a:cubicBezTo>
                      <a:pt x="111" y="17"/>
                      <a:pt x="110" y="12"/>
                      <a:pt x="110" y="12"/>
                    </a:cubicBezTo>
                    <a:cubicBezTo>
                      <a:pt x="105" y="10"/>
                      <a:pt x="105" y="10"/>
                      <a:pt x="105" y="10"/>
                    </a:cubicBezTo>
                    <a:cubicBezTo>
                      <a:pt x="105" y="10"/>
                      <a:pt x="108" y="5"/>
                      <a:pt x="106" y="3"/>
                    </a:cubicBezTo>
                    <a:cubicBezTo>
                      <a:pt x="103" y="2"/>
                      <a:pt x="101" y="8"/>
                      <a:pt x="101" y="8"/>
                    </a:cubicBezTo>
                    <a:cubicBezTo>
                      <a:pt x="96" y="8"/>
                      <a:pt x="96" y="8"/>
                      <a:pt x="96" y="8"/>
                    </a:cubicBezTo>
                    <a:cubicBezTo>
                      <a:pt x="96" y="8"/>
                      <a:pt x="100" y="1"/>
                      <a:pt x="97" y="1"/>
                    </a:cubicBezTo>
                    <a:cubicBezTo>
                      <a:pt x="93" y="1"/>
                      <a:pt x="88" y="5"/>
                      <a:pt x="88" y="5"/>
                    </a:cubicBezTo>
                    <a:cubicBezTo>
                      <a:pt x="85" y="5"/>
                      <a:pt x="85" y="5"/>
                      <a:pt x="85" y="5"/>
                    </a:cubicBezTo>
                    <a:cubicBezTo>
                      <a:pt x="85" y="5"/>
                      <a:pt x="85" y="0"/>
                      <a:pt x="82" y="2"/>
                    </a:cubicBezTo>
                    <a:cubicBezTo>
                      <a:pt x="78" y="3"/>
                      <a:pt x="80" y="9"/>
                      <a:pt x="80" y="9"/>
                    </a:cubicBezTo>
                    <a:cubicBezTo>
                      <a:pt x="77" y="9"/>
                      <a:pt x="77" y="9"/>
                      <a:pt x="77" y="9"/>
                    </a:cubicBezTo>
                    <a:cubicBezTo>
                      <a:pt x="73" y="8"/>
                      <a:pt x="73" y="8"/>
                      <a:pt x="73" y="8"/>
                    </a:cubicBezTo>
                    <a:cubicBezTo>
                      <a:pt x="73" y="8"/>
                      <a:pt x="63" y="18"/>
                      <a:pt x="56" y="17"/>
                    </a:cubicBezTo>
                    <a:cubicBezTo>
                      <a:pt x="49" y="17"/>
                      <a:pt x="52" y="12"/>
                      <a:pt x="52" y="12"/>
                    </a:cubicBezTo>
                    <a:cubicBezTo>
                      <a:pt x="42" y="9"/>
                      <a:pt x="42" y="9"/>
                      <a:pt x="42" y="9"/>
                    </a:cubicBezTo>
                    <a:cubicBezTo>
                      <a:pt x="41" y="13"/>
                      <a:pt x="41" y="13"/>
                      <a:pt x="41" y="13"/>
                    </a:cubicBezTo>
                    <a:cubicBezTo>
                      <a:pt x="35" y="12"/>
                      <a:pt x="35" y="12"/>
                      <a:pt x="35" y="12"/>
                    </a:cubicBezTo>
                    <a:cubicBezTo>
                      <a:pt x="35" y="12"/>
                      <a:pt x="34" y="9"/>
                      <a:pt x="34" y="8"/>
                    </a:cubicBezTo>
                    <a:cubicBezTo>
                      <a:pt x="35" y="7"/>
                      <a:pt x="35" y="6"/>
                      <a:pt x="36" y="5"/>
                    </a:cubicBezTo>
                    <a:cubicBezTo>
                      <a:pt x="34" y="5"/>
                      <a:pt x="31" y="5"/>
                      <a:pt x="24" y="7"/>
                    </a:cubicBezTo>
                    <a:cubicBezTo>
                      <a:pt x="16" y="11"/>
                      <a:pt x="14" y="13"/>
                      <a:pt x="11" y="15"/>
                    </a:cubicBezTo>
                    <a:cubicBezTo>
                      <a:pt x="7" y="16"/>
                      <a:pt x="1" y="18"/>
                      <a:pt x="1" y="18"/>
                    </a:cubicBezTo>
                    <a:cubicBezTo>
                      <a:pt x="1" y="25"/>
                      <a:pt x="1" y="25"/>
                      <a:pt x="1" y="25"/>
                    </a:cubicBezTo>
                    <a:cubicBezTo>
                      <a:pt x="2" y="25"/>
                      <a:pt x="2" y="25"/>
                      <a:pt x="2" y="25"/>
                    </a:cubicBezTo>
                    <a:cubicBezTo>
                      <a:pt x="2" y="29"/>
                      <a:pt x="2" y="29"/>
                      <a:pt x="2" y="29"/>
                    </a:cubicBezTo>
                    <a:cubicBezTo>
                      <a:pt x="1" y="30"/>
                      <a:pt x="1" y="30"/>
                      <a:pt x="1" y="30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37"/>
                      <a:pt x="1" y="35"/>
                      <a:pt x="3" y="37"/>
                    </a:cubicBezTo>
                    <a:cubicBezTo>
                      <a:pt x="6" y="38"/>
                      <a:pt x="8" y="44"/>
                      <a:pt x="8" y="44"/>
                    </a:cubicBezTo>
                    <a:cubicBezTo>
                      <a:pt x="12" y="45"/>
                      <a:pt x="12" y="45"/>
                      <a:pt x="12" y="45"/>
                    </a:cubicBezTo>
                    <a:cubicBezTo>
                      <a:pt x="12" y="45"/>
                      <a:pt x="13" y="41"/>
                      <a:pt x="15" y="41"/>
                    </a:cubicBezTo>
                    <a:cubicBezTo>
                      <a:pt x="22" y="41"/>
                      <a:pt x="22" y="41"/>
                      <a:pt x="22" y="41"/>
                    </a:cubicBezTo>
                    <a:cubicBezTo>
                      <a:pt x="25" y="48"/>
                      <a:pt x="25" y="48"/>
                      <a:pt x="25" y="48"/>
                    </a:cubicBezTo>
                    <a:cubicBezTo>
                      <a:pt x="25" y="59"/>
                      <a:pt x="25" y="59"/>
                      <a:pt x="25" y="59"/>
                    </a:cubicBezTo>
                    <a:cubicBezTo>
                      <a:pt x="28" y="62"/>
                      <a:pt x="28" y="62"/>
                      <a:pt x="28" y="62"/>
                    </a:cubicBezTo>
                    <a:cubicBezTo>
                      <a:pt x="35" y="59"/>
                      <a:pt x="35" y="59"/>
                      <a:pt x="35" y="59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4"/>
                      <a:pt x="38" y="77"/>
                      <a:pt x="40" y="76"/>
                    </a:cubicBezTo>
                    <a:cubicBezTo>
                      <a:pt x="44" y="76"/>
                      <a:pt x="44" y="71"/>
                      <a:pt x="49" y="72"/>
                    </a:cubicBezTo>
                    <a:cubicBezTo>
                      <a:pt x="53" y="73"/>
                      <a:pt x="61" y="74"/>
                      <a:pt x="61" y="78"/>
                    </a:cubicBezTo>
                    <a:cubicBezTo>
                      <a:pt x="61" y="84"/>
                      <a:pt x="58" y="87"/>
                      <a:pt x="58" y="87"/>
                    </a:cubicBezTo>
                    <a:cubicBezTo>
                      <a:pt x="62" y="91"/>
                      <a:pt x="62" y="91"/>
                      <a:pt x="62" y="91"/>
                    </a:cubicBezTo>
                    <a:cubicBezTo>
                      <a:pt x="62" y="91"/>
                      <a:pt x="53" y="97"/>
                      <a:pt x="60" y="100"/>
                    </a:cubicBezTo>
                    <a:cubicBezTo>
                      <a:pt x="65" y="102"/>
                      <a:pt x="70" y="100"/>
                      <a:pt x="70" y="100"/>
                    </a:cubicBezTo>
                    <a:cubicBezTo>
                      <a:pt x="73" y="103"/>
                      <a:pt x="73" y="103"/>
                      <a:pt x="73" y="103"/>
                    </a:cubicBezTo>
                    <a:cubicBezTo>
                      <a:pt x="77" y="100"/>
                      <a:pt x="77" y="100"/>
                      <a:pt x="77" y="100"/>
                    </a:cubicBezTo>
                    <a:cubicBezTo>
                      <a:pt x="80" y="98"/>
                      <a:pt x="80" y="98"/>
                      <a:pt x="80" y="98"/>
                    </a:cubicBezTo>
                    <a:cubicBezTo>
                      <a:pt x="80" y="98"/>
                      <a:pt x="86" y="85"/>
                      <a:pt x="89" y="88"/>
                    </a:cubicBezTo>
                    <a:cubicBezTo>
                      <a:pt x="93" y="91"/>
                      <a:pt x="86" y="100"/>
                      <a:pt x="86" y="100"/>
                    </a:cubicBezTo>
                    <a:cubicBezTo>
                      <a:pt x="86" y="100"/>
                      <a:pt x="88" y="100"/>
                      <a:pt x="88" y="103"/>
                    </a:cubicBezTo>
                    <a:cubicBezTo>
                      <a:pt x="89" y="105"/>
                      <a:pt x="86" y="110"/>
                      <a:pt x="86" y="110"/>
                    </a:cubicBezTo>
                    <a:cubicBezTo>
                      <a:pt x="88" y="112"/>
                      <a:pt x="88" y="112"/>
                      <a:pt x="88" y="112"/>
                    </a:cubicBezTo>
                    <a:cubicBezTo>
                      <a:pt x="95" y="112"/>
                      <a:pt x="95" y="112"/>
                      <a:pt x="95" y="112"/>
                    </a:cubicBezTo>
                    <a:cubicBezTo>
                      <a:pt x="107" y="122"/>
                      <a:pt x="107" y="122"/>
                      <a:pt x="107" y="122"/>
                    </a:cubicBezTo>
                    <a:cubicBezTo>
                      <a:pt x="107" y="124"/>
                      <a:pt x="107" y="124"/>
                      <a:pt x="107" y="124"/>
                    </a:cubicBezTo>
                    <a:cubicBezTo>
                      <a:pt x="114" y="133"/>
                      <a:pt x="114" y="133"/>
                      <a:pt x="114" y="133"/>
                    </a:cubicBezTo>
                    <a:cubicBezTo>
                      <a:pt x="129" y="132"/>
                      <a:pt x="129" y="132"/>
                      <a:pt x="129" y="132"/>
                    </a:cubicBezTo>
                    <a:cubicBezTo>
                      <a:pt x="132" y="124"/>
                      <a:pt x="132" y="124"/>
                      <a:pt x="132" y="124"/>
                    </a:cubicBezTo>
                    <a:cubicBezTo>
                      <a:pt x="128" y="105"/>
                      <a:pt x="128" y="105"/>
                      <a:pt x="128" y="105"/>
                    </a:cubicBezTo>
                    <a:cubicBezTo>
                      <a:pt x="131" y="104"/>
                      <a:pt x="131" y="104"/>
                      <a:pt x="131" y="104"/>
                    </a:cubicBezTo>
                    <a:cubicBezTo>
                      <a:pt x="138" y="90"/>
                      <a:pt x="138" y="90"/>
                      <a:pt x="138" y="90"/>
                    </a:cubicBezTo>
                    <a:cubicBezTo>
                      <a:pt x="147" y="92"/>
                      <a:pt x="147" y="92"/>
                      <a:pt x="147" y="92"/>
                    </a:cubicBezTo>
                    <a:cubicBezTo>
                      <a:pt x="148" y="89"/>
                      <a:pt x="148" y="87"/>
                      <a:pt x="150" y="85"/>
                    </a:cubicBezTo>
                    <a:cubicBezTo>
                      <a:pt x="152" y="82"/>
                      <a:pt x="157" y="81"/>
                      <a:pt x="159" y="80"/>
                    </a:cubicBezTo>
                    <a:cubicBezTo>
                      <a:pt x="160" y="78"/>
                      <a:pt x="157" y="70"/>
                      <a:pt x="156" y="69"/>
                    </a:cubicBez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66" name="Austria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4783138" y="4260850"/>
                <a:ext cx="731837" cy="363537"/>
              </a:xfrm>
              <a:custGeom>
                <a:avLst/>
                <a:gdLst/>
                <a:ahLst/>
                <a:cxnLst>
                  <a:cxn ang="0">
                    <a:pos x="335" y="43"/>
                  </a:cxn>
                  <a:cxn ang="0">
                    <a:pos x="332" y="17"/>
                  </a:cxn>
                  <a:cxn ang="0">
                    <a:pos x="320" y="11"/>
                  </a:cxn>
                  <a:cxn ang="0">
                    <a:pos x="293" y="14"/>
                  </a:cxn>
                  <a:cxn ang="0">
                    <a:pos x="267" y="2"/>
                  </a:cxn>
                  <a:cxn ang="0">
                    <a:pos x="251" y="0"/>
                  </a:cxn>
                  <a:cxn ang="0">
                    <a:pos x="237" y="14"/>
                  </a:cxn>
                  <a:cxn ang="0">
                    <a:pos x="228" y="26"/>
                  </a:cxn>
                  <a:cxn ang="0">
                    <a:pos x="217" y="31"/>
                  </a:cxn>
                  <a:cxn ang="0">
                    <a:pos x="205" y="25"/>
                  </a:cxn>
                  <a:cxn ang="0">
                    <a:pos x="193" y="18"/>
                  </a:cxn>
                  <a:cxn ang="0">
                    <a:pos x="177" y="31"/>
                  </a:cxn>
                  <a:cxn ang="0">
                    <a:pos x="149" y="60"/>
                  </a:cxn>
                  <a:cxn ang="0">
                    <a:pos x="156" y="88"/>
                  </a:cxn>
                  <a:cxn ang="0">
                    <a:pos x="150" y="98"/>
                  </a:cxn>
                  <a:cxn ang="0">
                    <a:pos x="126" y="91"/>
                  </a:cxn>
                  <a:cxn ang="0">
                    <a:pos x="110" y="95"/>
                  </a:cxn>
                  <a:cxn ang="0">
                    <a:pos x="90" y="107"/>
                  </a:cxn>
                  <a:cxn ang="0">
                    <a:pos x="69" y="110"/>
                  </a:cxn>
                  <a:cxn ang="0">
                    <a:pos x="51" y="99"/>
                  </a:cxn>
                  <a:cxn ang="0">
                    <a:pos x="34" y="117"/>
                  </a:cxn>
                  <a:cxn ang="0">
                    <a:pos x="27" y="104"/>
                  </a:cxn>
                  <a:cxn ang="0">
                    <a:pos x="10" y="99"/>
                  </a:cxn>
                  <a:cxn ang="0">
                    <a:pos x="3" y="120"/>
                  </a:cxn>
                  <a:cxn ang="0">
                    <a:pos x="18" y="133"/>
                  </a:cxn>
                  <a:cxn ang="0">
                    <a:pos x="32" y="144"/>
                  </a:cxn>
                  <a:cxn ang="0">
                    <a:pos x="45" y="146"/>
                  </a:cxn>
                  <a:cxn ang="0">
                    <a:pos x="57" y="149"/>
                  </a:cxn>
                  <a:cxn ang="0">
                    <a:pos x="76" y="138"/>
                  </a:cxn>
                  <a:cxn ang="0">
                    <a:pos x="104" y="139"/>
                  </a:cxn>
                  <a:cxn ang="0">
                    <a:pos x="125" y="128"/>
                  </a:cxn>
                  <a:cxn ang="0">
                    <a:pos x="127" y="142"/>
                  </a:cxn>
                  <a:cxn ang="0">
                    <a:pos x="134" y="156"/>
                  </a:cxn>
                  <a:cxn ang="0">
                    <a:pos x="169" y="160"/>
                  </a:cxn>
                  <a:cxn ang="0">
                    <a:pos x="197" y="165"/>
                  </a:cxn>
                  <a:cxn ang="0">
                    <a:pos x="214" y="170"/>
                  </a:cxn>
                  <a:cxn ang="0">
                    <a:pos x="238" y="164"/>
                  </a:cxn>
                  <a:cxn ang="0">
                    <a:pos x="256" y="153"/>
                  </a:cxn>
                  <a:cxn ang="0">
                    <a:pos x="275" y="154"/>
                  </a:cxn>
                  <a:cxn ang="0">
                    <a:pos x="295" y="149"/>
                  </a:cxn>
                  <a:cxn ang="0">
                    <a:pos x="300" y="137"/>
                  </a:cxn>
                  <a:cxn ang="0">
                    <a:pos x="320" y="118"/>
                  </a:cxn>
                  <a:cxn ang="0">
                    <a:pos x="313" y="104"/>
                  </a:cxn>
                  <a:cxn ang="0">
                    <a:pos x="317" y="86"/>
                  </a:cxn>
                  <a:cxn ang="0">
                    <a:pos x="328" y="82"/>
                  </a:cxn>
                  <a:cxn ang="0">
                    <a:pos x="339" y="69"/>
                  </a:cxn>
                </a:cxnLst>
                <a:rect l="0" t="0" r="r" b="b"/>
                <a:pathLst>
                  <a:path w="343" h="171">
                    <a:moveTo>
                      <a:pt x="342" y="57"/>
                    </a:moveTo>
                    <a:cubicBezTo>
                      <a:pt x="340" y="53"/>
                      <a:pt x="337" y="49"/>
                      <a:pt x="337" y="49"/>
                    </a:cubicBezTo>
                    <a:cubicBezTo>
                      <a:pt x="335" y="43"/>
                      <a:pt x="335" y="43"/>
                      <a:pt x="335" y="43"/>
                    </a:cubicBezTo>
                    <a:cubicBezTo>
                      <a:pt x="335" y="43"/>
                      <a:pt x="328" y="39"/>
                      <a:pt x="328" y="34"/>
                    </a:cubicBezTo>
                    <a:cubicBezTo>
                      <a:pt x="329" y="29"/>
                      <a:pt x="332" y="27"/>
                      <a:pt x="332" y="27"/>
                    </a:cubicBezTo>
                    <a:cubicBezTo>
                      <a:pt x="332" y="17"/>
                      <a:pt x="332" y="17"/>
                      <a:pt x="332" y="17"/>
                    </a:cubicBezTo>
                    <a:cubicBezTo>
                      <a:pt x="329" y="14"/>
                      <a:pt x="329" y="14"/>
                      <a:pt x="329" y="14"/>
                    </a:cubicBezTo>
                    <a:cubicBezTo>
                      <a:pt x="322" y="14"/>
                      <a:pt x="322" y="14"/>
                      <a:pt x="322" y="14"/>
                    </a:cubicBezTo>
                    <a:cubicBezTo>
                      <a:pt x="320" y="11"/>
                      <a:pt x="320" y="11"/>
                      <a:pt x="320" y="11"/>
                    </a:cubicBezTo>
                    <a:cubicBezTo>
                      <a:pt x="309" y="8"/>
                      <a:pt x="309" y="8"/>
                      <a:pt x="309" y="8"/>
                    </a:cubicBezTo>
                    <a:cubicBezTo>
                      <a:pt x="307" y="13"/>
                      <a:pt x="307" y="13"/>
                      <a:pt x="307" y="13"/>
                    </a:cubicBezTo>
                    <a:cubicBezTo>
                      <a:pt x="293" y="14"/>
                      <a:pt x="293" y="14"/>
                      <a:pt x="293" y="14"/>
                    </a:cubicBezTo>
                    <a:cubicBezTo>
                      <a:pt x="293" y="14"/>
                      <a:pt x="288" y="6"/>
                      <a:pt x="283" y="6"/>
                    </a:cubicBezTo>
                    <a:cubicBezTo>
                      <a:pt x="279" y="6"/>
                      <a:pt x="277" y="7"/>
                      <a:pt x="277" y="7"/>
                    </a:cubicBezTo>
                    <a:cubicBezTo>
                      <a:pt x="277" y="7"/>
                      <a:pt x="268" y="2"/>
                      <a:pt x="267" y="2"/>
                    </a:cubicBezTo>
                    <a:cubicBezTo>
                      <a:pt x="266" y="2"/>
                      <a:pt x="259" y="0"/>
                      <a:pt x="259" y="0"/>
                    </a:cubicBezTo>
                    <a:cubicBezTo>
                      <a:pt x="259" y="0"/>
                      <a:pt x="258" y="1"/>
                      <a:pt x="256" y="2"/>
                    </a:cubicBezTo>
                    <a:cubicBezTo>
                      <a:pt x="253" y="2"/>
                      <a:pt x="251" y="0"/>
                      <a:pt x="251" y="0"/>
                    </a:cubicBezTo>
                    <a:cubicBezTo>
                      <a:pt x="245" y="0"/>
                      <a:pt x="245" y="0"/>
                      <a:pt x="245" y="0"/>
                    </a:cubicBezTo>
                    <a:cubicBezTo>
                      <a:pt x="244" y="17"/>
                      <a:pt x="244" y="17"/>
                      <a:pt x="244" y="17"/>
                    </a:cubicBezTo>
                    <a:cubicBezTo>
                      <a:pt x="237" y="14"/>
                      <a:pt x="237" y="14"/>
                      <a:pt x="237" y="14"/>
                    </a:cubicBezTo>
                    <a:cubicBezTo>
                      <a:pt x="237" y="14"/>
                      <a:pt x="233" y="18"/>
                      <a:pt x="232" y="20"/>
                    </a:cubicBezTo>
                    <a:cubicBezTo>
                      <a:pt x="232" y="22"/>
                      <a:pt x="235" y="28"/>
                      <a:pt x="234" y="28"/>
                    </a:cubicBezTo>
                    <a:cubicBezTo>
                      <a:pt x="232" y="28"/>
                      <a:pt x="228" y="26"/>
                      <a:pt x="228" y="26"/>
                    </a:cubicBezTo>
                    <a:cubicBezTo>
                      <a:pt x="225" y="26"/>
                      <a:pt x="225" y="26"/>
                      <a:pt x="225" y="26"/>
                    </a:cubicBezTo>
                    <a:cubicBezTo>
                      <a:pt x="222" y="25"/>
                      <a:pt x="222" y="25"/>
                      <a:pt x="222" y="25"/>
                    </a:cubicBezTo>
                    <a:cubicBezTo>
                      <a:pt x="217" y="31"/>
                      <a:pt x="217" y="31"/>
                      <a:pt x="217" y="31"/>
                    </a:cubicBezTo>
                    <a:cubicBezTo>
                      <a:pt x="207" y="29"/>
                      <a:pt x="207" y="29"/>
                      <a:pt x="207" y="29"/>
                    </a:cubicBezTo>
                    <a:cubicBezTo>
                      <a:pt x="204" y="27"/>
                      <a:pt x="204" y="27"/>
                      <a:pt x="204" y="27"/>
                    </a:cubicBezTo>
                    <a:cubicBezTo>
                      <a:pt x="205" y="25"/>
                      <a:pt x="205" y="25"/>
                      <a:pt x="205" y="25"/>
                    </a:cubicBezTo>
                    <a:cubicBezTo>
                      <a:pt x="205" y="25"/>
                      <a:pt x="202" y="20"/>
                      <a:pt x="201" y="19"/>
                    </a:cubicBezTo>
                    <a:cubicBezTo>
                      <a:pt x="199" y="19"/>
                      <a:pt x="197" y="17"/>
                      <a:pt x="197" y="17"/>
                    </a:cubicBezTo>
                    <a:cubicBezTo>
                      <a:pt x="193" y="18"/>
                      <a:pt x="193" y="18"/>
                      <a:pt x="193" y="18"/>
                    </a:cubicBezTo>
                    <a:cubicBezTo>
                      <a:pt x="193" y="19"/>
                      <a:pt x="194" y="19"/>
                      <a:pt x="194" y="20"/>
                    </a:cubicBezTo>
                    <a:cubicBezTo>
                      <a:pt x="194" y="25"/>
                      <a:pt x="192" y="30"/>
                      <a:pt x="190" y="33"/>
                    </a:cubicBezTo>
                    <a:cubicBezTo>
                      <a:pt x="184" y="29"/>
                      <a:pt x="181" y="29"/>
                      <a:pt x="177" y="31"/>
                    </a:cubicBezTo>
                    <a:cubicBezTo>
                      <a:pt x="179" y="35"/>
                      <a:pt x="176" y="48"/>
                      <a:pt x="169" y="48"/>
                    </a:cubicBezTo>
                    <a:cubicBezTo>
                      <a:pt x="166" y="48"/>
                      <a:pt x="163" y="49"/>
                      <a:pt x="160" y="50"/>
                    </a:cubicBezTo>
                    <a:cubicBezTo>
                      <a:pt x="158" y="51"/>
                      <a:pt x="153" y="59"/>
                      <a:pt x="149" y="60"/>
                    </a:cubicBezTo>
                    <a:cubicBezTo>
                      <a:pt x="145" y="62"/>
                      <a:pt x="151" y="65"/>
                      <a:pt x="152" y="67"/>
                    </a:cubicBezTo>
                    <a:cubicBezTo>
                      <a:pt x="153" y="70"/>
                      <a:pt x="156" y="70"/>
                      <a:pt x="158" y="74"/>
                    </a:cubicBezTo>
                    <a:cubicBezTo>
                      <a:pt x="162" y="80"/>
                      <a:pt x="157" y="81"/>
                      <a:pt x="156" y="88"/>
                    </a:cubicBezTo>
                    <a:cubicBezTo>
                      <a:pt x="161" y="86"/>
                      <a:pt x="162" y="88"/>
                      <a:pt x="164" y="91"/>
                    </a:cubicBezTo>
                    <a:cubicBezTo>
                      <a:pt x="164" y="92"/>
                      <a:pt x="163" y="100"/>
                      <a:pt x="162" y="102"/>
                    </a:cubicBezTo>
                    <a:cubicBezTo>
                      <a:pt x="160" y="104"/>
                      <a:pt x="151" y="100"/>
                      <a:pt x="150" y="98"/>
                    </a:cubicBezTo>
                    <a:cubicBezTo>
                      <a:pt x="149" y="97"/>
                      <a:pt x="150" y="91"/>
                      <a:pt x="151" y="90"/>
                    </a:cubicBezTo>
                    <a:cubicBezTo>
                      <a:pt x="144" y="86"/>
                      <a:pt x="143" y="97"/>
                      <a:pt x="139" y="94"/>
                    </a:cubicBezTo>
                    <a:cubicBezTo>
                      <a:pt x="134" y="91"/>
                      <a:pt x="131" y="89"/>
                      <a:pt x="126" y="91"/>
                    </a:cubicBezTo>
                    <a:cubicBezTo>
                      <a:pt x="126" y="85"/>
                      <a:pt x="126" y="85"/>
                      <a:pt x="126" y="85"/>
                    </a:cubicBezTo>
                    <a:cubicBezTo>
                      <a:pt x="119" y="90"/>
                      <a:pt x="127" y="92"/>
                      <a:pt x="124" y="95"/>
                    </a:cubicBezTo>
                    <a:cubicBezTo>
                      <a:pt x="123" y="96"/>
                      <a:pt x="112" y="95"/>
                      <a:pt x="110" y="95"/>
                    </a:cubicBezTo>
                    <a:cubicBezTo>
                      <a:pt x="107" y="96"/>
                      <a:pt x="102" y="96"/>
                      <a:pt x="98" y="97"/>
                    </a:cubicBezTo>
                    <a:cubicBezTo>
                      <a:pt x="96" y="98"/>
                      <a:pt x="90" y="102"/>
                      <a:pt x="88" y="105"/>
                    </a:cubicBezTo>
                    <a:cubicBezTo>
                      <a:pt x="88" y="105"/>
                      <a:pt x="90" y="106"/>
                      <a:pt x="90" y="107"/>
                    </a:cubicBezTo>
                    <a:cubicBezTo>
                      <a:pt x="85" y="105"/>
                      <a:pt x="84" y="109"/>
                      <a:pt x="80" y="110"/>
                    </a:cubicBezTo>
                    <a:cubicBezTo>
                      <a:pt x="81" y="107"/>
                      <a:pt x="81" y="107"/>
                      <a:pt x="81" y="107"/>
                    </a:cubicBezTo>
                    <a:cubicBezTo>
                      <a:pt x="78" y="109"/>
                      <a:pt x="74" y="110"/>
                      <a:pt x="69" y="110"/>
                    </a:cubicBezTo>
                    <a:cubicBezTo>
                      <a:pt x="69" y="107"/>
                      <a:pt x="67" y="105"/>
                      <a:pt x="65" y="104"/>
                    </a:cubicBezTo>
                    <a:cubicBezTo>
                      <a:pt x="66" y="102"/>
                      <a:pt x="67" y="101"/>
                      <a:pt x="65" y="100"/>
                    </a:cubicBezTo>
                    <a:cubicBezTo>
                      <a:pt x="66" y="100"/>
                      <a:pt x="53" y="97"/>
                      <a:pt x="51" y="99"/>
                    </a:cubicBezTo>
                    <a:cubicBezTo>
                      <a:pt x="49" y="104"/>
                      <a:pt x="47" y="97"/>
                      <a:pt x="48" y="97"/>
                    </a:cubicBezTo>
                    <a:cubicBezTo>
                      <a:pt x="44" y="99"/>
                      <a:pt x="48" y="102"/>
                      <a:pt x="48" y="107"/>
                    </a:cubicBezTo>
                    <a:cubicBezTo>
                      <a:pt x="47" y="112"/>
                      <a:pt x="38" y="116"/>
                      <a:pt x="34" y="117"/>
                    </a:cubicBezTo>
                    <a:cubicBezTo>
                      <a:pt x="34" y="116"/>
                      <a:pt x="38" y="111"/>
                      <a:pt x="35" y="110"/>
                    </a:cubicBezTo>
                    <a:cubicBezTo>
                      <a:pt x="34" y="109"/>
                      <a:pt x="31" y="111"/>
                      <a:pt x="31" y="112"/>
                    </a:cubicBezTo>
                    <a:cubicBezTo>
                      <a:pt x="29" y="107"/>
                      <a:pt x="30" y="107"/>
                      <a:pt x="27" y="104"/>
                    </a:cubicBezTo>
                    <a:cubicBezTo>
                      <a:pt x="24" y="101"/>
                      <a:pt x="19" y="97"/>
                      <a:pt x="18" y="97"/>
                    </a:cubicBezTo>
                    <a:cubicBezTo>
                      <a:pt x="14" y="95"/>
                      <a:pt x="16" y="100"/>
                      <a:pt x="12" y="100"/>
                    </a:cubicBezTo>
                    <a:cubicBezTo>
                      <a:pt x="11" y="100"/>
                      <a:pt x="11" y="100"/>
                      <a:pt x="10" y="99"/>
                    </a:cubicBezTo>
                    <a:cubicBezTo>
                      <a:pt x="10" y="107"/>
                      <a:pt x="10" y="107"/>
                      <a:pt x="10" y="107"/>
                    </a:cubicBezTo>
                    <a:cubicBezTo>
                      <a:pt x="10" y="110"/>
                      <a:pt x="0" y="120"/>
                      <a:pt x="0" y="120"/>
                    </a:cubicBezTo>
                    <a:cubicBezTo>
                      <a:pt x="3" y="120"/>
                      <a:pt x="3" y="120"/>
                      <a:pt x="3" y="120"/>
                    </a:cubicBezTo>
                    <a:cubicBezTo>
                      <a:pt x="5" y="129"/>
                      <a:pt x="5" y="129"/>
                      <a:pt x="5" y="129"/>
                    </a:cubicBezTo>
                    <a:cubicBezTo>
                      <a:pt x="2" y="130"/>
                      <a:pt x="2" y="130"/>
                      <a:pt x="2" y="130"/>
                    </a:cubicBezTo>
                    <a:cubicBezTo>
                      <a:pt x="18" y="133"/>
                      <a:pt x="18" y="133"/>
                      <a:pt x="18" y="133"/>
                    </a:cubicBezTo>
                    <a:cubicBezTo>
                      <a:pt x="18" y="133"/>
                      <a:pt x="16" y="139"/>
                      <a:pt x="17" y="140"/>
                    </a:cubicBezTo>
                    <a:cubicBezTo>
                      <a:pt x="18" y="142"/>
                      <a:pt x="22" y="141"/>
                      <a:pt x="22" y="141"/>
                    </a:cubicBezTo>
                    <a:cubicBezTo>
                      <a:pt x="22" y="141"/>
                      <a:pt x="29" y="146"/>
                      <a:pt x="32" y="144"/>
                    </a:cubicBezTo>
                    <a:cubicBezTo>
                      <a:pt x="35" y="143"/>
                      <a:pt x="41" y="136"/>
                      <a:pt x="41" y="136"/>
                    </a:cubicBezTo>
                    <a:cubicBezTo>
                      <a:pt x="46" y="140"/>
                      <a:pt x="46" y="140"/>
                      <a:pt x="46" y="140"/>
                    </a:cubicBezTo>
                    <a:cubicBezTo>
                      <a:pt x="45" y="146"/>
                      <a:pt x="45" y="146"/>
                      <a:pt x="45" y="146"/>
                    </a:cubicBezTo>
                    <a:cubicBezTo>
                      <a:pt x="48" y="146"/>
                      <a:pt x="48" y="146"/>
                      <a:pt x="48" y="146"/>
                    </a:cubicBezTo>
                    <a:cubicBezTo>
                      <a:pt x="48" y="146"/>
                      <a:pt x="50" y="142"/>
                      <a:pt x="53" y="143"/>
                    </a:cubicBezTo>
                    <a:cubicBezTo>
                      <a:pt x="57" y="145"/>
                      <a:pt x="57" y="149"/>
                      <a:pt x="57" y="149"/>
                    </a:cubicBezTo>
                    <a:cubicBezTo>
                      <a:pt x="69" y="152"/>
                      <a:pt x="69" y="152"/>
                      <a:pt x="69" y="152"/>
                    </a:cubicBezTo>
                    <a:cubicBezTo>
                      <a:pt x="73" y="147"/>
                      <a:pt x="73" y="147"/>
                      <a:pt x="73" y="147"/>
                    </a:cubicBezTo>
                    <a:cubicBezTo>
                      <a:pt x="73" y="147"/>
                      <a:pt x="67" y="139"/>
                      <a:pt x="76" y="138"/>
                    </a:cubicBezTo>
                    <a:cubicBezTo>
                      <a:pt x="85" y="137"/>
                      <a:pt x="87" y="138"/>
                      <a:pt x="87" y="138"/>
                    </a:cubicBezTo>
                    <a:cubicBezTo>
                      <a:pt x="90" y="133"/>
                      <a:pt x="90" y="133"/>
                      <a:pt x="90" y="133"/>
                    </a:cubicBezTo>
                    <a:cubicBezTo>
                      <a:pt x="104" y="139"/>
                      <a:pt x="104" y="139"/>
                      <a:pt x="104" y="139"/>
                    </a:cubicBezTo>
                    <a:cubicBezTo>
                      <a:pt x="113" y="130"/>
                      <a:pt x="113" y="130"/>
                      <a:pt x="113" y="130"/>
                    </a:cubicBezTo>
                    <a:cubicBezTo>
                      <a:pt x="117" y="132"/>
                      <a:pt x="117" y="132"/>
                      <a:pt x="117" y="132"/>
                    </a:cubicBezTo>
                    <a:cubicBezTo>
                      <a:pt x="117" y="132"/>
                      <a:pt x="123" y="126"/>
                      <a:pt x="125" y="128"/>
                    </a:cubicBezTo>
                    <a:cubicBezTo>
                      <a:pt x="127" y="130"/>
                      <a:pt x="120" y="134"/>
                      <a:pt x="120" y="134"/>
                    </a:cubicBezTo>
                    <a:cubicBezTo>
                      <a:pt x="123" y="143"/>
                      <a:pt x="123" y="143"/>
                      <a:pt x="123" y="143"/>
                    </a:cubicBezTo>
                    <a:cubicBezTo>
                      <a:pt x="123" y="143"/>
                      <a:pt x="125" y="141"/>
                      <a:pt x="127" y="142"/>
                    </a:cubicBezTo>
                    <a:cubicBezTo>
                      <a:pt x="129" y="143"/>
                      <a:pt x="128" y="147"/>
                      <a:pt x="128" y="147"/>
                    </a:cubicBezTo>
                    <a:cubicBezTo>
                      <a:pt x="131" y="148"/>
                      <a:pt x="131" y="148"/>
                      <a:pt x="131" y="148"/>
                    </a:cubicBezTo>
                    <a:cubicBezTo>
                      <a:pt x="134" y="156"/>
                      <a:pt x="134" y="156"/>
                      <a:pt x="134" y="156"/>
                    </a:cubicBezTo>
                    <a:cubicBezTo>
                      <a:pt x="151" y="157"/>
                      <a:pt x="151" y="157"/>
                      <a:pt x="151" y="157"/>
                    </a:cubicBezTo>
                    <a:cubicBezTo>
                      <a:pt x="153" y="160"/>
                      <a:pt x="153" y="160"/>
                      <a:pt x="153" y="160"/>
                    </a:cubicBezTo>
                    <a:cubicBezTo>
                      <a:pt x="169" y="160"/>
                      <a:pt x="169" y="160"/>
                      <a:pt x="169" y="160"/>
                    </a:cubicBezTo>
                    <a:cubicBezTo>
                      <a:pt x="172" y="163"/>
                      <a:pt x="172" y="163"/>
                      <a:pt x="172" y="163"/>
                    </a:cubicBezTo>
                    <a:cubicBezTo>
                      <a:pt x="178" y="161"/>
                      <a:pt x="178" y="161"/>
                      <a:pt x="178" y="161"/>
                    </a:cubicBezTo>
                    <a:cubicBezTo>
                      <a:pt x="197" y="165"/>
                      <a:pt x="197" y="165"/>
                      <a:pt x="197" y="165"/>
                    </a:cubicBezTo>
                    <a:cubicBezTo>
                      <a:pt x="202" y="164"/>
                      <a:pt x="202" y="164"/>
                      <a:pt x="202" y="164"/>
                    </a:cubicBezTo>
                    <a:cubicBezTo>
                      <a:pt x="212" y="167"/>
                      <a:pt x="212" y="167"/>
                      <a:pt x="212" y="167"/>
                    </a:cubicBezTo>
                    <a:cubicBezTo>
                      <a:pt x="214" y="170"/>
                      <a:pt x="214" y="170"/>
                      <a:pt x="214" y="170"/>
                    </a:cubicBezTo>
                    <a:cubicBezTo>
                      <a:pt x="225" y="168"/>
                      <a:pt x="225" y="168"/>
                      <a:pt x="225" y="168"/>
                    </a:cubicBezTo>
                    <a:cubicBezTo>
                      <a:pt x="232" y="171"/>
                      <a:pt x="232" y="171"/>
                      <a:pt x="232" y="171"/>
                    </a:cubicBezTo>
                    <a:cubicBezTo>
                      <a:pt x="238" y="164"/>
                      <a:pt x="238" y="164"/>
                      <a:pt x="238" y="164"/>
                    </a:cubicBezTo>
                    <a:cubicBezTo>
                      <a:pt x="238" y="164"/>
                      <a:pt x="241" y="164"/>
                      <a:pt x="243" y="163"/>
                    </a:cubicBezTo>
                    <a:cubicBezTo>
                      <a:pt x="245" y="162"/>
                      <a:pt x="244" y="156"/>
                      <a:pt x="247" y="156"/>
                    </a:cubicBezTo>
                    <a:cubicBezTo>
                      <a:pt x="251" y="155"/>
                      <a:pt x="256" y="153"/>
                      <a:pt x="256" y="153"/>
                    </a:cubicBezTo>
                    <a:cubicBezTo>
                      <a:pt x="262" y="154"/>
                      <a:pt x="262" y="154"/>
                      <a:pt x="262" y="154"/>
                    </a:cubicBezTo>
                    <a:cubicBezTo>
                      <a:pt x="262" y="154"/>
                      <a:pt x="267" y="151"/>
                      <a:pt x="270" y="152"/>
                    </a:cubicBezTo>
                    <a:cubicBezTo>
                      <a:pt x="273" y="152"/>
                      <a:pt x="275" y="154"/>
                      <a:pt x="275" y="154"/>
                    </a:cubicBezTo>
                    <a:cubicBezTo>
                      <a:pt x="279" y="149"/>
                      <a:pt x="279" y="149"/>
                      <a:pt x="279" y="149"/>
                    </a:cubicBezTo>
                    <a:cubicBezTo>
                      <a:pt x="279" y="149"/>
                      <a:pt x="279" y="147"/>
                      <a:pt x="287" y="147"/>
                    </a:cubicBezTo>
                    <a:cubicBezTo>
                      <a:pt x="293" y="146"/>
                      <a:pt x="295" y="149"/>
                      <a:pt x="295" y="149"/>
                    </a:cubicBezTo>
                    <a:cubicBezTo>
                      <a:pt x="298" y="147"/>
                      <a:pt x="298" y="147"/>
                      <a:pt x="298" y="147"/>
                    </a:cubicBezTo>
                    <a:cubicBezTo>
                      <a:pt x="298" y="147"/>
                      <a:pt x="294" y="144"/>
                      <a:pt x="296" y="140"/>
                    </a:cubicBezTo>
                    <a:cubicBezTo>
                      <a:pt x="298" y="136"/>
                      <a:pt x="300" y="137"/>
                      <a:pt x="300" y="137"/>
                    </a:cubicBezTo>
                    <a:cubicBezTo>
                      <a:pt x="309" y="128"/>
                      <a:pt x="309" y="128"/>
                      <a:pt x="309" y="128"/>
                    </a:cubicBezTo>
                    <a:cubicBezTo>
                      <a:pt x="319" y="127"/>
                      <a:pt x="319" y="127"/>
                      <a:pt x="319" y="127"/>
                    </a:cubicBezTo>
                    <a:cubicBezTo>
                      <a:pt x="320" y="118"/>
                      <a:pt x="320" y="118"/>
                      <a:pt x="320" y="118"/>
                    </a:cubicBezTo>
                    <a:cubicBezTo>
                      <a:pt x="320" y="118"/>
                      <a:pt x="315" y="117"/>
                      <a:pt x="315" y="115"/>
                    </a:cubicBezTo>
                    <a:cubicBezTo>
                      <a:pt x="314" y="112"/>
                      <a:pt x="317" y="110"/>
                      <a:pt x="317" y="109"/>
                    </a:cubicBezTo>
                    <a:cubicBezTo>
                      <a:pt x="317" y="107"/>
                      <a:pt x="313" y="107"/>
                      <a:pt x="313" y="104"/>
                    </a:cubicBezTo>
                    <a:cubicBezTo>
                      <a:pt x="314" y="101"/>
                      <a:pt x="328" y="98"/>
                      <a:pt x="326" y="92"/>
                    </a:cubicBezTo>
                    <a:cubicBezTo>
                      <a:pt x="324" y="85"/>
                      <a:pt x="322" y="85"/>
                      <a:pt x="322" y="85"/>
                    </a:cubicBezTo>
                    <a:cubicBezTo>
                      <a:pt x="317" y="86"/>
                      <a:pt x="317" y="86"/>
                      <a:pt x="317" y="86"/>
                    </a:cubicBezTo>
                    <a:cubicBezTo>
                      <a:pt x="317" y="86"/>
                      <a:pt x="312" y="88"/>
                      <a:pt x="314" y="83"/>
                    </a:cubicBezTo>
                    <a:cubicBezTo>
                      <a:pt x="315" y="79"/>
                      <a:pt x="320" y="78"/>
                      <a:pt x="322" y="77"/>
                    </a:cubicBezTo>
                    <a:cubicBezTo>
                      <a:pt x="324" y="77"/>
                      <a:pt x="328" y="82"/>
                      <a:pt x="328" y="82"/>
                    </a:cubicBezTo>
                    <a:cubicBezTo>
                      <a:pt x="341" y="78"/>
                      <a:pt x="341" y="78"/>
                      <a:pt x="341" y="78"/>
                    </a:cubicBezTo>
                    <a:cubicBezTo>
                      <a:pt x="341" y="70"/>
                      <a:pt x="341" y="70"/>
                      <a:pt x="341" y="70"/>
                    </a:cubicBezTo>
                    <a:cubicBezTo>
                      <a:pt x="339" y="69"/>
                      <a:pt x="339" y="69"/>
                      <a:pt x="339" y="69"/>
                    </a:cubicBezTo>
                    <a:cubicBezTo>
                      <a:pt x="342" y="67"/>
                      <a:pt x="342" y="67"/>
                      <a:pt x="342" y="67"/>
                    </a:cubicBezTo>
                    <a:cubicBezTo>
                      <a:pt x="342" y="67"/>
                      <a:pt x="343" y="60"/>
                      <a:pt x="342" y="57"/>
                    </a:cubicBez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67" name="Albania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802313" y="5097463"/>
                <a:ext cx="214312" cy="407987"/>
              </a:xfrm>
              <a:custGeom>
                <a:avLst/>
                <a:gdLst/>
                <a:ahLst/>
                <a:cxnLst>
                  <a:cxn ang="0">
                    <a:pos x="95" y="110"/>
                  </a:cxn>
                  <a:cxn ang="0">
                    <a:pos x="89" y="106"/>
                  </a:cxn>
                  <a:cxn ang="0">
                    <a:pos x="78" y="98"/>
                  </a:cxn>
                  <a:cxn ang="0">
                    <a:pos x="66" y="83"/>
                  </a:cxn>
                  <a:cxn ang="0">
                    <a:pos x="63" y="69"/>
                  </a:cxn>
                  <a:cxn ang="0">
                    <a:pos x="66" y="53"/>
                  </a:cxn>
                  <a:cxn ang="0">
                    <a:pos x="61" y="24"/>
                  </a:cxn>
                  <a:cxn ang="0">
                    <a:pos x="43" y="9"/>
                  </a:cxn>
                  <a:cxn ang="0">
                    <a:pos x="28" y="12"/>
                  </a:cxn>
                  <a:cxn ang="0">
                    <a:pos x="21" y="1"/>
                  </a:cxn>
                  <a:cxn ang="0">
                    <a:pos x="0" y="35"/>
                  </a:cxn>
                  <a:cxn ang="0">
                    <a:pos x="5" y="46"/>
                  </a:cxn>
                  <a:cxn ang="0">
                    <a:pos x="14" y="55"/>
                  </a:cxn>
                  <a:cxn ang="0">
                    <a:pos x="21" y="69"/>
                  </a:cxn>
                  <a:cxn ang="0">
                    <a:pos x="13" y="71"/>
                  </a:cxn>
                  <a:cxn ang="0">
                    <a:pos x="11" y="85"/>
                  </a:cxn>
                  <a:cxn ang="0">
                    <a:pos x="18" y="92"/>
                  </a:cxn>
                  <a:cxn ang="0">
                    <a:pos x="16" y="108"/>
                  </a:cxn>
                  <a:cxn ang="0">
                    <a:pos x="14" y="113"/>
                  </a:cxn>
                  <a:cxn ang="0">
                    <a:pos x="15" y="119"/>
                  </a:cxn>
                  <a:cxn ang="0">
                    <a:pos x="12" y="130"/>
                  </a:cxn>
                  <a:cxn ang="0">
                    <a:pos x="19" y="138"/>
                  </a:cxn>
                  <a:cxn ang="0">
                    <a:pos x="16" y="141"/>
                  </a:cxn>
                  <a:cxn ang="0">
                    <a:pos x="19" y="153"/>
                  </a:cxn>
                  <a:cxn ang="0">
                    <a:pos x="16" y="146"/>
                  </a:cxn>
                  <a:cxn ang="0">
                    <a:pos x="12" y="147"/>
                  </a:cxn>
                  <a:cxn ang="0">
                    <a:pos x="33" y="164"/>
                  </a:cxn>
                  <a:cxn ang="0">
                    <a:pos x="41" y="169"/>
                  </a:cxn>
                  <a:cxn ang="0">
                    <a:pos x="47" y="179"/>
                  </a:cxn>
                  <a:cxn ang="0">
                    <a:pos x="52" y="190"/>
                  </a:cxn>
                  <a:cxn ang="0">
                    <a:pos x="67" y="187"/>
                  </a:cxn>
                  <a:cxn ang="0">
                    <a:pos x="72" y="181"/>
                  </a:cxn>
                  <a:cxn ang="0">
                    <a:pos x="66" y="171"/>
                  </a:cxn>
                  <a:cxn ang="0">
                    <a:pos x="73" y="163"/>
                  </a:cxn>
                  <a:cxn ang="0">
                    <a:pos x="85" y="149"/>
                  </a:cxn>
                  <a:cxn ang="0">
                    <a:pos x="90" y="135"/>
                  </a:cxn>
                  <a:cxn ang="0">
                    <a:pos x="100" y="125"/>
                  </a:cxn>
                </a:cxnLst>
                <a:rect l="0" t="0" r="r" b="b"/>
                <a:pathLst>
                  <a:path w="100" h="192">
                    <a:moveTo>
                      <a:pt x="95" y="117"/>
                    </a:moveTo>
                    <a:cubicBezTo>
                      <a:pt x="95" y="110"/>
                      <a:pt x="95" y="110"/>
                      <a:pt x="95" y="110"/>
                    </a:cubicBezTo>
                    <a:cubicBezTo>
                      <a:pt x="94" y="107"/>
                      <a:pt x="94" y="107"/>
                      <a:pt x="94" y="107"/>
                    </a:cubicBezTo>
                    <a:cubicBezTo>
                      <a:pt x="89" y="106"/>
                      <a:pt x="89" y="106"/>
                      <a:pt x="89" y="106"/>
                    </a:cubicBezTo>
                    <a:cubicBezTo>
                      <a:pt x="82" y="110"/>
                      <a:pt x="82" y="110"/>
                      <a:pt x="82" y="110"/>
                    </a:cubicBezTo>
                    <a:cubicBezTo>
                      <a:pt x="78" y="98"/>
                      <a:pt x="78" y="98"/>
                      <a:pt x="78" y="98"/>
                    </a:cubicBezTo>
                    <a:cubicBezTo>
                      <a:pt x="73" y="97"/>
                      <a:pt x="73" y="97"/>
                      <a:pt x="73" y="97"/>
                    </a:cubicBezTo>
                    <a:cubicBezTo>
                      <a:pt x="66" y="83"/>
                      <a:pt x="66" y="83"/>
                      <a:pt x="66" y="83"/>
                    </a:cubicBezTo>
                    <a:cubicBezTo>
                      <a:pt x="70" y="78"/>
                      <a:pt x="70" y="78"/>
                      <a:pt x="70" y="78"/>
                    </a:cubicBezTo>
                    <a:cubicBezTo>
                      <a:pt x="63" y="69"/>
                      <a:pt x="63" y="69"/>
                      <a:pt x="63" y="69"/>
                    </a:cubicBezTo>
                    <a:cubicBezTo>
                      <a:pt x="68" y="65"/>
                      <a:pt x="68" y="65"/>
                      <a:pt x="68" y="65"/>
                    </a:cubicBezTo>
                    <a:cubicBezTo>
                      <a:pt x="66" y="53"/>
                      <a:pt x="66" y="53"/>
                      <a:pt x="66" y="53"/>
                    </a:cubicBezTo>
                    <a:cubicBezTo>
                      <a:pt x="68" y="39"/>
                      <a:pt x="68" y="39"/>
                      <a:pt x="68" y="39"/>
                    </a:cubicBezTo>
                    <a:cubicBezTo>
                      <a:pt x="68" y="39"/>
                      <a:pt x="65" y="29"/>
                      <a:pt x="61" y="24"/>
                    </a:cubicBezTo>
                    <a:cubicBezTo>
                      <a:pt x="57" y="20"/>
                      <a:pt x="46" y="19"/>
                      <a:pt x="46" y="19"/>
                    </a:cubicBezTo>
                    <a:cubicBezTo>
                      <a:pt x="46" y="19"/>
                      <a:pt x="45" y="12"/>
                      <a:pt x="43" y="9"/>
                    </a:cubicBezTo>
                    <a:cubicBezTo>
                      <a:pt x="41" y="7"/>
                      <a:pt x="38" y="5"/>
                      <a:pt x="38" y="5"/>
                    </a:cubicBezTo>
                    <a:cubicBezTo>
                      <a:pt x="28" y="12"/>
                      <a:pt x="28" y="12"/>
                      <a:pt x="28" y="12"/>
                    </a:cubicBezTo>
                    <a:cubicBezTo>
                      <a:pt x="21" y="8"/>
                      <a:pt x="21" y="8"/>
                      <a:pt x="21" y="8"/>
                    </a:cubicBezTo>
                    <a:cubicBezTo>
                      <a:pt x="21" y="1"/>
                      <a:pt x="21" y="1"/>
                      <a:pt x="21" y="1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3" y="36"/>
                      <a:pt x="3" y="36"/>
                      <a:pt x="3" y="36"/>
                    </a:cubicBezTo>
                    <a:cubicBezTo>
                      <a:pt x="5" y="46"/>
                      <a:pt x="5" y="46"/>
                      <a:pt x="5" y="46"/>
                    </a:cubicBezTo>
                    <a:cubicBezTo>
                      <a:pt x="6" y="54"/>
                      <a:pt x="6" y="54"/>
                      <a:pt x="6" y="54"/>
                    </a:cubicBezTo>
                    <a:cubicBezTo>
                      <a:pt x="6" y="54"/>
                      <a:pt x="9" y="54"/>
                      <a:pt x="14" y="55"/>
                    </a:cubicBezTo>
                    <a:cubicBezTo>
                      <a:pt x="19" y="56"/>
                      <a:pt x="17" y="60"/>
                      <a:pt x="17" y="60"/>
                    </a:cubicBezTo>
                    <a:cubicBezTo>
                      <a:pt x="21" y="69"/>
                      <a:pt x="21" y="69"/>
                      <a:pt x="21" y="69"/>
                    </a:cubicBezTo>
                    <a:cubicBezTo>
                      <a:pt x="18" y="71"/>
                      <a:pt x="18" y="71"/>
                      <a:pt x="18" y="71"/>
                    </a:cubicBezTo>
                    <a:cubicBezTo>
                      <a:pt x="13" y="71"/>
                      <a:pt x="13" y="71"/>
                      <a:pt x="13" y="71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6" y="80"/>
                      <a:pt x="11" y="80"/>
                      <a:pt x="11" y="85"/>
                    </a:cubicBezTo>
                    <a:cubicBezTo>
                      <a:pt x="12" y="91"/>
                      <a:pt x="13" y="91"/>
                      <a:pt x="13" y="91"/>
                    </a:cubicBezTo>
                    <a:cubicBezTo>
                      <a:pt x="13" y="91"/>
                      <a:pt x="18" y="90"/>
                      <a:pt x="18" y="92"/>
                    </a:cubicBezTo>
                    <a:cubicBezTo>
                      <a:pt x="18" y="94"/>
                      <a:pt x="14" y="100"/>
                      <a:pt x="14" y="100"/>
                    </a:cubicBezTo>
                    <a:cubicBezTo>
                      <a:pt x="16" y="108"/>
                      <a:pt x="16" y="108"/>
                      <a:pt x="16" y="108"/>
                    </a:cubicBezTo>
                    <a:cubicBezTo>
                      <a:pt x="16" y="108"/>
                      <a:pt x="23" y="111"/>
                      <a:pt x="21" y="113"/>
                    </a:cubicBezTo>
                    <a:cubicBezTo>
                      <a:pt x="18" y="115"/>
                      <a:pt x="14" y="113"/>
                      <a:pt x="14" y="113"/>
                    </a:cubicBezTo>
                    <a:cubicBezTo>
                      <a:pt x="12" y="116"/>
                      <a:pt x="12" y="116"/>
                      <a:pt x="12" y="116"/>
                    </a:cubicBezTo>
                    <a:cubicBezTo>
                      <a:pt x="15" y="119"/>
                      <a:pt x="15" y="119"/>
                      <a:pt x="15" y="119"/>
                    </a:cubicBezTo>
                    <a:cubicBezTo>
                      <a:pt x="14" y="127"/>
                      <a:pt x="14" y="127"/>
                      <a:pt x="14" y="127"/>
                    </a:cubicBezTo>
                    <a:cubicBezTo>
                      <a:pt x="12" y="130"/>
                      <a:pt x="12" y="130"/>
                      <a:pt x="12" y="130"/>
                    </a:cubicBezTo>
                    <a:cubicBezTo>
                      <a:pt x="14" y="137"/>
                      <a:pt x="14" y="137"/>
                      <a:pt x="14" y="137"/>
                    </a:cubicBezTo>
                    <a:cubicBezTo>
                      <a:pt x="14" y="137"/>
                      <a:pt x="19" y="134"/>
                      <a:pt x="19" y="138"/>
                    </a:cubicBezTo>
                    <a:cubicBezTo>
                      <a:pt x="19" y="140"/>
                      <a:pt x="16" y="140"/>
                      <a:pt x="16" y="140"/>
                    </a:cubicBezTo>
                    <a:cubicBezTo>
                      <a:pt x="16" y="141"/>
                      <a:pt x="16" y="141"/>
                      <a:pt x="16" y="141"/>
                    </a:cubicBezTo>
                    <a:cubicBezTo>
                      <a:pt x="16" y="141"/>
                      <a:pt x="23" y="142"/>
                      <a:pt x="22" y="147"/>
                    </a:cubicBezTo>
                    <a:cubicBezTo>
                      <a:pt x="21" y="154"/>
                      <a:pt x="19" y="153"/>
                      <a:pt x="19" y="153"/>
                    </a:cubicBezTo>
                    <a:cubicBezTo>
                      <a:pt x="19" y="153"/>
                      <a:pt x="17" y="152"/>
                      <a:pt x="17" y="150"/>
                    </a:cubicBezTo>
                    <a:cubicBezTo>
                      <a:pt x="16" y="148"/>
                      <a:pt x="16" y="146"/>
                      <a:pt x="16" y="146"/>
                    </a:cubicBezTo>
                    <a:cubicBezTo>
                      <a:pt x="12" y="145"/>
                      <a:pt x="12" y="145"/>
                      <a:pt x="12" y="145"/>
                    </a:cubicBezTo>
                    <a:cubicBezTo>
                      <a:pt x="12" y="147"/>
                      <a:pt x="12" y="147"/>
                      <a:pt x="12" y="147"/>
                    </a:cubicBezTo>
                    <a:cubicBezTo>
                      <a:pt x="12" y="147"/>
                      <a:pt x="16" y="156"/>
                      <a:pt x="21" y="159"/>
                    </a:cubicBezTo>
                    <a:cubicBezTo>
                      <a:pt x="25" y="162"/>
                      <a:pt x="30" y="164"/>
                      <a:pt x="33" y="164"/>
                    </a:cubicBezTo>
                    <a:cubicBezTo>
                      <a:pt x="38" y="164"/>
                      <a:pt x="38" y="164"/>
                      <a:pt x="38" y="164"/>
                    </a:cubicBezTo>
                    <a:cubicBezTo>
                      <a:pt x="41" y="169"/>
                      <a:pt x="41" y="169"/>
                      <a:pt x="41" y="169"/>
                    </a:cubicBezTo>
                    <a:cubicBezTo>
                      <a:pt x="46" y="169"/>
                      <a:pt x="46" y="169"/>
                      <a:pt x="46" y="169"/>
                    </a:cubicBezTo>
                    <a:cubicBezTo>
                      <a:pt x="47" y="179"/>
                      <a:pt x="47" y="179"/>
                      <a:pt x="47" y="179"/>
                    </a:cubicBezTo>
                    <a:cubicBezTo>
                      <a:pt x="52" y="180"/>
                      <a:pt x="52" y="180"/>
                      <a:pt x="52" y="180"/>
                    </a:cubicBezTo>
                    <a:cubicBezTo>
                      <a:pt x="52" y="190"/>
                      <a:pt x="52" y="190"/>
                      <a:pt x="52" y="190"/>
                    </a:cubicBezTo>
                    <a:cubicBezTo>
                      <a:pt x="52" y="190"/>
                      <a:pt x="59" y="192"/>
                      <a:pt x="60" y="192"/>
                    </a:cubicBezTo>
                    <a:cubicBezTo>
                      <a:pt x="62" y="192"/>
                      <a:pt x="67" y="187"/>
                      <a:pt x="67" y="187"/>
                    </a:cubicBezTo>
                    <a:cubicBezTo>
                      <a:pt x="67" y="187"/>
                      <a:pt x="66" y="184"/>
                      <a:pt x="67" y="181"/>
                    </a:cubicBezTo>
                    <a:cubicBezTo>
                      <a:pt x="67" y="180"/>
                      <a:pt x="72" y="181"/>
                      <a:pt x="72" y="181"/>
                    </a:cubicBezTo>
                    <a:cubicBezTo>
                      <a:pt x="71" y="177"/>
                      <a:pt x="71" y="177"/>
                      <a:pt x="71" y="177"/>
                    </a:cubicBezTo>
                    <a:cubicBezTo>
                      <a:pt x="71" y="177"/>
                      <a:pt x="65" y="174"/>
                      <a:pt x="66" y="171"/>
                    </a:cubicBezTo>
                    <a:cubicBezTo>
                      <a:pt x="67" y="166"/>
                      <a:pt x="71" y="168"/>
                      <a:pt x="71" y="168"/>
                    </a:cubicBezTo>
                    <a:cubicBezTo>
                      <a:pt x="71" y="168"/>
                      <a:pt x="70" y="164"/>
                      <a:pt x="73" y="163"/>
                    </a:cubicBezTo>
                    <a:cubicBezTo>
                      <a:pt x="76" y="162"/>
                      <a:pt x="78" y="165"/>
                      <a:pt x="83" y="161"/>
                    </a:cubicBezTo>
                    <a:cubicBezTo>
                      <a:pt x="88" y="156"/>
                      <a:pt x="85" y="149"/>
                      <a:pt x="85" y="149"/>
                    </a:cubicBezTo>
                    <a:cubicBezTo>
                      <a:pt x="89" y="144"/>
                      <a:pt x="89" y="144"/>
                      <a:pt x="89" y="144"/>
                    </a:cubicBezTo>
                    <a:cubicBezTo>
                      <a:pt x="89" y="144"/>
                      <a:pt x="87" y="138"/>
                      <a:pt x="90" y="135"/>
                    </a:cubicBezTo>
                    <a:cubicBezTo>
                      <a:pt x="92" y="134"/>
                      <a:pt x="95" y="134"/>
                      <a:pt x="95" y="134"/>
                    </a:cubicBezTo>
                    <a:cubicBezTo>
                      <a:pt x="95" y="134"/>
                      <a:pt x="100" y="129"/>
                      <a:pt x="100" y="125"/>
                    </a:cubicBezTo>
                    <a:cubicBezTo>
                      <a:pt x="99" y="121"/>
                      <a:pt x="95" y="117"/>
                      <a:pt x="95" y="117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</p:grpSp>
        <p:sp>
          <p:nvSpPr>
            <p:cNvPr id="94" name="Rectangle 93"/>
            <p:cNvSpPr/>
            <p:nvPr/>
          </p:nvSpPr>
          <p:spPr bwMode="ltGray">
            <a:xfrm>
              <a:off x="5600192" y="5035161"/>
              <a:ext cx="360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SI</a:t>
              </a:r>
              <a:endParaRPr kumimoji="0" lang="en-GB" sz="9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95" name="Rectangle 94"/>
            <p:cNvSpPr/>
            <p:nvPr/>
          </p:nvSpPr>
          <p:spPr bwMode="ltGray">
            <a:xfrm>
              <a:off x="5974881" y="4236315"/>
              <a:ext cx="360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PL*</a:t>
              </a:r>
            </a:p>
          </p:txBody>
        </p:sp>
        <p:sp>
          <p:nvSpPr>
            <p:cNvPr id="96" name="Rectangle 95"/>
            <p:cNvSpPr/>
            <p:nvPr/>
          </p:nvSpPr>
          <p:spPr bwMode="ltGray">
            <a:xfrm>
              <a:off x="4922392" y="4250846"/>
              <a:ext cx="324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b="0" kern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NL</a:t>
              </a:r>
              <a:endParaRPr kumimoji="0" lang="en-GB" sz="8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97" name="Rectangle 96"/>
            <p:cNvSpPr/>
            <p:nvPr/>
          </p:nvSpPr>
          <p:spPr bwMode="ltGray">
            <a:xfrm>
              <a:off x="3927944" y="5628265"/>
              <a:ext cx="324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ES</a:t>
              </a:r>
            </a:p>
          </p:txBody>
        </p:sp>
        <p:sp>
          <p:nvSpPr>
            <p:cNvPr id="98" name="Rectangle 97"/>
            <p:cNvSpPr/>
            <p:nvPr/>
          </p:nvSpPr>
          <p:spPr bwMode="ltGray">
            <a:xfrm>
              <a:off x="6401657" y="3609536"/>
              <a:ext cx="324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b="0" kern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LV</a:t>
              </a:r>
              <a:endParaRPr kumimoji="0" lang="en-GB" sz="8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99" name="Rectangle 98"/>
            <p:cNvSpPr/>
            <p:nvPr/>
          </p:nvSpPr>
          <p:spPr bwMode="ltGray">
            <a:xfrm>
              <a:off x="6587961" y="4945007"/>
              <a:ext cx="360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b="0" kern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RO</a:t>
              </a:r>
              <a:endParaRPr kumimoji="0" lang="en-GB" sz="8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100" name="Rectangle 99"/>
            <p:cNvSpPr/>
            <p:nvPr/>
          </p:nvSpPr>
          <p:spPr bwMode="ltGray">
            <a:xfrm>
              <a:off x="5325297" y="4290736"/>
              <a:ext cx="360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DE*</a:t>
              </a:r>
            </a:p>
          </p:txBody>
        </p:sp>
        <p:sp>
          <p:nvSpPr>
            <p:cNvPr id="101" name="Rectangle 100"/>
            <p:cNvSpPr/>
            <p:nvPr/>
          </p:nvSpPr>
          <p:spPr bwMode="ltGray">
            <a:xfrm>
              <a:off x="5684457" y="4571149"/>
              <a:ext cx="375101" cy="12305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b="0" kern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CZ</a:t>
              </a:r>
              <a:endParaRPr lang="en-GB" sz="800" b="0" kern="0" noProof="0" dirty="0" smtClean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02" name="Rectangle 101"/>
            <p:cNvSpPr/>
            <p:nvPr/>
          </p:nvSpPr>
          <p:spPr bwMode="ltGray">
            <a:xfrm>
              <a:off x="3889836" y="4007818"/>
              <a:ext cx="324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b="0" kern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IE</a:t>
              </a:r>
              <a:endParaRPr kumimoji="0" lang="en-GB" sz="8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103" name="Rectangle 102"/>
            <p:cNvSpPr/>
            <p:nvPr/>
          </p:nvSpPr>
          <p:spPr bwMode="ltGray">
            <a:xfrm>
              <a:off x="6248168" y="2895133"/>
              <a:ext cx="324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b="0" kern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FI*</a:t>
              </a:r>
              <a:endParaRPr kumimoji="0" lang="en-GB" sz="8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104" name="Rectangle 103"/>
            <p:cNvSpPr/>
            <p:nvPr/>
          </p:nvSpPr>
          <p:spPr bwMode="ltGray">
            <a:xfrm>
              <a:off x="6610082" y="5329302"/>
              <a:ext cx="360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b="0" kern="0" noProof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BG</a:t>
              </a:r>
              <a:endParaRPr kumimoji="0" lang="en-GB" sz="8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105" name="Rectangle 104"/>
            <p:cNvSpPr/>
            <p:nvPr/>
          </p:nvSpPr>
          <p:spPr bwMode="ltGray">
            <a:xfrm>
              <a:off x="5560902" y="3515576"/>
              <a:ext cx="324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b="0" kern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SE</a:t>
              </a:r>
              <a:endParaRPr kumimoji="0" lang="en-GB" sz="8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106" name="Rectangle 105"/>
            <p:cNvSpPr/>
            <p:nvPr/>
          </p:nvSpPr>
          <p:spPr bwMode="ltGray">
            <a:xfrm>
              <a:off x="6016312" y="4864423"/>
              <a:ext cx="396000" cy="144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HU</a:t>
              </a:r>
            </a:p>
          </p:txBody>
        </p:sp>
        <p:sp>
          <p:nvSpPr>
            <p:cNvPr id="107" name="Rectangle 106"/>
            <p:cNvSpPr/>
            <p:nvPr/>
          </p:nvSpPr>
          <p:spPr bwMode="ltGray">
            <a:xfrm>
              <a:off x="5439284" y="5382170"/>
              <a:ext cx="324000" cy="144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b="0" kern="0" noProof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IT</a:t>
              </a:r>
              <a:endParaRPr kumimoji="0" lang="en-GB" sz="8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108" name="Rectangle 107"/>
            <p:cNvSpPr/>
            <p:nvPr/>
          </p:nvSpPr>
          <p:spPr bwMode="ltGray">
            <a:xfrm>
              <a:off x="4319415" y="4192731"/>
              <a:ext cx="360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UK*</a:t>
              </a:r>
            </a:p>
          </p:txBody>
        </p:sp>
        <p:sp>
          <p:nvSpPr>
            <p:cNvPr id="109" name="Rectangle 108"/>
            <p:cNvSpPr/>
            <p:nvPr/>
          </p:nvSpPr>
          <p:spPr bwMode="ltGray">
            <a:xfrm>
              <a:off x="4794432" y="4449487"/>
              <a:ext cx="360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BE</a:t>
              </a:r>
            </a:p>
          </p:txBody>
        </p:sp>
        <p:sp>
          <p:nvSpPr>
            <p:cNvPr id="110" name="Rectangle 109"/>
            <p:cNvSpPr/>
            <p:nvPr/>
          </p:nvSpPr>
          <p:spPr bwMode="ltGray">
            <a:xfrm>
              <a:off x="4579918" y="4909044"/>
              <a:ext cx="360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b="0" kern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FR*</a:t>
              </a:r>
              <a:endParaRPr kumimoji="0" lang="en-GB" sz="8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111" name="Rectangle 110"/>
            <p:cNvSpPr/>
            <p:nvPr/>
          </p:nvSpPr>
          <p:spPr bwMode="ltGray">
            <a:xfrm>
              <a:off x="3441765" y="5646546"/>
              <a:ext cx="324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PT</a:t>
              </a:r>
            </a:p>
          </p:txBody>
        </p:sp>
        <p:sp>
          <p:nvSpPr>
            <p:cNvPr id="112" name="Rectangle 111"/>
            <p:cNvSpPr/>
            <p:nvPr/>
          </p:nvSpPr>
          <p:spPr bwMode="ltGray">
            <a:xfrm>
              <a:off x="6037790" y="4654335"/>
              <a:ext cx="324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b="0" kern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SK</a:t>
              </a:r>
              <a:endParaRPr lang="en-GB" sz="800" b="0" kern="0" noProof="0" dirty="0" smtClean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13" name="Rectangle 112"/>
            <p:cNvSpPr/>
            <p:nvPr/>
          </p:nvSpPr>
          <p:spPr bwMode="ltGray">
            <a:xfrm>
              <a:off x="5263083" y="3800143"/>
              <a:ext cx="388007" cy="100656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DK*</a:t>
              </a:r>
            </a:p>
          </p:txBody>
        </p:sp>
        <p:sp>
          <p:nvSpPr>
            <p:cNvPr id="114" name="Rectangle 113"/>
            <p:cNvSpPr/>
            <p:nvPr/>
          </p:nvSpPr>
          <p:spPr bwMode="ltGray">
            <a:xfrm>
              <a:off x="5699018" y="5161151"/>
              <a:ext cx="360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b="0" kern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HR</a:t>
              </a:r>
              <a:endParaRPr kumimoji="0" lang="en-GB" sz="9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115" name="Rectangle 114"/>
            <p:cNvSpPr/>
            <p:nvPr/>
          </p:nvSpPr>
          <p:spPr bwMode="ltGray">
            <a:xfrm>
              <a:off x="6328419" y="3382829"/>
              <a:ext cx="361864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b="0" kern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EE</a:t>
              </a:r>
              <a:endParaRPr kumimoji="0" lang="en-GB" sz="8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116" name="Rectangle 115"/>
            <p:cNvSpPr/>
            <p:nvPr/>
          </p:nvSpPr>
          <p:spPr bwMode="ltGray">
            <a:xfrm>
              <a:off x="6273597" y="3806868"/>
              <a:ext cx="360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b="0" kern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LT*</a:t>
              </a:r>
              <a:endParaRPr kumimoji="0" lang="en-GB" sz="8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117" name="Rectangle 116"/>
            <p:cNvSpPr/>
            <p:nvPr/>
          </p:nvSpPr>
          <p:spPr bwMode="ltGray">
            <a:xfrm>
              <a:off x="4898395" y="4628442"/>
              <a:ext cx="360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LU</a:t>
              </a:r>
            </a:p>
          </p:txBody>
        </p:sp>
        <p:sp>
          <p:nvSpPr>
            <p:cNvPr id="118" name="Rectangle 117"/>
            <p:cNvSpPr/>
            <p:nvPr/>
          </p:nvSpPr>
          <p:spPr bwMode="ltGray">
            <a:xfrm>
              <a:off x="7740392" y="6085123"/>
              <a:ext cx="360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b="0" kern="0" noProof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CY</a:t>
              </a:r>
              <a:endParaRPr kumimoji="0" lang="en-GB" sz="8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119" name="Rectangle 118"/>
            <p:cNvSpPr/>
            <p:nvPr/>
          </p:nvSpPr>
          <p:spPr bwMode="ltGray">
            <a:xfrm>
              <a:off x="5773683" y="6325945"/>
              <a:ext cx="324000" cy="144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b="0" kern="0" noProof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MT</a:t>
              </a:r>
              <a:endParaRPr kumimoji="0" lang="en-GB" sz="8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120" name="Rectangle 119"/>
            <p:cNvSpPr/>
            <p:nvPr/>
          </p:nvSpPr>
          <p:spPr bwMode="ltGray">
            <a:xfrm>
              <a:off x="6409400" y="5726500"/>
              <a:ext cx="324000" cy="144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b="0" kern="0" noProof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GR</a:t>
              </a:r>
              <a:endParaRPr kumimoji="0" lang="en-GB" sz="8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121" name="Rectangle 120"/>
            <p:cNvSpPr/>
            <p:nvPr/>
          </p:nvSpPr>
          <p:spPr bwMode="ltGray">
            <a:xfrm>
              <a:off x="3808480" y="2411556"/>
              <a:ext cx="324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kern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IS*</a:t>
              </a:r>
              <a:endParaRPr kumimoji="0" lang="en-GB" sz="8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122" name="Rectangle 121"/>
            <p:cNvSpPr/>
            <p:nvPr/>
          </p:nvSpPr>
          <p:spPr bwMode="ltGray">
            <a:xfrm>
              <a:off x="7548944" y="5558393"/>
              <a:ext cx="360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kern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TR</a:t>
              </a:r>
              <a:endParaRPr kumimoji="0" lang="en-GB" sz="8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123" name="Rectangle 122"/>
            <p:cNvSpPr/>
            <p:nvPr/>
          </p:nvSpPr>
          <p:spPr bwMode="ltGray">
            <a:xfrm>
              <a:off x="5233713" y="3191448"/>
              <a:ext cx="324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kern="0" noProof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NO</a:t>
              </a:r>
              <a:endParaRPr kumimoji="0" lang="en-GB" sz="8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124" name="Rectangle 123"/>
            <p:cNvSpPr/>
            <p:nvPr/>
          </p:nvSpPr>
          <p:spPr bwMode="ltGray">
            <a:xfrm>
              <a:off x="5004048" y="4941168"/>
              <a:ext cx="360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CH</a:t>
              </a:r>
              <a:endParaRPr kumimoji="0" lang="en-GB" sz="9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125" name="Rectangle 124"/>
            <p:cNvSpPr/>
            <p:nvPr/>
          </p:nvSpPr>
          <p:spPr bwMode="ltGray">
            <a:xfrm>
              <a:off x="6344807" y="5492049"/>
              <a:ext cx="324000" cy="144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kern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MK</a:t>
              </a:r>
              <a:endParaRPr kumimoji="0" lang="en-GB" sz="8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126" name="Rectangle 125"/>
            <p:cNvSpPr/>
            <p:nvPr/>
          </p:nvSpPr>
          <p:spPr bwMode="ltGray">
            <a:xfrm>
              <a:off x="5256104" y="4881030"/>
              <a:ext cx="252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LI</a:t>
              </a:r>
            </a:p>
          </p:txBody>
        </p:sp>
        <p:sp>
          <p:nvSpPr>
            <p:cNvPr id="127" name="Rectangle 126"/>
            <p:cNvSpPr/>
            <p:nvPr/>
          </p:nvSpPr>
          <p:spPr bwMode="ltGray">
            <a:xfrm>
              <a:off x="5615724" y="4793662"/>
              <a:ext cx="396000" cy="144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AT</a:t>
              </a:r>
            </a:p>
          </p:txBody>
        </p:sp>
      </p:grpSp>
      <p:sp>
        <p:nvSpPr>
          <p:cNvPr id="178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8200800" y="4747557"/>
            <a:ext cx="486000" cy="377429"/>
          </a:xfrm>
        </p:spPr>
        <p:txBody>
          <a:bodyPr/>
          <a:lstStyle/>
          <a:p>
            <a:pPr>
              <a:defRPr/>
            </a:pPr>
            <a:r>
              <a:rPr lang="en-GB" dirty="0" smtClean="0"/>
              <a:t>4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434418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1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5536" y="0"/>
            <a:ext cx="8229600" cy="857250"/>
          </a:xfrm>
        </p:spPr>
        <p:txBody>
          <a:bodyPr>
            <a:normAutofit fontScale="90000"/>
          </a:bodyPr>
          <a:lstStyle/>
          <a:p>
            <a:r>
              <a:rPr lang="en-US" sz="2800" dirty="0" smtClean="0"/>
              <a:t>Is there a strategy/initiative for implementing</a:t>
            </a:r>
            <a:br>
              <a:rPr lang="en-US" sz="2800" dirty="0" smtClean="0"/>
            </a:br>
            <a:r>
              <a:rPr lang="en-US" sz="2800" dirty="0" smtClean="0"/>
              <a:t>the OOP in your country?</a:t>
            </a:r>
            <a:endParaRPr lang="en-US" sz="2800" dirty="0"/>
          </a:p>
        </p:txBody>
      </p:sp>
      <p:sp>
        <p:nvSpPr>
          <p:cNvPr id="175" name="Rectangle 174"/>
          <p:cNvSpPr/>
          <p:nvPr/>
        </p:nvSpPr>
        <p:spPr>
          <a:xfrm>
            <a:off x="323528" y="1182985"/>
            <a:ext cx="2952328" cy="142134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18000" tIns="18000" rIns="18000" bIns="18000">
            <a:spAutoFit/>
          </a:bodyPr>
          <a:lstStyle/>
          <a:p>
            <a:pPr marL="80963" lvl="2" indent="-4763">
              <a:lnSpc>
                <a:spcPct val="150000"/>
              </a:lnSpc>
              <a:spcBef>
                <a:spcPts val="500"/>
              </a:spcBef>
              <a:buClr>
                <a:srgbClr val="ED7404"/>
              </a:buClr>
            </a:pPr>
            <a:r>
              <a:rPr lang="en-GB" sz="1200" dirty="0">
                <a:latin typeface="+mn-lt"/>
                <a:cs typeface="Arial" panose="020B0604020202020204" pitchFamily="34" charset="0"/>
              </a:rPr>
              <a:t>Out of a total of </a:t>
            </a:r>
            <a:r>
              <a:rPr lang="en-GB" sz="1200" dirty="0" smtClean="0">
                <a:latin typeface="+mn-lt"/>
                <a:cs typeface="Arial" panose="020B0604020202020204" pitchFamily="34" charset="0"/>
              </a:rPr>
              <a:t>25 </a:t>
            </a:r>
            <a:r>
              <a:rPr lang="en-GB" sz="1200" dirty="0">
                <a:latin typeface="+mn-lt"/>
                <a:cs typeface="Arial" panose="020B0604020202020204" pitchFamily="34" charset="0"/>
              </a:rPr>
              <a:t>European </a:t>
            </a:r>
            <a:r>
              <a:rPr lang="en-GB" sz="1200" dirty="0" smtClean="0">
                <a:latin typeface="+mn-lt"/>
                <a:cs typeface="Arial" panose="020B0604020202020204" pitchFamily="34" charset="0"/>
              </a:rPr>
              <a:t>countries</a:t>
            </a:r>
            <a:r>
              <a:rPr lang="en-GB" sz="1200" dirty="0">
                <a:latin typeface="+mn-lt"/>
                <a:cs typeface="Arial" panose="020B0604020202020204" pitchFamily="34" charset="0"/>
              </a:rPr>
              <a:t>:</a:t>
            </a:r>
            <a:endParaRPr lang="en-GB" sz="1200" dirty="0" smtClean="0">
              <a:latin typeface="+mn-lt"/>
              <a:cs typeface="Arial" panose="020B0604020202020204" pitchFamily="34" charset="0"/>
            </a:endParaRPr>
          </a:p>
          <a:p>
            <a:pPr marL="247650" lvl="2" indent="-171450">
              <a:lnSpc>
                <a:spcPct val="150000"/>
              </a:lnSpc>
              <a:spcBef>
                <a:spcPts val="0"/>
              </a:spcBef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Ø"/>
            </a:pPr>
            <a:r>
              <a:rPr lang="en-GB" sz="1200" b="1" dirty="0" smtClean="0">
                <a:latin typeface="+mn-lt"/>
                <a:cs typeface="Arial" panose="020B0604020202020204" pitchFamily="34" charset="0"/>
              </a:rPr>
              <a:t>16</a:t>
            </a:r>
            <a:r>
              <a:rPr lang="en-GB" sz="1200" dirty="0" smtClean="0">
                <a:latin typeface="+mn-lt"/>
                <a:cs typeface="Arial" panose="020B0604020202020204" pitchFamily="34" charset="0"/>
              </a:rPr>
              <a:t> have </a:t>
            </a:r>
            <a:r>
              <a:rPr lang="en-GB" sz="1200" dirty="0">
                <a:latin typeface="+mn-lt"/>
                <a:cs typeface="Arial" panose="020B0604020202020204" pitchFamily="34" charset="0"/>
              </a:rPr>
              <a:t>both a strategy &amp; initiatives in </a:t>
            </a:r>
            <a:r>
              <a:rPr lang="en-GB" sz="1200" dirty="0" smtClean="0">
                <a:latin typeface="+mn-lt"/>
                <a:cs typeface="Arial" panose="020B0604020202020204" pitchFamily="34" charset="0"/>
              </a:rPr>
              <a:t>place;</a:t>
            </a:r>
          </a:p>
          <a:p>
            <a:pPr marL="247650" lvl="2" indent="-171450">
              <a:lnSpc>
                <a:spcPct val="150000"/>
              </a:lnSpc>
              <a:spcBef>
                <a:spcPts val="0"/>
              </a:spcBef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Ø"/>
            </a:pPr>
            <a:r>
              <a:rPr lang="en-GB" sz="1200" b="1" dirty="0" smtClean="0">
                <a:latin typeface="+mn-lt"/>
                <a:cs typeface="Arial" panose="020B0604020202020204" pitchFamily="34" charset="0"/>
              </a:rPr>
              <a:t>2</a:t>
            </a:r>
            <a:r>
              <a:rPr lang="en-GB" sz="1200" dirty="0" smtClean="0">
                <a:latin typeface="+mn-lt"/>
                <a:cs typeface="Arial" panose="020B0604020202020204" pitchFamily="34" charset="0"/>
              </a:rPr>
              <a:t> </a:t>
            </a:r>
            <a:r>
              <a:rPr lang="en-GB" sz="1200" dirty="0">
                <a:latin typeface="+mn-lt"/>
                <a:cs typeface="Arial" panose="020B0604020202020204" pitchFamily="34" charset="0"/>
              </a:rPr>
              <a:t>have only a </a:t>
            </a:r>
            <a:r>
              <a:rPr lang="en-GB" sz="1200" dirty="0" smtClean="0">
                <a:latin typeface="+mn-lt"/>
                <a:cs typeface="Arial" panose="020B0604020202020204" pitchFamily="34" charset="0"/>
              </a:rPr>
              <a:t>strategy in place; and</a:t>
            </a:r>
          </a:p>
          <a:p>
            <a:pPr marL="247650" lvl="2" indent="-171450">
              <a:lnSpc>
                <a:spcPct val="150000"/>
              </a:lnSpc>
              <a:spcBef>
                <a:spcPts val="0"/>
              </a:spcBef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Ø"/>
            </a:pPr>
            <a:r>
              <a:rPr lang="en-GB" sz="1200" b="1" dirty="0" smtClean="0">
                <a:latin typeface="+mn-lt"/>
                <a:cs typeface="Arial" panose="020B0604020202020204" pitchFamily="34" charset="0"/>
              </a:rPr>
              <a:t>7</a:t>
            </a:r>
            <a:r>
              <a:rPr lang="en-GB" sz="1200" dirty="0" smtClean="0">
                <a:latin typeface="+mn-lt"/>
                <a:cs typeface="Arial" panose="020B0604020202020204" pitchFamily="34" charset="0"/>
              </a:rPr>
              <a:t> have </a:t>
            </a:r>
            <a:r>
              <a:rPr lang="en-GB" sz="1200" dirty="0">
                <a:latin typeface="+mn-lt"/>
                <a:cs typeface="Arial" panose="020B0604020202020204" pitchFamily="34" charset="0"/>
              </a:rPr>
              <a:t>only </a:t>
            </a:r>
            <a:r>
              <a:rPr lang="en-GB" sz="1200" dirty="0" smtClean="0">
                <a:latin typeface="+mn-lt"/>
                <a:cs typeface="Arial" panose="020B0604020202020204" pitchFamily="34" charset="0"/>
              </a:rPr>
              <a:t>initiatives in place.</a:t>
            </a:r>
            <a:endParaRPr lang="en-GB" sz="1200" dirty="0"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176" name="Group 106"/>
          <p:cNvGrpSpPr>
            <a:grpSpLocks noChangeAspect="1"/>
          </p:cNvGrpSpPr>
          <p:nvPr/>
        </p:nvGrpSpPr>
        <p:grpSpPr>
          <a:xfrm>
            <a:off x="3583852" y="595636"/>
            <a:ext cx="5531396" cy="4061746"/>
            <a:chOff x="3428590" y="1928130"/>
            <a:chExt cx="5466394" cy="4541815"/>
          </a:xfrm>
        </p:grpSpPr>
        <p:grpSp>
          <p:nvGrpSpPr>
            <p:cNvPr id="177" name="Country Europe (shapes)"/>
            <p:cNvGrpSpPr/>
            <p:nvPr/>
          </p:nvGrpSpPr>
          <p:grpSpPr>
            <a:xfrm>
              <a:off x="3428590" y="1928130"/>
              <a:ext cx="5466394" cy="4460169"/>
              <a:chOff x="2684463" y="1143000"/>
              <a:chExt cx="6015037" cy="4991100"/>
            </a:xfrm>
            <a:solidFill>
              <a:srgbClr val="B5B5B5">
                <a:lumMod val="40000"/>
                <a:lumOff val="60000"/>
              </a:srgb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212" name="Turkey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6521450" y="4591050"/>
                <a:ext cx="2178050" cy="1219200"/>
              </a:xfrm>
              <a:custGeom>
                <a:avLst/>
                <a:gdLst/>
                <a:ahLst/>
                <a:cxnLst>
                  <a:cxn ang="0">
                    <a:pos x="24" y="340"/>
                  </a:cxn>
                  <a:cxn ang="0">
                    <a:pos x="49" y="328"/>
                  </a:cxn>
                  <a:cxn ang="0">
                    <a:pos x="102" y="283"/>
                  </a:cxn>
                  <a:cxn ang="0">
                    <a:pos x="135" y="275"/>
                  </a:cxn>
                  <a:cxn ang="0">
                    <a:pos x="103" y="241"/>
                  </a:cxn>
                  <a:cxn ang="0">
                    <a:pos x="87" y="218"/>
                  </a:cxn>
                  <a:cxn ang="0">
                    <a:pos x="55" y="215"/>
                  </a:cxn>
                  <a:cxn ang="0">
                    <a:pos x="24" y="241"/>
                  </a:cxn>
                  <a:cxn ang="0">
                    <a:pos x="29" y="264"/>
                  </a:cxn>
                  <a:cxn ang="0">
                    <a:pos x="25" y="300"/>
                  </a:cxn>
                  <a:cxn ang="0">
                    <a:pos x="41" y="327"/>
                  </a:cxn>
                  <a:cxn ang="0">
                    <a:pos x="15" y="353"/>
                  </a:cxn>
                  <a:cxn ang="0">
                    <a:pos x="973" y="186"/>
                  </a:cxn>
                  <a:cxn ang="0">
                    <a:pos x="946" y="128"/>
                  </a:cxn>
                  <a:cxn ang="0">
                    <a:pos x="942" y="68"/>
                  </a:cxn>
                  <a:cxn ang="0">
                    <a:pos x="843" y="17"/>
                  </a:cxn>
                  <a:cxn ang="0">
                    <a:pos x="789" y="14"/>
                  </a:cxn>
                  <a:cxn ang="0">
                    <a:pos x="720" y="63"/>
                  </a:cxn>
                  <a:cxn ang="0">
                    <a:pos x="587" y="131"/>
                  </a:cxn>
                  <a:cxn ang="0">
                    <a:pos x="517" y="129"/>
                  </a:cxn>
                  <a:cxn ang="0">
                    <a:pos x="448" y="131"/>
                  </a:cxn>
                  <a:cxn ang="0">
                    <a:pos x="373" y="138"/>
                  </a:cxn>
                  <a:cxn ang="0">
                    <a:pos x="276" y="207"/>
                  </a:cxn>
                  <a:cxn ang="0">
                    <a:pos x="218" y="236"/>
                  </a:cxn>
                  <a:cxn ang="0">
                    <a:pos x="157" y="262"/>
                  </a:cxn>
                  <a:cxn ang="0">
                    <a:pos x="198" y="277"/>
                  </a:cxn>
                  <a:cxn ang="0">
                    <a:pos x="151" y="303"/>
                  </a:cxn>
                  <a:cxn ang="0">
                    <a:pos x="151" y="310"/>
                  </a:cxn>
                  <a:cxn ang="0">
                    <a:pos x="97" y="314"/>
                  </a:cxn>
                  <a:cxn ang="0">
                    <a:pos x="80" y="321"/>
                  </a:cxn>
                  <a:cxn ang="0">
                    <a:pos x="37" y="357"/>
                  </a:cxn>
                  <a:cxn ang="0">
                    <a:pos x="26" y="399"/>
                  </a:cxn>
                  <a:cxn ang="0">
                    <a:pos x="66" y="411"/>
                  </a:cxn>
                  <a:cxn ang="0">
                    <a:pos x="73" y="446"/>
                  </a:cxn>
                  <a:cxn ang="0">
                    <a:pos x="79" y="459"/>
                  </a:cxn>
                  <a:cxn ang="0">
                    <a:pos x="69" y="453"/>
                  </a:cxn>
                  <a:cxn ang="0">
                    <a:pos x="71" y="478"/>
                  </a:cxn>
                  <a:cxn ang="0">
                    <a:pos x="107" y="496"/>
                  </a:cxn>
                  <a:cxn ang="0">
                    <a:pos x="110" y="510"/>
                  </a:cxn>
                  <a:cxn ang="0">
                    <a:pos x="130" y="524"/>
                  </a:cxn>
                  <a:cxn ang="0">
                    <a:pos x="128" y="540"/>
                  </a:cxn>
                  <a:cxn ang="0">
                    <a:pos x="150" y="548"/>
                  </a:cxn>
                  <a:cxn ang="0">
                    <a:pos x="147" y="554"/>
                  </a:cxn>
                  <a:cxn ang="0">
                    <a:pos x="162" y="556"/>
                  </a:cxn>
                  <a:cxn ang="0">
                    <a:pos x="175" y="543"/>
                  </a:cxn>
                  <a:cxn ang="0">
                    <a:pos x="208" y="545"/>
                  </a:cxn>
                  <a:cxn ang="0">
                    <a:pos x="221" y="551"/>
                  </a:cxn>
                  <a:cxn ang="0">
                    <a:pos x="241" y="560"/>
                  </a:cxn>
                  <a:cxn ang="0">
                    <a:pos x="315" y="546"/>
                  </a:cxn>
                  <a:cxn ang="0">
                    <a:pos x="391" y="513"/>
                  </a:cxn>
                  <a:cxn ang="0">
                    <a:pos x="563" y="456"/>
                  </a:cxn>
                  <a:cxn ang="0">
                    <a:pos x="606" y="438"/>
                  </a:cxn>
                  <a:cxn ang="0">
                    <a:pos x="631" y="472"/>
                  </a:cxn>
                  <a:cxn ang="0">
                    <a:pos x="645" y="413"/>
                  </a:cxn>
                  <a:cxn ang="0">
                    <a:pos x="707" y="377"/>
                  </a:cxn>
                  <a:cxn ang="0">
                    <a:pos x="865" y="297"/>
                  </a:cxn>
                  <a:cxn ang="0">
                    <a:pos x="910" y="253"/>
                  </a:cxn>
                  <a:cxn ang="0">
                    <a:pos x="975" y="238"/>
                  </a:cxn>
                  <a:cxn ang="0">
                    <a:pos x="1020" y="222"/>
                  </a:cxn>
                </a:cxnLst>
                <a:rect l="0" t="0" r="r" b="b"/>
                <a:pathLst>
                  <a:path w="1022" h="573">
                    <a:moveTo>
                      <a:pt x="91" y="305"/>
                    </a:moveTo>
                    <a:cubicBezTo>
                      <a:pt x="82" y="306"/>
                      <a:pt x="85" y="312"/>
                      <a:pt x="91" y="310"/>
                    </a:cubicBezTo>
                    <a:cubicBezTo>
                      <a:pt x="100" y="308"/>
                      <a:pt x="101" y="304"/>
                      <a:pt x="91" y="305"/>
                    </a:cubicBezTo>
                    <a:close/>
                    <a:moveTo>
                      <a:pt x="41" y="327"/>
                    </a:moveTo>
                    <a:cubicBezTo>
                      <a:pt x="24" y="340"/>
                      <a:pt x="24" y="340"/>
                      <a:pt x="24" y="340"/>
                    </a:cubicBezTo>
                    <a:cubicBezTo>
                      <a:pt x="30" y="347"/>
                      <a:pt x="30" y="347"/>
                      <a:pt x="30" y="347"/>
                    </a:cubicBezTo>
                    <a:cubicBezTo>
                      <a:pt x="26" y="360"/>
                      <a:pt x="26" y="360"/>
                      <a:pt x="26" y="360"/>
                    </a:cubicBezTo>
                    <a:cubicBezTo>
                      <a:pt x="33" y="355"/>
                      <a:pt x="33" y="355"/>
                      <a:pt x="33" y="355"/>
                    </a:cubicBezTo>
                    <a:cubicBezTo>
                      <a:pt x="35" y="347"/>
                      <a:pt x="35" y="347"/>
                      <a:pt x="35" y="347"/>
                    </a:cubicBezTo>
                    <a:cubicBezTo>
                      <a:pt x="49" y="328"/>
                      <a:pt x="49" y="328"/>
                      <a:pt x="49" y="328"/>
                    </a:cubicBezTo>
                    <a:cubicBezTo>
                      <a:pt x="64" y="318"/>
                      <a:pt x="64" y="318"/>
                      <a:pt x="64" y="318"/>
                    </a:cubicBezTo>
                    <a:cubicBezTo>
                      <a:pt x="77" y="302"/>
                      <a:pt x="77" y="302"/>
                      <a:pt x="77" y="302"/>
                    </a:cubicBezTo>
                    <a:cubicBezTo>
                      <a:pt x="77" y="302"/>
                      <a:pt x="79" y="294"/>
                      <a:pt x="80" y="290"/>
                    </a:cubicBezTo>
                    <a:cubicBezTo>
                      <a:pt x="81" y="287"/>
                      <a:pt x="93" y="283"/>
                      <a:pt x="93" y="283"/>
                    </a:cubicBezTo>
                    <a:cubicBezTo>
                      <a:pt x="93" y="283"/>
                      <a:pt x="100" y="284"/>
                      <a:pt x="102" y="283"/>
                    </a:cubicBezTo>
                    <a:cubicBezTo>
                      <a:pt x="105" y="283"/>
                      <a:pt x="106" y="275"/>
                      <a:pt x="113" y="274"/>
                    </a:cubicBezTo>
                    <a:cubicBezTo>
                      <a:pt x="120" y="273"/>
                      <a:pt x="132" y="274"/>
                      <a:pt x="132" y="274"/>
                    </a:cubicBezTo>
                    <a:cubicBezTo>
                      <a:pt x="132" y="270"/>
                      <a:pt x="132" y="270"/>
                      <a:pt x="132" y="270"/>
                    </a:cubicBezTo>
                    <a:cubicBezTo>
                      <a:pt x="135" y="270"/>
                      <a:pt x="135" y="270"/>
                      <a:pt x="135" y="270"/>
                    </a:cubicBezTo>
                    <a:cubicBezTo>
                      <a:pt x="135" y="275"/>
                      <a:pt x="135" y="275"/>
                      <a:pt x="135" y="275"/>
                    </a:cubicBezTo>
                    <a:cubicBezTo>
                      <a:pt x="135" y="275"/>
                      <a:pt x="140" y="275"/>
                      <a:pt x="149" y="272"/>
                    </a:cubicBezTo>
                    <a:cubicBezTo>
                      <a:pt x="157" y="268"/>
                      <a:pt x="153" y="258"/>
                      <a:pt x="153" y="258"/>
                    </a:cubicBezTo>
                    <a:cubicBezTo>
                      <a:pt x="155" y="253"/>
                      <a:pt x="155" y="253"/>
                      <a:pt x="155" y="253"/>
                    </a:cubicBezTo>
                    <a:cubicBezTo>
                      <a:pt x="155" y="253"/>
                      <a:pt x="143" y="253"/>
                      <a:pt x="133" y="251"/>
                    </a:cubicBezTo>
                    <a:cubicBezTo>
                      <a:pt x="123" y="250"/>
                      <a:pt x="112" y="246"/>
                      <a:pt x="103" y="241"/>
                    </a:cubicBezTo>
                    <a:cubicBezTo>
                      <a:pt x="95" y="237"/>
                      <a:pt x="101" y="233"/>
                      <a:pt x="100" y="229"/>
                    </a:cubicBezTo>
                    <a:cubicBezTo>
                      <a:pt x="99" y="226"/>
                      <a:pt x="93" y="223"/>
                      <a:pt x="93" y="223"/>
                    </a:cubicBezTo>
                    <a:cubicBezTo>
                      <a:pt x="96" y="221"/>
                      <a:pt x="96" y="221"/>
                      <a:pt x="96" y="221"/>
                    </a:cubicBezTo>
                    <a:cubicBezTo>
                      <a:pt x="93" y="215"/>
                      <a:pt x="93" y="215"/>
                      <a:pt x="93" y="215"/>
                    </a:cubicBezTo>
                    <a:cubicBezTo>
                      <a:pt x="87" y="218"/>
                      <a:pt x="87" y="218"/>
                      <a:pt x="87" y="218"/>
                    </a:cubicBezTo>
                    <a:cubicBezTo>
                      <a:pt x="84" y="218"/>
                      <a:pt x="84" y="218"/>
                      <a:pt x="84" y="218"/>
                    </a:cubicBezTo>
                    <a:cubicBezTo>
                      <a:pt x="84" y="223"/>
                      <a:pt x="84" y="223"/>
                      <a:pt x="84" y="223"/>
                    </a:cubicBezTo>
                    <a:cubicBezTo>
                      <a:pt x="77" y="220"/>
                      <a:pt x="77" y="220"/>
                      <a:pt x="77" y="220"/>
                    </a:cubicBezTo>
                    <a:cubicBezTo>
                      <a:pt x="77" y="220"/>
                      <a:pt x="72" y="224"/>
                      <a:pt x="67" y="224"/>
                    </a:cubicBezTo>
                    <a:cubicBezTo>
                      <a:pt x="63" y="223"/>
                      <a:pt x="58" y="217"/>
                      <a:pt x="55" y="215"/>
                    </a:cubicBezTo>
                    <a:cubicBezTo>
                      <a:pt x="51" y="215"/>
                      <a:pt x="49" y="221"/>
                      <a:pt x="49" y="221"/>
                    </a:cubicBezTo>
                    <a:cubicBezTo>
                      <a:pt x="49" y="221"/>
                      <a:pt x="48" y="218"/>
                      <a:pt x="46" y="219"/>
                    </a:cubicBezTo>
                    <a:cubicBezTo>
                      <a:pt x="44" y="221"/>
                      <a:pt x="44" y="224"/>
                      <a:pt x="38" y="228"/>
                    </a:cubicBezTo>
                    <a:cubicBezTo>
                      <a:pt x="34" y="233"/>
                      <a:pt x="28" y="229"/>
                      <a:pt x="23" y="230"/>
                    </a:cubicBezTo>
                    <a:cubicBezTo>
                      <a:pt x="20" y="233"/>
                      <a:pt x="25" y="237"/>
                      <a:pt x="24" y="241"/>
                    </a:cubicBezTo>
                    <a:cubicBezTo>
                      <a:pt x="22" y="244"/>
                      <a:pt x="17" y="241"/>
                      <a:pt x="15" y="243"/>
                    </a:cubicBezTo>
                    <a:cubicBezTo>
                      <a:pt x="12" y="245"/>
                      <a:pt x="14" y="250"/>
                      <a:pt x="14" y="250"/>
                    </a:cubicBezTo>
                    <a:cubicBezTo>
                      <a:pt x="21" y="252"/>
                      <a:pt x="21" y="252"/>
                      <a:pt x="21" y="252"/>
                    </a:cubicBezTo>
                    <a:cubicBezTo>
                      <a:pt x="28" y="255"/>
                      <a:pt x="28" y="255"/>
                      <a:pt x="28" y="255"/>
                    </a:cubicBezTo>
                    <a:cubicBezTo>
                      <a:pt x="28" y="255"/>
                      <a:pt x="28" y="261"/>
                      <a:pt x="29" y="264"/>
                    </a:cubicBezTo>
                    <a:cubicBezTo>
                      <a:pt x="30" y="266"/>
                      <a:pt x="36" y="271"/>
                      <a:pt x="34" y="273"/>
                    </a:cubicBezTo>
                    <a:cubicBezTo>
                      <a:pt x="32" y="275"/>
                      <a:pt x="26" y="274"/>
                      <a:pt x="26" y="274"/>
                    </a:cubicBezTo>
                    <a:cubicBezTo>
                      <a:pt x="19" y="281"/>
                      <a:pt x="19" y="281"/>
                      <a:pt x="19" y="281"/>
                    </a:cubicBezTo>
                    <a:cubicBezTo>
                      <a:pt x="20" y="290"/>
                      <a:pt x="20" y="290"/>
                      <a:pt x="20" y="290"/>
                    </a:cubicBezTo>
                    <a:cubicBezTo>
                      <a:pt x="20" y="290"/>
                      <a:pt x="28" y="296"/>
                      <a:pt x="25" y="300"/>
                    </a:cubicBezTo>
                    <a:cubicBezTo>
                      <a:pt x="23" y="305"/>
                      <a:pt x="13" y="316"/>
                      <a:pt x="13" y="316"/>
                    </a:cubicBezTo>
                    <a:cubicBezTo>
                      <a:pt x="13" y="316"/>
                      <a:pt x="14" y="322"/>
                      <a:pt x="18" y="324"/>
                    </a:cubicBezTo>
                    <a:cubicBezTo>
                      <a:pt x="22" y="328"/>
                      <a:pt x="39" y="320"/>
                      <a:pt x="39" y="320"/>
                    </a:cubicBezTo>
                    <a:cubicBezTo>
                      <a:pt x="39" y="320"/>
                      <a:pt x="50" y="314"/>
                      <a:pt x="52" y="318"/>
                    </a:cubicBezTo>
                    <a:cubicBezTo>
                      <a:pt x="53" y="321"/>
                      <a:pt x="41" y="327"/>
                      <a:pt x="41" y="327"/>
                    </a:cubicBezTo>
                    <a:close/>
                    <a:moveTo>
                      <a:pt x="13" y="350"/>
                    </a:moveTo>
                    <a:cubicBezTo>
                      <a:pt x="13" y="350"/>
                      <a:pt x="0" y="354"/>
                      <a:pt x="0" y="361"/>
                    </a:cubicBezTo>
                    <a:cubicBezTo>
                      <a:pt x="0" y="361"/>
                      <a:pt x="2" y="364"/>
                      <a:pt x="8" y="361"/>
                    </a:cubicBezTo>
                    <a:cubicBezTo>
                      <a:pt x="15" y="357"/>
                      <a:pt x="18" y="355"/>
                      <a:pt x="18" y="355"/>
                    </a:cubicBezTo>
                    <a:cubicBezTo>
                      <a:pt x="15" y="353"/>
                      <a:pt x="15" y="353"/>
                      <a:pt x="15" y="353"/>
                    </a:cubicBezTo>
                    <a:lnTo>
                      <a:pt x="13" y="350"/>
                    </a:lnTo>
                    <a:close/>
                    <a:moveTo>
                      <a:pt x="1019" y="210"/>
                    </a:moveTo>
                    <a:cubicBezTo>
                      <a:pt x="1015" y="206"/>
                      <a:pt x="1013" y="209"/>
                      <a:pt x="1004" y="209"/>
                    </a:cubicBezTo>
                    <a:cubicBezTo>
                      <a:pt x="997" y="209"/>
                      <a:pt x="1003" y="198"/>
                      <a:pt x="996" y="191"/>
                    </a:cubicBezTo>
                    <a:cubicBezTo>
                      <a:pt x="988" y="182"/>
                      <a:pt x="973" y="186"/>
                      <a:pt x="973" y="186"/>
                    </a:cubicBezTo>
                    <a:cubicBezTo>
                      <a:pt x="971" y="155"/>
                      <a:pt x="971" y="155"/>
                      <a:pt x="971" y="155"/>
                    </a:cubicBezTo>
                    <a:cubicBezTo>
                      <a:pt x="963" y="159"/>
                      <a:pt x="963" y="159"/>
                      <a:pt x="963" y="159"/>
                    </a:cubicBezTo>
                    <a:cubicBezTo>
                      <a:pt x="963" y="159"/>
                      <a:pt x="964" y="150"/>
                      <a:pt x="959" y="146"/>
                    </a:cubicBezTo>
                    <a:cubicBezTo>
                      <a:pt x="955" y="141"/>
                      <a:pt x="950" y="138"/>
                      <a:pt x="950" y="138"/>
                    </a:cubicBezTo>
                    <a:cubicBezTo>
                      <a:pt x="946" y="128"/>
                      <a:pt x="946" y="128"/>
                      <a:pt x="946" y="128"/>
                    </a:cubicBezTo>
                    <a:cubicBezTo>
                      <a:pt x="938" y="128"/>
                      <a:pt x="938" y="128"/>
                      <a:pt x="938" y="128"/>
                    </a:cubicBezTo>
                    <a:cubicBezTo>
                      <a:pt x="938" y="128"/>
                      <a:pt x="920" y="108"/>
                      <a:pt x="919" y="104"/>
                    </a:cubicBezTo>
                    <a:cubicBezTo>
                      <a:pt x="919" y="100"/>
                      <a:pt x="929" y="98"/>
                      <a:pt x="934" y="95"/>
                    </a:cubicBezTo>
                    <a:cubicBezTo>
                      <a:pt x="938" y="92"/>
                      <a:pt x="932" y="82"/>
                      <a:pt x="930" y="75"/>
                    </a:cubicBezTo>
                    <a:cubicBezTo>
                      <a:pt x="927" y="68"/>
                      <a:pt x="942" y="68"/>
                      <a:pt x="942" y="68"/>
                    </a:cubicBezTo>
                    <a:cubicBezTo>
                      <a:pt x="942" y="68"/>
                      <a:pt x="934" y="61"/>
                      <a:pt x="922" y="59"/>
                    </a:cubicBezTo>
                    <a:cubicBezTo>
                      <a:pt x="910" y="55"/>
                      <a:pt x="906" y="62"/>
                      <a:pt x="898" y="68"/>
                    </a:cubicBezTo>
                    <a:cubicBezTo>
                      <a:pt x="890" y="73"/>
                      <a:pt x="882" y="68"/>
                      <a:pt x="871" y="59"/>
                    </a:cubicBezTo>
                    <a:cubicBezTo>
                      <a:pt x="861" y="49"/>
                      <a:pt x="864" y="36"/>
                      <a:pt x="861" y="25"/>
                    </a:cubicBezTo>
                    <a:cubicBezTo>
                      <a:pt x="858" y="16"/>
                      <a:pt x="849" y="17"/>
                      <a:pt x="843" y="17"/>
                    </a:cubicBezTo>
                    <a:cubicBezTo>
                      <a:pt x="838" y="17"/>
                      <a:pt x="841" y="8"/>
                      <a:pt x="838" y="8"/>
                    </a:cubicBezTo>
                    <a:cubicBezTo>
                      <a:pt x="834" y="8"/>
                      <a:pt x="829" y="14"/>
                      <a:pt x="829" y="14"/>
                    </a:cubicBezTo>
                    <a:cubicBezTo>
                      <a:pt x="803" y="4"/>
                      <a:pt x="803" y="4"/>
                      <a:pt x="803" y="4"/>
                    </a:cubicBezTo>
                    <a:cubicBezTo>
                      <a:pt x="803" y="4"/>
                      <a:pt x="799" y="0"/>
                      <a:pt x="792" y="0"/>
                    </a:cubicBezTo>
                    <a:cubicBezTo>
                      <a:pt x="787" y="0"/>
                      <a:pt x="789" y="14"/>
                      <a:pt x="789" y="14"/>
                    </a:cubicBezTo>
                    <a:cubicBezTo>
                      <a:pt x="789" y="14"/>
                      <a:pt x="781" y="15"/>
                      <a:pt x="773" y="16"/>
                    </a:cubicBezTo>
                    <a:cubicBezTo>
                      <a:pt x="766" y="17"/>
                      <a:pt x="757" y="28"/>
                      <a:pt x="757" y="28"/>
                    </a:cubicBezTo>
                    <a:cubicBezTo>
                      <a:pt x="741" y="30"/>
                      <a:pt x="741" y="30"/>
                      <a:pt x="741" y="30"/>
                    </a:cubicBezTo>
                    <a:cubicBezTo>
                      <a:pt x="726" y="59"/>
                      <a:pt x="726" y="59"/>
                      <a:pt x="726" y="59"/>
                    </a:cubicBezTo>
                    <a:cubicBezTo>
                      <a:pt x="720" y="63"/>
                      <a:pt x="720" y="63"/>
                      <a:pt x="720" y="63"/>
                    </a:cubicBezTo>
                    <a:cubicBezTo>
                      <a:pt x="720" y="63"/>
                      <a:pt x="721" y="69"/>
                      <a:pt x="703" y="85"/>
                    </a:cubicBezTo>
                    <a:cubicBezTo>
                      <a:pt x="685" y="101"/>
                      <a:pt x="665" y="99"/>
                      <a:pt x="665" y="99"/>
                    </a:cubicBezTo>
                    <a:cubicBezTo>
                      <a:pt x="665" y="99"/>
                      <a:pt x="662" y="95"/>
                      <a:pt x="651" y="98"/>
                    </a:cubicBezTo>
                    <a:cubicBezTo>
                      <a:pt x="640" y="101"/>
                      <a:pt x="624" y="118"/>
                      <a:pt x="614" y="126"/>
                    </a:cubicBezTo>
                    <a:cubicBezTo>
                      <a:pt x="604" y="132"/>
                      <a:pt x="587" y="131"/>
                      <a:pt x="587" y="131"/>
                    </a:cubicBezTo>
                    <a:cubicBezTo>
                      <a:pt x="578" y="126"/>
                      <a:pt x="578" y="126"/>
                      <a:pt x="578" y="126"/>
                    </a:cubicBezTo>
                    <a:cubicBezTo>
                      <a:pt x="569" y="125"/>
                      <a:pt x="569" y="125"/>
                      <a:pt x="569" y="125"/>
                    </a:cubicBezTo>
                    <a:cubicBezTo>
                      <a:pt x="564" y="138"/>
                      <a:pt x="564" y="138"/>
                      <a:pt x="564" y="138"/>
                    </a:cubicBezTo>
                    <a:cubicBezTo>
                      <a:pt x="564" y="138"/>
                      <a:pt x="542" y="133"/>
                      <a:pt x="539" y="130"/>
                    </a:cubicBezTo>
                    <a:cubicBezTo>
                      <a:pt x="534" y="127"/>
                      <a:pt x="517" y="129"/>
                      <a:pt x="517" y="129"/>
                    </a:cubicBezTo>
                    <a:cubicBezTo>
                      <a:pt x="517" y="129"/>
                      <a:pt x="522" y="142"/>
                      <a:pt x="515" y="145"/>
                    </a:cubicBezTo>
                    <a:cubicBezTo>
                      <a:pt x="509" y="148"/>
                      <a:pt x="490" y="136"/>
                      <a:pt x="490" y="136"/>
                    </a:cubicBezTo>
                    <a:cubicBezTo>
                      <a:pt x="490" y="123"/>
                      <a:pt x="490" y="123"/>
                      <a:pt x="490" y="123"/>
                    </a:cubicBezTo>
                    <a:cubicBezTo>
                      <a:pt x="477" y="118"/>
                      <a:pt x="477" y="118"/>
                      <a:pt x="477" y="118"/>
                    </a:cubicBezTo>
                    <a:cubicBezTo>
                      <a:pt x="477" y="118"/>
                      <a:pt x="467" y="134"/>
                      <a:pt x="448" y="131"/>
                    </a:cubicBezTo>
                    <a:cubicBezTo>
                      <a:pt x="428" y="129"/>
                      <a:pt x="434" y="111"/>
                      <a:pt x="434" y="111"/>
                    </a:cubicBezTo>
                    <a:cubicBezTo>
                      <a:pt x="423" y="113"/>
                      <a:pt x="423" y="113"/>
                      <a:pt x="423" y="113"/>
                    </a:cubicBezTo>
                    <a:cubicBezTo>
                      <a:pt x="423" y="113"/>
                      <a:pt x="421" y="117"/>
                      <a:pt x="419" y="122"/>
                    </a:cubicBezTo>
                    <a:cubicBezTo>
                      <a:pt x="417" y="126"/>
                      <a:pt x="403" y="131"/>
                      <a:pt x="395" y="130"/>
                    </a:cubicBezTo>
                    <a:cubicBezTo>
                      <a:pt x="386" y="128"/>
                      <a:pt x="381" y="134"/>
                      <a:pt x="373" y="138"/>
                    </a:cubicBezTo>
                    <a:cubicBezTo>
                      <a:pt x="364" y="142"/>
                      <a:pt x="348" y="143"/>
                      <a:pt x="348" y="143"/>
                    </a:cubicBezTo>
                    <a:cubicBezTo>
                      <a:pt x="326" y="159"/>
                      <a:pt x="326" y="159"/>
                      <a:pt x="326" y="159"/>
                    </a:cubicBezTo>
                    <a:cubicBezTo>
                      <a:pt x="300" y="178"/>
                      <a:pt x="300" y="178"/>
                      <a:pt x="300" y="178"/>
                    </a:cubicBezTo>
                    <a:cubicBezTo>
                      <a:pt x="300" y="186"/>
                      <a:pt x="300" y="186"/>
                      <a:pt x="300" y="186"/>
                    </a:cubicBezTo>
                    <a:cubicBezTo>
                      <a:pt x="276" y="207"/>
                      <a:pt x="276" y="207"/>
                      <a:pt x="276" y="207"/>
                    </a:cubicBezTo>
                    <a:cubicBezTo>
                      <a:pt x="269" y="213"/>
                      <a:pt x="269" y="213"/>
                      <a:pt x="269" y="213"/>
                    </a:cubicBezTo>
                    <a:cubicBezTo>
                      <a:pt x="269" y="213"/>
                      <a:pt x="271" y="222"/>
                      <a:pt x="264" y="230"/>
                    </a:cubicBezTo>
                    <a:cubicBezTo>
                      <a:pt x="255" y="239"/>
                      <a:pt x="239" y="238"/>
                      <a:pt x="239" y="238"/>
                    </a:cubicBezTo>
                    <a:cubicBezTo>
                      <a:pt x="220" y="240"/>
                      <a:pt x="220" y="240"/>
                      <a:pt x="220" y="240"/>
                    </a:cubicBezTo>
                    <a:cubicBezTo>
                      <a:pt x="218" y="236"/>
                      <a:pt x="218" y="236"/>
                      <a:pt x="218" y="236"/>
                    </a:cubicBezTo>
                    <a:cubicBezTo>
                      <a:pt x="206" y="245"/>
                      <a:pt x="206" y="245"/>
                      <a:pt x="206" y="245"/>
                    </a:cubicBezTo>
                    <a:cubicBezTo>
                      <a:pt x="197" y="245"/>
                      <a:pt x="197" y="245"/>
                      <a:pt x="197" y="245"/>
                    </a:cubicBezTo>
                    <a:cubicBezTo>
                      <a:pt x="194" y="247"/>
                      <a:pt x="187" y="251"/>
                      <a:pt x="184" y="252"/>
                    </a:cubicBezTo>
                    <a:cubicBezTo>
                      <a:pt x="180" y="253"/>
                      <a:pt x="166" y="251"/>
                      <a:pt x="161" y="253"/>
                    </a:cubicBezTo>
                    <a:cubicBezTo>
                      <a:pt x="154" y="255"/>
                      <a:pt x="157" y="262"/>
                      <a:pt x="157" y="262"/>
                    </a:cubicBezTo>
                    <a:cubicBezTo>
                      <a:pt x="157" y="262"/>
                      <a:pt x="156" y="266"/>
                      <a:pt x="155" y="270"/>
                    </a:cubicBezTo>
                    <a:cubicBezTo>
                      <a:pt x="155" y="273"/>
                      <a:pt x="171" y="275"/>
                      <a:pt x="171" y="275"/>
                    </a:cubicBezTo>
                    <a:cubicBezTo>
                      <a:pt x="170" y="278"/>
                      <a:pt x="170" y="278"/>
                      <a:pt x="170" y="278"/>
                    </a:cubicBezTo>
                    <a:cubicBezTo>
                      <a:pt x="177" y="280"/>
                      <a:pt x="177" y="280"/>
                      <a:pt x="177" y="280"/>
                    </a:cubicBezTo>
                    <a:cubicBezTo>
                      <a:pt x="177" y="280"/>
                      <a:pt x="197" y="275"/>
                      <a:pt x="198" y="277"/>
                    </a:cubicBezTo>
                    <a:cubicBezTo>
                      <a:pt x="198" y="280"/>
                      <a:pt x="186" y="283"/>
                      <a:pt x="186" y="283"/>
                    </a:cubicBezTo>
                    <a:cubicBezTo>
                      <a:pt x="183" y="282"/>
                      <a:pt x="183" y="282"/>
                      <a:pt x="183" y="282"/>
                    </a:cubicBezTo>
                    <a:cubicBezTo>
                      <a:pt x="173" y="287"/>
                      <a:pt x="173" y="287"/>
                      <a:pt x="173" y="287"/>
                    </a:cubicBezTo>
                    <a:cubicBezTo>
                      <a:pt x="156" y="291"/>
                      <a:pt x="156" y="291"/>
                      <a:pt x="156" y="291"/>
                    </a:cubicBezTo>
                    <a:cubicBezTo>
                      <a:pt x="151" y="303"/>
                      <a:pt x="151" y="303"/>
                      <a:pt x="151" y="303"/>
                    </a:cubicBezTo>
                    <a:cubicBezTo>
                      <a:pt x="156" y="305"/>
                      <a:pt x="156" y="305"/>
                      <a:pt x="156" y="305"/>
                    </a:cubicBezTo>
                    <a:cubicBezTo>
                      <a:pt x="156" y="305"/>
                      <a:pt x="161" y="303"/>
                      <a:pt x="165" y="303"/>
                    </a:cubicBezTo>
                    <a:cubicBezTo>
                      <a:pt x="171" y="303"/>
                      <a:pt x="171" y="303"/>
                      <a:pt x="171" y="303"/>
                    </a:cubicBezTo>
                    <a:cubicBezTo>
                      <a:pt x="171" y="303"/>
                      <a:pt x="168" y="306"/>
                      <a:pt x="165" y="309"/>
                    </a:cubicBezTo>
                    <a:cubicBezTo>
                      <a:pt x="162" y="312"/>
                      <a:pt x="151" y="310"/>
                      <a:pt x="151" y="310"/>
                    </a:cubicBezTo>
                    <a:cubicBezTo>
                      <a:pt x="144" y="314"/>
                      <a:pt x="144" y="314"/>
                      <a:pt x="144" y="314"/>
                    </a:cubicBezTo>
                    <a:cubicBezTo>
                      <a:pt x="136" y="313"/>
                      <a:pt x="136" y="313"/>
                      <a:pt x="136" y="313"/>
                    </a:cubicBezTo>
                    <a:cubicBezTo>
                      <a:pt x="110" y="318"/>
                      <a:pt x="110" y="318"/>
                      <a:pt x="110" y="318"/>
                    </a:cubicBezTo>
                    <a:cubicBezTo>
                      <a:pt x="114" y="312"/>
                      <a:pt x="114" y="312"/>
                      <a:pt x="114" y="312"/>
                    </a:cubicBezTo>
                    <a:cubicBezTo>
                      <a:pt x="97" y="314"/>
                      <a:pt x="97" y="314"/>
                      <a:pt x="97" y="314"/>
                    </a:cubicBezTo>
                    <a:cubicBezTo>
                      <a:pt x="97" y="317"/>
                      <a:pt x="97" y="317"/>
                      <a:pt x="97" y="317"/>
                    </a:cubicBezTo>
                    <a:cubicBezTo>
                      <a:pt x="106" y="322"/>
                      <a:pt x="106" y="322"/>
                      <a:pt x="106" y="322"/>
                    </a:cubicBezTo>
                    <a:cubicBezTo>
                      <a:pt x="106" y="322"/>
                      <a:pt x="102" y="327"/>
                      <a:pt x="96" y="328"/>
                    </a:cubicBezTo>
                    <a:cubicBezTo>
                      <a:pt x="80" y="328"/>
                      <a:pt x="80" y="328"/>
                      <a:pt x="80" y="328"/>
                    </a:cubicBezTo>
                    <a:cubicBezTo>
                      <a:pt x="80" y="321"/>
                      <a:pt x="80" y="321"/>
                      <a:pt x="80" y="321"/>
                    </a:cubicBezTo>
                    <a:cubicBezTo>
                      <a:pt x="69" y="324"/>
                      <a:pt x="69" y="324"/>
                      <a:pt x="69" y="324"/>
                    </a:cubicBezTo>
                    <a:cubicBezTo>
                      <a:pt x="69" y="324"/>
                      <a:pt x="67" y="330"/>
                      <a:pt x="63" y="330"/>
                    </a:cubicBezTo>
                    <a:cubicBezTo>
                      <a:pt x="58" y="330"/>
                      <a:pt x="50" y="333"/>
                      <a:pt x="48" y="337"/>
                    </a:cubicBezTo>
                    <a:cubicBezTo>
                      <a:pt x="47" y="341"/>
                      <a:pt x="45" y="346"/>
                      <a:pt x="40" y="348"/>
                    </a:cubicBezTo>
                    <a:cubicBezTo>
                      <a:pt x="35" y="349"/>
                      <a:pt x="38" y="353"/>
                      <a:pt x="37" y="357"/>
                    </a:cubicBezTo>
                    <a:cubicBezTo>
                      <a:pt x="36" y="362"/>
                      <a:pt x="29" y="363"/>
                      <a:pt x="29" y="363"/>
                    </a:cubicBezTo>
                    <a:cubicBezTo>
                      <a:pt x="28" y="368"/>
                      <a:pt x="28" y="368"/>
                      <a:pt x="28" y="368"/>
                    </a:cubicBezTo>
                    <a:cubicBezTo>
                      <a:pt x="29" y="383"/>
                      <a:pt x="29" y="383"/>
                      <a:pt x="29" y="383"/>
                    </a:cubicBezTo>
                    <a:cubicBezTo>
                      <a:pt x="32" y="384"/>
                      <a:pt x="32" y="384"/>
                      <a:pt x="32" y="384"/>
                    </a:cubicBezTo>
                    <a:cubicBezTo>
                      <a:pt x="26" y="399"/>
                      <a:pt x="26" y="399"/>
                      <a:pt x="26" y="399"/>
                    </a:cubicBezTo>
                    <a:cubicBezTo>
                      <a:pt x="51" y="388"/>
                      <a:pt x="51" y="388"/>
                      <a:pt x="51" y="388"/>
                    </a:cubicBezTo>
                    <a:cubicBezTo>
                      <a:pt x="51" y="388"/>
                      <a:pt x="68" y="380"/>
                      <a:pt x="73" y="385"/>
                    </a:cubicBezTo>
                    <a:cubicBezTo>
                      <a:pt x="78" y="391"/>
                      <a:pt x="58" y="404"/>
                      <a:pt x="58" y="404"/>
                    </a:cubicBezTo>
                    <a:cubicBezTo>
                      <a:pt x="65" y="407"/>
                      <a:pt x="65" y="407"/>
                      <a:pt x="65" y="407"/>
                    </a:cubicBezTo>
                    <a:cubicBezTo>
                      <a:pt x="66" y="411"/>
                      <a:pt x="66" y="411"/>
                      <a:pt x="66" y="411"/>
                    </a:cubicBezTo>
                    <a:cubicBezTo>
                      <a:pt x="74" y="413"/>
                      <a:pt x="74" y="413"/>
                      <a:pt x="74" y="413"/>
                    </a:cubicBezTo>
                    <a:cubicBezTo>
                      <a:pt x="74" y="413"/>
                      <a:pt x="71" y="419"/>
                      <a:pt x="72" y="424"/>
                    </a:cubicBezTo>
                    <a:cubicBezTo>
                      <a:pt x="73" y="429"/>
                      <a:pt x="82" y="422"/>
                      <a:pt x="85" y="426"/>
                    </a:cubicBezTo>
                    <a:cubicBezTo>
                      <a:pt x="88" y="430"/>
                      <a:pt x="80" y="434"/>
                      <a:pt x="75" y="436"/>
                    </a:cubicBezTo>
                    <a:cubicBezTo>
                      <a:pt x="71" y="438"/>
                      <a:pt x="72" y="443"/>
                      <a:pt x="73" y="446"/>
                    </a:cubicBezTo>
                    <a:cubicBezTo>
                      <a:pt x="74" y="448"/>
                      <a:pt x="79" y="446"/>
                      <a:pt x="79" y="446"/>
                    </a:cubicBezTo>
                    <a:cubicBezTo>
                      <a:pt x="79" y="450"/>
                      <a:pt x="79" y="450"/>
                      <a:pt x="79" y="450"/>
                    </a:cubicBezTo>
                    <a:cubicBezTo>
                      <a:pt x="85" y="453"/>
                      <a:pt x="85" y="453"/>
                      <a:pt x="85" y="453"/>
                    </a:cubicBezTo>
                    <a:cubicBezTo>
                      <a:pt x="95" y="453"/>
                      <a:pt x="95" y="453"/>
                      <a:pt x="95" y="453"/>
                    </a:cubicBezTo>
                    <a:cubicBezTo>
                      <a:pt x="79" y="459"/>
                      <a:pt x="79" y="459"/>
                      <a:pt x="79" y="459"/>
                    </a:cubicBezTo>
                    <a:cubicBezTo>
                      <a:pt x="74" y="457"/>
                      <a:pt x="74" y="457"/>
                      <a:pt x="74" y="457"/>
                    </a:cubicBezTo>
                    <a:cubicBezTo>
                      <a:pt x="71" y="458"/>
                      <a:pt x="71" y="458"/>
                      <a:pt x="71" y="458"/>
                    </a:cubicBezTo>
                    <a:cubicBezTo>
                      <a:pt x="72" y="463"/>
                      <a:pt x="72" y="463"/>
                      <a:pt x="72" y="463"/>
                    </a:cubicBezTo>
                    <a:cubicBezTo>
                      <a:pt x="67" y="458"/>
                      <a:pt x="67" y="458"/>
                      <a:pt x="67" y="458"/>
                    </a:cubicBezTo>
                    <a:cubicBezTo>
                      <a:pt x="69" y="453"/>
                      <a:pt x="69" y="453"/>
                      <a:pt x="69" y="453"/>
                    </a:cubicBezTo>
                    <a:cubicBezTo>
                      <a:pt x="69" y="453"/>
                      <a:pt x="59" y="444"/>
                      <a:pt x="55" y="445"/>
                    </a:cubicBezTo>
                    <a:cubicBezTo>
                      <a:pt x="50" y="446"/>
                      <a:pt x="56" y="458"/>
                      <a:pt x="56" y="458"/>
                    </a:cubicBezTo>
                    <a:cubicBezTo>
                      <a:pt x="56" y="458"/>
                      <a:pt x="61" y="458"/>
                      <a:pt x="61" y="464"/>
                    </a:cubicBezTo>
                    <a:cubicBezTo>
                      <a:pt x="62" y="471"/>
                      <a:pt x="52" y="471"/>
                      <a:pt x="52" y="471"/>
                    </a:cubicBezTo>
                    <a:cubicBezTo>
                      <a:pt x="71" y="478"/>
                      <a:pt x="71" y="478"/>
                      <a:pt x="71" y="478"/>
                    </a:cubicBezTo>
                    <a:cubicBezTo>
                      <a:pt x="81" y="471"/>
                      <a:pt x="81" y="471"/>
                      <a:pt x="81" y="471"/>
                    </a:cubicBezTo>
                    <a:cubicBezTo>
                      <a:pt x="86" y="481"/>
                      <a:pt x="86" y="481"/>
                      <a:pt x="86" y="481"/>
                    </a:cubicBezTo>
                    <a:cubicBezTo>
                      <a:pt x="91" y="478"/>
                      <a:pt x="91" y="478"/>
                      <a:pt x="91" y="478"/>
                    </a:cubicBezTo>
                    <a:cubicBezTo>
                      <a:pt x="91" y="478"/>
                      <a:pt x="101" y="478"/>
                      <a:pt x="108" y="480"/>
                    </a:cubicBezTo>
                    <a:cubicBezTo>
                      <a:pt x="115" y="482"/>
                      <a:pt x="107" y="496"/>
                      <a:pt x="107" y="496"/>
                    </a:cubicBezTo>
                    <a:cubicBezTo>
                      <a:pt x="100" y="503"/>
                      <a:pt x="100" y="503"/>
                      <a:pt x="100" y="503"/>
                    </a:cubicBezTo>
                    <a:cubicBezTo>
                      <a:pt x="111" y="505"/>
                      <a:pt x="111" y="505"/>
                      <a:pt x="111" y="505"/>
                    </a:cubicBezTo>
                    <a:cubicBezTo>
                      <a:pt x="111" y="507"/>
                      <a:pt x="111" y="507"/>
                      <a:pt x="111" y="507"/>
                    </a:cubicBezTo>
                    <a:cubicBezTo>
                      <a:pt x="127" y="509"/>
                      <a:pt x="127" y="509"/>
                      <a:pt x="127" y="509"/>
                    </a:cubicBezTo>
                    <a:cubicBezTo>
                      <a:pt x="110" y="510"/>
                      <a:pt x="110" y="510"/>
                      <a:pt x="110" y="510"/>
                    </a:cubicBezTo>
                    <a:cubicBezTo>
                      <a:pt x="112" y="520"/>
                      <a:pt x="112" y="520"/>
                      <a:pt x="112" y="520"/>
                    </a:cubicBezTo>
                    <a:cubicBezTo>
                      <a:pt x="118" y="519"/>
                      <a:pt x="118" y="519"/>
                      <a:pt x="118" y="519"/>
                    </a:cubicBezTo>
                    <a:cubicBezTo>
                      <a:pt x="123" y="515"/>
                      <a:pt x="123" y="515"/>
                      <a:pt x="123" y="515"/>
                    </a:cubicBezTo>
                    <a:cubicBezTo>
                      <a:pt x="122" y="520"/>
                      <a:pt x="122" y="520"/>
                      <a:pt x="122" y="520"/>
                    </a:cubicBezTo>
                    <a:cubicBezTo>
                      <a:pt x="130" y="524"/>
                      <a:pt x="130" y="524"/>
                      <a:pt x="130" y="524"/>
                    </a:cubicBezTo>
                    <a:cubicBezTo>
                      <a:pt x="130" y="524"/>
                      <a:pt x="135" y="522"/>
                      <a:pt x="134" y="527"/>
                    </a:cubicBezTo>
                    <a:cubicBezTo>
                      <a:pt x="134" y="532"/>
                      <a:pt x="129" y="535"/>
                      <a:pt x="129" y="535"/>
                    </a:cubicBezTo>
                    <a:cubicBezTo>
                      <a:pt x="129" y="535"/>
                      <a:pt x="123" y="529"/>
                      <a:pt x="119" y="536"/>
                    </a:cubicBezTo>
                    <a:cubicBezTo>
                      <a:pt x="115" y="542"/>
                      <a:pt x="122" y="543"/>
                      <a:pt x="122" y="543"/>
                    </a:cubicBezTo>
                    <a:cubicBezTo>
                      <a:pt x="128" y="540"/>
                      <a:pt x="128" y="540"/>
                      <a:pt x="128" y="540"/>
                    </a:cubicBezTo>
                    <a:cubicBezTo>
                      <a:pt x="133" y="541"/>
                      <a:pt x="133" y="541"/>
                      <a:pt x="133" y="541"/>
                    </a:cubicBezTo>
                    <a:cubicBezTo>
                      <a:pt x="176" y="530"/>
                      <a:pt x="176" y="530"/>
                      <a:pt x="176" y="530"/>
                    </a:cubicBezTo>
                    <a:cubicBezTo>
                      <a:pt x="162" y="540"/>
                      <a:pt x="162" y="540"/>
                      <a:pt x="162" y="540"/>
                    </a:cubicBezTo>
                    <a:cubicBezTo>
                      <a:pt x="163" y="546"/>
                      <a:pt x="163" y="546"/>
                      <a:pt x="163" y="546"/>
                    </a:cubicBezTo>
                    <a:cubicBezTo>
                      <a:pt x="150" y="548"/>
                      <a:pt x="150" y="548"/>
                      <a:pt x="150" y="548"/>
                    </a:cubicBezTo>
                    <a:cubicBezTo>
                      <a:pt x="137" y="555"/>
                      <a:pt x="137" y="555"/>
                      <a:pt x="137" y="555"/>
                    </a:cubicBezTo>
                    <a:cubicBezTo>
                      <a:pt x="130" y="561"/>
                      <a:pt x="130" y="561"/>
                      <a:pt x="130" y="561"/>
                    </a:cubicBezTo>
                    <a:cubicBezTo>
                      <a:pt x="132" y="562"/>
                      <a:pt x="132" y="562"/>
                      <a:pt x="132" y="562"/>
                    </a:cubicBezTo>
                    <a:cubicBezTo>
                      <a:pt x="147" y="558"/>
                      <a:pt x="147" y="558"/>
                      <a:pt x="147" y="558"/>
                    </a:cubicBezTo>
                    <a:cubicBezTo>
                      <a:pt x="147" y="554"/>
                      <a:pt x="147" y="554"/>
                      <a:pt x="147" y="554"/>
                    </a:cubicBezTo>
                    <a:cubicBezTo>
                      <a:pt x="153" y="553"/>
                      <a:pt x="153" y="553"/>
                      <a:pt x="153" y="553"/>
                    </a:cubicBezTo>
                    <a:cubicBezTo>
                      <a:pt x="155" y="554"/>
                      <a:pt x="155" y="554"/>
                      <a:pt x="155" y="554"/>
                    </a:cubicBezTo>
                    <a:cubicBezTo>
                      <a:pt x="167" y="548"/>
                      <a:pt x="167" y="548"/>
                      <a:pt x="167" y="548"/>
                    </a:cubicBezTo>
                    <a:cubicBezTo>
                      <a:pt x="168" y="551"/>
                      <a:pt x="168" y="551"/>
                      <a:pt x="168" y="551"/>
                    </a:cubicBezTo>
                    <a:cubicBezTo>
                      <a:pt x="162" y="556"/>
                      <a:pt x="162" y="556"/>
                      <a:pt x="162" y="556"/>
                    </a:cubicBezTo>
                    <a:cubicBezTo>
                      <a:pt x="165" y="558"/>
                      <a:pt x="165" y="558"/>
                      <a:pt x="165" y="558"/>
                    </a:cubicBezTo>
                    <a:cubicBezTo>
                      <a:pt x="162" y="560"/>
                      <a:pt x="162" y="560"/>
                      <a:pt x="162" y="560"/>
                    </a:cubicBezTo>
                    <a:cubicBezTo>
                      <a:pt x="165" y="562"/>
                      <a:pt x="165" y="562"/>
                      <a:pt x="165" y="562"/>
                    </a:cubicBezTo>
                    <a:cubicBezTo>
                      <a:pt x="177" y="550"/>
                      <a:pt x="177" y="550"/>
                      <a:pt x="177" y="550"/>
                    </a:cubicBezTo>
                    <a:cubicBezTo>
                      <a:pt x="175" y="543"/>
                      <a:pt x="175" y="543"/>
                      <a:pt x="175" y="543"/>
                    </a:cubicBezTo>
                    <a:cubicBezTo>
                      <a:pt x="175" y="543"/>
                      <a:pt x="179" y="540"/>
                      <a:pt x="185" y="539"/>
                    </a:cubicBezTo>
                    <a:cubicBezTo>
                      <a:pt x="192" y="538"/>
                      <a:pt x="195" y="545"/>
                      <a:pt x="195" y="545"/>
                    </a:cubicBezTo>
                    <a:cubicBezTo>
                      <a:pt x="206" y="551"/>
                      <a:pt x="206" y="551"/>
                      <a:pt x="206" y="551"/>
                    </a:cubicBezTo>
                    <a:cubicBezTo>
                      <a:pt x="210" y="549"/>
                      <a:pt x="210" y="549"/>
                      <a:pt x="210" y="549"/>
                    </a:cubicBezTo>
                    <a:cubicBezTo>
                      <a:pt x="208" y="545"/>
                      <a:pt x="208" y="545"/>
                      <a:pt x="208" y="545"/>
                    </a:cubicBezTo>
                    <a:cubicBezTo>
                      <a:pt x="212" y="541"/>
                      <a:pt x="212" y="541"/>
                      <a:pt x="212" y="541"/>
                    </a:cubicBezTo>
                    <a:cubicBezTo>
                      <a:pt x="221" y="545"/>
                      <a:pt x="221" y="545"/>
                      <a:pt x="221" y="545"/>
                    </a:cubicBezTo>
                    <a:cubicBezTo>
                      <a:pt x="221" y="545"/>
                      <a:pt x="219" y="546"/>
                      <a:pt x="218" y="548"/>
                    </a:cubicBezTo>
                    <a:cubicBezTo>
                      <a:pt x="216" y="548"/>
                      <a:pt x="217" y="552"/>
                      <a:pt x="217" y="552"/>
                    </a:cubicBezTo>
                    <a:cubicBezTo>
                      <a:pt x="221" y="551"/>
                      <a:pt x="221" y="551"/>
                      <a:pt x="221" y="551"/>
                    </a:cubicBezTo>
                    <a:cubicBezTo>
                      <a:pt x="225" y="557"/>
                      <a:pt x="225" y="557"/>
                      <a:pt x="225" y="557"/>
                    </a:cubicBezTo>
                    <a:cubicBezTo>
                      <a:pt x="223" y="548"/>
                      <a:pt x="223" y="548"/>
                      <a:pt x="223" y="548"/>
                    </a:cubicBezTo>
                    <a:cubicBezTo>
                      <a:pt x="227" y="546"/>
                      <a:pt x="232" y="543"/>
                      <a:pt x="233" y="545"/>
                    </a:cubicBezTo>
                    <a:cubicBezTo>
                      <a:pt x="236" y="548"/>
                      <a:pt x="233" y="552"/>
                      <a:pt x="233" y="552"/>
                    </a:cubicBezTo>
                    <a:cubicBezTo>
                      <a:pt x="241" y="560"/>
                      <a:pt x="241" y="560"/>
                      <a:pt x="241" y="560"/>
                    </a:cubicBezTo>
                    <a:cubicBezTo>
                      <a:pt x="241" y="566"/>
                      <a:pt x="241" y="566"/>
                      <a:pt x="241" y="566"/>
                    </a:cubicBezTo>
                    <a:cubicBezTo>
                      <a:pt x="241" y="566"/>
                      <a:pt x="255" y="570"/>
                      <a:pt x="267" y="572"/>
                    </a:cubicBezTo>
                    <a:cubicBezTo>
                      <a:pt x="278" y="573"/>
                      <a:pt x="284" y="564"/>
                      <a:pt x="295" y="556"/>
                    </a:cubicBezTo>
                    <a:cubicBezTo>
                      <a:pt x="305" y="550"/>
                      <a:pt x="312" y="558"/>
                      <a:pt x="312" y="558"/>
                    </a:cubicBezTo>
                    <a:cubicBezTo>
                      <a:pt x="315" y="546"/>
                      <a:pt x="315" y="546"/>
                      <a:pt x="315" y="546"/>
                    </a:cubicBezTo>
                    <a:cubicBezTo>
                      <a:pt x="309" y="546"/>
                      <a:pt x="309" y="546"/>
                      <a:pt x="309" y="546"/>
                    </a:cubicBezTo>
                    <a:cubicBezTo>
                      <a:pt x="309" y="546"/>
                      <a:pt x="312" y="527"/>
                      <a:pt x="310" y="517"/>
                    </a:cubicBezTo>
                    <a:cubicBezTo>
                      <a:pt x="309" y="507"/>
                      <a:pt x="318" y="510"/>
                      <a:pt x="332" y="508"/>
                    </a:cubicBezTo>
                    <a:cubicBezTo>
                      <a:pt x="346" y="506"/>
                      <a:pt x="353" y="506"/>
                      <a:pt x="353" y="506"/>
                    </a:cubicBezTo>
                    <a:cubicBezTo>
                      <a:pt x="353" y="506"/>
                      <a:pt x="379" y="510"/>
                      <a:pt x="391" y="513"/>
                    </a:cubicBezTo>
                    <a:cubicBezTo>
                      <a:pt x="402" y="515"/>
                      <a:pt x="407" y="526"/>
                      <a:pt x="417" y="534"/>
                    </a:cubicBezTo>
                    <a:cubicBezTo>
                      <a:pt x="429" y="540"/>
                      <a:pt x="454" y="525"/>
                      <a:pt x="454" y="525"/>
                    </a:cubicBezTo>
                    <a:cubicBezTo>
                      <a:pt x="454" y="525"/>
                      <a:pt x="484" y="507"/>
                      <a:pt x="494" y="497"/>
                    </a:cubicBezTo>
                    <a:cubicBezTo>
                      <a:pt x="505" y="489"/>
                      <a:pt x="514" y="458"/>
                      <a:pt x="523" y="449"/>
                    </a:cubicBezTo>
                    <a:cubicBezTo>
                      <a:pt x="530" y="442"/>
                      <a:pt x="553" y="456"/>
                      <a:pt x="563" y="456"/>
                    </a:cubicBezTo>
                    <a:cubicBezTo>
                      <a:pt x="575" y="455"/>
                      <a:pt x="578" y="441"/>
                      <a:pt x="578" y="441"/>
                    </a:cubicBezTo>
                    <a:cubicBezTo>
                      <a:pt x="573" y="439"/>
                      <a:pt x="573" y="439"/>
                      <a:pt x="573" y="439"/>
                    </a:cubicBezTo>
                    <a:cubicBezTo>
                      <a:pt x="581" y="436"/>
                      <a:pt x="581" y="436"/>
                      <a:pt x="581" y="436"/>
                    </a:cubicBezTo>
                    <a:cubicBezTo>
                      <a:pt x="581" y="436"/>
                      <a:pt x="578" y="423"/>
                      <a:pt x="592" y="423"/>
                    </a:cubicBezTo>
                    <a:cubicBezTo>
                      <a:pt x="606" y="423"/>
                      <a:pt x="606" y="438"/>
                      <a:pt x="606" y="438"/>
                    </a:cubicBezTo>
                    <a:cubicBezTo>
                      <a:pt x="606" y="438"/>
                      <a:pt x="594" y="446"/>
                      <a:pt x="590" y="458"/>
                    </a:cubicBezTo>
                    <a:cubicBezTo>
                      <a:pt x="587" y="469"/>
                      <a:pt x="606" y="474"/>
                      <a:pt x="607" y="477"/>
                    </a:cubicBezTo>
                    <a:cubicBezTo>
                      <a:pt x="608" y="479"/>
                      <a:pt x="606" y="486"/>
                      <a:pt x="606" y="486"/>
                    </a:cubicBezTo>
                    <a:cubicBezTo>
                      <a:pt x="623" y="489"/>
                      <a:pt x="623" y="489"/>
                      <a:pt x="623" y="489"/>
                    </a:cubicBezTo>
                    <a:cubicBezTo>
                      <a:pt x="631" y="472"/>
                      <a:pt x="631" y="472"/>
                      <a:pt x="631" y="472"/>
                    </a:cubicBezTo>
                    <a:cubicBezTo>
                      <a:pt x="624" y="459"/>
                      <a:pt x="624" y="459"/>
                      <a:pt x="624" y="459"/>
                    </a:cubicBezTo>
                    <a:cubicBezTo>
                      <a:pt x="638" y="451"/>
                      <a:pt x="638" y="451"/>
                      <a:pt x="638" y="451"/>
                    </a:cubicBezTo>
                    <a:cubicBezTo>
                      <a:pt x="625" y="439"/>
                      <a:pt x="625" y="439"/>
                      <a:pt x="625" y="439"/>
                    </a:cubicBezTo>
                    <a:cubicBezTo>
                      <a:pt x="625" y="439"/>
                      <a:pt x="625" y="423"/>
                      <a:pt x="626" y="416"/>
                    </a:cubicBezTo>
                    <a:cubicBezTo>
                      <a:pt x="626" y="410"/>
                      <a:pt x="645" y="413"/>
                      <a:pt x="645" y="413"/>
                    </a:cubicBezTo>
                    <a:cubicBezTo>
                      <a:pt x="648" y="419"/>
                      <a:pt x="648" y="419"/>
                      <a:pt x="648" y="419"/>
                    </a:cubicBezTo>
                    <a:cubicBezTo>
                      <a:pt x="675" y="407"/>
                      <a:pt x="675" y="407"/>
                      <a:pt x="675" y="407"/>
                    </a:cubicBezTo>
                    <a:cubicBezTo>
                      <a:pt x="674" y="400"/>
                      <a:pt x="674" y="400"/>
                      <a:pt x="674" y="400"/>
                    </a:cubicBezTo>
                    <a:cubicBezTo>
                      <a:pt x="684" y="398"/>
                      <a:pt x="684" y="398"/>
                      <a:pt x="684" y="398"/>
                    </a:cubicBezTo>
                    <a:cubicBezTo>
                      <a:pt x="684" y="398"/>
                      <a:pt x="698" y="380"/>
                      <a:pt x="707" y="377"/>
                    </a:cubicBezTo>
                    <a:cubicBezTo>
                      <a:pt x="714" y="372"/>
                      <a:pt x="732" y="382"/>
                      <a:pt x="732" y="382"/>
                    </a:cubicBezTo>
                    <a:cubicBezTo>
                      <a:pt x="751" y="373"/>
                      <a:pt x="751" y="373"/>
                      <a:pt x="751" y="373"/>
                    </a:cubicBezTo>
                    <a:cubicBezTo>
                      <a:pt x="751" y="373"/>
                      <a:pt x="766" y="371"/>
                      <a:pt x="781" y="360"/>
                    </a:cubicBezTo>
                    <a:cubicBezTo>
                      <a:pt x="796" y="348"/>
                      <a:pt x="825" y="313"/>
                      <a:pt x="825" y="313"/>
                    </a:cubicBezTo>
                    <a:cubicBezTo>
                      <a:pt x="825" y="313"/>
                      <a:pt x="845" y="305"/>
                      <a:pt x="865" y="297"/>
                    </a:cubicBezTo>
                    <a:cubicBezTo>
                      <a:pt x="885" y="288"/>
                      <a:pt x="889" y="271"/>
                      <a:pt x="889" y="271"/>
                    </a:cubicBezTo>
                    <a:cubicBezTo>
                      <a:pt x="900" y="272"/>
                      <a:pt x="900" y="272"/>
                      <a:pt x="900" y="272"/>
                    </a:cubicBezTo>
                    <a:cubicBezTo>
                      <a:pt x="904" y="276"/>
                      <a:pt x="904" y="276"/>
                      <a:pt x="904" y="276"/>
                    </a:cubicBezTo>
                    <a:cubicBezTo>
                      <a:pt x="916" y="270"/>
                      <a:pt x="916" y="270"/>
                      <a:pt x="916" y="270"/>
                    </a:cubicBezTo>
                    <a:cubicBezTo>
                      <a:pt x="910" y="253"/>
                      <a:pt x="910" y="253"/>
                      <a:pt x="910" y="253"/>
                    </a:cubicBezTo>
                    <a:cubicBezTo>
                      <a:pt x="930" y="253"/>
                      <a:pt x="930" y="253"/>
                      <a:pt x="930" y="253"/>
                    </a:cubicBezTo>
                    <a:cubicBezTo>
                      <a:pt x="933" y="246"/>
                      <a:pt x="933" y="246"/>
                      <a:pt x="933" y="246"/>
                    </a:cubicBezTo>
                    <a:cubicBezTo>
                      <a:pt x="946" y="246"/>
                      <a:pt x="946" y="246"/>
                      <a:pt x="946" y="246"/>
                    </a:cubicBezTo>
                    <a:cubicBezTo>
                      <a:pt x="946" y="242"/>
                      <a:pt x="946" y="242"/>
                      <a:pt x="946" y="242"/>
                    </a:cubicBezTo>
                    <a:cubicBezTo>
                      <a:pt x="975" y="238"/>
                      <a:pt x="975" y="238"/>
                      <a:pt x="975" y="238"/>
                    </a:cubicBezTo>
                    <a:cubicBezTo>
                      <a:pt x="975" y="238"/>
                      <a:pt x="976" y="225"/>
                      <a:pt x="988" y="225"/>
                    </a:cubicBezTo>
                    <a:cubicBezTo>
                      <a:pt x="1000" y="225"/>
                      <a:pt x="995" y="240"/>
                      <a:pt x="995" y="240"/>
                    </a:cubicBezTo>
                    <a:cubicBezTo>
                      <a:pt x="1002" y="242"/>
                      <a:pt x="1002" y="242"/>
                      <a:pt x="1002" y="242"/>
                    </a:cubicBezTo>
                    <a:cubicBezTo>
                      <a:pt x="1002" y="242"/>
                      <a:pt x="1008" y="227"/>
                      <a:pt x="1011" y="223"/>
                    </a:cubicBezTo>
                    <a:cubicBezTo>
                      <a:pt x="1013" y="220"/>
                      <a:pt x="1020" y="222"/>
                      <a:pt x="1020" y="222"/>
                    </a:cubicBezTo>
                    <a:cubicBezTo>
                      <a:pt x="1020" y="222"/>
                      <a:pt x="1022" y="213"/>
                      <a:pt x="1019" y="210"/>
                    </a:cubicBezTo>
                    <a:close/>
                  </a:path>
                </a:pathLst>
              </a:custGeom>
              <a:solidFill>
                <a:schemeClr val="accent2">
                  <a:lumMod val="40000"/>
                  <a:lumOff val="60000"/>
                </a:schemeClr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213" name="Switzerland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4438650" y="4432300"/>
                <a:ext cx="442912" cy="274637"/>
              </a:xfrm>
              <a:custGeom>
                <a:avLst/>
                <a:gdLst/>
                <a:ahLst/>
                <a:cxnLst>
                  <a:cxn ang="0">
                    <a:pos x="208" y="59"/>
                  </a:cxn>
                  <a:cxn ang="0">
                    <a:pos x="194" y="63"/>
                  </a:cxn>
                  <a:cxn ang="0">
                    <a:pos x="179" y="59"/>
                  </a:cxn>
                  <a:cxn ang="0">
                    <a:pos x="164" y="49"/>
                  </a:cxn>
                  <a:cxn ang="0">
                    <a:pos x="162" y="39"/>
                  </a:cxn>
                  <a:cxn ang="0">
                    <a:pos x="172" y="18"/>
                  </a:cxn>
                  <a:cxn ang="0">
                    <a:pos x="148" y="9"/>
                  </a:cxn>
                  <a:cxn ang="0">
                    <a:pos x="135" y="4"/>
                  </a:cxn>
                  <a:cxn ang="0">
                    <a:pos x="128" y="2"/>
                  </a:cxn>
                  <a:cxn ang="0">
                    <a:pos x="118" y="8"/>
                  </a:cxn>
                  <a:cxn ang="0">
                    <a:pos x="125" y="14"/>
                  </a:cxn>
                  <a:cxn ang="0">
                    <a:pos x="112" y="13"/>
                  </a:cxn>
                  <a:cxn ang="0">
                    <a:pos x="83" y="15"/>
                  </a:cxn>
                  <a:cxn ang="0">
                    <a:pos x="81" y="13"/>
                  </a:cxn>
                  <a:cxn ang="0">
                    <a:pos x="73" y="16"/>
                  </a:cxn>
                  <a:cxn ang="0">
                    <a:pos x="61" y="24"/>
                  </a:cxn>
                  <a:cxn ang="0">
                    <a:pos x="46" y="27"/>
                  </a:cxn>
                  <a:cxn ang="0">
                    <a:pos x="35" y="47"/>
                  </a:cxn>
                  <a:cxn ang="0">
                    <a:pos x="24" y="64"/>
                  </a:cxn>
                  <a:cxn ang="0">
                    <a:pos x="9" y="90"/>
                  </a:cxn>
                  <a:cxn ang="0">
                    <a:pos x="0" y="97"/>
                  </a:cxn>
                  <a:cxn ang="0">
                    <a:pos x="8" y="103"/>
                  </a:cxn>
                  <a:cxn ang="0">
                    <a:pos x="12" y="93"/>
                  </a:cxn>
                  <a:cxn ang="0">
                    <a:pos x="40" y="87"/>
                  </a:cxn>
                  <a:cxn ang="0">
                    <a:pos x="41" y="98"/>
                  </a:cxn>
                  <a:cxn ang="0">
                    <a:pos x="41" y="107"/>
                  </a:cxn>
                  <a:cxn ang="0">
                    <a:pos x="48" y="120"/>
                  </a:cxn>
                  <a:cxn ang="0">
                    <a:pos x="52" y="124"/>
                  </a:cxn>
                  <a:cxn ang="0">
                    <a:pos x="64" y="121"/>
                  </a:cxn>
                  <a:cxn ang="0">
                    <a:pos x="82" y="122"/>
                  </a:cxn>
                  <a:cxn ang="0">
                    <a:pos x="92" y="116"/>
                  </a:cxn>
                  <a:cxn ang="0">
                    <a:pos x="100" y="107"/>
                  </a:cxn>
                  <a:cxn ang="0">
                    <a:pos x="99" y="96"/>
                  </a:cxn>
                  <a:cxn ang="0">
                    <a:pos x="107" y="93"/>
                  </a:cxn>
                  <a:cxn ang="0">
                    <a:pos x="112" y="88"/>
                  </a:cxn>
                  <a:cxn ang="0">
                    <a:pos x="112" y="99"/>
                  </a:cxn>
                  <a:cxn ang="0">
                    <a:pos x="121" y="110"/>
                  </a:cxn>
                  <a:cxn ang="0">
                    <a:pos x="132" y="114"/>
                  </a:cxn>
                  <a:cxn ang="0">
                    <a:pos x="131" y="119"/>
                  </a:cxn>
                  <a:cxn ang="0">
                    <a:pos x="139" y="129"/>
                  </a:cxn>
                  <a:cxn ang="0">
                    <a:pos x="138" y="122"/>
                  </a:cxn>
                  <a:cxn ang="0">
                    <a:pos x="141" y="114"/>
                  </a:cxn>
                  <a:cxn ang="0">
                    <a:pos x="150" y="102"/>
                  </a:cxn>
                  <a:cxn ang="0">
                    <a:pos x="150" y="91"/>
                  </a:cxn>
                  <a:cxn ang="0">
                    <a:pos x="157" y="88"/>
                  </a:cxn>
                  <a:cxn ang="0">
                    <a:pos x="164" y="99"/>
                  </a:cxn>
                  <a:cxn ang="0">
                    <a:pos x="182" y="95"/>
                  </a:cxn>
                  <a:cxn ang="0">
                    <a:pos x="187" y="103"/>
                  </a:cxn>
                  <a:cxn ang="0">
                    <a:pos x="190" y="105"/>
                  </a:cxn>
                  <a:cxn ang="0">
                    <a:pos x="193" y="93"/>
                  </a:cxn>
                  <a:cxn ang="0">
                    <a:pos x="188" y="92"/>
                  </a:cxn>
                  <a:cxn ang="0">
                    <a:pos x="196" y="77"/>
                  </a:cxn>
                  <a:cxn ang="0">
                    <a:pos x="207" y="86"/>
                  </a:cxn>
                  <a:cxn ang="0">
                    <a:pos x="204" y="79"/>
                  </a:cxn>
                </a:cxnLst>
                <a:rect l="0" t="0" r="r" b="b"/>
                <a:pathLst>
                  <a:path w="208" h="129">
                    <a:moveTo>
                      <a:pt x="204" y="79"/>
                    </a:moveTo>
                    <a:cubicBezTo>
                      <a:pt x="208" y="59"/>
                      <a:pt x="208" y="59"/>
                      <a:pt x="208" y="59"/>
                    </a:cubicBezTo>
                    <a:cubicBezTo>
                      <a:pt x="203" y="55"/>
                      <a:pt x="203" y="55"/>
                      <a:pt x="203" y="55"/>
                    </a:cubicBezTo>
                    <a:cubicBezTo>
                      <a:pt x="203" y="55"/>
                      <a:pt x="197" y="62"/>
                      <a:pt x="194" y="63"/>
                    </a:cubicBezTo>
                    <a:cubicBezTo>
                      <a:pt x="191" y="65"/>
                      <a:pt x="184" y="60"/>
                      <a:pt x="184" y="60"/>
                    </a:cubicBezTo>
                    <a:cubicBezTo>
                      <a:pt x="184" y="60"/>
                      <a:pt x="180" y="61"/>
                      <a:pt x="179" y="59"/>
                    </a:cubicBezTo>
                    <a:cubicBezTo>
                      <a:pt x="178" y="58"/>
                      <a:pt x="180" y="52"/>
                      <a:pt x="180" y="52"/>
                    </a:cubicBezTo>
                    <a:cubicBezTo>
                      <a:pt x="164" y="49"/>
                      <a:pt x="164" y="49"/>
                      <a:pt x="164" y="49"/>
                    </a:cubicBezTo>
                    <a:cubicBezTo>
                      <a:pt x="164" y="49"/>
                      <a:pt x="162" y="48"/>
                      <a:pt x="160" y="46"/>
                    </a:cubicBezTo>
                    <a:cubicBezTo>
                      <a:pt x="158" y="43"/>
                      <a:pt x="162" y="39"/>
                      <a:pt x="162" y="39"/>
                    </a:cubicBezTo>
                    <a:cubicBezTo>
                      <a:pt x="162" y="39"/>
                      <a:pt x="172" y="29"/>
                      <a:pt x="172" y="26"/>
                    </a:cubicBezTo>
                    <a:cubicBezTo>
                      <a:pt x="172" y="18"/>
                      <a:pt x="172" y="18"/>
                      <a:pt x="172" y="18"/>
                    </a:cubicBezTo>
                    <a:cubicBezTo>
                      <a:pt x="165" y="17"/>
                      <a:pt x="165" y="14"/>
                      <a:pt x="158" y="12"/>
                    </a:cubicBezTo>
                    <a:cubicBezTo>
                      <a:pt x="155" y="11"/>
                      <a:pt x="151" y="10"/>
                      <a:pt x="148" y="9"/>
                    </a:cubicBezTo>
                    <a:cubicBezTo>
                      <a:pt x="145" y="8"/>
                      <a:pt x="141" y="11"/>
                      <a:pt x="140" y="11"/>
                    </a:cubicBezTo>
                    <a:cubicBezTo>
                      <a:pt x="138" y="10"/>
                      <a:pt x="137" y="7"/>
                      <a:pt x="135" y="4"/>
                    </a:cubicBezTo>
                    <a:cubicBezTo>
                      <a:pt x="135" y="5"/>
                      <a:pt x="135" y="8"/>
                      <a:pt x="134" y="9"/>
                    </a:cubicBezTo>
                    <a:cubicBezTo>
                      <a:pt x="132" y="5"/>
                      <a:pt x="131" y="0"/>
                      <a:pt x="128" y="2"/>
                    </a:cubicBezTo>
                    <a:cubicBezTo>
                      <a:pt x="127" y="0"/>
                      <a:pt x="125" y="1"/>
                      <a:pt x="125" y="1"/>
                    </a:cubicBezTo>
                    <a:cubicBezTo>
                      <a:pt x="123" y="2"/>
                      <a:pt x="117" y="4"/>
                      <a:pt x="118" y="8"/>
                    </a:cubicBezTo>
                    <a:cubicBezTo>
                      <a:pt x="118" y="11"/>
                      <a:pt x="120" y="9"/>
                      <a:pt x="122" y="10"/>
                    </a:cubicBezTo>
                    <a:cubicBezTo>
                      <a:pt x="123" y="11"/>
                      <a:pt x="132" y="9"/>
                      <a:pt x="125" y="14"/>
                    </a:cubicBezTo>
                    <a:cubicBezTo>
                      <a:pt x="124" y="11"/>
                      <a:pt x="122" y="12"/>
                      <a:pt x="122" y="15"/>
                    </a:cubicBezTo>
                    <a:cubicBezTo>
                      <a:pt x="116" y="17"/>
                      <a:pt x="115" y="13"/>
                      <a:pt x="112" y="13"/>
                    </a:cubicBezTo>
                    <a:cubicBezTo>
                      <a:pt x="107" y="12"/>
                      <a:pt x="105" y="18"/>
                      <a:pt x="101" y="16"/>
                    </a:cubicBezTo>
                    <a:cubicBezTo>
                      <a:pt x="91" y="12"/>
                      <a:pt x="86" y="18"/>
                      <a:pt x="83" y="15"/>
                    </a:cubicBezTo>
                    <a:cubicBezTo>
                      <a:pt x="83" y="14"/>
                      <a:pt x="84" y="14"/>
                      <a:pt x="85" y="14"/>
                    </a:cubicBezTo>
                    <a:cubicBezTo>
                      <a:pt x="84" y="14"/>
                      <a:pt x="82" y="13"/>
                      <a:pt x="81" y="13"/>
                    </a:cubicBezTo>
                    <a:cubicBezTo>
                      <a:pt x="80" y="12"/>
                      <a:pt x="80" y="12"/>
                      <a:pt x="80" y="11"/>
                    </a:cubicBezTo>
                    <a:cubicBezTo>
                      <a:pt x="73" y="16"/>
                      <a:pt x="73" y="16"/>
                      <a:pt x="73" y="16"/>
                    </a:cubicBezTo>
                    <a:cubicBezTo>
                      <a:pt x="73" y="19"/>
                      <a:pt x="73" y="19"/>
                      <a:pt x="73" y="19"/>
                    </a:cubicBezTo>
                    <a:cubicBezTo>
                      <a:pt x="73" y="19"/>
                      <a:pt x="65" y="24"/>
                      <a:pt x="61" y="24"/>
                    </a:cubicBezTo>
                    <a:cubicBezTo>
                      <a:pt x="57" y="23"/>
                      <a:pt x="58" y="16"/>
                      <a:pt x="52" y="16"/>
                    </a:cubicBezTo>
                    <a:cubicBezTo>
                      <a:pt x="48" y="15"/>
                      <a:pt x="46" y="27"/>
                      <a:pt x="46" y="27"/>
                    </a:cubicBezTo>
                    <a:cubicBezTo>
                      <a:pt x="51" y="28"/>
                      <a:pt x="51" y="28"/>
                      <a:pt x="51" y="28"/>
                    </a:cubicBezTo>
                    <a:cubicBezTo>
                      <a:pt x="51" y="28"/>
                      <a:pt x="39" y="44"/>
                      <a:pt x="35" y="47"/>
                    </a:cubicBezTo>
                    <a:cubicBezTo>
                      <a:pt x="32" y="50"/>
                      <a:pt x="28" y="49"/>
                      <a:pt x="25" y="51"/>
                    </a:cubicBezTo>
                    <a:cubicBezTo>
                      <a:pt x="23" y="52"/>
                      <a:pt x="26" y="58"/>
                      <a:pt x="24" y="64"/>
                    </a:cubicBezTo>
                    <a:cubicBezTo>
                      <a:pt x="22" y="70"/>
                      <a:pt x="11" y="73"/>
                      <a:pt x="7" y="79"/>
                    </a:cubicBezTo>
                    <a:cubicBezTo>
                      <a:pt x="2" y="87"/>
                      <a:pt x="9" y="90"/>
                      <a:pt x="9" y="90"/>
                    </a:cubicBezTo>
                    <a:cubicBezTo>
                      <a:pt x="4" y="97"/>
                      <a:pt x="4" y="97"/>
                      <a:pt x="4" y="97"/>
                    </a:cubicBezTo>
                    <a:cubicBezTo>
                      <a:pt x="0" y="97"/>
                      <a:pt x="0" y="97"/>
                      <a:pt x="0" y="97"/>
                    </a:cubicBezTo>
                    <a:cubicBezTo>
                      <a:pt x="1" y="103"/>
                      <a:pt x="1" y="103"/>
                      <a:pt x="1" y="103"/>
                    </a:cubicBezTo>
                    <a:cubicBezTo>
                      <a:pt x="8" y="103"/>
                      <a:pt x="8" y="103"/>
                      <a:pt x="8" y="103"/>
                    </a:cubicBezTo>
                    <a:cubicBezTo>
                      <a:pt x="14" y="96"/>
                      <a:pt x="14" y="96"/>
                      <a:pt x="14" y="96"/>
                    </a:cubicBezTo>
                    <a:cubicBezTo>
                      <a:pt x="14" y="96"/>
                      <a:pt x="12" y="95"/>
                      <a:pt x="12" y="93"/>
                    </a:cubicBezTo>
                    <a:cubicBezTo>
                      <a:pt x="12" y="90"/>
                      <a:pt x="17" y="84"/>
                      <a:pt x="26" y="83"/>
                    </a:cubicBezTo>
                    <a:cubicBezTo>
                      <a:pt x="34" y="82"/>
                      <a:pt x="40" y="87"/>
                      <a:pt x="40" y="87"/>
                    </a:cubicBezTo>
                    <a:cubicBezTo>
                      <a:pt x="39" y="92"/>
                      <a:pt x="39" y="92"/>
                      <a:pt x="39" y="92"/>
                    </a:cubicBezTo>
                    <a:cubicBezTo>
                      <a:pt x="39" y="92"/>
                      <a:pt x="42" y="94"/>
                      <a:pt x="41" y="98"/>
                    </a:cubicBezTo>
                    <a:cubicBezTo>
                      <a:pt x="40" y="103"/>
                      <a:pt x="37" y="107"/>
                      <a:pt x="37" y="107"/>
                    </a:cubicBezTo>
                    <a:cubicBezTo>
                      <a:pt x="41" y="107"/>
                      <a:pt x="41" y="107"/>
                      <a:pt x="41" y="107"/>
                    </a:cubicBezTo>
                    <a:cubicBezTo>
                      <a:pt x="42" y="110"/>
                      <a:pt x="42" y="110"/>
                      <a:pt x="42" y="110"/>
                    </a:cubicBezTo>
                    <a:cubicBezTo>
                      <a:pt x="42" y="110"/>
                      <a:pt x="48" y="112"/>
                      <a:pt x="48" y="120"/>
                    </a:cubicBezTo>
                    <a:cubicBezTo>
                      <a:pt x="48" y="122"/>
                      <a:pt x="48" y="122"/>
                      <a:pt x="48" y="122"/>
                    </a:cubicBezTo>
                    <a:cubicBezTo>
                      <a:pt x="48" y="123"/>
                      <a:pt x="50" y="124"/>
                      <a:pt x="52" y="124"/>
                    </a:cubicBezTo>
                    <a:cubicBezTo>
                      <a:pt x="57" y="123"/>
                      <a:pt x="57" y="120"/>
                      <a:pt x="58" y="120"/>
                    </a:cubicBezTo>
                    <a:cubicBezTo>
                      <a:pt x="60" y="121"/>
                      <a:pt x="61" y="122"/>
                      <a:pt x="64" y="121"/>
                    </a:cubicBezTo>
                    <a:cubicBezTo>
                      <a:pt x="67" y="121"/>
                      <a:pt x="68" y="116"/>
                      <a:pt x="71" y="116"/>
                    </a:cubicBezTo>
                    <a:cubicBezTo>
                      <a:pt x="72" y="116"/>
                      <a:pt x="79" y="122"/>
                      <a:pt x="82" y="122"/>
                    </a:cubicBezTo>
                    <a:cubicBezTo>
                      <a:pt x="86" y="122"/>
                      <a:pt x="85" y="118"/>
                      <a:pt x="86" y="118"/>
                    </a:cubicBezTo>
                    <a:cubicBezTo>
                      <a:pt x="88" y="118"/>
                      <a:pt x="91" y="118"/>
                      <a:pt x="92" y="116"/>
                    </a:cubicBezTo>
                    <a:cubicBezTo>
                      <a:pt x="93" y="115"/>
                      <a:pt x="92" y="112"/>
                      <a:pt x="94" y="111"/>
                    </a:cubicBezTo>
                    <a:cubicBezTo>
                      <a:pt x="97" y="110"/>
                      <a:pt x="100" y="107"/>
                      <a:pt x="100" y="107"/>
                    </a:cubicBezTo>
                    <a:cubicBezTo>
                      <a:pt x="97" y="99"/>
                      <a:pt x="97" y="99"/>
                      <a:pt x="97" y="99"/>
                    </a:cubicBezTo>
                    <a:cubicBezTo>
                      <a:pt x="99" y="96"/>
                      <a:pt x="99" y="96"/>
                      <a:pt x="99" y="96"/>
                    </a:cubicBezTo>
                    <a:cubicBezTo>
                      <a:pt x="101" y="97"/>
                      <a:pt x="101" y="97"/>
                      <a:pt x="101" y="97"/>
                    </a:cubicBezTo>
                    <a:cubicBezTo>
                      <a:pt x="107" y="93"/>
                      <a:pt x="107" y="93"/>
                      <a:pt x="107" y="93"/>
                    </a:cubicBezTo>
                    <a:cubicBezTo>
                      <a:pt x="105" y="90"/>
                      <a:pt x="105" y="90"/>
                      <a:pt x="105" y="90"/>
                    </a:cubicBezTo>
                    <a:cubicBezTo>
                      <a:pt x="112" y="88"/>
                      <a:pt x="112" y="88"/>
                      <a:pt x="112" y="88"/>
                    </a:cubicBezTo>
                    <a:cubicBezTo>
                      <a:pt x="116" y="90"/>
                      <a:pt x="116" y="90"/>
                      <a:pt x="116" y="90"/>
                    </a:cubicBezTo>
                    <a:cubicBezTo>
                      <a:pt x="116" y="90"/>
                      <a:pt x="110" y="96"/>
                      <a:pt x="112" y="99"/>
                    </a:cubicBezTo>
                    <a:cubicBezTo>
                      <a:pt x="114" y="103"/>
                      <a:pt x="118" y="104"/>
                      <a:pt x="118" y="105"/>
                    </a:cubicBezTo>
                    <a:cubicBezTo>
                      <a:pt x="118" y="106"/>
                      <a:pt x="117" y="108"/>
                      <a:pt x="121" y="110"/>
                    </a:cubicBezTo>
                    <a:cubicBezTo>
                      <a:pt x="124" y="112"/>
                      <a:pt x="129" y="111"/>
                      <a:pt x="129" y="111"/>
                    </a:cubicBezTo>
                    <a:cubicBezTo>
                      <a:pt x="132" y="114"/>
                      <a:pt x="132" y="114"/>
                      <a:pt x="132" y="114"/>
                    </a:cubicBezTo>
                    <a:cubicBezTo>
                      <a:pt x="129" y="116"/>
                      <a:pt x="129" y="116"/>
                      <a:pt x="129" y="116"/>
                    </a:cubicBezTo>
                    <a:cubicBezTo>
                      <a:pt x="131" y="119"/>
                      <a:pt x="131" y="119"/>
                      <a:pt x="131" y="119"/>
                    </a:cubicBezTo>
                    <a:cubicBezTo>
                      <a:pt x="135" y="128"/>
                      <a:pt x="135" y="128"/>
                      <a:pt x="135" y="128"/>
                    </a:cubicBezTo>
                    <a:cubicBezTo>
                      <a:pt x="139" y="129"/>
                      <a:pt x="139" y="129"/>
                      <a:pt x="139" y="129"/>
                    </a:cubicBezTo>
                    <a:cubicBezTo>
                      <a:pt x="140" y="124"/>
                      <a:pt x="140" y="124"/>
                      <a:pt x="140" y="124"/>
                    </a:cubicBezTo>
                    <a:cubicBezTo>
                      <a:pt x="138" y="122"/>
                      <a:pt x="138" y="122"/>
                      <a:pt x="138" y="122"/>
                    </a:cubicBezTo>
                    <a:cubicBezTo>
                      <a:pt x="137" y="118"/>
                      <a:pt x="137" y="118"/>
                      <a:pt x="137" y="118"/>
                    </a:cubicBezTo>
                    <a:cubicBezTo>
                      <a:pt x="141" y="114"/>
                      <a:pt x="141" y="114"/>
                      <a:pt x="141" y="114"/>
                    </a:cubicBezTo>
                    <a:cubicBezTo>
                      <a:pt x="142" y="111"/>
                      <a:pt x="142" y="111"/>
                      <a:pt x="142" y="111"/>
                    </a:cubicBezTo>
                    <a:cubicBezTo>
                      <a:pt x="142" y="111"/>
                      <a:pt x="148" y="107"/>
                      <a:pt x="150" y="102"/>
                    </a:cubicBezTo>
                    <a:cubicBezTo>
                      <a:pt x="153" y="96"/>
                      <a:pt x="153" y="93"/>
                      <a:pt x="153" y="93"/>
                    </a:cubicBezTo>
                    <a:cubicBezTo>
                      <a:pt x="150" y="91"/>
                      <a:pt x="150" y="91"/>
                      <a:pt x="150" y="91"/>
                    </a:cubicBezTo>
                    <a:cubicBezTo>
                      <a:pt x="153" y="86"/>
                      <a:pt x="153" y="86"/>
                      <a:pt x="153" y="86"/>
                    </a:cubicBezTo>
                    <a:cubicBezTo>
                      <a:pt x="157" y="88"/>
                      <a:pt x="157" y="88"/>
                      <a:pt x="157" y="88"/>
                    </a:cubicBezTo>
                    <a:cubicBezTo>
                      <a:pt x="160" y="86"/>
                      <a:pt x="160" y="86"/>
                      <a:pt x="160" y="86"/>
                    </a:cubicBezTo>
                    <a:cubicBezTo>
                      <a:pt x="160" y="86"/>
                      <a:pt x="159" y="96"/>
                      <a:pt x="164" y="99"/>
                    </a:cubicBezTo>
                    <a:cubicBezTo>
                      <a:pt x="170" y="102"/>
                      <a:pt x="173" y="97"/>
                      <a:pt x="173" y="97"/>
                    </a:cubicBezTo>
                    <a:cubicBezTo>
                      <a:pt x="182" y="95"/>
                      <a:pt x="182" y="95"/>
                      <a:pt x="182" y="95"/>
                    </a:cubicBezTo>
                    <a:cubicBezTo>
                      <a:pt x="184" y="99"/>
                      <a:pt x="184" y="99"/>
                      <a:pt x="184" y="99"/>
                    </a:cubicBezTo>
                    <a:cubicBezTo>
                      <a:pt x="187" y="103"/>
                      <a:pt x="187" y="103"/>
                      <a:pt x="187" y="103"/>
                    </a:cubicBezTo>
                    <a:cubicBezTo>
                      <a:pt x="188" y="105"/>
                      <a:pt x="188" y="105"/>
                      <a:pt x="188" y="105"/>
                    </a:cubicBezTo>
                    <a:cubicBezTo>
                      <a:pt x="190" y="105"/>
                      <a:pt x="190" y="105"/>
                      <a:pt x="190" y="105"/>
                    </a:cubicBezTo>
                    <a:cubicBezTo>
                      <a:pt x="190" y="98"/>
                      <a:pt x="190" y="98"/>
                      <a:pt x="190" y="98"/>
                    </a:cubicBezTo>
                    <a:cubicBezTo>
                      <a:pt x="193" y="93"/>
                      <a:pt x="193" y="93"/>
                      <a:pt x="193" y="93"/>
                    </a:cubicBezTo>
                    <a:cubicBezTo>
                      <a:pt x="191" y="92"/>
                      <a:pt x="191" y="92"/>
                      <a:pt x="191" y="92"/>
                    </a:cubicBezTo>
                    <a:cubicBezTo>
                      <a:pt x="188" y="92"/>
                      <a:pt x="188" y="92"/>
                      <a:pt x="188" y="92"/>
                    </a:cubicBezTo>
                    <a:cubicBezTo>
                      <a:pt x="188" y="92"/>
                      <a:pt x="182" y="88"/>
                      <a:pt x="188" y="82"/>
                    </a:cubicBezTo>
                    <a:cubicBezTo>
                      <a:pt x="194" y="76"/>
                      <a:pt x="196" y="77"/>
                      <a:pt x="196" y="77"/>
                    </a:cubicBezTo>
                    <a:cubicBezTo>
                      <a:pt x="197" y="83"/>
                      <a:pt x="197" y="83"/>
                      <a:pt x="197" y="83"/>
                    </a:cubicBezTo>
                    <a:cubicBezTo>
                      <a:pt x="207" y="86"/>
                      <a:pt x="207" y="86"/>
                      <a:pt x="207" y="86"/>
                    </a:cubicBezTo>
                    <a:cubicBezTo>
                      <a:pt x="207" y="79"/>
                      <a:pt x="207" y="79"/>
                      <a:pt x="207" y="79"/>
                    </a:cubicBezTo>
                    <a:lnTo>
                      <a:pt x="204" y="79"/>
                    </a:ln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214" name="Sweden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4957763" y="1476375"/>
                <a:ext cx="779462" cy="1914525"/>
              </a:xfrm>
              <a:custGeom>
                <a:avLst/>
                <a:gdLst/>
                <a:ahLst/>
                <a:cxnLst>
                  <a:cxn ang="0">
                    <a:pos x="336" y="111"/>
                  </a:cxn>
                  <a:cxn ang="0">
                    <a:pos x="305" y="38"/>
                  </a:cxn>
                  <a:cxn ang="0">
                    <a:pos x="247" y="2"/>
                  </a:cxn>
                  <a:cxn ang="0">
                    <a:pos x="194" y="36"/>
                  </a:cxn>
                  <a:cxn ang="0">
                    <a:pos x="136" y="151"/>
                  </a:cxn>
                  <a:cxn ang="0">
                    <a:pos x="98" y="268"/>
                  </a:cxn>
                  <a:cxn ang="0">
                    <a:pos x="33" y="410"/>
                  </a:cxn>
                  <a:cxn ang="0">
                    <a:pos x="41" y="538"/>
                  </a:cxn>
                  <a:cxn ang="0">
                    <a:pos x="12" y="671"/>
                  </a:cxn>
                  <a:cxn ang="0">
                    <a:pos x="9" y="707"/>
                  </a:cxn>
                  <a:cxn ang="0">
                    <a:pos x="18" y="737"/>
                  </a:cxn>
                  <a:cxn ang="0">
                    <a:pos x="37" y="779"/>
                  </a:cxn>
                  <a:cxn ang="0">
                    <a:pos x="52" y="826"/>
                  </a:cxn>
                  <a:cxn ang="0">
                    <a:pos x="64" y="871"/>
                  </a:cxn>
                  <a:cxn ang="0">
                    <a:pos x="106" y="895"/>
                  </a:cxn>
                  <a:cxn ang="0">
                    <a:pos x="172" y="847"/>
                  </a:cxn>
                  <a:cxn ang="0">
                    <a:pos x="197" y="756"/>
                  </a:cxn>
                  <a:cxn ang="0">
                    <a:pos x="196" y="719"/>
                  </a:cxn>
                  <a:cxn ang="0">
                    <a:pos x="192" y="677"/>
                  </a:cxn>
                  <a:cxn ang="0">
                    <a:pos x="226" y="648"/>
                  </a:cxn>
                  <a:cxn ang="0">
                    <a:pos x="237" y="628"/>
                  </a:cxn>
                  <a:cxn ang="0">
                    <a:pos x="267" y="592"/>
                  </a:cxn>
                  <a:cxn ang="0">
                    <a:pos x="216" y="557"/>
                  </a:cxn>
                  <a:cxn ang="0">
                    <a:pos x="193" y="502"/>
                  </a:cxn>
                  <a:cxn ang="0">
                    <a:pos x="201" y="450"/>
                  </a:cxn>
                  <a:cxn ang="0">
                    <a:pos x="207" y="432"/>
                  </a:cxn>
                  <a:cxn ang="0">
                    <a:pos x="225" y="405"/>
                  </a:cxn>
                  <a:cxn ang="0">
                    <a:pos x="233" y="375"/>
                  </a:cxn>
                  <a:cxn ang="0">
                    <a:pos x="262" y="357"/>
                  </a:cxn>
                  <a:cxn ang="0">
                    <a:pos x="290" y="333"/>
                  </a:cxn>
                  <a:cxn ang="0">
                    <a:pos x="309" y="283"/>
                  </a:cxn>
                  <a:cxn ang="0">
                    <a:pos x="307" y="221"/>
                  </a:cxn>
                  <a:cxn ang="0">
                    <a:pos x="329" y="199"/>
                  </a:cxn>
                  <a:cxn ang="0">
                    <a:pos x="365" y="195"/>
                  </a:cxn>
                  <a:cxn ang="0">
                    <a:pos x="14" y="718"/>
                  </a:cxn>
                  <a:cxn ang="0">
                    <a:pos x="207" y="765"/>
                  </a:cxn>
                  <a:cxn ang="0">
                    <a:pos x="190" y="816"/>
                  </a:cxn>
                  <a:cxn ang="0">
                    <a:pos x="208" y="788"/>
                  </a:cxn>
                  <a:cxn ang="0">
                    <a:pos x="277" y="731"/>
                  </a:cxn>
                  <a:cxn ang="0">
                    <a:pos x="248" y="746"/>
                  </a:cxn>
                  <a:cxn ang="0">
                    <a:pos x="253" y="787"/>
                  </a:cxn>
                  <a:cxn ang="0">
                    <a:pos x="277" y="750"/>
                  </a:cxn>
                  <a:cxn ang="0">
                    <a:pos x="281" y="712"/>
                  </a:cxn>
                  <a:cxn ang="0">
                    <a:pos x="281" y="689"/>
                  </a:cxn>
                  <a:cxn ang="0">
                    <a:pos x="243" y="630"/>
                  </a:cxn>
                  <a:cxn ang="0">
                    <a:pos x="258" y="630"/>
                  </a:cxn>
                  <a:cxn ang="0">
                    <a:pos x="247" y="656"/>
                  </a:cxn>
                  <a:cxn ang="0">
                    <a:pos x="251" y="636"/>
                  </a:cxn>
                  <a:cxn ang="0">
                    <a:pos x="241" y="554"/>
                  </a:cxn>
                  <a:cxn ang="0">
                    <a:pos x="256" y="573"/>
                  </a:cxn>
                  <a:cxn ang="0">
                    <a:pos x="195" y="740"/>
                  </a:cxn>
                  <a:cxn ang="0">
                    <a:pos x="205" y="485"/>
                  </a:cxn>
                  <a:cxn ang="0">
                    <a:pos x="214" y="425"/>
                  </a:cxn>
                  <a:cxn ang="0">
                    <a:pos x="294" y="343"/>
                  </a:cxn>
                  <a:cxn ang="0">
                    <a:pos x="307" y="241"/>
                  </a:cxn>
                  <a:cxn ang="0">
                    <a:pos x="312" y="222"/>
                  </a:cxn>
                  <a:cxn ang="0">
                    <a:pos x="325" y="217"/>
                  </a:cxn>
                  <a:cxn ang="0">
                    <a:pos x="356" y="200"/>
                  </a:cxn>
                </a:cxnLst>
                <a:rect l="0" t="0" r="r" b="b"/>
                <a:pathLst>
                  <a:path w="365" h="899">
                    <a:moveTo>
                      <a:pt x="364" y="188"/>
                    </a:moveTo>
                    <a:cubicBezTo>
                      <a:pt x="364" y="188"/>
                      <a:pt x="359" y="186"/>
                      <a:pt x="358" y="182"/>
                    </a:cubicBezTo>
                    <a:cubicBezTo>
                      <a:pt x="357" y="178"/>
                      <a:pt x="358" y="175"/>
                      <a:pt x="356" y="173"/>
                    </a:cubicBezTo>
                    <a:cubicBezTo>
                      <a:pt x="354" y="172"/>
                      <a:pt x="347" y="171"/>
                      <a:pt x="347" y="167"/>
                    </a:cubicBezTo>
                    <a:cubicBezTo>
                      <a:pt x="348" y="161"/>
                      <a:pt x="348" y="160"/>
                      <a:pt x="348" y="160"/>
                    </a:cubicBezTo>
                    <a:cubicBezTo>
                      <a:pt x="348" y="160"/>
                      <a:pt x="343" y="159"/>
                      <a:pt x="345" y="155"/>
                    </a:cubicBezTo>
                    <a:cubicBezTo>
                      <a:pt x="348" y="150"/>
                      <a:pt x="353" y="147"/>
                      <a:pt x="352" y="144"/>
                    </a:cubicBezTo>
                    <a:cubicBezTo>
                      <a:pt x="350" y="140"/>
                      <a:pt x="348" y="136"/>
                      <a:pt x="348" y="136"/>
                    </a:cubicBezTo>
                    <a:cubicBezTo>
                      <a:pt x="348" y="136"/>
                      <a:pt x="349" y="129"/>
                      <a:pt x="347" y="125"/>
                    </a:cubicBezTo>
                    <a:cubicBezTo>
                      <a:pt x="345" y="122"/>
                      <a:pt x="336" y="117"/>
                      <a:pt x="336" y="111"/>
                    </a:cubicBezTo>
                    <a:cubicBezTo>
                      <a:pt x="336" y="106"/>
                      <a:pt x="337" y="104"/>
                      <a:pt x="337" y="104"/>
                    </a:cubicBezTo>
                    <a:cubicBezTo>
                      <a:pt x="340" y="101"/>
                      <a:pt x="340" y="101"/>
                      <a:pt x="340" y="101"/>
                    </a:cubicBezTo>
                    <a:cubicBezTo>
                      <a:pt x="339" y="95"/>
                      <a:pt x="339" y="95"/>
                      <a:pt x="339" y="95"/>
                    </a:cubicBezTo>
                    <a:cubicBezTo>
                      <a:pt x="328" y="93"/>
                      <a:pt x="328" y="93"/>
                      <a:pt x="328" y="93"/>
                    </a:cubicBezTo>
                    <a:cubicBezTo>
                      <a:pt x="328" y="93"/>
                      <a:pt x="330" y="87"/>
                      <a:pt x="328" y="81"/>
                    </a:cubicBezTo>
                    <a:cubicBezTo>
                      <a:pt x="327" y="77"/>
                      <a:pt x="325" y="74"/>
                      <a:pt x="326" y="69"/>
                    </a:cubicBezTo>
                    <a:cubicBezTo>
                      <a:pt x="327" y="65"/>
                      <a:pt x="332" y="65"/>
                      <a:pt x="330" y="62"/>
                    </a:cubicBezTo>
                    <a:cubicBezTo>
                      <a:pt x="328" y="59"/>
                      <a:pt x="319" y="50"/>
                      <a:pt x="319" y="50"/>
                    </a:cubicBezTo>
                    <a:cubicBezTo>
                      <a:pt x="315" y="53"/>
                      <a:pt x="315" y="53"/>
                      <a:pt x="315" y="53"/>
                    </a:cubicBezTo>
                    <a:cubicBezTo>
                      <a:pt x="315" y="53"/>
                      <a:pt x="314" y="43"/>
                      <a:pt x="305" y="38"/>
                    </a:cubicBezTo>
                    <a:cubicBezTo>
                      <a:pt x="295" y="33"/>
                      <a:pt x="282" y="31"/>
                      <a:pt x="282" y="31"/>
                    </a:cubicBezTo>
                    <a:cubicBezTo>
                      <a:pt x="278" y="27"/>
                      <a:pt x="278" y="27"/>
                      <a:pt x="278" y="27"/>
                    </a:cubicBezTo>
                    <a:cubicBezTo>
                      <a:pt x="274" y="27"/>
                      <a:pt x="274" y="27"/>
                      <a:pt x="274" y="27"/>
                    </a:cubicBezTo>
                    <a:cubicBezTo>
                      <a:pt x="272" y="24"/>
                      <a:pt x="272" y="24"/>
                      <a:pt x="272" y="24"/>
                    </a:cubicBezTo>
                    <a:cubicBezTo>
                      <a:pt x="267" y="22"/>
                      <a:pt x="267" y="22"/>
                      <a:pt x="267" y="22"/>
                    </a:cubicBezTo>
                    <a:cubicBezTo>
                      <a:pt x="265" y="15"/>
                      <a:pt x="265" y="15"/>
                      <a:pt x="265" y="15"/>
                    </a:cubicBezTo>
                    <a:cubicBezTo>
                      <a:pt x="261" y="15"/>
                      <a:pt x="261" y="15"/>
                      <a:pt x="261" y="15"/>
                    </a:cubicBezTo>
                    <a:cubicBezTo>
                      <a:pt x="251" y="11"/>
                      <a:pt x="251" y="11"/>
                      <a:pt x="251" y="11"/>
                    </a:cubicBezTo>
                    <a:cubicBezTo>
                      <a:pt x="250" y="5"/>
                      <a:pt x="250" y="5"/>
                      <a:pt x="250" y="5"/>
                    </a:cubicBezTo>
                    <a:cubicBezTo>
                      <a:pt x="247" y="2"/>
                      <a:pt x="247" y="2"/>
                      <a:pt x="247" y="2"/>
                    </a:cubicBezTo>
                    <a:cubicBezTo>
                      <a:pt x="242" y="2"/>
                      <a:pt x="242" y="2"/>
                      <a:pt x="242" y="2"/>
                    </a:cubicBezTo>
                    <a:cubicBezTo>
                      <a:pt x="242" y="0"/>
                      <a:pt x="242" y="0"/>
                      <a:pt x="242" y="0"/>
                    </a:cubicBezTo>
                    <a:cubicBezTo>
                      <a:pt x="230" y="2"/>
                      <a:pt x="230" y="2"/>
                      <a:pt x="230" y="2"/>
                    </a:cubicBezTo>
                    <a:cubicBezTo>
                      <a:pt x="230" y="2"/>
                      <a:pt x="237" y="11"/>
                      <a:pt x="238" y="17"/>
                    </a:cubicBezTo>
                    <a:cubicBezTo>
                      <a:pt x="239" y="25"/>
                      <a:pt x="231" y="34"/>
                      <a:pt x="231" y="34"/>
                    </a:cubicBezTo>
                    <a:cubicBezTo>
                      <a:pt x="239" y="38"/>
                      <a:pt x="239" y="38"/>
                      <a:pt x="239" y="38"/>
                    </a:cubicBezTo>
                    <a:cubicBezTo>
                      <a:pt x="232" y="48"/>
                      <a:pt x="232" y="48"/>
                      <a:pt x="232" y="48"/>
                    </a:cubicBezTo>
                    <a:cubicBezTo>
                      <a:pt x="210" y="38"/>
                      <a:pt x="210" y="38"/>
                      <a:pt x="210" y="38"/>
                    </a:cubicBezTo>
                    <a:cubicBezTo>
                      <a:pt x="198" y="41"/>
                      <a:pt x="198" y="41"/>
                      <a:pt x="198" y="41"/>
                    </a:cubicBezTo>
                    <a:cubicBezTo>
                      <a:pt x="194" y="36"/>
                      <a:pt x="194" y="36"/>
                      <a:pt x="194" y="36"/>
                    </a:cubicBezTo>
                    <a:cubicBezTo>
                      <a:pt x="186" y="41"/>
                      <a:pt x="186" y="41"/>
                      <a:pt x="186" y="41"/>
                    </a:cubicBezTo>
                    <a:cubicBezTo>
                      <a:pt x="186" y="41"/>
                      <a:pt x="189" y="56"/>
                      <a:pt x="188" y="61"/>
                    </a:cubicBezTo>
                    <a:cubicBezTo>
                      <a:pt x="186" y="66"/>
                      <a:pt x="183" y="77"/>
                      <a:pt x="183" y="77"/>
                    </a:cubicBezTo>
                    <a:cubicBezTo>
                      <a:pt x="167" y="69"/>
                      <a:pt x="167" y="69"/>
                      <a:pt x="167" y="69"/>
                    </a:cubicBezTo>
                    <a:cubicBezTo>
                      <a:pt x="153" y="84"/>
                      <a:pt x="153" y="84"/>
                      <a:pt x="153" y="84"/>
                    </a:cubicBezTo>
                    <a:cubicBezTo>
                      <a:pt x="153" y="84"/>
                      <a:pt x="149" y="101"/>
                      <a:pt x="149" y="106"/>
                    </a:cubicBezTo>
                    <a:cubicBezTo>
                      <a:pt x="148" y="111"/>
                      <a:pt x="140" y="109"/>
                      <a:pt x="140" y="109"/>
                    </a:cubicBezTo>
                    <a:cubicBezTo>
                      <a:pt x="140" y="116"/>
                      <a:pt x="140" y="116"/>
                      <a:pt x="140" y="116"/>
                    </a:cubicBezTo>
                    <a:cubicBezTo>
                      <a:pt x="140" y="116"/>
                      <a:pt x="147" y="127"/>
                      <a:pt x="148" y="135"/>
                    </a:cubicBezTo>
                    <a:cubicBezTo>
                      <a:pt x="150" y="141"/>
                      <a:pt x="144" y="143"/>
                      <a:pt x="136" y="151"/>
                    </a:cubicBezTo>
                    <a:cubicBezTo>
                      <a:pt x="130" y="157"/>
                      <a:pt x="132" y="162"/>
                      <a:pt x="130" y="169"/>
                    </a:cubicBezTo>
                    <a:cubicBezTo>
                      <a:pt x="128" y="175"/>
                      <a:pt x="123" y="176"/>
                      <a:pt x="123" y="176"/>
                    </a:cubicBezTo>
                    <a:cubicBezTo>
                      <a:pt x="126" y="189"/>
                      <a:pt x="126" y="189"/>
                      <a:pt x="126" y="189"/>
                    </a:cubicBezTo>
                    <a:cubicBezTo>
                      <a:pt x="113" y="199"/>
                      <a:pt x="113" y="199"/>
                      <a:pt x="113" y="199"/>
                    </a:cubicBezTo>
                    <a:cubicBezTo>
                      <a:pt x="100" y="201"/>
                      <a:pt x="100" y="201"/>
                      <a:pt x="100" y="201"/>
                    </a:cubicBezTo>
                    <a:cubicBezTo>
                      <a:pt x="104" y="221"/>
                      <a:pt x="104" y="221"/>
                      <a:pt x="104" y="221"/>
                    </a:cubicBezTo>
                    <a:cubicBezTo>
                      <a:pt x="102" y="233"/>
                      <a:pt x="102" y="233"/>
                      <a:pt x="102" y="233"/>
                    </a:cubicBezTo>
                    <a:cubicBezTo>
                      <a:pt x="103" y="253"/>
                      <a:pt x="103" y="253"/>
                      <a:pt x="103" y="253"/>
                    </a:cubicBezTo>
                    <a:cubicBezTo>
                      <a:pt x="99" y="258"/>
                      <a:pt x="99" y="258"/>
                      <a:pt x="99" y="258"/>
                    </a:cubicBezTo>
                    <a:cubicBezTo>
                      <a:pt x="98" y="268"/>
                      <a:pt x="98" y="268"/>
                      <a:pt x="98" y="268"/>
                    </a:cubicBezTo>
                    <a:cubicBezTo>
                      <a:pt x="79" y="300"/>
                      <a:pt x="79" y="300"/>
                      <a:pt x="79" y="300"/>
                    </a:cubicBezTo>
                    <a:cubicBezTo>
                      <a:pt x="93" y="310"/>
                      <a:pt x="93" y="310"/>
                      <a:pt x="93" y="310"/>
                    </a:cubicBezTo>
                    <a:cubicBezTo>
                      <a:pt x="94" y="325"/>
                      <a:pt x="94" y="325"/>
                      <a:pt x="94" y="325"/>
                    </a:cubicBezTo>
                    <a:cubicBezTo>
                      <a:pt x="89" y="337"/>
                      <a:pt x="89" y="337"/>
                      <a:pt x="89" y="337"/>
                    </a:cubicBezTo>
                    <a:cubicBezTo>
                      <a:pt x="89" y="337"/>
                      <a:pt x="69" y="331"/>
                      <a:pt x="59" y="334"/>
                    </a:cubicBezTo>
                    <a:cubicBezTo>
                      <a:pt x="47" y="337"/>
                      <a:pt x="35" y="365"/>
                      <a:pt x="35" y="365"/>
                    </a:cubicBezTo>
                    <a:cubicBezTo>
                      <a:pt x="38" y="374"/>
                      <a:pt x="38" y="374"/>
                      <a:pt x="38" y="374"/>
                    </a:cubicBezTo>
                    <a:cubicBezTo>
                      <a:pt x="30" y="385"/>
                      <a:pt x="30" y="385"/>
                      <a:pt x="30" y="385"/>
                    </a:cubicBezTo>
                    <a:cubicBezTo>
                      <a:pt x="37" y="404"/>
                      <a:pt x="37" y="404"/>
                      <a:pt x="37" y="404"/>
                    </a:cubicBezTo>
                    <a:cubicBezTo>
                      <a:pt x="33" y="410"/>
                      <a:pt x="33" y="410"/>
                      <a:pt x="33" y="410"/>
                    </a:cubicBezTo>
                    <a:cubicBezTo>
                      <a:pt x="36" y="421"/>
                      <a:pt x="36" y="421"/>
                      <a:pt x="36" y="421"/>
                    </a:cubicBezTo>
                    <a:cubicBezTo>
                      <a:pt x="33" y="429"/>
                      <a:pt x="33" y="429"/>
                      <a:pt x="33" y="429"/>
                    </a:cubicBezTo>
                    <a:cubicBezTo>
                      <a:pt x="41" y="452"/>
                      <a:pt x="41" y="452"/>
                      <a:pt x="41" y="452"/>
                    </a:cubicBezTo>
                    <a:cubicBezTo>
                      <a:pt x="35" y="487"/>
                      <a:pt x="35" y="487"/>
                      <a:pt x="35" y="487"/>
                    </a:cubicBezTo>
                    <a:cubicBezTo>
                      <a:pt x="45" y="497"/>
                      <a:pt x="45" y="497"/>
                      <a:pt x="45" y="497"/>
                    </a:cubicBezTo>
                    <a:cubicBezTo>
                      <a:pt x="45" y="497"/>
                      <a:pt x="50" y="500"/>
                      <a:pt x="54" y="503"/>
                    </a:cubicBezTo>
                    <a:cubicBezTo>
                      <a:pt x="58" y="507"/>
                      <a:pt x="59" y="511"/>
                      <a:pt x="55" y="523"/>
                    </a:cubicBezTo>
                    <a:cubicBezTo>
                      <a:pt x="53" y="535"/>
                      <a:pt x="45" y="529"/>
                      <a:pt x="45" y="529"/>
                    </a:cubicBezTo>
                    <a:cubicBezTo>
                      <a:pt x="36" y="532"/>
                      <a:pt x="36" y="532"/>
                      <a:pt x="36" y="532"/>
                    </a:cubicBezTo>
                    <a:cubicBezTo>
                      <a:pt x="41" y="538"/>
                      <a:pt x="41" y="538"/>
                      <a:pt x="41" y="538"/>
                    </a:cubicBezTo>
                    <a:cubicBezTo>
                      <a:pt x="43" y="547"/>
                      <a:pt x="43" y="547"/>
                      <a:pt x="43" y="547"/>
                    </a:cubicBezTo>
                    <a:cubicBezTo>
                      <a:pt x="43" y="547"/>
                      <a:pt x="49" y="561"/>
                      <a:pt x="51" y="568"/>
                    </a:cubicBezTo>
                    <a:cubicBezTo>
                      <a:pt x="54" y="576"/>
                      <a:pt x="46" y="572"/>
                      <a:pt x="45" y="577"/>
                    </a:cubicBezTo>
                    <a:cubicBezTo>
                      <a:pt x="44" y="581"/>
                      <a:pt x="48" y="584"/>
                      <a:pt x="45" y="597"/>
                    </a:cubicBezTo>
                    <a:cubicBezTo>
                      <a:pt x="41" y="609"/>
                      <a:pt x="30" y="603"/>
                      <a:pt x="26" y="607"/>
                    </a:cubicBezTo>
                    <a:cubicBezTo>
                      <a:pt x="21" y="610"/>
                      <a:pt x="28" y="611"/>
                      <a:pt x="27" y="616"/>
                    </a:cubicBezTo>
                    <a:cubicBezTo>
                      <a:pt x="27" y="620"/>
                      <a:pt x="21" y="619"/>
                      <a:pt x="19" y="623"/>
                    </a:cubicBezTo>
                    <a:cubicBezTo>
                      <a:pt x="16" y="625"/>
                      <a:pt x="25" y="643"/>
                      <a:pt x="25" y="643"/>
                    </a:cubicBezTo>
                    <a:cubicBezTo>
                      <a:pt x="25" y="643"/>
                      <a:pt x="21" y="651"/>
                      <a:pt x="19" y="658"/>
                    </a:cubicBezTo>
                    <a:cubicBezTo>
                      <a:pt x="17" y="665"/>
                      <a:pt x="16" y="671"/>
                      <a:pt x="12" y="671"/>
                    </a:cubicBezTo>
                    <a:cubicBezTo>
                      <a:pt x="8" y="671"/>
                      <a:pt x="11" y="662"/>
                      <a:pt x="10" y="657"/>
                    </a:cubicBezTo>
                    <a:cubicBezTo>
                      <a:pt x="9" y="652"/>
                      <a:pt x="1" y="657"/>
                      <a:pt x="1" y="657"/>
                    </a:cubicBezTo>
                    <a:cubicBezTo>
                      <a:pt x="0" y="664"/>
                      <a:pt x="0" y="664"/>
                      <a:pt x="0" y="664"/>
                    </a:cubicBezTo>
                    <a:cubicBezTo>
                      <a:pt x="0" y="664"/>
                      <a:pt x="3" y="668"/>
                      <a:pt x="3" y="673"/>
                    </a:cubicBezTo>
                    <a:cubicBezTo>
                      <a:pt x="3" y="676"/>
                      <a:pt x="0" y="679"/>
                      <a:pt x="0" y="679"/>
                    </a:cubicBezTo>
                    <a:cubicBezTo>
                      <a:pt x="0" y="679"/>
                      <a:pt x="5" y="693"/>
                      <a:pt x="5" y="696"/>
                    </a:cubicBezTo>
                    <a:cubicBezTo>
                      <a:pt x="5" y="699"/>
                      <a:pt x="1" y="699"/>
                      <a:pt x="1" y="699"/>
                    </a:cubicBezTo>
                    <a:cubicBezTo>
                      <a:pt x="2" y="703"/>
                      <a:pt x="2" y="703"/>
                      <a:pt x="2" y="703"/>
                    </a:cubicBezTo>
                    <a:cubicBezTo>
                      <a:pt x="2" y="703"/>
                      <a:pt x="6" y="700"/>
                      <a:pt x="9" y="702"/>
                    </a:cubicBezTo>
                    <a:cubicBezTo>
                      <a:pt x="10" y="703"/>
                      <a:pt x="9" y="707"/>
                      <a:pt x="9" y="707"/>
                    </a:cubicBezTo>
                    <a:cubicBezTo>
                      <a:pt x="11" y="707"/>
                      <a:pt x="11" y="707"/>
                      <a:pt x="11" y="707"/>
                    </a:cubicBezTo>
                    <a:cubicBezTo>
                      <a:pt x="14" y="697"/>
                      <a:pt x="14" y="697"/>
                      <a:pt x="14" y="697"/>
                    </a:cubicBezTo>
                    <a:cubicBezTo>
                      <a:pt x="17" y="700"/>
                      <a:pt x="17" y="700"/>
                      <a:pt x="17" y="700"/>
                    </a:cubicBezTo>
                    <a:cubicBezTo>
                      <a:pt x="10" y="710"/>
                      <a:pt x="10" y="710"/>
                      <a:pt x="10" y="710"/>
                    </a:cubicBezTo>
                    <a:cubicBezTo>
                      <a:pt x="10" y="712"/>
                      <a:pt x="10" y="712"/>
                      <a:pt x="10" y="712"/>
                    </a:cubicBezTo>
                    <a:cubicBezTo>
                      <a:pt x="25" y="704"/>
                      <a:pt x="25" y="704"/>
                      <a:pt x="25" y="704"/>
                    </a:cubicBezTo>
                    <a:cubicBezTo>
                      <a:pt x="22" y="709"/>
                      <a:pt x="22" y="709"/>
                      <a:pt x="22" y="709"/>
                    </a:cubicBezTo>
                    <a:cubicBezTo>
                      <a:pt x="25" y="713"/>
                      <a:pt x="25" y="713"/>
                      <a:pt x="25" y="713"/>
                    </a:cubicBezTo>
                    <a:cubicBezTo>
                      <a:pt x="21" y="730"/>
                      <a:pt x="21" y="730"/>
                      <a:pt x="21" y="730"/>
                    </a:cubicBezTo>
                    <a:cubicBezTo>
                      <a:pt x="18" y="737"/>
                      <a:pt x="18" y="737"/>
                      <a:pt x="18" y="737"/>
                    </a:cubicBezTo>
                    <a:cubicBezTo>
                      <a:pt x="22" y="741"/>
                      <a:pt x="22" y="741"/>
                      <a:pt x="22" y="741"/>
                    </a:cubicBezTo>
                    <a:cubicBezTo>
                      <a:pt x="17" y="746"/>
                      <a:pt x="17" y="746"/>
                      <a:pt x="17" y="746"/>
                    </a:cubicBezTo>
                    <a:cubicBezTo>
                      <a:pt x="22" y="746"/>
                      <a:pt x="22" y="746"/>
                      <a:pt x="22" y="746"/>
                    </a:cubicBezTo>
                    <a:cubicBezTo>
                      <a:pt x="24" y="746"/>
                      <a:pt x="26" y="754"/>
                      <a:pt x="26" y="757"/>
                    </a:cubicBezTo>
                    <a:cubicBezTo>
                      <a:pt x="26" y="761"/>
                      <a:pt x="27" y="768"/>
                      <a:pt x="29" y="768"/>
                    </a:cubicBezTo>
                    <a:cubicBezTo>
                      <a:pt x="31" y="768"/>
                      <a:pt x="32" y="761"/>
                      <a:pt x="32" y="761"/>
                    </a:cubicBezTo>
                    <a:cubicBezTo>
                      <a:pt x="32" y="770"/>
                      <a:pt x="32" y="770"/>
                      <a:pt x="32" y="770"/>
                    </a:cubicBezTo>
                    <a:cubicBezTo>
                      <a:pt x="34" y="771"/>
                      <a:pt x="34" y="771"/>
                      <a:pt x="34" y="771"/>
                    </a:cubicBezTo>
                    <a:cubicBezTo>
                      <a:pt x="32" y="777"/>
                      <a:pt x="32" y="777"/>
                      <a:pt x="32" y="777"/>
                    </a:cubicBezTo>
                    <a:cubicBezTo>
                      <a:pt x="37" y="779"/>
                      <a:pt x="37" y="779"/>
                      <a:pt x="37" y="779"/>
                    </a:cubicBezTo>
                    <a:cubicBezTo>
                      <a:pt x="37" y="786"/>
                      <a:pt x="37" y="786"/>
                      <a:pt x="37" y="786"/>
                    </a:cubicBezTo>
                    <a:cubicBezTo>
                      <a:pt x="42" y="791"/>
                      <a:pt x="42" y="791"/>
                      <a:pt x="42" y="791"/>
                    </a:cubicBezTo>
                    <a:cubicBezTo>
                      <a:pt x="42" y="796"/>
                      <a:pt x="42" y="796"/>
                      <a:pt x="42" y="796"/>
                    </a:cubicBezTo>
                    <a:cubicBezTo>
                      <a:pt x="48" y="804"/>
                      <a:pt x="48" y="804"/>
                      <a:pt x="48" y="804"/>
                    </a:cubicBezTo>
                    <a:cubicBezTo>
                      <a:pt x="50" y="803"/>
                      <a:pt x="50" y="803"/>
                      <a:pt x="50" y="803"/>
                    </a:cubicBezTo>
                    <a:cubicBezTo>
                      <a:pt x="50" y="803"/>
                      <a:pt x="52" y="815"/>
                      <a:pt x="55" y="816"/>
                    </a:cubicBezTo>
                    <a:cubicBezTo>
                      <a:pt x="60" y="818"/>
                      <a:pt x="61" y="814"/>
                      <a:pt x="61" y="814"/>
                    </a:cubicBezTo>
                    <a:cubicBezTo>
                      <a:pt x="61" y="814"/>
                      <a:pt x="64" y="822"/>
                      <a:pt x="64" y="825"/>
                    </a:cubicBezTo>
                    <a:cubicBezTo>
                      <a:pt x="64" y="829"/>
                      <a:pt x="58" y="828"/>
                      <a:pt x="58" y="828"/>
                    </a:cubicBezTo>
                    <a:cubicBezTo>
                      <a:pt x="58" y="828"/>
                      <a:pt x="57" y="823"/>
                      <a:pt x="52" y="826"/>
                    </a:cubicBezTo>
                    <a:cubicBezTo>
                      <a:pt x="48" y="830"/>
                      <a:pt x="58" y="834"/>
                      <a:pt x="58" y="834"/>
                    </a:cubicBezTo>
                    <a:cubicBezTo>
                      <a:pt x="58" y="834"/>
                      <a:pt x="61" y="839"/>
                      <a:pt x="59" y="841"/>
                    </a:cubicBezTo>
                    <a:cubicBezTo>
                      <a:pt x="55" y="844"/>
                      <a:pt x="51" y="838"/>
                      <a:pt x="49" y="837"/>
                    </a:cubicBezTo>
                    <a:cubicBezTo>
                      <a:pt x="47" y="835"/>
                      <a:pt x="44" y="835"/>
                      <a:pt x="43" y="836"/>
                    </a:cubicBezTo>
                    <a:cubicBezTo>
                      <a:pt x="42" y="837"/>
                      <a:pt x="47" y="839"/>
                      <a:pt x="47" y="839"/>
                    </a:cubicBezTo>
                    <a:cubicBezTo>
                      <a:pt x="48" y="844"/>
                      <a:pt x="48" y="844"/>
                      <a:pt x="48" y="844"/>
                    </a:cubicBezTo>
                    <a:cubicBezTo>
                      <a:pt x="48" y="844"/>
                      <a:pt x="54" y="852"/>
                      <a:pt x="58" y="856"/>
                    </a:cubicBezTo>
                    <a:cubicBezTo>
                      <a:pt x="61" y="861"/>
                      <a:pt x="61" y="865"/>
                      <a:pt x="61" y="865"/>
                    </a:cubicBezTo>
                    <a:cubicBezTo>
                      <a:pt x="65" y="866"/>
                      <a:pt x="65" y="866"/>
                      <a:pt x="65" y="866"/>
                    </a:cubicBezTo>
                    <a:cubicBezTo>
                      <a:pt x="64" y="871"/>
                      <a:pt x="64" y="871"/>
                      <a:pt x="64" y="871"/>
                    </a:cubicBezTo>
                    <a:cubicBezTo>
                      <a:pt x="64" y="871"/>
                      <a:pt x="67" y="871"/>
                      <a:pt x="69" y="877"/>
                    </a:cubicBezTo>
                    <a:cubicBezTo>
                      <a:pt x="71" y="881"/>
                      <a:pt x="64" y="882"/>
                      <a:pt x="64" y="882"/>
                    </a:cubicBezTo>
                    <a:cubicBezTo>
                      <a:pt x="64" y="888"/>
                      <a:pt x="64" y="888"/>
                      <a:pt x="64" y="888"/>
                    </a:cubicBezTo>
                    <a:cubicBezTo>
                      <a:pt x="64" y="888"/>
                      <a:pt x="67" y="891"/>
                      <a:pt x="66" y="894"/>
                    </a:cubicBezTo>
                    <a:cubicBezTo>
                      <a:pt x="65" y="896"/>
                      <a:pt x="62" y="893"/>
                      <a:pt x="62" y="893"/>
                    </a:cubicBezTo>
                    <a:cubicBezTo>
                      <a:pt x="61" y="897"/>
                      <a:pt x="61" y="897"/>
                      <a:pt x="61" y="897"/>
                    </a:cubicBezTo>
                    <a:cubicBezTo>
                      <a:pt x="65" y="896"/>
                      <a:pt x="65" y="896"/>
                      <a:pt x="65" y="896"/>
                    </a:cubicBezTo>
                    <a:cubicBezTo>
                      <a:pt x="65" y="896"/>
                      <a:pt x="78" y="899"/>
                      <a:pt x="82" y="899"/>
                    </a:cubicBezTo>
                    <a:cubicBezTo>
                      <a:pt x="85" y="899"/>
                      <a:pt x="91" y="895"/>
                      <a:pt x="97" y="893"/>
                    </a:cubicBezTo>
                    <a:cubicBezTo>
                      <a:pt x="103" y="891"/>
                      <a:pt x="106" y="895"/>
                      <a:pt x="106" y="895"/>
                    </a:cubicBezTo>
                    <a:cubicBezTo>
                      <a:pt x="112" y="894"/>
                      <a:pt x="112" y="894"/>
                      <a:pt x="112" y="894"/>
                    </a:cubicBezTo>
                    <a:cubicBezTo>
                      <a:pt x="112" y="894"/>
                      <a:pt x="117" y="885"/>
                      <a:pt x="118" y="880"/>
                    </a:cubicBezTo>
                    <a:cubicBezTo>
                      <a:pt x="119" y="876"/>
                      <a:pt x="111" y="875"/>
                      <a:pt x="111" y="869"/>
                    </a:cubicBezTo>
                    <a:cubicBezTo>
                      <a:pt x="111" y="865"/>
                      <a:pt x="118" y="854"/>
                      <a:pt x="120" y="852"/>
                    </a:cubicBezTo>
                    <a:cubicBezTo>
                      <a:pt x="123" y="851"/>
                      <a:pt x="129" y="855"/>
                      <a:pt x="131" y="854"/>
                    </a:cubicBezTo>
                    <a:cubicBezTo>
                      <a:pt x="133" y="852"/>
                      <a:pt x="129" y="844"/>
                      <a:pt x="129" y="844"/>
                    </a:cubicBezTo>
                    <a:cubicBezTo>
                      <a:pt x="147" y="842"/>
                      <a:pt x="147" y="842"/>
                      <a:pt x="147" y="842"/>
                    </a:cubicBezTo>
                    <a:cubicBezTo>
                      <a:pt x="155" y="844"/>
                      <a:pt x="155" y="844"/>
                      <a:pt x="155" y="844"/>
                    </a:cubicBezTo>
                    <a:cubicBezTo>
                      <a:pt x="161" y="839"/>
                      <a:pt x="161" y="839"/>
                      <a:pt x="161" y="839"/>
                    </a:cubicBezTo>
                    <a:cubicBezTo>
                      <a:pt x="172" y="847"/>
                      <a:pt x="172" y="847"/>
                      <a:pt x="172" y="847"/>
                    </a:cubicBezTo>
                    <a:cubicBezTo>
                      <a:pt x="172" y="847"/>
                      <a:pt x="176" y="838"/>
                      <a:pt x="178" y="837"/>
                    </a:cubicBezTo>
                    <a:cubicBezTo>
                      <a:pt x="179" y="835"/>
                      <a:pt x="181" y="820"/>
                      <a:pt x="181" y="820"/>
                    </a:cubicBezTo>
                    <a:cubicBezTo>
                      <a:pt x="184" y="810"/>
                      <a:pt x="184" y="810"/>
                      <a:pt x="184" y="810"/>
                    </a:cubicBezTo>
                    <a:cubicBezTo>
                      <a:pt x="188" y="807"/>
                      <a:pt x="188" y="807"/>
                      <a:pt x="188" y="807"/>
                    </a:cubicBezTo>
                    <a:cubicBezTo>
                      <a:pt x="192" y="791"/>
                      <a:pt x="192" y="791"/>
                      <a:pt x="192" y="791"/>
                    </a:cubicBezTo>
                    <a:cubicBezTo>
                      <a:pt x="190" y="785"/>
                      <a:pt x="190" y="785"/>
                      <a:pt x="190" y="785"/>
                    </a:cubicBezTo>
                    <a:cubicBezTo>
                      <a:pt x="190" y="785"/>
                      <a:pt x="193" y="784"/>
                      <a:pt x="194" y="781"/>
                    </a:cubicBezTo>
                    <a:cubicBezTo>
                      <a:pt x="195" y="777"/>
                      <a:pt x="191" y="775"/>
                      <a:pt x="191" y="775"/>
                    </a:cubicBezTo>
                    <a:cubicBezTo>
                      <a:pt x="192" y="761"/>
                      <a:pt x="192" y="761"/>
                      <a:pt x="192" y="761"/>
                    </a:cubicBezTo>
                    <a:cubicBezTo>
                      <a:pt x="192" y="761"/>
                      <a:pt x="195" y="762"/>
                      <a:pt x="197" y="756"/>
                    </a:cubicBezTo>
                    <a:cubicBezTo>
                      <a:pt x="200" y="751"/>
                      <a:pt x="191" y="746"/>
                      <a:pt x="191" y="746"/>
                    </a:cubicBezTo>
                    <a:cubicBezTo>
                      <a:pt x="193" y="744"/>
                      <a:pt x="193" y="744"/>
                      <a:pt x="193" y="744"/>
                    </a:cubicBezTo>
                    <a:cubicBezTo>
                      <a:pt x="194" y="735"/>
                      <a:pt x="194" y="735"/>
                      <a:pt x="194" y="735"/>
                    </a:cubicBezTo>
                    <a:cubicBezTo>
                      <a:pt x="192" y="728"/>
                      <a:pt x="192" y="728"/>
                      <a:pt x="192" y="728"/>
                    </a:cubicBezTo>
                    <a:cubicBezTo>
                      <a:pt x="188" y="728"/>
                      <a:pt x="188" y="728"/>
                      <a:pt x="188" y="728"/>
                    </a:cubicBezTo>
                    <a:cubicBezTo>
                      <a:pt x="188" y="728"/>
                      <a:pt x="188" y="726"/>
                      <a:pt x="191" y="725"/>
                    </a:cubicBezTo>
                    <a:cubicBezTo>
                      <a:pt x="195" y="725"/>
                      <a:pt x="198" y="728"/>
                      <a:pt x="198" y="728"/>
                    </a:cubicBezTo>
                    <a:cubicBezTo>
                      <a:pt x="197" y="722"/>
                      <a:pt x="197" y="722"/>
                      <a:pt x="197" y="722"/>
                    </a:cubicBezTo>
                    <a:cubicBezTo>
                      <a:pt x="193" y="720"/>
                      <a:pt x="193" y="720"/>
                      <a:pt x="193" y="720"/>
                    </a:cubicBezTo>
                    <a:cubicBezTo>
                      <a:pt x="196" y="719"/>
                      <a:pt x="196" y="719"/>
                      <a:pt x="196" y="719"/>
                    </a:cubicBezTo>
                    <a:cubicBezTo>
                      <a:pt x="196" y="719"/>
                      <a:pt x="196" y="711"/>
                      <a:pt x="198" y="707"/>
                    </a:cubicBezTo>
                    <a:cubicBezTo>
                      <a:pt x="201" y="703"/>
                      <a:pt x="192" y="698"/>
                      <a:pt x="192" y="698"/>
                    </a:cubicBezTo>
                    <a:cubicBezTo>
                      <a:pt x="195" y="697"/>
                      <a:pt x="195" y="697"/>
                      <a:pt x="195" y="697"/>
                    </a:cubicBezTo>
                    <a:cubicBezTo>
                      <a:pt x="192" y="692"/>
                      <a:pt x="192" y="692"/>
                      <a:pt x="192" y="692"/>
                    </a:cubicBezTo>
                    <a:cubicBezTo>
                      <a:pt x="192" y="692"/>
                      <a:pt x="198" y="694"/>
                      <a:pt x="201" y="687"/>
                    </a:cubicBezTo>
                    <a:cubicBezTo>
                      <a:pt x="204" y="679"/>
                      <a:pt x="183" y="679"/>
                      <a:pt x="183" y="679"/>
                    </a:cubicBezTo>
                    <a:cubicBezTo>
                      <a:pt x="182" y="682"/>
                      <a:pt x="182" y="682"/>
                      <a:pt x="182" y="682"/>
                    </a:cubicBezTo>
                    <a:cubicBezTo>
                      <a:pt x="176" y="681"/>
                      <a:pt x="176" y="681"/>
                      <a:pt x="176" y="681"/>
                    </a:cubicBezTo>
                    <a:cubicBezTo>
                      <a:pt x="176" y="677"/>
                      <a:pt x="176" y="677"/>
                      <a:pt x="176" y="677"/>
                    </a:cubicBezTo>
                    <a:cubicBezTo>
                      <a:pt x="192" y="677"/>
                      <a:pt x="192" y="677"/>
                      <a:pt x="192" y="677"/>
                    </a:cubicBezTo>
                    <a:cubicBezTo>
                      <a:pt x="195" y="677"/>
                      <a:pt x="201" y="680"/>
                      <a:pt x="201" y="680"/>
                    </a:cubicBezTo>
                    <a:cubicBezTo>
                      <a:pt x="204" y="675"/>
                      <a:pt x="204" y="675"/>
                      <a:pt x="204" y="675"/>
                    </a:cubicBezTo>
                    <a:cubicBezTo>
                      <a:pt x="202" y="668"/>
                      <a:pt x="202" y="668"/>
                      <a:pt x="202" y="668"/>
                    </a:cubicBezTo>
                    <a:cubicBezTo>
                      <a:pt x="208" y="672"/>
                      <a:pt x="208" y="672"/>
                      <a:pt x="208" y="672"/>
                    </a:cubicBezTo>
                    <a:cubicBezTo>
                      <a:pt x="208" y="672"/>
                      <a:pt x="212" y="671"/>
                      <a:pt x="213" y="671"/>
                    </a:cubicBezTo>
                    <a:cubicBezTo>
                      <a:pt x="214" y="671"/>
                      <a:pt x="218" y="666"/>
                      <a:pt x="218" y="666"/>
                    </a:cubicBezTo>
                    <a:cubicBezTo>
                      <a:pt x="218" y="661"/>
                      <a:pt x="218" y="661"/>
                      <a:pt x="218" y="661"/>
                    </a:cubicBezTo>
                    <a:cubicBezTo>
                      <a:pt x="222" y="662"/>
                      <a:pt x="222" y="662"/>
                      <a:pt x="222" y="662"/>
                    </a:cubicBezTo>
                    <a:cubicBezTo>
                      <a:pt x="223" y="647"/>
                      <a:pt x="223" y="647"/>
                      <a:pt x="223" y="647"/>
                    </a:cubicBezTo>
                    <a:cubicBezTo>
                      <a:pt x="226" y="648"/>
                      <a:pt x="226" y="648"/>
                      <a:pt x="226" y="648"/>
                    </a:cubicBezTo>
                    <a:cubicBezTo>
                      <a:pt x="228" y="658"/>
                      <a:pt x="228" y="658"/>
                      <a:pt x="228" y="658"/>
                    </a:cubicBezTo>
                    <a:cubicBezTo>
                      <a:pt x="235" y="659"/>
                      <a:pt x="235" y="659"/>
                      <a:pt x="235" y="659"/>
                    </a:cubicBezTo>
                    <a:cubicBezTo>
                      <a:pt x="237" y="649"/>
                      <a:pt x="237" y="649"/>
                      <a:pt x="237" y="649"/>
                    </a:cubicBezTo>
                    <a:cubicBezTo>
                      <a:pt x="237" y="649"/>
                      <a:pt x="239" y="649"/>
                      <a:pt x="241" y="648"/>
                    </a:cubicBezTo>
                    <a:cubicBezTo>
                      <a:pt x="242" y="647"/>
                      <a:pt x="242" y="643"/>
                      <a:pt x="242" y="643"/>
                    </a:cubicBezTo>
                    <a:cubicBezTo>
                      <a:pt x="246" y="642"/>
                      <a:pt x="246" y="642"/>
                      <a:pt x="246" y="642"/>
                    </a:cubicBezTo>
                    <a:cubicBezTo>
                      <a:pt x="248" y="640"/>
                      <a:pt x="248" y="640"/>
                      <a:pt x="248" y="640"/>
                    </a:cubicBezTo>
                    <a:cubicBezTo>
                      <a:pt x="245" y="639"/>
                      <a:pt x="245" y="639"/>
                      <a:pt x="245" y="639"/>
                    </a:cubicBezTo>
                    <a:cubicBezTo>
                      <a:pt x="243" y="633"/>
                      <a:pt x="243" y="633"/>
                      <a:pt x="243" y="633"/>
                    </a:cubicBezTo>
                    <a:cubicBezTo>
                      <a:pt x="237" y="628"/>
                      <a:pt x="237" y="628"/>
                      <a:pt x="237" y="628"/>
                    </a:cubicBezTo>
                    <a:cubicBezTo>
                      <a:pt x="239" y="625"/>
                      <a:pt x="239" y="625"/>
                      <a:pt x="239" y="625"/>
                    </a:cubicBezTo>
                    <a:cubicBezTo>
                      <a:pt x="244" y="625"/>
                      <a:pt x="244" y="625"/>
                      <a:pt x="244" y="625"/>
                    </a:cubicBezTo>
                    <a:cubicBezTo>
                      <a:pt x="258" y="610"/>
                      <a:pt x="258" y="610"/>
                      <a:pt x="258" y="610"/>
                    </a:cubicBezTo>
                    <a:cubicBezTo>
                      <a:pt x="258" y="607"/>
                      <a:pt x="258" y="607"/>
                      <a:pt x="258" y="607"/>
                    </a:cubicBezTo>
                    <a:cubicBezTo>
                      <a:pt x="266" y="601"/>
                      <a:pt x="266" y="601"/>
                      <a:pt x="266" y="601"/>
                    </a:cubicBezTo>
                    <a:cubicBezTo>
                      <a:pt x="267" y="600"/>
                      <a:pt x="267" y="600"/>
                      <a:pt x="267" y="600"/>
                    </a:cubicBezTo>
                    <a:cubicBezTo>
                      <a:pt x="259" y="600"/>
                      <a:pt x="259" y="600"/>
                      <a:pt x="259" y="600"/>
                    </a:cubicBezTo>
                    <a:cubicBezTo>
                      <a:pt x="261" y="594"/>
                      <a:pt x="261" y="594"/>
                      <a:pt x="261" y="594"/>
                    </a:cubicBezTo>
                    <a:cubicBezTo>
                      <a:pt x="266" y="595"/>
                      <a:pt x="266" y="595"/>
                      <a:pt x="266" y="595"/>
                    </a:cubicBezTo>
                    <a:cubicBezTo>
                      <a:pt x="267" y="592"/>
                      <a:pt x="267" y="592"/>
                      <a:pt x="267" y="592"/>
                    </a:cubicBezTo>
                    <a:cubicBezTo>
                      <a:pt x="261" y="588"/>
                      <a:pt x="261" y="588"/>
                      <a:pt x="261" y="588"/>
                    </a:cubicBezTo>
                    <a:cubicBezTo>
                      <a:pt x="256" y="578"/>
                      <a:pt x="256" y="578"/>
                      <a:pt x="256" y="578"/>
                    </a:cubicBezTo>
                    <a:cubicBezTo>
                      <a:pt x="247" y="578"/>
                      <a:pt x="247" y="578"/>
                      <a:pt x="247" y="578"/>
                    </a:cubicBezTo>
                    <a:cubicBezTo>
                      <a:pt x="245" y="578"/>
                      <a:pt x="242" y="570"/>
                      <a:pt x="242" y="570"/>
                    </a:cubicBezTo>
                    <a:cubicBezTo>
                      <a:pt x="242" y="566"/>
                      <a:pt x="242" y="566"/>
                      <a:pt x="242" y="566"/>
                    </a:cubicBezTo>
                    <a:cubicBezTo>
                      <a:pt x="241" y="564"/>
                      <a:pt x="241" y="564"/>
                      <a:pt x="241" y="564"/>
                    </a:cubicBezTo>
                    <a:cubicBezTo>
                      <a:pt x="237" y="565"/>
                      <a:pt x="237" y="565"/>
                      <a:pt x="237" y="565"/>
                    </a:cubicBezTo>
                    <a:cubicBezTo>
                      <a:pt x="227" y="554"/>
                      <a:pt x="227" y="554"/>
                      <a:pt x="227" y="554"/>
                    </a:cubicBezTo>
                    <a:cubicBezTo>
                      <a:pt x="227" y="554"/>
                      <a:pt x="228" y="550"/>
                      <a:pt x="225" y="549"/>
                    </a:cubicBezTo>
                    <a:cubicBezTo>
                      <a:pt x="221" y="548"/>
                      <a:pt x="216" y="557"/>
                      <a:pt x="216" y="557"/>
                    </a:cubicBezTo>
                    <a:cubicBezTo>
                      <a:pt x="213" y="552"/>
                      <a:pt x="213" y="552"/>
                      <a:pt x="213" y="552"/>
                    </a:cubicBezTo>
                    <a:cubicBezTo>
                      <a:pt x="213" y="552"/>
                      <a:pt x="215" y="550"/>
                      <a:pt x="213" y="548"/>
                    </a:cubicBezTo>
                    <a:cubicBezTo>
                      <a:pt x="210" y="546"/>
                      <a:pt x="198" y="548"/>
                      <a:pt x="198" y="548"/>
                    </a:cubicBezTo>
                    <a:cubicBezTo>
                      <a:pt x="205" y="541"/>
                      <a:pt x="205" y="541"/>
                      <a:pt x="205" y="541"/>
                    </a:cubicBezTo>
                    <a:cubicBezTo>
                      <a:pt x="200" y="534"/>
                      <a:pt x="200" y="534"/>
                      <a:pt x="200" y="534"/>
                    </a:cubicBezTo>
                    <a:cubicBezTo>
                      <a:pt x="196" y="533"/>
                      <a:pt x="196" y="533"/>
                      <a:pt x="196" y="533"/>
                    </a:cubicBezTo>
                    <a:cubicBezTo>
                      <a:pt x="198" y="525"/>
                      <a:pt x="198" y="525"/>
                      <a:pt x="198" y="525"/>
                    </a:cubicBezTo>
                    <a:cubicBezTo>
                      <a:pt x="196" y="515"/>
                      <a:pt x="196" y="515"/>
                      <a:pt x="196" y="515"/>
                    </a:cubicBezTo>
                    <a:cubicBezTo>
                      <a:pt x="196" y="515"/>
                      <a:pt x="198" y="509"/>
                      <a:pt x="198" y="506"/>
                    </a:cubicBezTo>
                    <a:cubicBezTo>
                      <a:pt x="198" y="504"/>
                      <a:pt x="193" y="502"/>
                      <a:pt x="193" y="502"/>
                    </a:cubicBezTo>
                    <a:cubicBezTo>
                      <a:pt x="195" y="491"/>
                      <a:pt x="195" y="491"/>
                      <a:pt x="195" y="491"/>
                    </a:cubicBezTo>
                    <a:cubicBezTo>
                      <a:pt x="193" y="490"/>
                      <a:pt x="193" y="490"/>
                      <a:pt x="193" y="490"/>
                    </a:cubicBezTo>
                    <a:cubicBezTo>
                      <a:pt x="196" y="488"/>
                      <a:pt x="196" y="488"/>
                      <a:pt x="196" y="488"/>
                    </a:cubicBezTo>
                    <a:cubicBezTo>
                      <a:pt x="192" y="479"/>
                      <a:pt x="192" y="479"/>
                      <a:pt x="192" y="479"/>
                    </a:cubicBezTo>
                    <a:cubicBezTo>
                      <a:pt x="198" y="483"/>
                      <a:pt x="198" y="483"/>
                      <a:pt x="198" y="483"/>
                    </a:cubicBezTo>
                    <a:cubicBezTo>
                      <a:pt x="201" y="479"/>
                      <a:pt x="201" y="479"/>
                      <a:pt x="201" y="479"/>
                    </a:cubicBezTo>
                    <a:cubicBezTo>
                      <a:pt x="201" y="479"/>
                      <a:pt x="200" y="475"/>
                      <a:pt x="198" y="473"/>
                    </a:cubicBezTo>
                    <a:cubicBezTo>
                      <a:pt x="195" y="472"/>
                      <a:pt x="197" y="464"/>
                      <a:pt x="197" y="464"/>
                    </a:cubicBezTo>
                    <a:cubicBezTo>
                      <a:pt x="200" y="461"/>
                      <a:pt x="200" y="461"/>
                      <a:pt x="200" y="461"/>
                    </a:cubicBezTo>
                    <a:cubicBezTo>
                      <a:pt x="201" y="450"/>
                      <a:pt x="201" y="450"/>
                      <a:pt x="201" y="450"/>
                    </a:cubicBezTo>
                    <a:cubicBezTo>
                      <a:pt x="206" y="448"/>
                      <a:pt x="206" y="448"/>
                      <a:pt x="206" y="448"/>
                    </a:cubicBezTo>
                    <a:cubicBezTo>
                      <a:pt x="206" y="445"/>
                      <a:pt x="206" y="445"/>
                      <a:pt x="206" y="445"/>
                    </a:cubicBezTo>
                    <a:cubicBezTo>
                      <a:pt x="200" y="445"/>
                      <a:pt x="200" y="445"/>
                      <a:pt x="200" y="445"/>
                    </a:cubicBezTo>
                    <a:cubicBezTo>
                      <a:pt x="199" y="441"/>
                      <a:pt x="199" y="441"/>
                      <a:pt x="199" y="441"/>
                    </a:cubicBezTo>
                    <a:cubicBezTo>
                      <a:pt x="197" y="442"/>
                      <a:pt x="197" y="442"/>
                      <a:pt x="197" y="442"/>
                    </a:cubicBezTo>
                    <a:cubicBezTo>
                      <a:pt x="196" y="432"/>
                      <a:pt x="196" y="432"/>
                      <a:pt x="196" y="432"/>
                    </a:cubicBezTo>
                    <a:cubicBezTo>
                      <a:pt x="194" y="430"/>
                      <a:pt x="194" y="430"/>
                      <a:pt x="194" y="430"/>
                    </a:cubicBezTo>
                    <a:cubicBezTo>
                      <a:pt x="199" y="428"/>
                      <a:pt x="199" y="428"/>
                      <a:pt x="199" y="428"/>
                    </a:cubicBezTo>
                    <a:cubicBezTo>
                      <a:pt x="202" y="434"/>
                      <a:pt x="202" y="434"/>
                      <a:pt x="202" y="434"/>
                    </a:cubicBezTo>
                    <a:cubicBezTo>
                      <a:pt x="207" y="432"/>
                      <a:pt x="207" y="432"/>
                      <a:pt x="207" y="432"/>
                    </a:cubicBezTo>
                    <a:cubicBezTo>
                      <a:pt x="205" y="430"/>
                      <a:pt x="205" y="430"/>
                      <a:pt x="205" y="430"/>
                    </a:cubicBezTo>
                    <a:cubicBezTo>
                      <a:pt x="207" y="427"/>
                      <a:pt x="207" y="427"/>
                      <a:pt x="207" y="427"/>
                    </a:cubicBezTo>
                    <a:cubicBezTo>
                      <a:pt x="207" y="427"/>
                      <a:pt x="212" y="427"/>
                      <a:pt x="212" y="425"/>
                    </a:cubicBezTo>
                    <a:cubicBezTo>
                      <a:pt x="212" y="418"/>
                      <a:pt x="212" y="418"/>
                      <a:pt x="212" y="418"/>
                    </a:cubicBezTo>
                    <a:cubicBezTo>
                      <a:pt x="213" y="414"/>
                      <a:pt x="213" y="414"/>
                      <a:pt x="213" y="414"/>
                    </a:cubicBezTo>
                    <a:cubicBezTo>
                      <a:pt x="213" y="414"/>
                      <a:pt x="211" y="408"/>
                      <a:pt x="213" y="408"/>
                    </a:cubicBezTo>
                    <a:cubicBezTo>
                      <a:pt x="215" y="407"/>
                      <a:pt x="216" y="410"/>
                      <a:pt x="216" y="410"/>
                    </a:cubicBezTo>
                    <a:cubicBezTo>
                      <a:pt x="221" y="407"/>
                      <a:pt x="221" y="407"/>
                      <a:pt x="221" y="407"/>
                    </a:cubicBezTo>
                    <a:cubicBezTo>
                      <a:pt x="221" y="407"/>
                      <a:pt x="218" y="403"/>
                      <a:pt x="221" y="401"/>
                    </a:cubicBezTo>
                    <a:cubicBezTo>
                      <a:pt x="222" y="400"/>
                      <a:pt x="225" y="405"/>
                      <a:pt x="225" y="405"/>
                    </a:cubicBezTo>
                    <a:cubicBezTo>
                      <a:pt x="229" y="399"/>
                      <a:pt x="229" y="399"/>
                      <a:pt x="229" y="399"/>
                    </a:cubicBezTo>
                    <a:cubicBezTo>
                      <a:pt x="225" y="397"/>
                      <a:pt x="225" y="397"/>
                      <a:pt x="225" y="397"/>
                    </a:cubicBezTo>
                    <a:cubicBezTo>
                      <a:pt x="228" y="396"/>
                      <a:pt x="228" y="396"/>
                      <a:pt x="228" y="396"/>
                    </a:cubicBezTo>
                    <a:cubicBezTo>
                      <a:pt x="228" y="395"/>
                      <a:pt x="228" y="395"/>
                      <a:pt x="228" y="395"/>
                    </a:cubicBezTo>
                    <a:cubicBezTo>
                      <a:pt x="222" y="395"/>
                      <a:pt x="222" y="395"/>
                      <a:pt x="222" y="395"/>
                    </a:cubicBezTo>
                    <a:cubicBezTo>
                      <a:pt x="226" y="392"/>
                      <a:pt x="226" y="392"/>
                      <a:pt x="226" y="392"/>
                    </a:cubicBezTo>
                    <a:cubicBezTo>
                      <a:pt x="231" y="380"/>
                      <a:pt x="231" y="380"/>
                      <a:pt x="231" y="380"/>
                    </a:cubicBezTo>
                    <a:cubicBezTo>
                      <a:pt x="234" y="380"/>
                      <a:pt x="234" y="380"/>
                      <a:pt x="234" y="380"/>
                    </a:cubicBezTo>
                    <a:cubicBezTo>
                      <a:pt x="239" y="377"/>
                      <a:pt x="239" y="377"/>
                      <a:pt x="239" y="377"/>
                    </a:cubicBezTo>
                    <a:cubicBezTo>
                      <a:pt x="233" y="375"/>
                      <a:pt x="233" y="375"/>
                      <a:pt x="233" y="375"/>
                    </a:cubicBezTo>
                    <a:cubicBezTo>
                      <a:pt x="239" y="374"/>
                      <a:pt x="239" y="374"/>
                      <a:pt x="239" y="374"/>
                    </a:cubicBezTo>
                    <a:cubicBezTo>
                      <a:pt x="243" y="378"/>
                      <a:pt x="243" y="378"/>
                      <a:pt x="243" y="378"/>
                    </a:cubicBezTo>
                    <a:cubicBezTo>
                      <a:pt x="243" y="378"/>
                      <a:pt x="244" y="374"/>
                      <a:pt x="246" y="371"/>
                    </a:cubicBezTo>
                    <a:cubicBezTo>
                      <a:pt x="248" y="368"/>
                      <a:pt x="249" y="361"/>
                      <a:pt x="249" y="361"/>
                    </a:cubicBezTo>
                    <a:cubicBezTo>
                      <a:pt x="249" y="361"/>
                      <a:pt x="251" y="362"/>
                      <a:pt x="254" y="360"/>
                    </a:cubicBezTo>
                    <a:cubicBezTo>
                      <a:pt x="256" y="359"/>
                      <a:pt x="255" y="353"/>
                      <a:pt x="255" y="353"/>
                    </a:cubicBezTo>
                    <a:cubicBezTo>
                      <a:pt x="258" y="358"/>
                      <a:pt x="258" y="358"/>
                      <a:pt x="258" y="358"/>
                    </a:cubicBezTo>
                    <a:cubicBezTo>
                      <a:pt x="261" y="363"/>
                      <a:pt x="261" y="363"/>
                      <a:pt x="261" y="363"/>
                    </a:cubicBezTo>
                    <a:cubicBezTo>
                      <a:pt x="263" y="361"/>
                      <a:pt x="263" y="361"/>
                      <a:pt x="263" y="361"/>
                    </a:cubicBezTo>
                    <a:cubicBezTo>
                      <a:pt x="262" y="357"/>
                      <a:pt x="262" y="357"/>
                      <a:pt x="262" y="357"/>
                    </a:cubicBezTo>
                    <a:cubicBezTo>
                      <a:pt x="270" y="348"/>
                      <a:pt x="270" y="348"/>
                      <a:pt x="270" y="348"/>
                    </a:cubicBezTo>
                    <a:cubicBezTo>
                      <a:pt x="268" y="346"/>
                      <a:pt x="268" y="346"/>
                      <a:pt x="268" y="346"/>
                    </a:cubicBezTo>
                    <a:cubicBezTo>
                      <a:pt x="271" y="345"/>
                      <a:pt x="271" y="345"/>
                      <a:pt x="271" y="345"/>
                    </a:cubicBezTo>
                    <a:cubicBezTo>
                      <a:pt x="272" y="346"/>
                      <a:pt x="272" y="346"/>
                      <a:pt x="272" y="346"/>
                    </a:cubicBezTo>
                    <a:cubicBezTo>
                      <a:pt x="278" y="344"/>
                      <a:pt x="278" y="344"/>
                      <a:pt x="278" y="344"/>
                    </a:cubicBezTo>
                    <a:cubicBezTo>
                      <a:pt x="278" y="340"/>
                      <a:pt x="278" y="340"/>
                      <a:pt x="278" y="340"/>
                    </a:cubicBezTo>
                    <a:cubicBezTo>
                      <a:pt x="280" y="344"/>
                      <a:pt x="280" y="344"/>
                      <a:pt x="280" y="344"/>
                    </a:cubicBezTo>
                    <a:cubicBezTo>
                      <a:pt x="281" y="334"/>
                      <a:pt x="281" y="334"/>
                      <a:pt x="281" y="334"/>
                    </a:cubicBezTo>
                    <a:cubicBezTo>
                      <a:pt x="284" y="339"/>
                      <a:pt x="284" y="339"/>
                      <a:pt x="284" y="339"/>
                    </a:cubicBezTo>
                    <a:cubicBezTo>
                      <a:pt x="290" y="333"/>
                      <a:pt x="290" y="333"/>
                      <a:pt x="290" y="333"/>
                    </a:cubicBezTo>
                    <a:cubicBezTo>
                      <a:pt x="290" y="333"/>
                      <a:pt x="293" y="325"/>
                      <a:pt x="294" y="321"/>
                    </a:cubicBezTo>
                    <a:cubicBezTo>
                      <a:pt x="295" y="318"/>
                      <a:pt x="293" y="313"/>
                      <a:pt x="293" y="313"/>
                    </a:cubicBezTo>
                    <a:cubicBezTo>
                      <a:pt x="298" y="308"/>
                      <a:pt x="298" y="308"/>
                      <a:pt x="298" y="308"/>
                    </a:cubicBezTo>
                    <a:cubicBezTo>
                      <a:pt x="299" y="302"/>
                      <a:pt x="299" y="302"/>
                      <a:pt x="299" y="302"/>
                    </a:cubicBezTo>
                    <a:cubicBezTo>
                      <a:pt x="309" y="293"/>
                      <a:pt x="309" y="293"/>
                      <a:pt x="309" y="293"/>
                    </a:cubicBezTo>
                    <a:cubicBezTo>
                      <a:pt x="310" y="287"/>
                      <a:pt x="310" y="287"/>
                      <a:pt x="310" y="287"/>
                    </a:cubicBezTo>
                    <a:cubicBezTo>
                      <a:pt x="306" y="288"/>
                      <a:pt x="306" y="288"/>
                      <a:pt x="306" y="288"/>
                    </a:cubicBezTo>
                    <a:cubicBezTo>
                      <a:pt x="304" y="286"/>
                      <a:pt x="304" y="286"/>
                      <a:pt x="304" y="286"/>
                    </a:cubicBezTo>
                    <a:cubicBezTo>
                      <a:pt x="308" y="285"/>
                      <a:pt x="308" y="285"/>
                      <a:pt x="308" y="285"/>
                    </a:cubicBezTo>
                    <a:cubicBezTo>
                      <a:pt x="309" y="283"/>
                      <a:pt x="309" y="283"/>
                      <a:pt x="309" y="283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295" y="277"/>
                      <a:pt x="295" y="277"/>
                      <a:pt x="295" y="277"/>
                    </a:cubicBezTo>
                    <a:cubicBezTo>
                      <a:pt x="298" y="269"/>
                      <a:pt x="298" y="269"/>
                      <a:pt x="298" y="269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5" y="261"/>
                      <a:pt x="295" y="261"/>
                      <a:pt x="295" y="261"/>
                    </a:cubicBezTo>
                    <a:cubicBezTo>
                      <a:pt x="298" y="259"/>
                      <a:pt x="298" y="259"/>
                      <a:pt x="298" y="259"/>
                    </a:cubicBezTo>
                    <a:cubicBezTo>
                      <a:pt x="303" y="246"/>
                      <a:pt x="303" y="246"/>
                      <a:pt x="303" y="246"/>
                    </a:cubicBezTo>
                    <a:cubicBezTo>
                      <a:pt x="303" y="246"/>
                      <a:pt x="293" y="238"/>
                      <a:pt x="295" y="234"/>
                    </a:cubicBezTo>
                    <a:cubicBezTo>
                      <a:pt x="296" y="230"/>
                      <a:pt x="304" y="231"/>
                      <a:pt x="309" y="229"/>
                    </a:cubicBezTo>
                    <a:cubicBezTo>
                      <a:pt x="315" y="226"/>
                      <a:pt x="307" y="221"/>
                      <a:pt x="307" y="221"/>
                    </a:cubicBezTo>
                    <a:cubicBezTo>
                      <a:pt x="313" y="219"/>
                      <a:pt x="313" y="219"/>
                      <a:pt x="313" y="219"/>
                    </a:cubicBezTo>
                    <a:cubicBezTo>
                      <a:pt x="313" y="216"/>
                      <a:pt x="313" y="216"/>
                      <a:pt x="313" y="216"/>
                    </a:cubicBezTo>
                    <a:cubicBezTo>
                      <a:pt x="319" y="216"/>
                      <a:pt x="319" y="216"/>
                      <a:pt x="319" y="216"/>
                    </a:cubicBezTo>
                    <a:cubicBezTo>
                      <a:pt x="315" y="196"/>
                      <a:pt x="315" y="196"/>
                      <a:pt x="315" y="196"/>
                    </a:cubicBezTo>
                    <a:cubicBezTo>
                      <a:pt x="319" y="196"/>
                      <a:pt x="319" y="196"/>
                      <a:pt x="319" y="196"/>
                    </a:cubicBezTo>
                    <a:cubicBezTo>
                      <a:pt x="322" y="201"/>
                      <a:pt x="322" y="201"/>
                      <a:pt x="322" y="201"/>
                    </a:cubicBezTo>
                    <a:cubicBezTo>
                      <a:pt x="326" y="201"/>
                      <a:pt x="326" y="201"/>
                      <a:pt x="326" y="201"/>
                    </a:cubicBezTo>
                    <a:cubicBezTo>
                      <a:pt x="324" y="193"/>
                      <a:pt x="324" y="193"/>
                      <a:pt x="324" y="193"/>
                    </a:cubicBezTo>
                    <a:cubicBezTo>
                      <a:pt x="329" y="195"/>
                      <a:pt x="329" y="195"/>
                      <a:pt x="329" y="195"/>
                    </a:cubicBezTo>
                    <a:cubicBezTo>
                      <a:pt x="329" y="199"/>
                      <a:pt x="329" y="199"/>
                      <a:pt x="329" y="199"/>
                    </a:cubicBezTo>
                    <a:cubicBezTo>
                      <a:pt x="336" y="201"/>
                      <a:pt x="336" y="201"/>
                      <a:pt x="336" y="201"/>
                    </a:cubicBezTo>
                    <a:cubicBezTo>
                      <a:pt x="337" y="205"/>
                      <a:pt x="337" y="205"/>
                      <a:pt x="337" y="205"/>
                    </a:cubicBezTo>
                    <a:cubicBezTo>
                      <a:pt x="340" y="200"/>
                      <a:pt x="340" y="200"/>
                      <a:pt x="340" y="200"/>
                    </a:cubicBezTo>
                    <a:cubicBezTo>
                      <a:pt x="339" y="196"/>
                      <a:pt x="339" y="196"/>
                      <a:pt x="339" y="196"/>
                    </a:cubicBezTo>
                    <a:cubicBezTo>
                      <a:pt x="350" y="196"/>
                      <a:pt x="350" y="196"/>
                      <a:pt x="350" y="196"/>
                    </a:cubicBezTo>
                    <a:cubicBezTo>
                      <a:pt x="354" y="193"/>
                      <a:pt x="354" y="193"/>
                      <a:pt x="354" y="193"/>
                    </a:cubicBezTo>
                    <a:cubicBezTo>
                      <a:pt x="357" y="196"/>
                      <a:pt x="357" y="196"/>
                      <a:pt x="357" y="196"/>
                    </a:cubicBezTo>
                    <a:cubicBezTo>
                      <a:pt x="360" y="196"/>
                      <a:pt x="360" y="196"/>
                      <a:pt x="360" y="196"/>
                    </a:cubicBezTo>
                    <a:cubicBezTo>
                      <a:pt x="360" y="194"/>
                      <a:pt x="360" y="194"/>
                      <a:pt x="360" y="194"/>
                    </a:cubicBezTo>
                    <a:cubicBezTo>
                      <a:pt x="365" y="195"/>
                      <a:pt x="365" y="195"/>
                      <a:pt x="365" y="195"/>
                    </a:cubicBezTo>
                    <a:lnTo>
                      <a:pt x="364" y="188"/>
                    </a:lnTo>
                    <a:close/>
                    <a:moveTo>
                      <a:pt x="14" y="718"/>
                    </a:moveTo>
                    <a:cubicBezTo>
                      <a:pt x="21" y="719"/>
                      <a:pt x="21" y="719"/>
                      <a:pt x="21" y="719"/>
                    </a:cubicBezTo>
                    <a:cubicBezTo>
                      <a:pt x="22" y="712"/>
                      <a:pt x="22" y="712"/>
                      <a:pt x="22" y="712"/>
                    </a:cubicBezTo>
                    <a:cubicBezTo>
                      <a:pt x="19" y="709"/>
                      <a:pt x="19" y="709"/>
                      <a:pt x="19" y="709"/>
                    </a:cubicBezTo>
                    <a:cubicBezTo>
                      <a:pt x="17" y="712"/>
                      <a:pt x="17" y="712"/>
                      <a:pt x="17" y="712"/>
                    </a:cubicBezTo>
                    <a:cubicBezTo>
                      <a:pt x="16" y="712"/>
                      <a:pt x="16" y="712"/>
                      <a:pt x="16" y="712"/>
                    </a:cubicBezTo>
                    <a:cubicBezTo>
                      <a:pt x="8" y="720"/>
                      <a:pt x="8" y="720"/>
                      <a:pt x="8" y="720"/>
                    </a:cubicBezTo>
                    <a:cubicBezTo>
                      <a:pt x="14" y="721"/>
                      <a:pt x="14" y="721"/>
                      <a:pt x="14" y="721"/>
                    </a:cubicBezTo>
                    <a:lnTo>
                      <a:pt x="14" y="718"/>
                    </a:lnTo>
                    <a:close/>
                    <a:moveTo>
                      <a:pt x="20" y="727"/>
                    </a:moveTo>
                    <a:cubicBezTo>
                      <a:pt x="19" y="723"/>
                      <a:pt x="19" y="723"/>
                      <a:pt x="19" y="723"/>
                    </a:cubicBezTo>
                    <a:cubicBezTo>
                      <a:pt x="11" y="725"/>
                      <a:pt x="11" y="725"/>
                      <a:pt x="11" y="725"/>
                    </a:cubicBezTo>
                    <a:cubicBezTo>
                      <a:pt x="13" y="728"/>
                      <a:pt x="13" y="728"/>
                      <a:pt x="13" y="728"/>
                    </a:cubicBezTo>
                    <a:cubicBezTo>
                      <a:pt x="13" y="730"/>
                      <a:pt x="13" y="730"/>
                      <a:pt x="13" y="730"/>
                    </a:cubicBezTo>
                    <a:cubicBezTo>
                      <a:pt x="16" y="730"/>
                      <a:pt x="16" y="730"/>
                      <a:pt x="16" y="730"/>
                    </a:cubicBezTo>
                    <a:cubicBezTo>
                      <a:pt x="17" y="727"/>
                      <a:pt x="17" y="727"/>
                      <a:pt x="17" y="727"/>
                    </a:cubicBezTo>
                    <a:lnTo>
                      <a:pt x="20" y="727"/>
                    </a:lnTo>
                    <a:close/>
                    <a:moveTo>
                      <a:pt x="211" y="760"/>
                    </a:moveTo>
                    <a:cubicBezTo>
                      <a:pt x="207" y="765"/>
                      <a:pt x="207" y="765"/>
                      <a:pt x="207" y="765"/>
                    </a:cubicBezTo>
                    <a:cubicBezTo>
                      <a:pt x="208" y="771"/>
                      <a:pt x="208" y="771"/>
                      <a:pt x="208" y="771"/>
                    </a:cubicBezTo>
                    <a:cubicBezTo>
                      <a:pt x="207" y="771"/>
                      <a:pt x="207" y="771"/>
                      <a:pt x="207" y="771"/>
                    </a:cubicBezTo>
                    <a:cubicBezTo>
                      <a:pt x="207" y="773"/>
                      <a:pt x="207" y="773"/>
                      <a:pt x="207" y="773"/>
                    </a:cubicBezTo>
                    <a:cubicBezTo>
                      <a:pt x="205" y="783"/>
                      <a:pt x="205" y="783"/>
                      <a:pt x="205" y="783"/>
                    </a:cubicBezTo>
                    <a:cubicBezTo>
                      <a:pt x="202" y="784"/>
                      <a:pt x="202" y="784"/>
                      <a:pt x="202" y="784"/>
                    </a:cubicBezTo>
                    <a:cubicBezTo>
                      <a:pt x="200" y="792"/>
                      <a:pt x="200" y="792"/>
                      <a:pt x="200" y="792"/>
                    </a:cubicBezTo>
                    <a:cubicBezTo>
                      <a:pt x="198" y="792"/>
                      <a:pt x="198" y="792"/>
                      <a:pt x="198" y="792"/>
                    </a:cubicBezTo>
                    <a:cubicBezTo>
                      <a:pt x="198" y="792"/>
                      <a:pt x="195" y="797"/>
                      <a:pt x="194" y="801"/>
                    </a:cubicBezTo>
                    <a:cubicBezTo>
                      <a:pt x="193" y="804"/>
                      <a:pt x="194" y="807"/>
                      <a:pt x="193" y="808"/>
                    </a:cubicBezTo>
                    <a:cubicBezTo>
                      <a:pt x="193" y="810"/>
                      <a:pt x="190" y="812"/>
                      <a:pt x="190" y="816"/>
                    </a:cubicBezTo>
                    <a:cubicBezTo>
                      <a:pt x="190" y="821"/>
                      <a:pt x="190" y="821"/>
                      <a:pt x="190" y="821"/>
                    </a:cubicBezTo>
                    <a:cubicBezTo>
                      <a:pt x="193" y="823"/>
                      <a:pt x="193" y="823"/>
                      <a:pt x="193" y="823"/>
                    </a:cubicBezTo>
                    <a:cubicBezTo>
                      <a:pt x="192" y="836"/>
                      <a:pt x="192" y="836"/>
                      <a:pt x="192" y="836"/>
                    </a:cubicBezTo>
                    <a:cubicBezTo>
                      <a:pt x="192" y="836"/>
                      <a:pt x="196" y="833"/>
                      <a:pt x="197" y="830"/>
                    </a:cubicBezTo>
                    <a:cubicBezTo>
                      <a:pt x="198" y="825"/>
                      <a:pt x="197" y="824"/>
                      <a:pt x="197" y="822"/>
                    </a:cubicBezTo>
                    <a:cubicBezTo>
                      <a:pt x="197" y="820"/>
                      <a:pt x="199" y="817"/>
                      <a:pt x="200" y="815"/>
                    </a:cubicBezTo>
                    <a:cubicBezTo>
                      <a:pt x="201" y="813"/>
                      <a:pt x="200" y="807"/>
                      <a:pt x="200" y="807"/>
                    </a:cubicBezTo>
                    <a:cubicBezTo>
                      <a:pt x="204" y="796"/>
                      <a:pt x="204" y="796"/>
                      <a:pt x="204" y="796"/>
                    </a:cubicBezTo>
                    <a:cubicBezTo>
                      <a:pt x="206" y="796"/>
                      <a:pt x="206" y="796"/>
                      <a:pt x="206" y="796"/>
                    </a:cubicBezTo>
                    <a:cubicBezTo>
                      <a:pt x="208" y="788"/>
                      <a:pt x="208" y="788"/>
                      <a:pt x="208" y="788"/>
                    </a:cubicBezTo>
                    <a:cubicBezTo>
                      <a:pt x="207" y="785"/>
                      <a:pt x="207" y="785"/>
                      <a:pt x="207" y="785"/>
                    </a:cubicBezTo>
                    <a:cubicBezTo>
                      <a:pt x="209" y="783"/>
                      <a:pt x="209" y="783"/>
                      <a:pt x="209" y="783"/>
                    </a:cubicBezTo>
                    <a:cubicBezTo>
                      <a:pt x="208" y="782"/>
                      <a:pt x="208" y="782"/>
                      <a:pt x="208" y="782"/>
                    </a:cubicBezTo>
                    <a:cubicBezTo>
                      <a:pt x="210" y="779"/>
                      <a:pt x="210" y="779"/>
                      <a:pt x="210" y="779"/>
                    </a:cubicBezTo>
                    <a:cubicBezTo>
                      <a:pt x="209" y="777"/>
                      <a:pt x="209" y="777"/>
                      <a:pt x="209" y="777"/>
                    </a:cubicBezTo>
                    <a:cubicBezTo>
                      <a:pt x="212" y="772"/>
                      <a:pt x="212" y="772"/>
                      <a:pt x="212" y="772"/>
                    </a:cubicBezTo>
                    <a:cubicBezTo>
                      <a:pt x="211" y="766"/>
                      <a:pt x="211" y="766"/>
                      <a:pt x="211" y="766"/>
                    </a:cubicBezTo>
                    <a:cubicBezTo>
                      <a:pt x="214" y="763"/>
                      <a:pt x="214" y="763"/>
                      <a:pt x="214" y="763"/>
                    </a:cubicBezTo>
                    <a:lnTo>
                      <a:pt x="211" y="760"/>
                    </a:lnTo>
                    <a:close/>
                    <a:moveTo>
                      <a:pt x="277" y="731"/>
                    </a:moveTo>
                    <a:cubicBezTo>
                      <a:pt x="281" y="724"/>
                      <a:pt x="281" y="724"/>
                      <a:pt x="281" y="724"/>
                    </a:cubicBezTo>
                    <a:cubicBezTo>
                      <a:pt x="278" y="718"/>
                      <a:pt x="278" y="718"/>
                      <a:pt x="278" y="718"/>
                    </a:cubicBezTo>
                    <a:cubicBezTo>
                      <a:pt x="272" y="719"/>
                      <a:pt x="272" y="719"/>
                      <a:pt x="272" y="719"/>
                    </a:cubicBezTo>
                    <a:cubicBezTo>
                      <a:pt x="270" y="724"/>
                      <a:pt x="270" y="724"/>
                      <a:pt x="270" y="724"/>
                    </a:cubicBezTo>
                    <a:cubicBezTo>
                      <a:pt x="270" y="719"/>
                      <a:pt x="270" y="719"/>
                      <a:pt x="270" y="719"/>
                    </a:cubicBezTo>
                    <a:cubicBezTo>
                      <a:pt x="270" y="719"/>
                      <a:pt x="267" y="719"/>
                      <a:pt x="266" y="720"/>
                    </a:cubicBezTo>
                    <a:cubicBezTo>
                      <a:pt x="264" y="721"/>
                      <a:pt x="263" y="724"/>
                      <a:pt x="263" y="724"/>
                    </a:cubicBezTo>
                    <a:cubicBezTo>
                      <a:pt x="263" y="724"/>
                      <a:pt x="262" y="723"/>
                      <a:pt x="259" y="726"/>
                    </a:cubicBezTo>
                    <a:cubicBezTo>
                      <a:pt x="257" y="729"/>
                      <a:pt x="253" y="739"/>
                      <a:pt x="253" y="739"/>
                    </a:cubicBezTo>
                    <a:cubicBezTo>
                      <a:pt x="253" y="739"/>
                      <a:pt x="248" y="741"/>
                      <a:pt x="248" y="746"/>
                    </a:cubicBezTo>
                    <a:cubicBezTo>
                      <a:pt x="247" y="753"/>
                      <a:pt x="253" y="753"/>
                      <a:pt x="253" y="757"/>
                    </a:cubicBezTo>
                    <a:cubicBezTo>
                      <a:pt x="251" y="762"/>
                      <a:pt x="249" y="763"/>
                      <a:pt x="249" y="763"/>
                    </a:cubicBezTo>
                    <a:cubicBezTo>
                      <a:pt x="251" y="765"/>
                      <a:pt x="251" y="765"/>
                      <a:pt x="251" y="765"/>
                    </a:cubicBezTo>
                    <a:cubicBezTo>
                      <a:pt x="251" y="772"/>
                      <a:pt x="251" y="772"/>
                      <a:pt x="251" y="772"/>
                    </a:cubicBezTo>
                    <a:cubicBezTo>
                      <a:pt x="254" y="773"/>
                      <a:pt x="254" y="773"/>
                      <a:pt x="254" y="773"/>
                    </a:cubicBezTo>
                    <a:cubicBezTo>
                      <a:pt x="254" y="776"/>
                      <a:pt x="254" y="776"/>
                      <a:pt x="254" y="776"/>
                    </a:cubicBezTo>
                    <a:cubicBezTo>
                      <a:pt x="254" y="776"/>
                      <a:pt x="257" y="775"/>
                      <a:pt x="257" y="776"/>
                    </a:cubicBezTo>
                    <a:cubicBezTo>
                      <a:pt x="257" y="777"/>
                      <a:pt x="255" y="778"/>
                      <a:pt x="255" y="778"/>
                    </a:cubicBezTo>
                    <a:cubicBezTo>
                      <a:pt x="255" y="782"/>
                      <a:pt x="255" y="782"/>
                      <a:pt x="255" y="782"/>
                    </a:cubicBezTo>
                    <a:cubicBezTo>
                      <a:pt x="255" y="783"/>
                      <a:pt x="253" y="787"/>
                      <a:pt x="253" y="787"/>
                    </a:cubicBezTo>
                    <a:cubicBezTo>
                      <a:pt x="258" y="785"/>
                      <a:pt x="258" y="785"/>
                      <a:pt x="258" y="785"/>
                    </a:cubicBezTo>
                    <a:cubicBezTo>
                      <a:pt x="261" y="779"/>
                      <a:pt x="261" y="779"/>
                      <a:pt x="261" y="779"/>
                    </a:cubicBezTo>
                    <a:cubicBezTo>
                      <a:pt x="260" y="779"/>
                      <a:pt x="260" y="779"/>
                      <a:pt x="260" y="779"/>
                    </a:cubicBezTo>
                    <a:cubicBezTo>
                      <a:pt x="261" y="774"/>
                      <a:pt x="261" y="774"/>
                      <a:pt x="261" y="774"/>
                    </a:cubicBezTo>
                    <a:cubicBezTo>
                      <a:pt x="262" y="772"/>
                      <a:pt x="262" y="772"/>
                      <a:pt x="262" y="772"/>
                    </a:cubicBezTo>
                    <a:cubicBezTo>
                      <a:pt x="261" y="772"/>
                      <a:pt x="261" y="772"/>
                      <a:pt x="261" y="772"/>
                    </a:cubicBezTo>
                    <a:cubicBezTo>
                      <a:pt x="266" y="766"/>
                      <a:pt x="266" y="766"/>
                      <a:pt x="266" y="766"/>
                    </a:cubicBezTo>
                    <a:cubicBezTo>
                      <a:pt x="271" y="763"/>
                      <a:pt x="271" y="763"/>
                      <a:pt x="271" y="763"/>
                    </a:cubicBezTo>
                    <a:cubicBezTo>
                      <a:pt x="271" y="758"/>
                      <a:pt x="271" y="758"/>
                      <a:pt x="271" y="758"/>
                    </a:cubicBezTo>
                    <a:cubicBezTo>
                      <a:pt x="277" y="750"/>
                      <a:pt x="277" y="750"/>
                      <a:pt x="277" y="750"/>
                    </a:cubicBezTo>
                    <a:cubicBezTo>
                      <a:pt x="274" y="750"/>
                      <a:pt x="274" y="750"/>
                      <a:pt x="274" y="750"/>
                    </a:cubicBezTo>
                    <a:cubicBezTo>
                      <a:pt x="271" y="746"/>
                      <a:pt x="271" y="746"/>
                      <a:pt x="271" y="746"/>
                    </a:cubicBezTo>
                    <a:cubicBezTo>
                      <a:pt x="271" y="746"/>
                      <a:pt x="273" y="743"/>
                      <a:pt x="274" y="740"/>
                    </a:cubicBezTo>
                    <a:cubicBezTo>
                      <a:pt x="274" y="738"/>
                      <a:pt x="271" y="735"/>
                      <a:pt x="271" y="735"/>
                    </a:cubicBezTo>
                    <a:cubicBezTo>
                      <a:pt x="272" y="730"/>
                      <a:pt x="272" y="730"/>
                      <a:pt x="272" y="730"/>
                    </a:cubicBezTo>
                    <a:lnTo>
                      <a:pt x="277" y="731"/>
                    </a:lnTo>
                    <a:close/>
                    <a:moveTo>
                      <a:pt x="280" y="719"/>
                    </a:moveTo>
                    <a:cubicBezTo>
                      <a:pt x="282" y="721"/>
                      <a:pt x="282" y="721"/>
                      <a:pt x="282" y="721"/>
                    </a:cubicBezTo>
                    <a:cubicBezTo>
                      <a:pt x="286" y="711"/>
                      <a:pt x="286" y="711"/>
                      <a:pt x="286" y="711"/>
                    </a:cubicBezTo>
                    <a:cubicBezTo>
                      <a:pt x="281" y="712"/>
                      <a:pt x="281" y="712"/>
                      <a:pt x="281" y="712"/>
                    </a:cubicBezTo>
                    <a:lnTo>
                      <a:pt x="280" y="719"/>
                    </a:lnTo>
                    <a:close/>
                    <a:moveTo>
                      <a:pt x="286" y="715"/>
                    </a:moveTo>
                    <a:cubicBezTo>
                      <a:pt x="290" y="715"/>
                      <a:pt x="290" y="715"/>
                      <a:pt x="290" y="715"/>
                    </a:cubicBezTo>
                    <a:cubicBezTo>
                      <a:pt x="291" y="712"/>
                      <a:pt x="291" y="712"/>
                      <a:pt x="291" y="712"/>
                    </a:cubicBezTo>
                    <a:cubicBezTo>
                      <a:pt x="288" y="712"/>
                      <a:pt x="288" y="712"/>
                      <a:pt x="288" y="712"/>
                    </a:cubicBezTo>
                    <a:lnTo>
                      <a:pt x="286" y="715"/>
                    </a:lnTo>
                    <a:close/>
                    <a:moveTo>
                      <a:pt x="282" y="691"/>
                    </a:moveTo>
                    <a:cubicBezTo>
                      <a:pt x="287" y="688"/>
                      <a:pt x="287" y="688"/>
                      <a:pt x="287" y="688"/>
                    </a:cubicBezTo>
                    <a:cubicBezTo>
                      <a:pt x="280" y="684"/>
                      <a:pt x="280" y="684"/>
                      <a:pt x="280" y="684"/>
                    </a:cubicBezTo>
                    <a:cubicBezTo>
                      <a:pt x="281" y="689"/>
                      <a:pt x="281" y="689"/>
                      <a:pt x="281" y="689"/>
                    </a:cubicBezTo>
                    <a:lnTo>
                      <a:pt x="282" y="691"/>
                    </a:lnTo>
                    <a:close/>
                    <a:moveTo>
                      <a:pt x="243" y="630"/>
                    </a:moveTo>
                    <a:cubicBezTo>
                      <a:pt x="255" y="631"/>
                      <a:pt x="255" y="631"/>
                      <a:pt x="255" y="631"/>
                    </a:cubicBezTo>
                    <a:cubicBezTo>
                      <a:pt x="256" y="630"/>
                      <a:pt x="256" y="630"/>
                      <a:pt x="256" y="630"/>
                    </a:cubicBezTo>
                    <a:cubicBezTo>
                      <a:pt x="254" y="626"/>
                      <a:pt x="254" y="626"/>
                      <a:pt x="254" y="626"/>
                    </a:cubicBezTo>
                    <a:cubicBezTo>
                      <a:pt x="251" y="625"/>
                      <a:pt x="251" y="625"/>
                      <a:pt x="251" y="625"/>
                    </a:cubicBezTo>
                    <a:cubicBezTo>
                      <a:pt x="248" y="626"/>
                      <a:pt x="248" y="626"/>
                      <a:pt x="248" y="626"/>
                    </a:cubicBezTo>
                    <a:cubicBezTo>
                      <a:pt x="249" y="628"/>
                      <a:pt x="249" y="628"/>
                      <a:pt x="249" y="628"/>
                    </a:cubicBezTo>
                    <a:cubicBezTo>
                      <a:pt x="243" y="628"/>
                      <a:pt x="243" y="628"/>
                      <a:pt x="243" y="628"/>
                    </a:cubicBezTo>
                    <a:lnTo>
                      <a:pt x="243" y="630"/>
                    </a:lnTo>
                    <a:close/>
                    <a:moveTo>
                      <a:pt x="254" y="615"/>
                    </a:moveTo>
                    <a:cubicBezTo>
                      <a:pt x="253" y="620"/>
                      <a:pt x="253" y="620"/>
                      <a:pt x="253" y="620"/>
                    </a:cubicBezTo>
                    <a:cubicBezTo>
                      <a:pt x="258" y="617"/>
                      <a:pt x="258" y="617"/>
                      <a:pt x="258" y="617"/>
                    </a:cubicBezTo>
                    <a:lnTo>
                      <a:pt x="254" y="615"/>
                    </a:lnTo>
                    <a:close/>
                    <a:moveTo>
                      <a:pt x="266" y="610"/>
                    </a:moveTo>
                    <a:cubicBezTo>
                      <a:pt x="265" y="607"/>
                      <a:pt x="265" y="607"/>
                      <a:pt x="265" y="607"/>
                    </a:cubicBezTo>
                    <a:cubicBezTo>
                      <a:pt x="259" y="610"/>
                      <a:pt x="259" y="610"/>
                      <a:pt x="259" y="610"/>
                    </a:cubicBezTo>
                    <a:cubicBezTo>
                      <a:pt x="262" y="612"/>
                      <a:pt x="262" y="612"/>
                      <a:pt x="262" y="612"/>
                    </a:cubicBezTo>
                    <a:lnTo>
                      <a:pt x="266" y="610"/>
                    </a:lnTo>
                    <a:close/>
                    <a:moveTo>
                      <a:pt x="258" y="630"/>
                    </a:moveTo>
                    <a:cubicBezTo>
                      <a:pt x="261" y="629"/>
                      <a:pt x="261" y="629"/>
                      <a:pt x="261" y="629"/>
                    </a:cubicBezTo>
                    <a:cubicBezTo>
                      <a:pt x="258" y="626"/>
                      <a:pt x="258" y="626"/>
                      <a:pt x="258" y="626"/>
                    </a:cubicBezTo>
                    <a:lnTo>
                      <a:pt x="258" y="630"/>
                    </a:lnTo>
                    <a:close/>
                    <a:moveTo>
                      <a:pt x="249" y="651"/>
                    </a:moveTo>
                    <a:cubicBezTo>
                      <a:pt x="253" y="644"/>
                      <a:pt x="253" y="644"/>
                      <a:pt x="253" y="644"/>
                    </a:cubicBezTo>
                    <a:cubicBezTo>
                      <a:pt x="250" y="643"/>
                      <a:pt x="250" y="643"/>
                      <a:pt x="250" y="643"/>
                    </a:cubicBezTo>
                    <a:cubicBezTo>
                      <a:pt x="246" y="649"/>
                      <a:pt x="246" y="649"/>
                      <a:pt x="246" y="649"/>
                    </a:cubicBezTo>
                    <a:lnTo>
                      <a:pt x="249" y="651"/>
                    </a:lnTo>
                    <a:close/>
                    <a:moveTo>
                      <a:pt x="245" y="653"/>
                    </a:moveTo>
                    <a:cubicBezTo>
                      <a:pt x="244" y="656"/>
                      <a:pt x="245" y="658"/>
                      <a:pt x="247" y="656"/>
                    </a:cubicBezTo>
                    <a:cubicBezTo>
                      <a:pt x="249" y="653"/>
                      <a:pt x="246" y="651"/>
                      <a:pt x="245" y="653"/>
                    </a:cubicBezTo>
                    <a:close/>
                    <a:moveTo>
                      <a:pt x="238" y="652"/>
                    </a:moveTo>
                    <a:cubicBezTo>
                      <a:pt x="241" y="653"/>
                      <a:pt x="241" y="653"/>
                      <a:pt x="241" y="653"/>
                    </a:cubicBezTo>
                    <a:cubicBezTo>
                      <a:pt x="243" y="649"/>
                      <a:pt x="243" y="649"/>
                      <a:pt x="243" y="649"/>
                    </a:cubicBezTo>
                    <a:cubicBezTo>
                      <a:pt x="242" y="649"/>
                      <a:pt x="242" y="649"/>
                      <a:pt x="242" y="649"/>
                    </a:cubicBezTo>
                    <a:lnTo>
                      <a:pt x="238" y="652"/>
                    </a:lnTo>
                    <a:close/>
                    <a:moveTo>
                      <a:pt x="251" y="632"/>
                    </a:moveTo>
                    <a:cubicBezTo>
                      <a:pt x="249" y="633"/>
                      <a:pt x="249" y="633"/>
                      <a:pt x="249" y="633"/>
                    </a:cubicBezTo>
                    <a:cubicBezTo>
                      <a:pt x="246" y="635"/>
                      <a:pt x="246" y="635"/>
                      <a:pt x="246" y="635"/>
                    </a:cubicBezTo>
                    <a:cubicBezTo>
                      <a:pt x="251" y="636"/>
                      <a:pt x="251" y="636"/>
                      <a:pt x="251" y="636"/>
                    </a:cubicBezTo>
                    <a:lnTo>
                      <a:pt x="251" y="632"/>
                    </a:lnTo>
                    <a:close/>
                    <a:moveTo>
                      <a:pt x="229" y="662"/>
                    </a:moveTo>
                    <a:cubicBezTo>
                      <a:pt x="229" y="664"/>
                      <a:pt x="229" y="664"/>
                      <a:pt x="229" y="664"/>
                    </a:cubicBezTo>
                    <a:cubicBezTo>
                      <a:pt x="232" y="666"/>
                      <a:pt x="232" y="666"/>
                      <a:pt x="232" y="666"/>
                    </a:cubicBezTo>
                    <a:cubicBezTo>
                      <a:pt x="231" y="661"/>
                      <a:pt x="231" y="661"/>
                      <a:pt x="231" y="661"/>
                    </a:cubicBezTo>
                    <a:lnTo>
                      <a:pt x="229" y="662"/>
                    </a:lnTo>
                    <a:close/>
                    <a:moveTo>
                      <a:pt x="246" y="562"/>
                    </a:moveTo>
                    <a:cubicBezTo>
                      <a:pt x="244" y="562"/>
                      <a:pt x="244" y="562"/>
                      <a:pt x="244" y="562"/>
                    </a:cubicBezTo>
                    <a:cubicBezTo>
                      <a:pt x="243" y="558"/>
                      <a:pt x="243" y="558"/>
                      <a:pt x="243" y="558"/>
                    </a:cubicBezTo>
                    <a:cubicBezTo>
                      <a:pt x="241" y="554"/>
                      <a:pt x="241" y="554"/>
                      <a:pt x="241" y="554"/>
                    </a:cubicBezTo>
                    <a:cubicBezTo>
                      <a:pt x="240" y="554"/>
                      <a:pt x="240" y="554"/>
                      <a:pt x="240" y="554"/>
                    </a:cubicBezTo>
                    <a:cubicBezTo>
                      <a:pt x="241" y="560"/>
                      <a:pt x="241" y="560"/>
                      <a:pt x="241" y="560"/>
                    </a:cubicBezTo>
                    <a:cubicBezTo>
                      <a:pt x="246" y="567"/>
                      <a:pt x="246" y="567"/>
                      <a:pt x="246" y="567"/>
                    </a:cubicBezTo>
                    <a:lnTo>
                      <a:pt x="246" y="562"/>
                    </a:lnTo>
                    <a:close/>
                    <a:moveTo>
                      <a:pt x="245" y="571"/>
                    </a:moveTo>
                    <a:cubicBezTo>
                      <a:pt x="248" y="572"/>
                      <a:pt x="249" y="569"/>
                      <a:pt x="246" y="569"/>
                    </a:cubicBezTo>
                    <a:cubicBezTo>
                      <a:pt x="243" y="569"/>
                      <a:pt x="243" y="571"/>
                      <a:pt x="245" y="571"/>
                    </a:cubicBezTo>
                    <a:close/>
                    <a:moveTo>
                      <a:pt x="253" y="571"/>
                    </a:moveTo>
                    <a:cubicBezTo>
                      <a:pt x="250" y="571"/>
                      <a:pt x="250" y="574"/>
                      <a:pt x="253" y="576"/>
                    </a:cubicBezTo>
                    <a:cubicBezTo>
                      <a:pt x="255" y="577"/>
                      <a:pt x="256" y="576"/>
                      <a:pt x="256" y="573"/>
                    </a:cubicBezTo>
                    <a:cubicBezTo>
                      <a:pt x="255" y="571"/>
                      <a:pt x="254" y="571"/>
                      <a:pt x="253" y="571"/>
                    </a:cubicBezTo>
                    <a:close/>
                    <a:moveTo>
                      <a:pt x="200" y="696"/>
                    </a:moveTo>
                    <a:cubicBezTo>
                      <a:pt x="199" y="693"/>
                      <a:pt x="199" y="693"/>
                      <a:pt x="199" y="693"/>
                    </a:cubicBezTo>
                    <a:cubicBezTo>
                      <a:pt x="198" y="693"/>
                      <a:pt x="198" y="693"/>
                      <a:pt x="198" y="693"/>
                    </a:cubicBezTo>
                    <a:cubicBezTo>
                      <a:pt x="198" y="699"/>
                      <a:pt x="198" y="699"/>
                      <a:pt x="198" y="699"/>
                    </a:cubicBezTo>
                    <a:cubicBezTo>
                      <a:pt x="202" y="698"/>
                      <a:pt x="202" y="698"/>
                      <a:pt x="202" y="698"/>
                    </a:cubicBezTo>
                    <a:lnTo>
                      <a:pt x="200" y="696"/>
                    </a:lnTo>
                    <a:close/>
                    <a:moveTo>
                      <a:pt x="198" y="739"/>
                    </a:moveTo>
                    <a:cubicBezTo>
                      <a:pt x="195" y="736"/>
                      <a:pt x="195" y="736"/>
                      <a:pt x="195" y="736"/>
                    </a:cubicBezTo>
                    <a:cubicBezTo>
                      <a:pt x="195" y="740"/>
                      <a:pt x="195" y="740"/>
                      <a:pt x="195" y="740"/>
                    </a:cubicBezTo>
                    <a:lnTo>
                      <a:pt x="198" y="739"/>
                    </a:lnTo>
                    <a:close/>
                    <a:moveTo>
                      <a:pt x="266" y="598"/>
                    </a:moveTo>
                    <a:cubicBezTo>
                      <a:pt x="263" y="596"/>
                      <a:pt x="263" y="596"/>
                      <a:pt x="263" y="596"/>
                    </a:cubicBezTo>
                    <a:cubicBezTo>
                      <a:pt x="261" y="598"/>
                      <a:pt x="261" y="598"/>
                      <a:pt x="261" y="598"/>
                    </a:cubicBezTo>
                    <a:lnTo>
                      <a:pt x="266" y="598"/>
                    </a:lnTo>
                    <a:close/>
                    <a:moveTo>
                      <a:pt x="205" y="485"/>
                    </a:moveTo>
                    <a:cubicBezTo>
                      <a:pt x="206" y="482"/>
                      <a:pt x="206" y="482"/>
                      <a:pt x="206" y="482"/>
                    </a:cubicBezTo>
                    <a:cubicBezTo>
                      <a:pt x="202" y="479"/>
                      <a:pt x="202" y="479"/>
                      <a:pt x="202" y="479"/>
                    </a:cubicBezTo>
                    <a:cubicBezTo>
                      <a:pt x="200" y="482"/>
                      <a:pt x="200" y="482"/>
                      <a:pt x="200" y="482"/>
                    </a:cubicBezTo>
                    <a:lnTo>
                      <a:pt x="205" y="485"/>
                    </a:lnTo>
                    <a:close/>
                    <a:moveTo>
                      <a:pt x="199" y="439"/>
                    </a:moveTo>
                    <a:cubicBezTo>
                      <a:pt x="201" y="439"/>
                      <a:pt x="201" y="439"/>
                      <a:pt x="201" y="439"/>
                    </a:cubicBezTo>
                    <a:cubicBezTo>
                      <a:pt x="200" y="432"/>
                      <a:pt x="200" y="432"/>
                      <a:pt x="200" y="432"/>
                    </a:cubicBezTo>
                    <a:cubicBezTo>
                      <a:pt x="198" y="431"/>
                      <a:pt x="198" y="431"/>
                      <a:pt x="198" y="431"/>
                    </a:cubicBezTo>
                    <a:lnTo>
                      <a:pt x="199" y="439"/>
                    </a:lnTo>
                    <a:close/>
                    <a:moveTo>
                      <a:pt x="217" y="421"/>
                    </a:moveTo>
                    <a:cubicBezTo>
                      <a:pt x="216" y="419"/>
                      <a:pt x="216" y="419"/>
                      <a:pt x="216" y="419"/>
                    </a:cubicBezTo>
                    <a:cubicBezTo>
                      <a:pt x="214" y="419"/>
                      <a:pt x="214" y="419"/>
                      <a:pt x="214" y="419"/>
                    </a:cubicBezTo>
                    <a:cubicBezTo>
                      <a:pt x="214" y="421"/>
                      <a:pt x="214" y="421"/>
                      <a:pt x="214" y="421"/>
                    </a:cubicBezTo>
                    <a:cubicBezTo>
                      <a:pt x="214" y="425"/>
                      <a:pt x="214" y="425"/>
                      <a:pt x="214" y="425"/>
                    </a:cubicBezTo>
                    <a:lnTo>
                      <a:pt x="217" y="421"/>
                    </a:lnTo>
                    <a:close/>
                    <a:moveTo>
                      <a:pt x="220" y="411"/>
                    </a:moveTo>
                    <a:cubicBezTo>
                      <a:pt x="215" y="412"/>
                      <a:pt x="214" y="415"/>
                      <a:pt x="216" y="416"/>
                    </a:cubicBezTo>
                    <a:cubicBezTo>
                      <a:pt x="220" y="418"/>
                      <a:pt x="223" y="411"/>
                      <a:pt x="220" y="411"/>
                    </a:cubicBezTo>
                    <a:close/>
                    <a:moveTo>
                      <a:pt x="234" y="392"/>
                    </a:moveTo>
                    <a:cubicBezTo>
                      <a:pt x="232" y="384"/>
                      <a:pt x="232" y="384"/>
                      <a:pt x="232" y="384"/>
                    </a:cubicBezTo>
                    <a:cubicBezTo>
                      <a:pt x="231" y="393"/>
                      <a:pt x="231" y="393"/>
                      <a:pt x="231" y="393"/>
                    </a:cubicBezTo>
                    <a:lnTo>
                      <a:pt x="234" y="392"/>
                    </a:lnTo>
                    <a:close/>
                    <a:moveTo>
                      <a:pt x="294" y="340"/>
                    </a:moveTo>
                    <a:cubicBezTo>
                      <a:pt x="294" y="343"/>
                      <a:pt x="294" y="343"/>
                      <a:pt x="294" y="343"/>
                    </a:cubicBezTo>
                    <a:cubicBezTo>
                      <a:pt x="297" y="342"/>
                      <a:pt x="297" y="342"/>
                      <a:pt x="297" y="342"/>
                    </a:cubicBezTo>
                    <a:cubicBezTo>
                      <a:pt x="296" y="336"/>
                      <a:pt x="296" y="336"/>
                      <a:pt x="296" y="336"/>
                    </a:cubicBezTo>
                    <a:lnTo>
                      <a:pt x="294" y="340"/>
                    </a:lnTo>
                    <a:close/>
                    <a:moveTo>
                      <a:pt x="293" y="335"/>
                    </a:moveTo>
                    <a:cubicBezTo>
                      <a:pt x="290" y="340"/>
                      <a:pt x="294" y="336"/>
                      <a:pt x="294" y="336"/>
                    </a:cubicBezTo>
                    <a:cubicBezTo>
                      <a:pt x="296" y="333"/>
                      <a:pt x="295" y="331"/>
                      <a:pt x="293" y="335"/>
                    </a:cubicBezTo>
                    <a:close/>
                    <a:moveTo>
                      <a:pt x="298" y="236"/>
                    </a:moveTo>
                    <a:cubicBezTo>
                      <a:pt x="300" y="240"/>
                      <a:pt x="300" y="240"/>
                      <a:pt x="300" y="240"/>
                    </a:cubicBezTo>
                    <a:cubicBezTo>
                      <a:pt x="306" y="242"/>
                      <a:pt x="306" y="242"/>
                      <a:pt x="306" y="242"/>
                    </a:cubicBezTo>
                    <a:cubicBezTo>
                      <a:pt x="307" y="241"/>
                      <a:pt x="307" y="241"/>
                      <a:pt x="307" y="241"/>
                    </a:cubicBezTo>
                    <a:cubicBezTo>
                      <a:pt x="304" y="239"/>
                      <a:pt x="304" y="239"/>
                      <a:pt x="304" y="239"/>
                    </a:cubicBezTo>
                    <a:cubicBezTo>
                      <a:pt x="305" y="236"/>
                      <a:pt x="305" y="236"/>
                      <a:pt x="305" y="236"/>
                    </a:cubicBezTo>
                    <a:cubicBezTo>
                      <a:pt x="303" y="235"/>
                      <a:pt x="303" y="235"/>
                      <a:pt x="303" y="235"/>
                    </a:cubicBezTo>
                    <a:cubicBezTo>
                      <a:pt x="302" y="237"/>
                      <a:pt x="302" y="237"/>
                      <a:pt x="302" y="237"/>
                    </a:cubicBezTo>
                    <a:cubicBezTo>
                      <a:pt x="302" y="235"/>
                      <a:pt x="302" y="235"/>
                      <a:pt x="302" y="235"/>
                    </a:cubicBezTo>
                    <a:lnTo>
                      <a:pt x="298" y="236"/>
                    </a:lnTo>
                    <a:close/>
                    <a:moveTo>
                      <a:pt x="312" y="222"/>
                    </a:moveTo>
                    <a:cubicBezTo>
                      <a:pt x="315" y="226"/>
                      <a:pt x="315" y="226"/>
                      <a:pt x="315" y="226"/>
                    </a:cubicBezTo>
                    <a:cubicBezTo>
                      <a:pt x="314" y="221"/>
                      <a:pt x="314" y="221"/>
                      <a:pt x="314" y="221"/>
                    </a:cubicBezTo>
                    <a:lnTo>
                      <a:pt x="312" y="222"/>
                    </a:lnTo>
                    <a:close/>
                    <a:moveTo>
                      <a:pt x="320" y="227"/>
                    </a:moveTo>
                    <a:cubicBezTo>
                      <a:pt x="322" y="224"/>
                      <a:pt x="322" y="224"/>
                      <a:pt x="322" y="224"/>
                    </a:cubicBezTo>
                    <a:cubicBezTo>
                      <a:pt x="317" y="225"/>
                      <a:pt x="317" y="225"/>
                      <a:pt x="317" y="225"/>
                    </a:cubicBezTo>
                    <a:lnTo>
                      <a:pt x="320" y="227"/>
                    </a:lnTo>
                    <a:close/>
                    <a:moveTo>
                      <a:pt x="322" y="222"/>
                    </a:moveTo>
                    <a:cubicBezTo>
                      <a:pt x="326" y="222"/>
                      <a:pt x="326" y="222"/>
                      <a:pt x="326" y="222"/>
                    </a:cubicBezTo>
                    <a:cubicBezTo>
                      <a:pt x="326" y="221"/>
                      <a:pt x="326" y="221"/>
                      <a:pt x="326" y="221"/>
                    </a:cubicBezTo>
                    <a:cubicBezTo>
                      <a:pt x="322" y="220"/>
                      <a:pt x="322" y="220"/>
                      <a:pt x="322" y="220"/>
                    </a:cubicBezTo>
                    <a:lnTo>
                      <a:pt x="322" y="222"/>
                    </a:lnTo>
                    <a:close/>
                    <a:moveTo>
                      <a:pt x="325" y="217"/>
                    </a:moveTo>
                    <a:cubicBezTo>
                      <a:pt x="326" y="213"/>
                      <a:pt x="326" y="213"/>
                      <a:pt x="326" y="213"/>
                    </a:cubicBezTo>
                    <a:cubicBezTo>
                      <a:pt x="322" y="215"/>
                      <a:pt x="322" y="215"/>
                      <a:pt x="322" y="215"/>
                    </a:cubicBezTo>
                    <a:lnTo>
                      <a:pt x="325" y="217"/>
                    </a:lnTo>
                    <a:close/>
                    <a:moveTo>
                      <a:pt x="319" y="219"/>
                    </a:moveTo>
                    <a:cubicBezTo>
                      <a:pt x="317" y="218"/>
                      <a:pt x="315" y="219"/>
                      <a:pt x="315" y="219"/>
                    </a:cubicBezTo>
                    <a:cubicBezTo>
                      <a:pt x="315" y="219"/>
                      <a:pt x="314" y="220"/>
                      <a:pt x="316" y="221"/>
                    </a:cubicBezTo>
                    <a:cubicBezTo>
                      <a:pt x="319" y="221"/>
                      <a:pt x="320" y="220"/>
                      <a:pt x="319" y="219"/>
                    </a:cubicBezTo>
                    <a:close/>
                    <a:moveTo>
                      <a:pt x="354" y="202"/>
                    </a:moveTo>
                    <a:cubicBezTo>
                      <a:pt x="356" y="202"/>
                      <a:pt x="356" y="202"/>
                      <a:pt x="356" y="202"/>
                    </a:cubicBezTo>
                    <a:cubicBezTo>
                      <a:pt x="356" y="200"/>
                      <a:pt x="356" y="200"/>
                      <a:pt x="356" y="200"/>
                    </a:cubicBezTo>
                    <a:cubicBezTo>
                      <a:pt x="354" y="200"/>
                      <a:pt x="354" y="200"/>
                      <a:pt x="354" y="200"/>
                    </a:cubicBezTo>
                    <a:lnTo>
                      <a:pt x="354" y="202"/>
                    </a:lnTo>
                    <a:close/>
                  </a:path>
                </a:pathLst>
              </a:custGeom>
              <a:solidFill>
                <a:schemeClr val="accent2">
                  <a:lumMod val="40000"/>
                  <a:lumOff val="60000"/>
                </a:schemeClr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215" name="Spain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2852738" y="4773613"/>
                <a:ext cx="1344612" cy="1111250"/>
              </a:xfrm>
              <a:custGeom>
                <a:avLst/>
                <a:gdLst/>
                <a:ahLst/>
                <a:cxnLst>
                  <a:cxn ang="0">
                    <a:pos x="482" y="410"/>
                  </a:cxn>
                  <a:cxn ang="0">
                    <a:pos x="472" y="381"/>
                  </a:cxn>
                  <a:cxn ang="0">
                    <a:pos x="474" y="395"/>
                  </a:cxn>
                  <a:cxn ang="0">
                    <a:pos x="484" y="379"/>
                  </a:cxn>
                  <a:cxn ang="0">
                    <a:pos x="576" y="333"/>
                  </a:cxn>
                  <a:cxn ang="0">
                    <a:pos x="530" y="360"/>
                  </a:cxn>
                  <a:cxn ang="0">
                    <a:pos x="560" y="372"/>
                  </a:cxn>
                  <a:cxn ang="0">
                    <a:pos x="584" y="358"/>
                  </a:cxn>
                  <a:cxn ang="0">
                    <a:pos x="575" y="348"/>
                  </a:cxn>
                  <a:cxn ang="0">
                    <a:pos x="506" y="163"/>
                  </a:cxn>
                  <a:cxn ang="0">
                    <a:pos x="494" y="147"/>
                  </a:cxn>
                  <a:cxn ang="0">
                    <a:pos x="456" y="138"/>
                  </a:cxn>
                  <a:cxn ang="0">
                    <a:pos x="417" y="128"/>
                  </a:cxn>
                  <a:cxn ang="0">
                    <a:pos x="406" y="115"/>
                  </a:cxn>
                  <a:cxn ang="0">
                    <a:pos x="369" y="104"/>
                  </a:cxn>
                  <a:cxn ang="0">
                    <a:pos x="364" y="86"/>
                  </a:cxn>
                  <a:cxn ang="0">
                    <a:pos x="297" y="75"/>
                  </a:cxn>
                  <a:cxn ang="0">
                    <a:pos x="262" y="62"/>
                  </a:cxn>
                  <a:cxn ang="0">
                    <a:pos x="178" y="37"/>
                  </a:cxn>
                  <a:cxn ang="0">
                    <a:pos x="115" y="21"/>
                  </a:cxn>
                  <a:cxn ang="0">
                    <a:pos x="89" y="10"/>
                  </a:cxn>
                  <a:cxn ang="0">
                    <a:pos x="69" y="1"/>
                  </a:cxn>
                  <a:cxn ang="0">
                    <a:pos x="62" y="17"/>
                  </a:cxn>
                  <a:cxn ang="0">
                    <a:pos x="16" y="19"/>
                  </a:cxn>
                  <a:cxn ang="0">
                    <a:pos x="5" y="37"/>
                  </a:cxn>
                  <a:cxn ang="0">
                    <a:pos x="3" y="58"/>
                  </a:cxn>
                  <a:cxn ang="0">
                    <a:pos x="14" y="69"/>
                  </a:cxn>
                  <a:cxn ang="0">
                    <a:pos x="7" y="78"/>
                  </a:cxn>
                  <a:cxn ang="0">
                    <a:pos x="11" y="87"/>
                  </a:cxn>
                  <a:cxn ang="0">
                    <a:pos x="16" y="98"/>
                  </a:cxn>
                  <a:cxn ang="0">
                    <a:pos x="41" y="107"/>
                  </a:cxn>
                  <a:cxn ang="0">
                    <a:pos x="63" y="126"/>
                  </a:cxn>
                  <a:cxn ang="0">
                    <a:pos x="100" y="128"/>
                  </a:cxn>
                  <a:cxn ang="0">
                    <a:pos x="112" y="150"/>
                  </a:cxn>
                  <a:cxn ang="0">
                    <a:pos x="90" y="185"/>
                  </a:cxn>
                  <a:cxn ang="0">
                    <a:pos x="74" y="235"/>
                  </a:cxn>
                  <a:cxn ang="0">
                    <a:pos x="59" y="270"/>
                  </a:cxn>
                  <a:cxn ang="0">
                    <a:pos x="46" y="306"/>
                  </a:cxn>
                  <a:cxn ang="0">
                    <a:pos x="34" y="364"/>
                  </a:cxn>
                  <a:cxn ang="0">
                    <a:pos x="21" y="384"/>
                  </a:cxn>
                  <a:cxn ang="0">
                    <a:pos x="23" y="428"/>
                  </a:cxn>
                  <a:cxn ang="0">
                    <a:pos x="32" y="433"/>
                  </a:cxn>
                  <a:cxn ang="0">
                    <a:pos x="50" y="466"/>
                  </a:cxn>
                  <a:cxn ang="0">
                    <a:pos x="60" y="483"/>
                  </a:cxn>
                  <a:cxn ang="0">
                    <a:pos x="72" y="507"/>
                  </a:cxn>
                  <a:cxn ang="0">
                    <a:pos x="95" y="520"/>
                  </a:cxn>
                  <a:cxn ang="0">
                    <a:pos x="141" y="498"/>
                  </a:cxn>
                  <a:cxn ang="0">
                    <a:pos x="217" y="498"/>
                  </a:cxn>
                  <a:cxn ang="0">
                    <a:pos x="284" y="500"/>
                  </a:cxn>
                  <a:cxn ang="0">
                    <a:pos x="324" y="462"/>
                  </a:cxn>
                  <a:cxn ang="0">
                    <a:pos x="359" y="455"/>
                  </a:cxn>
                  <a:cxn ang="0">
                    <a:pos x="367" y="428"/>
                  </a:cxn>
                  <a:cxn ang="0">
                    <a:pos x="404" y="403"/>
                  </a:cxn>
                  <a:cxn ang="0">
                    <a:pos x="415" y="317"/>
                  </a:cxn>
                  <a:cxn ang="0">
                    <a:pos x="453" y="277"/>
                  </a:cxn>
                  <a:cxn ang="0">
                    <a:pos x="457" y="277"/>
                  </a:cxn>
                  <a:cxn ang="0">
                    <a:pos x="484" y="248"/>
                  </a:cxn>
                  <a:cxn ang="0">
                    <a:pos x="589" y="199"/>
                  </a:cxn>
                  <a:cxn ang="0">
                    <a:pos x="590" y="174"/>
                  </a:cxn>
                  <a:cxn ang="0">
                    <a:pos x="551" y="171"/>
                  </a:cxn>
                  <a:cxn ang="0">
                    <a:pos x="519" y="161"/>
                  </a:cxn>
                  <a:cxn ang="0">
                    <a:pos x="617" y="340"/>
                  </a:cxn>
                </a:cxnLst>
                <a:rect l="0" t="0" r="r" b="b"/>
                <a:pathLst>
                  <a:path w="631" h="522">
                    <a:moveTo>
                      <a:pt x="476" y="401"/>
                    </a:moveTo>
                    <a:cubicBezTo>
                      <a:pt x="474" y="405"/>
                      <a:pt x="474" y="405"/>
                      <a:pt x="474" y="405"/>
                    </a:cubicBezTo>
                    <a:cubicBezTo>
                      <a:pt x="475" y="410"/>
                      <a:pt x="475" y="410"/>
                      <a:pt x="475" y="410"/>
                    </a:cubicBezTo>
                    <a:cubicBezTo>
                      <a:pt x="478" y="407"/>
                      <a:pt x="478" y="407"/>
                      <a:pt x="478" y="407"/>
                    </a:cubicBezTo>
                    <a:cubicBezTo>
                      <a:pt x="482" y="410"/>
                      <a:pt x="482" y="410"/>
                      <a:pt x="482" y="410"/>
                    </a:cubicBezTo>
                    <a:cubicBezTo>
                      <a:pt x="484" y="408"/>
                      <a:pt x="484" y="408"/>
                      <a:pt x="484" y="408"/>
                    </a:cubicBezTo>
                    <a:cubicBezTo>
                      <a:pt x="480" y="406"/>
                      <a:pt x="480" y="406"/>
                      <a:pt x="480" y="406"/>
                    </a:cubicBezTo>
                    <a:lnTo>
                      <a:pt x="476" y="401"/>
                    </a:lnTo>
                    <a:close/>
                    <a:moveTo>
                      <a:pt x="484" y="379"/>
                    </a:moveTo>
                    <a:cubicBezTo>
                      <a:pt x="480" y="379"/>
                      <a:pt x="472" y="381"/>
                      <a:pt x="472" y="381"/>
                    </a:cubicBezTo>
                    <a:cubicBezTo>
                      <a:pt x="473" y="387"/>
                      <a:pt x="473" y="387"/>
                      <a:pt x="473" y="387"/>
                    </a:cubicBezTo>
                    <a:cubicBezTo>
                      <a:pt x="468" y="388"/>
                      <a:pt x="468" y="388"/>
                      <a:pt x="468" y="388"/>
                    </a:cubicBezTo>
                    <a:cubicBezTo>
                      <a:pt x="467" y="393"/>
                      <a:pt x="467" y="393"/>
                      <a:pt x="467" y="393"/>
                    </a:cubicBezTo>
                    <a:cubicBezTo>
                      <a:pt x="472" y="396"/>
                      <a:pt x="472" y="396"/>
                      <a:pt x="472" y="396"/>
                    </a:cubicBezTo>
                    <a:cubicBezTo>
                      <a:pt x="474" y="395"/>
                      <a:pt x="474" y="395"/>
                      <a:pt x="474" y="395"/>
                    </a:cubicBezTo>
                    <a:cubicBezTo>
                      <a:pt x="475" y="397"/>
                      <a:pt x="475" y="397"/>
                      <a:pt x="475" y="397"/>
                    </a:cubicBezTo>
                    <a:cubicBezTo>
                      <a:pt x="477" y="392"/>
                      <a:pt x="477" y="392"/>
                      <a:pt x="477" y="392"/>
                    </a:cubicBezTo>
                    <a:cubicBezTo>
                      <a:pt x="480" y="392"/>
                      <a:pt x="480" y="392"/>
                      <a:pt x="480" y="392"/>
                    </a:cubicBezTo>
                    <a:cubicBezTo>
                      <a:pt x="488" y="387"/>
                      <a:pt x="488" y="387"/>
                      <a:pt x="488" y="387"/>
                    </a:cubicBezTo>
                    <a:cubicBezTo>
                      <a:pt x="488" y="387"/>
                      <a:pt x="490" y="379"/>
                      <a:pt x="484" y="379"/>
                    </a:cubicBezTo>
                    <a:close/>
                    <a:moveTo>
                      <a:pt x="575" y="348"/>
                    </a:moveTo>
                    <a:cubicBezTo>
                      <a:pt x="572" y="347"/>
                      <a:pt x="571" y="342"/>
                      <a:pt x="571" y="342"/>
                    </a:cubicBezTo>
                    <a:cubicBezTo>
                      <a:pt x="575" y="338"/>
                      <a:pt x="575" y="338"/>
                      <a:pt x="575" y="338"/>
                    </a:cubicBezTo>
                    <a:cubicBezTo>
                      <a:pt x="572" y="338"/>
                      <a:pt x="572" y="338"/>
                      <a:pt x="572" y="338"/>
                    </a:cubicBezTo>
                    <a:cubicBezTo>
                      <a:pt x="576" y="333"/>
                      <a:pt x="576" y="333"/>
                      <a:pt x="576" y="333"/>
                    </a:cubicBezTo>
                    <a:cubicBezTo>
                      <a:pt x="576" y="333"/>
                      <a:pt x="565" y="333"/>
                      <a:pt x="555" y="337"/>
                    </a:cubicBezTo>
                    <a:cubicBezTo>
                      <a:pt x="545" y="341"/>
                      <a:pt x="541" y="348"/>
                      <a:pt x="541" y="348"/>
                    </a:cubicBezTo>
                    <a:cubicBezTo>
                      <a:pt x="538" y="347"/>
                      <a:pt x="538" y="347"/>
                      <a:pt x="538" y="347"/>
                    </a:cubicBezTo>
                    <a:cubicBezTo>
                      <a:pt x="530" y="352"/>
                      <a:pt x="530" y="352"/>
                      <a:pt x="530" y="352"/>
                    </a:cubicBezTo>
                    <a:cubicBezTo>
                      <a:pt x="530" y="360"/>
                      <a:pt x="530" y="360"/>
                      <a:pt x="530" y="360"/>
                    </a:cubicBezTo>
                    <a:cubicBezTo>
                      <a:pt x="534" y="358"/>
                      <a:pt x="534" y="358"/>
                      <a:pt x="534" y="358"/>
                    </a:cubicBezTo>
                    <a:cubicBezTo>
                      <a:pt x="534" y="358"/>
                      <a:pt x="537" y="363"/>
                      <a:pt x="538" y="363"/>
                    </a:cubicBezTo>
                    <a:cubicBezTo>
                      <a:pt x="540" y="363"/>
                      <a:pt x="541" y="358"/>
                      <a:pt x="545" y="358"/>
                    </a:cubicBezTo>
                    <a:cubicBezTo>
                      <a:pt x="550" y="359"/>
                      <a:pt x="547" y="363"/>
                      <a:pt x="550" y="369"/>
                    </a:cubicBezTo>
                    <a:cubicBezTo>
                      <a:pt x="555" y="374"/>
                      <a:pt x="560" y="372"/>
                      <a:pt x="560" y="372"/>
                    </a:cubicBezTo>
                    <a:cubicBezTo>
                      <a:pt x="563" y="378"/>
                      <a:pt x="563" y="378"/>
                      <a:pt x="563" y="378"/>
                    </a:cubicBezTo>
                    <a:cubicBezTo>
                      <a:pt x="568" y="376"/>
                      <a:pt x="568" y="376"/>
                      <a:pt x="568" y="376"/>
                    </a:cubicBezTo>
                    <a:cubicBezTo>
                      <a:pt x="568" y="376"/>
                      <a:pt x="571" y="375"/>
                      <a:pt x="574" y="373"/>
                    </a:cubicBezTo>
                    <a:cubicBezTo>
                      <a:pt x="577" y="371"/>
                      <a:pt x="577" y="365"/>
                      <a:pt x="577" y="365"/>
                    </a:cubicBezTo>
                    <a:cubicBezTo>
                      <a:pt x="584" y="358"/>
                      <a:pt x="584" y="358"/>
                      <a:pt x="584" y="358"/>
                    </a:cubicBezTo>
                    <a:cubicBezTo>
                      <a:pt x="583" y="357"/>
                      <a:pt x="583" y="357"/>
                      <a:pt x="583" y="357"/>
                    </a:cubicBezTo>
                    <a:cubicBezTo>
                      <a:pt x="586" y="357"/>
                      <a:pt x="586" y="357"/>
                      <a:pt x="586" y="357"/>
                    </a:cubicBezTo>
                    <a:cubicBezTo>
                      <a:pt x="589" y="349"/>
                      <a:pt x="589" y="349"/>
                      <a:pt x="589" y="349"/>
                    </a:cubicBezTo>
                    <a:cubicBezTo>
                      <a:pt x="582" y="344"/>
                      <a:pt x="582" y="344"/>
                      <a:pt x="582" y="344"/>
                    </a:cubicBezTo>
                    <a:cubicBezTo>
                      <a:pt x="582" y="344"/>
                      <a:pt x="579" y="348"/>
                      <a:pt x="575" y="348"/>
                    </a:cubicBezTo>
                    <a:close/>
                    <a:moveTo>
                      <a:pt x="520" y="161"/>
                    </a:moveTo>
                    <a:cubicBezTo>
                      <a:pt x="520" y="161"/>
                      <a:pt x="516" y="165"/>
                      <a:pt x="515" y="165"/>
                    </a:cubicBezTo>
                    <a:cubicBezTo>
                      <a:pt x="514" y="165"/>
                      <a:pt x="513" y="164"/>
                      <a:pt x="513" y="164"/>
                    </a:cubicBezTo>
                    <a:cubicBezTo>
                      <a:pt x="509" y="167"/>
                      <a:pt x="509" y="167"/>
                      <a:pt x="509" y="167"/>
                    </a:cubicBezTo>
                    <a:cubicBezTo>
                      <a:pt x="506" y="163"/>
                      <a:pt x="506" y="163"/>
                      <a:pt x="506" y="163"/>
                    </a:cubicBezTo>
                    <a:cubicBezTo>
                      <a:pt x="503" y="160"/>
                      <a:pt x="503" y="160"/>
                      <a:pt x="503" y="160"/>
                    </a:cubicBezTo>
                    <a:cubicBezTo>
                      <a:pt x="506" y="156"/>
                      <a:pt x="506" y="156"/>
                      <a:pt x="506" y="156"/>
                    </a:cubicBezTo>
                    <a:cubicBezTo>
                      <a:pt x="508" y="152"/>
                      <a:pt x="508" y="152"/>
                      <a:pt x="508" y="152"/>
                    </a:cubicBezTo>
                    <a:cubicBezTo>
                      <a:pt x="508" y="152"/>
                      <a:pt x="507" y="148"/>
                      <a:pt x="504" y="145"/>
                    </a:cubicBezTo>
                    <a:cubicBezTo>
                      <a:pt x="501" y="144"/>
                      <a:pt x="494" y="147"/>
                      <a:pt x="494" y="147"/>
                    </a:cubicBezTo>
                    <a:cubicBezTo>
                      <a:pt x="494" y="147"/>
                      <a:pt x="489" y="140"/>
                      <a:pt x="488" y="139"/>
                    </a:cubicBezTo>
                    <a:cubicBezTo>
                      <a:pt x="486" y="137"/>
                      <a:pt x="481" y="138"/>
                      <a:pt x="481" y="138"/>
                    </a:cubicBezTo>
                    <a:cubicBezTo>
                      <a:pt x="481" y="138"/>
                      <a:pt x="477" y="134"/>
                      <a:pt x="472" y="134"/>
                    </a:cubicBezTo>
                    <a:cubicBezTo>
                      <a:pt x="466" y="134"/>
                      <a:pt x="472" y="141"/>
                      <a:pt x="467" y="143"/>
                    </a:cubicBezTo>
                    <a:cubicBezTo>
                      <a:pt x="462" y="147"/>
                      <a:pt x="456" y="138"/>
                      <a:pt x="456" y="138"/>
                    </a:cubicBezTo>
                    <a:cubicBezTo>
                      <a:pt x="456" y="138"/>
                      <a:pt x="455" y="142"/>
                      <a:pt x="452" y="142"/>
                    </a:cubicBezTo>
                    <a:cubicBezTo>
                      <a:pt x="451" y="142"/>
                      <a:pt x="451" y="139"/>
                      <a:pt x="448" y="137"/>
                    </a:cubicBezTo>
                    <a:cubicBezTo>
                      <a:pt x="446" y="135"/>
                      <a:pt x="435" y="139"/>
                      <a:pt x="435" y="139"/>
                    </a:cubicBezTo>
                    <a:cubicBezTo>
                      <a:pt x="425" y="127"/>
                      <a:pt x="425" y="127"/>
                      <a:pt x="425" y="127"/>
                    </a:cubicBezTo>
                    <a:cubicBezTo>
                      <a:pt x="417" y="128"/>
                      <a:pt x="417" y="128"/>
                      <a:pt x="417" y="128"/>
                    </a:cubicBezTo>
                    <a:cubicBezTo>
                      <a:pt x="416" y="127"/>
                      <a:pt x="416" y="127"/>
                      <a:pt x="416" y="127"/>
                    </a:cubicBezTo>
                    <a:cubicBezTo>
                      <a:pt x="412" y="131"/>
                      <a:pt x="412" y="131"/>
                      <a:pt x="412" y="131"/>
                    </a:cubicBezTo>
                    <a:cubicBezTo>
                      <a:pt x="406" y="122"/>
                      <a:pt x="406" y="122"/>
                      <a:pt x="406" y="122"/>
                    </a:cubicBezTo>
                    <a:cubicBezTo>
                      <a:pt x="408" y="116"/>
                      <a:pt x="408" y="116"/>
                      <a:pt x="408" y="116"/>
                    </a:cubicBezTo>
                    <a:cubicBezTo>
                      <a:pt x="406" y="115"/>
                      <a:pt x="406" y="115"/>
                      <a:pt x="406" y="115"/>
                    </a:cubicBezTo>
                    <a:cubicBezTo>
                      <a:pt x="397" y="117"/>
                      <a:pt x="397" y="117"/>
                      <a:pt x="397" y="117"/>
                    </a:cubicBezTo>
                    <a:cubicBezTo>
                      <a:pt x="380" y="106"/>
                      <a:pt x="380" y="106"/>
                      <a:pt x="380" y="106"/>
                    </a:cubicBezTo>
                    <a:cubicBezTo>
                      <a:pt x="380" y="102"/>
                      <a:pt x="380" y="102"/>
                      <a:pt x="380" y="102"/>
                    </a:cubicBezTo>
                    <a:cubicBezTo>
                      <a:pt x="375" y="108"/>
                      <a:pt x="375" y="108"/>
                      <a:pt x="375" y="108"/>
                    </a:cubicBezTo>
                    <a:cubicBezTo>
                      <a:pt x="375" y="108"/>
                      <a:pt x="371" y="107"/>
                      <a:pt x="369" y="104"/>
                    </a:cubicBezTo>
                    <a:cubicBezTo>
                      <a:pt x="367" y="102"/>
                      <a:pt x="370" y="101"/>
                      <a:pt x="374" y="100"/>
                    </a:cubicBezTo>
                    <a:cubicBezTo>
                      <a:pt x="377" y="100"/>
                      <a:pt x="376" y="91"/>
                      <a:pt x="376" y="91"/>
                    </a:cubicBezTo>
                    <a:cubicBezTo>
                      <a:pt x="370" y="89"/>
                      <a:pt x="370" y="89"/>
                      <a:pt x="370" y="89"/>
                    </a:cubicBezTo>
                    <a:cubicBezTo>
                      <a:pt x="370" y="89"/>
                      <a:pt x="367" y="91"/>
                      <a:pt x="365" y="90"/>
                    </a:cubicBezTo>
                    <a:cubicBezTo>
                      <a:pt x="363" y="89"/>
                      <a:pt x="364" y="86"/>
                      <a:pt x="364" y="86"/>
                    </a:cubicBezTo>
                    <a:cubicBezTo>
                      <a:pt x="360" y="86"/>
                      <a:pt x="360" y="86"/>
                      <a:pt x="360" y="86"/>
                    </a:cubicBezTo>
                    <a:cubicBezTo>
                      <a:pt x="360" y="86"/>
                      <a:pt x="357" y="81"/>
                      <a:pt x="358" y="81"/>
                    </a:cubicBezTo>
                    <a:cubicBezTo>
                      <a:pt x="335" y="84"/>
                      <a:pt x="335" y="84"/>
                      <a:pt x="335" y="84"/>
                    </a:cubicBezTo>
                    <a:cubicBezTo>
                      <a:pt x="335" y="84"/>
                      <a:pt x="314" y="70"/>
                      <a:pt x="306" y="70"/>
                    </a:cubicBezTo>
                    <a:cubicBezTo>
                      <a:pt x="300" y="71"/>
                      <a:pt x="297" y="75"/>
                      <a:pt x="297" y="75"/>
                    </a:cubicBezTo>
                    <a:cubicBezTo>
                      <a:pt x="286" y="66"/>
                      <a:pt x="286" y="66"/>
                      <a:pt x="286" y="66"/>
                    </a:cubicBezTo>
                    <a:cubicBezTo>
                      <a:pt x="280" y="66"/>
                      <a:pt x="280" y="66"/>
                      <a:pt x="280" y="66"/>
                    </a:cubicBezTo>
                    <a:cubicBezTo>
                      <a:pt x="281" y="62"/>
                      <a:pt x="281" y="62"/>
                      <a:pt x="281" y="62"/>
                    </a:cubicBezTo>
                    <a:cubicBezTo>
                      <a:pt x="276" y="59"/>
                      <a:pt x="276" y="59"/>
                      <a:pt x="276" y="59"/>
                    </a:cubicBezTo>
                    <a:cubicBezTo>
                      <a:pt x="262" y="62"/>
                      <a:pt x="262" y="62"/>
                      <a:pt x="262" y="62"/>
                    </a:cubicBezTo>
                    <a:cubicBezTo>
                      <a:pt x="265" y="59"/>
                      <a:pt x="265" y="59"/>
                      <a:pt x="265" y="59"/>
                    </a:cubicBezTo>
                    <a:cubicBezTo>
                      <a:pt x="262" y="57"/>
                      <a:pt x="262" y="57"/>
                      <a:pt x="262" y="57"/>
                    </a:cubicBezTo>
                    <a:cubicBezTo>
                      <a:pt x="231" y="59"/>
                      <a:pt x="231" y="59"/>
                      <a:pt x="231" y="59"/>
                    </a:cubicBezTo>
                    <a:cubicBezTo>
                      <a:pt x="197" y="42"/>
                      <a:pt x="197" y="42"/>
                      <a:pt x="197" y="42"/>
                    </a:cubicBezTo>
                    <a:cubicBezTo>
                      <a:pt x="178" y="37"/>
                      <a:pt x="178" y="37"/>
                      <a:pt x="178" y="37"/>
                    </a:cubicBezTo>
                    <a:cubicBezTo>
                      <a:pt x="178" y="37"/>
                      <a:pt x="177" y="29"/>
                      <a:pt x="171" y="28"/>
                    </a:cubicBezTo>
                    <a:cubicBezTo>
                      <a:pt x="166" y="27"/>
                      <a:pt x="161" y="31"/>
                      <a:pt x="161" y="31"/>
                    </a:cubicBezTo>
                    <a:cubicBezTo>
                      <a:pt x="152" y="26"/>
                      <a:pt x="152" y="26"/>
                      <a:pt x="152" y="26"/>
                    </a:cubicBezTo>
                    <a:cubicBezTo>
                      <a:pt x="136" y="27"/>
                      <a:pt x="136" y="27"/>
                      <a:pt x="136" y="27"/>
                    </a:cubicBezTo>
                    <a:cubicBezTo>
                      <a:pt x="115" y="21"/>
                      <a:pt x="115" y="21"/>
                      <a:pt x="115" y="21"/>
                    </a:cubicBezTo>
                    <a:cubicBezTo>
                      <a:pt x="111" y="26"/>
                      <a:pt x="111" y="26"/>
                      <a:pt x="111" y="26"/>
                    </a:cubicBezTo>
                    <a:cubicBezTo>
                      <a:pt x="112" y="22"/>
                      <a:pt x="112" y="22"/>
                      <a:pt x="112" y="22"/>
                    </a:cubicBezTo>
                    <a:cubicBezTo>
                      <a:pt x="103" y="18"/>
                      <a:pt x="103" y="18"/>
                      <a:pt x="103" y="18"/>
                    </a:cubicBezTo>
                    <a:cubicBezTo>
                      <a:pt x="103" y="18"/>
                      <a:pt x="99" y="8"/>
                      <a:pt x="96" y="7"/>
                    </a:cubicBezTo>
                    <a:cubicBezTo>
                      <a:pt x="92" y="6"/>
                      <a:pt x="89" y="10"/>
                      <a:pt x="89" y="10"/>
                    </a:cubicBezTo>
                    <a:cubicBezTo>
                      <a:pt x="88" y="5"/>
                      <a:pt x="88" y="5"/>
                      <a:pt x="88" y="5"/>
                    </a:cubicBezTo>
                    <a:cubicBezTo>
                      <a:pt x="83" y="2"/>
                      <a:pt x="83" y="2"/>
                      <a:pt x="83" y="2"/>
                    </a:cubicBezTo>
                    <a:cubicBezTo>
                      <a:pt x="75" y="5"/>
                      <a:pt x="75" y="5"/>
                      <a:pt x="75" y="5"/>
                    </a:cubicBezTo>
                    <a:cubicBezTo>
                      <a:pt x="79" y="0"/>
                      <a:pt x="79" y="0"/>
                      <a:pt x="79" y="0"/>
                    </a:cubicBezTo>
                    <a:cubicBezTo>
                      <a:pt x="69" y="1"/>
                      <a:pt x="69" y="1"/>
                      <a:pt x="69" y="1"/>
                    </a:cubicBezTo>
                    <a:cubicBezTo>
                      <a:pt x="68" y="5"/>
                      <a:pt x="68" y="5"/>
                      <a:pt x="68" y="5"/>
                    </a:cubicBezTo>
                    <a:cubicBezTo>
                      <a:pt x="68" y="5"/>
                      <a:pt x="63" y="5"/>
                      <a:pt x="57" y="8"/>
                    </a:cubicBezTo>
                    <a:cubicBezTo>
                      <a:pt x="53" y="11"/>
                      <a:pt x="55" y="14"/>
                      <a:pt x="55" y="14"/>
                    </a:cubicBezTo>
                    <a:cubicBezTo>
                      <a:pt x="54" y="17"/>
                      <a:pt x="54" y="17"/>
                      <a:pt x="54" y="17"/>
                    </a:cubicBezTo>
                    <a:cubicBezTo>
                      <a:pt x="62" y="17"/>
                      <a:pt x="62" y="17"/>
                      <a:pt x="62" y="17"/>
                    </a:cubicBezTo>
                    <a:cubicBezTo>
                      <a:pt x="55" y="24"/>
                      <a:pt x="55" y="24"/>
                      <a:pt x="55" y="24"/>
                    </a:cubicBezTo>
                    <a:cubicBezTo>
                      <a:pt x="52" y="18"/>
                      <a:pt x="52" y="18"/>
                      <a:pt x="52" y="18"/>
                    </a:cubicBezTo>
                    <a:cubicBezTo>
                      <a:pt x="33" y="19"/>
                      <a:pt x="33" y="19"/>
                      <a:pt x="33" y="19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16" y="19"/>
                      <a:pt x="16" y="19"/>
                      <a:pt x="16" y="19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8" y="25"/>
                      <a:pt x="8" y="25"/>
                      <a:pt x="8" y="25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5" y="37"/>
                      <a:pt x="5" y="37"/>
                      <a:pt x="5" y="37"/>
                    </a:cubicBezTo>
                    <a:cubicBezTo>
                      <a:pt x="5" y="48"/>
                      <a:pt x="5" y="48"/>
                      <a:pt x="5" y="48"/>
                    </a:cubicBezTo>
                    <a:cubicBezTo>
                      <a:pt x="16" y="45"/>
                      <a:pt x="16" y="45"/>
                      <a:pt x="16" y="45"/>
                    </a:cubicBezTo>
                    <a:cubicBezTo>
                      <a:pt x="15" y="50"/>
                      <a:pt x="15" y="50"/>
                      <a:pt x="15" y="50"/>
                    </a:cubicBezTo>
                    <a:cubicBezTo>
                      <a:pt x="8" y="52"/>
                      <a:pt x="8" y="52"/>
                      <a:pt x="8" y="52"/>
                    </a:cubicBezTo>
                    <a:cubicBezTo>
                      <a:pt x="3" y="58"/>
                      <a:pt x="3" y="58"/>
                      <a:pt x="3" y="58"/>
                    </a:cubicBezTo>
                    <a:cubicBezTo>
                      <a:pt x="6" y="63"/>
                      <a:pt x="6" y="63"/>
                      <a:pt x="6" y="63"/>
                    </a:cubicBezTo>
                    <a:cubicBezTo>
                      <a:pt x="22" y="56"/>
                      <a:pt x="22" y="56"/>
                      <a:pt x="22" y="56"/>
                    </a:cubicBezTo>
                    <a:cubicBezTo>
                      <a:pt x="17" y="62"/>
                      <a:pt x="17" y="62"/>
                      <a:pt x="17" y="62"/>
                    </a:cubicBezTo>
                    <a:cubicBezTo>
                      <a:pt x="13" y="63"/>
                      <a:pt x="13" y="63"/>
                      <a:pt x="13" y="63"/>
                    </a:cubicBezTo>
                    <a:cubicBezTo>
                      <a:pt x="14" y="69"/>
                      <a:pt x="14" y="69"/>
                      <a:pt x="14" y="69"/>
                    </a:cubicBezTo>
                    <a:cubicBezTo>
                      <a:pt x="8" y="68"/>
                      <a:pt x="8" y="68"/>
                      <a:pt x="8" y="68"/>
                    </a:cubicBezTo>
                    <a:cubicBezTo>
                      <a:pt x="11" y="75"/>
                      <a:pt x="11" y="75"/>
                      <a:pt x="11" y="75"/>
                    </a:cubicBezTo>
                    <a:cubicBezTo>
                      <a:pt x="19" y="75"/>
                      <a:pt x="19" y="75"/>
                      <a:pt x="19" y="75"/>
                    </a:cubicBezTo>
                    <a:cubicBezTo>
                      <a:pt x="15" y="78"/>
                      <a:pt x="15" y="78"/>
                      <a:pt x="15" y="78"/>
                    </a:cubicBezTo>
                    <a:cubicBezTo>
                      <a:pt x="7" y="78"/>
                      <a:pt x="7" y="78"/>
                      <a:pt x="7" y="78"/>
                    </a:cubicBezTo>
                    <a:cubicBezTo>
                      <a:pt x="8" y="82"/>
                      <a:pt x="8" y="82"/>
                      <a:pt x="8" y="82"/>
                    </a:cubicBezTo>
                    <a:cubicBezTo>
                      <a:pt x="17" y="82"/>
                      <a:pt x="17" y="82"/>
                      <a:pt x="17" y="82"/>
                    </a:cubicBezTo>
                    <a:cubicBezTo>
                      <a:pt x="19" y="80"/>
                      <a:pt x="19" y="80"/>
                      <a:pt x="19" y="80"/>
                    </a:cubicBezTo>
                    <a:cubicBezTo>
                      <a:pt x="20" y="81"/>
                      <a:pt x="20" y="81"/>
                      <a:pt x="20" y="81"/>
                    </a:cubicBezTo>
                    <a:cubicBezTo>
                      <a:pt x="11" y="87"/>
                      <a:pt x="11" y="87"/>
                      <a:pt x="11" y="87"/>
                    </a:cubicBezTo>
                    <a:cubicBezTo>
                      <a:pt x="5" y="92"/>
                      <a:pt x="5" y="92"/>
                      <a:pt x="5" y="92"/>
                    </a:cubicBezTo>
                    <a:cubicBezTo>
                      <a:pt x="2" y="107"/>
                      <a:pt x="2" y="107"/>
                      <a:pt x="2" y="107"/>
                    </a:cubicBezTo>
                    <a:cubicBezTo>
                      <a:pt x="4" y="107"/>
                      <a:pt x="4" y="107"/>
                      <a:pt x="4" y="107"/>
                    </a:cubicBezTo>
                    <a:cubicBezTo>
                      <a:pt x="11" y="103"/>
                      <a:pt x="11" y="103"/>
                      <a:pt x="11" y="103"/>
                    </a:cubicBezTo>
                    <a:cubicBezTo>
                      <a:pt x="16" y="98"/>
                      <a:pt x="16" y="98"/>
                      <a:pt x="16" y="98"/>
                    </a:cubicBezTo>
                    <a:cubicBezTo>
                      <a:pt x="30" y="101"/>
                      <a:pt x="30" y="101"/>
                      <a:pt x="30" y="101"/>
                    </a:cubicBezTo>
                    <a:cubicBezTo>
                      <a:pt x="39" y="97"/>
                      <a:pt x="39" y="97"/>
                      <a:pt x="39" y="97"/>
                    </a:cubicBezTo>
                    <a:cubicBezTo>
                      <a:pt x="37" y="103"/>
                      <a:pt x="37" y="103"/>
                      <a:pt x="37" y="103"/>
                    </a:cubicBezTo>
                    <a:cubicBezTo>
                      <a:pt x="41" y="104"/>
                      <a:pt x="41" y="104"/>
                      <a:pt x="41" y="104"/>
                    </a:cubicBezTo>
                    <a:cubicBezTo>
                      <a:pt x="41" y="107"/>
                      <a:pt x="41" y="107"/>
                      <a:pt x="41" y="107"/>
                    </a:cubicBezTo>
                    <a:cubicBezTo>
                      <a:pt x="41" y="107"/>
                      <a:pt x="26" y="113"/>
                      <a:pt x="34" y="120"/>
                    </a:cubicBezTo>
                    <a:cubicBezTo>
                      <a:pt x="42" y="127"/>
                      <a:pt x="46" y="118"/>
                      <a:pt x="46" y="118"/>
                    </a:cubicBezTo>
                    <a:cubicBezTo>
                      <a:pt x="49" y="122"/>
                      <a:pt x="49" y="122"/>
                      <a:pt x="49" y="122"/>
                    </a:cubicBezTo>
                    <a:cubicBezTo>
                      <a:pt x="56" y="120"/>
                      <a:pt x="56" y="120"/>
                      <a:pt x="56" y="120"/>
                    </a:cubicBezTo>
                    <a:cubicBezTo>
                      <a:pt x="63" y="126"/>
                      <a:pt x="63" y="126"/>
                      <a:pt x="63" y="126"/>
                    </a:cubicBezTo>
                    <a:cubicBezTo>
                      <a:pt x="68" y="124"/>
                      <a:pt x="68" y="124"/>
                      <a:pt x="68" y="124"/>
                    </a:cubicBezTo>
                    <a:cubicBezTo>
                      <a:pt x="68" y="124"/>
                      <a:pt x="72" y="131"/>
                      <a:pt x="78" y="128"/>
                    </a:cubicBezTo>
                    <a:cubicBezTo>
                      <a:pt x="84" y="127"/>
                      <a:pt x="82" y="121"/>
                      <a:pt x="85" y="121"/>
                    </a:cubicBezTo>
                    <a:cubicBezTo>
                      <a:pt x="89" y="121"/>
                      <a:pt x="90" y="125"/>
                      <a:pt x="90" y="125"/>
                    </a:cubicBezTo>
                    <a:cubicBezTo>
                      <a:pt x="100" y="128"/>
                      <a:pt x="100" y="128"/>
                      <a:pt x="100" y="128"/>
                    </a:cubicBezTo>
                    <a:cubicBezTo>
                      <a:pt x="104" y="125"/>
                      <a:pt x="104" y="125"/>
                      <a:pt x="104" y="125"/>
                    </a:cubicBezTo>
                    <a:cubicBezTo>
                      <a:pt x="104" y="127"/>
                      <a:pt x="104" y="127"/>
                      <a:pt x="104" y="127"/>
                    </a:cubicBezTo>
                    <a:cubicBezTo>
                      <a:pt x="113" y="129"/>
                      <a:pt x="113" y="129"/>
                      <a:pt x="113" y="129"/>
                    </a:cubicBezTo>
                    <a:cubicBezTo>
                      <a:pt x="111" y="141"/>
                      <a:pt x="111" y="141"/>
                      <a:pt x="111" y="141"/>
                    </a:cubicBezTo>
                    <a:cubicBezTo>
                      <a:pt x="111" y="141"/>
                      <a:pt x="108" y="150"/>
                      <a:pt x="112" y="150"/>
                    </a:cubicBezTo>
                    <a:cubicBezTo>
                      <a:pt x="116" y="150"/>
                      <a:pt x="124" y="150"/>
                      <a:pt x="124" y="154"/>
                    </a:cubicBezTo>
                    <a:cubicBezTo>
                      <a:pt x="123" y="159"/>
                      <a:pt x="116" y="168"/>
                      <a:pt x="116" y="168"/>
                    </a:cubicBezTo>
                    <a:cubicBezTo>
                      <a:pt x="116" y="168"/>
                      <a:pt x="106" y="175"/>
                      <a:pt x="104" y="175"/>
                    </a:cubicBezTo>
                    <a:cubicBezTo>
                      <a:pt x="98" y="175"/>
                      <a:pt x="98" y="175"/>
                      <a:pt x="98" y="175"/>
                    </a:cubicBezTo>
                    <a:cubicBezTo>
                      <a:pt x="90" y="185"/>
                      <a:pt x="90" y="185"/>
                      <a:pt x="90" y="185"/>
                    </a:cubicBezTo>
                    <a:cubicBezTo>
                      <a:pt x="83" y="185"/>
                      <a:pt x="83" y="185"/>
                      <a:pt x="83" y="185"/>
                    </a:cubicBezTo>
                    <a:cubicBezTo>
                      <a:pt x="86" y="197"/>
                      <a:pt x="86" y="197"/>
                      <a:pt x="86" y="197"/>
                    </a:cubicBezTo>
                    <a:cubicBezTo>
                      <a:pt x="78" y="222"/>
                      <a:pt x="78" y="222"/>
                      <a:pt x="78" y="222"/>
                    </a:cubicBezTo>
                    <a:cubicBezTo>
                      <a:pt x="80" y="230"/>
                      <a:pt x="80" y="230"/>
                      <a:pt x="80" y="230"/>
                    </a:cubicBezTo>
                    <a:cubicBezTo>
                      <a:pt x="74" y="235"/>
                      <a:pt x="74" y="235"/>
                      <a:pt x="74" y="235"/>
                    </a:cubicBezTo>
                    <a:cubicBezTo>
                      <a:pt x="74" y="235"/>
                      <a:pt x="67" y="234"/>
                      <a:pt x="67" y="239"/>
                    </a:cubicBezTo>
                    <a:cubicBezTo>
                      <a:pt x="67" y="244"/>
                      <a:pt x="71" y="251"/>
                      <a:pt x="71" y="251"/>
                    </a:cubicBezTo>
                    <a:cubicBezTo>
                      <a:pt x="66" y="262"/>
                      <a:pt x="66" y="262"/>
                      <a:pt x="66" y="262"/>
                    </a:cubicBezTo>
                    <a:cubicBezTo>
                      <a:pt x="63" y="262"/>
                      <a:pt x="63" y="262"/>
                      <a:pt x="63" y="262"/>
                    </a:cubicBezTo>
                    <a:cubicBezTo>
                      <a:pt x="59" y="270"/>
                      <a:pt x="59" y="270"/>
                      <a:pt x="59" y="270"/>
                    </a:cubicBezTo>
                    <a:cubicBezTo>
                      <a:pt x="32" y="265"/>
                      <a:pt x="32" y="265"/>
                      <a:pt x="32" y="265"/>
                    </a:cubicBezTo>
                    <a:cubicBezTo>
                      <a:pt x="38" y="280"/>
                      <a:pt x="38" y="280"/>
                      <a:pt x="38" y="280"/>
                    </a:cubicBezTo>
                    <a:cubicBezTo>
                      <a:pt x="38" y="280"/>
                      <a:pt x="42" y="278"/>
                      <a:pt x="42" y="280"/>
                    </a:cubicBezTo>
                    <a:cubicBezTo>
                      <a:pt x="42" y="283"/>
                      <a:pt x="39" y="287"/>
                      <a:pt x="39" y="287"/>
                    </a:cubicBezTo>
                    <a:cubicBezTo>
                      <a:pt x="46" y="306"/>
                      <a:pt x="46" y="306"/>
                      <a:pt x="46" y="306"/>
                    </a:cubicBezTo>
                    <a:cubicBezTo>
                      <a:pt x="46" y="306"/>
                      <a:pt x="56" y="304"/>
                      <a:pt x="54" y="310"/>
                    </a:cubicBezTo>
                    <a:cubicBezTo>
                      <a:pt x="52" y="316"/>
                      <a:pt x="44" y="325"/>
                      <a:pt x="44" y="325"/>
                    </a:cubicBezTo>
                    <a:cubicBezTo>
                      <a:pt x="34" y="328"/>
                      <a:pt x="34" y="328"/>
                      <a:pt x="34" y="328"/>
                    </a:cubicBezTo>
                    <a:cubicBezTo>
                      <a:pt x="25" y="345"/>
                      <a:pt x="25" y="345"/>
                      <a:pt x="25" y="345"/>
                    </a:cubicBezTo>
                    <a:cubicBezTo>
                      <a:pt x="34" y="364"/>
                      <a:pt x="34" y="364"/>
                      <a:pt x="34" y="364"/>
                    </a:cubicBezTo>
                    <a:cubicBezTo>
                      <a:pt x="43" y="364"/>
                      <a:pt x="43" y="364"/>
                      <a:pt x="43" y="364"/>
                    </a:cubicBezTo>
                    <a:cubicBezTo>
                      <a:pt x="41" y="368"/>
                      <a:pt x="41" y="368"/>
                      <a:pt x="41" y="368"/>
                    </a:cubicBezTo>
                    <a:cubicBezTo>
                      <a:pt x="38" y="375"/>
                      <a:pt x="38" y="375"/>
                      <a:pt x="38" y="375"/>
                    </a:cubicBezTo>
                    <a:cubicBezTo>
                      <a:pt x="23" y="376"/>
                      <a:pt x="23" y="376"/>
                      <a:pt x="23" y="376"/>
                    </a:cubicBezTo>
                    <a:cubicBezTo>
                      <a:pt x="21" y="384"/>
                      <a:pt x="21" y="384"/>
                      <a:pt x="21" y="384"/>
                    </a:cubicBezTo>
                    <a:cubicBezTo>
                      <a:pt x="21" y="384"/>
                      <a:pt x="14" y="386"/>
                      <a:pt x="10" y="392"/>
                    </a:cubicBezTo>
                    <a:cubicBezTo>
                      <a:pt x="6" y="397"/>
                      <a:pt x="4" y="401"/>
                      <a:pt x="4" y="401"/>
                    </a:cubicBezTo>
                    <a:cubicBezTo>
                      <a:pt x="6" y="408"/>
                      <a:pt x="6" y="408"/>
                      <a:pt x="6" y="408"/>
                    </a:cubicBezTo>
                    <a:cubicBezTo>
                      <a:pt x="6" y="425"/>
                      <a:pt x="6" y="425"/>
                      <a:pt x="6" y="425"/>
                    </a:cubicBezTo>
                    <a:cubicBezTo>
                      <a:pt x="23" y="428"/>
                      <a:pt x="23" y="428"/>
                      <a:pt x="23" y="428"/>
                    </a:cubicBezTo>
                    <a:cubicBezTo>
                      <a:pt x="26" y="432"/>
                      <a:pt x="26" y="432"/>
                      <a:pt x="26" y="432"/>
                    </a:cubicBezTo>
                    <a:cubicBezTo>
                      <a:pt x="29" y="428"/>
                      <a:pt x="29" y="428"/>
                      <a:pt x="29" y="428"/>
                    </a:cubicBezTo>
                    <a:cubicBezTo>
                      <a:pt x="36" y="425"/>
                      <a:pt x="36" y="425"/>
                      <a:pt x="36" y="425"/>
                    </a:cubicBezTo>
                    <a:cubicBezTo>
                      <a:pt x="33" y="429"/>
                      <a:pt x="33" y="429"/>
                      <a:pt x="33" y="429"/>
                    </a:cubicBezTo>
                    <a:cubicBezTo>
                      <a:pt x="32" y="433"/>
                      <a:pt x="32" y="433"/>
                      <a:pt x="32" y="433"/>
                    </a:cubicBezTo>
                    <a:cubicBezTo>
                      <a:pt x="32" y="433"/>
                      <a:pt x="38" y="439"/>
                      <a:pt x="43" y="443"/>
                    </a:cubicBezTo>
                    <a:cubicBezTo>
                      <a:pt x="50" y="449"/>
                      <a:pt x="54" y="462"/>
                      <a:pt x="54" y="462"/>
                    </a:cubicBezTo>
                    <a:cubicBezTo>
                      <a:pt x="55" y="458"/>
                      <a:pt x="55" y="458"/>
                      <a:pt x="55" y="458"/>
                    </a:cubicBezTo>
                    <a:cubicBezTo>
                      <a:pt x="55" y="458"/>
                      <a:pt x="57" y="463"/>
                      <a:pt x="55" y="465"/>
                    </a:cubicBezTo>
                    <a:cubicBezTo>
                      <a:pt x="53" y="466"/>
                      <a:pt x="50" y="466"/>
                      <a:pt x="50" y="466"/>
                    </a:cubicBezTo>
                    <a:cubicBezTo>
                      <a:pt x="51" y="473"/>
                      <a:pt x="51" y="473"/>
                      <a:pt x="51" y="473"/>
                    </a:cubicBezTo>
                    <a:cubicBezTo>
                      <a:pt x="55" y="473"/>
                      <a:pt x="55" y="473"/>
                      <a:pt x="55" y="473"/>
                    </a:cubicBezTo>
                    <a:cubicBezTo>
                      <a:pt x="55" y="478"/>
                      <a:pt x="55" y="478"/>
                      <a:pt x="55" y="478"/>
                    </a:cubicBezTo>
                    <a:cubicBezTo>
                      <a:pt x="58" y="478"/>
                      <a:pt x="58" y="478"/>
                      <a:pt x="58" y="478"/>
                    </a:cubicBezTo>
                    <a:cubicBezTo>
                      <a:pt x="60" y="483"/>
                      <a:pt x="60" y="483"/>
                      <a:pt x="60" y="483"/>
                    </a:cubicBezTo>
                    <a:cubicBezTo>
                      <a:pt x="58" y="485"/>
                      <a:pt x="58" y="485"/>
                      <a:pt x="58" y="485"/>
                    </a:cubicBezTo>
                    <a:cubicBezTo>
                      <a:pt x="56" y="481"/>
                      <a:pt x="56" y="481"/>
                      <a:pt x="56" y="481"/>
                    </a:cubicBezTo>
                    <a:cubicBezTo>
                      <a:pt x="54" y="481"/>
                      <a:pt x="54" y="481"/>
                      <a:pt x="54" y="481"/>
                    </a:cubicBezTo>
                    <a:cubicBezTo>
                      <a:pt x="63" y="505"/>
                      <a:pt x="63" y="505"/>
                      <a:pt x="63" y="505"/>
                    </a:cubicBezTo>
                    <a:cubicBezTo>
                      <a:pt x="72" y="507"/>
                      <a:pt x="72" y="507"/>
                      <a:pt x="72" y="507"/>
                    </a:cubicBezTo>
                    <a:cubicBezTo>
                      <a:pt x="75" y="515"/>
                      <a:pt x="75" y="515"/>
                      <a:pt x="75" y="515"/>
                    </a:cubicBezTo>
                    <a:cubicBezTo>
                      <a:pt x="83" y="519"/>
                      <a:pt x="83" y="519"/>
                      <a:pt x="83" y="519"/>
                    </a:cubicBezTo>
                    <a:cubicBezTo>
                      <a:pt x="84" y="522"/>
                      <a:pt x="84" y="522"/>
                      <a:pt x="84" y="522"/>
                    </a:cubicBezTo>
                    <a:cubicBezTo>
                      <a:pt x="89" y="519"/>
                      <a:pt x="89" y="519"/>
                      <a:pt x="89" y="519"/>
                    </a:cubicBezTo>
                    <a:cubicBezTo>
                      <a:pt x="95" y="520"/>
                      <a:pt x="95" y="520"/>
                      <a:pt x="95" y="520"/>
                    </a:cubicBezTo>
                    <a:cubicBezTo>
                      <a:pt x="95" y="520"/>
                      <a:pt x="95" y="516"/>
                      <a:pt x="96" y="515"/>
                    </a:cubicBezTo>
                    <a:cubicBezTo>
                      <a:pt x="98" y="513"/>
                      <a:pt x="101" y="517"/>
                      <a:pt x="101" y="517"/>
                    </a:cubicBezTo>
                    <a:cubicBezTo>
                      <a:pt x="113" y="502"/>
                      <a:pt x="113" y="502"/>
                      <a:pt x="113" y="502"/>
                    </a:cubicBezTo>
                    <a:cubicBezTo>
                      <a:pt x="129" y="499"/>
                      <a:pt x="129" y="499"/>
                      <a:pt x="129" y="499"/>
                    </a:cubicBezTo>
                    <a:cubicBezTo>
                      <a:pt x="129" y="499"/>
                      <a:pt x="133" y="502"/>
                      <a:pt x="141" y="498"/>
                    </a:cubicBezTo>
                    <a:cubicBezTo>
                      <a:pt x="150" y="494"/>
                      <a:pt x="154" y="490"/>
                      <a:pt x="154" y="490"/>
                    </a:cubicBezTo>
                    <a:cubicBezTo>
                      <a:pt x="165" y="491"/>
                      <a:pt x="165" y="491"/>
                      <a:pt x="165" y="491"/>
                    </a:cubicBezTo>
                    <a:cubicBezTo>
                      <a:pt x="191" y="493"/>
                      <a:pt x="191" y="493"/>
                      <a:pt x="191" y="493"/>
                    </a:cubicBezTo>
                    <a:cubicBezTo>
                      <a:pt x="206" y="499"/>
                      <a:pt x="206" y="499"/>
                      <a:pt x="206" y="499"/>
                    </a:cubicBezTo>
                    <a:cubicBezTo>
                      <a:pt x="217" y="498"/>
                      <a:pt x="217" y="498"/>
                      <a:pt x="217" y="498"/>
                    </a:cubicBezTo>
                    <a:cubicBezTo>
                      <a:pt x="243" y="505"/>
                      <a:pt x="243" y="505"/>
                      <a:pt x="243" y="505"/>
                    </a:cubicBezTo>
                    <a:cubicBezTo>
                      <a:pt x="249" y="505"/>
                      <a:pt x="249" y="505"/>
                      <a:pt x="249" y="505"/>
                    </a:cubicBezTo>
                    <a:cubicBezTo>
                      <a:pt x="249" y="505"/>
                      <a:pt x="252" y="497"/>
                      <a:pt x="262" y="498"/>
                    </a:cubicBezTo>
                    <a:cubicBezTo>
                      <a:pt x="272" y="499"/>
                      <a:pt x="273" y="509"/>
                      <a:pt x="273" y="509"/>
                    </a:cubicBezTo>
                    <a:cubicBezTo>
                      <a:pt x="284" y="500"/>
                      <a:pt x="284" y="500"/>
                      <a:pt x="284" y="500"/>
                    </a:cubicBezTo>
                    <a:cubicBezTo>
                      <a:pt x="291" y="497"/>
                      <a:pt x="291" y="497"/>
                      <a:pt x="291" y="497"/>
                    </a:cubicBezTo>
                    <a:cubicBezTo>
                      <a:pt x="297" y="480"/>
                      <a:pt x="297" y="480"/>
                      <a:pt x="297" y="480"/>
                    </a:cubicBezTo>
                    <a:cubicBezTo>
                      <a:pt x="312" y="469"/>
                      <a:pt x="312" y="469"/>
                      <a:pt x="312" y="469"/>
                    </a:cubicBezTo>
                    <a:cubicBezTo>
                      <a:pt x="316" y="469"/>
                      <a:pt x="316" y="469"/>
                      <a:pt x="316" y="469"/>
                    </a:cubicBezTo>
                    <a:cubicBezTo>
                      <a:pt x="316" y="469"/>
                      <a:pt x="319" y="462"/>
                      <a:pt x="324" y="462"/>
                    </a:cubicBezTo>
                    <a:cubicBezTo>
                      <a:pt x="329" y="460"/>
                      <a:pt x="334" y="466"/>
                      <a:pt x="334" y="466"/>
                    </a:cubicBezTo>
                    <a:cubicBezTo>
                      <a:pt x="334" y="466"/>
                      <a:pt x="340" y="463"/>
                      <a:pt x="341" y="463"/>
                    </a:cubicBezTo>
                    <a:cubicBezTo>
                      <a:pt x="343" y="463"/>
                      <a:pt x="345" y="465"/>
                      <a:pt x="345" y="465"/>
                    </a:cubicBezTo>
                    <a:cubicBezTo>
                      <a:pt x="360" y="463"/>
                      <a:pt x="360" y="463"/>
                      <a:pt x="360" y="463"/>
                    </a:cubicBezTo>
                    <a:cubicBezTo>
                      <a:pt x="359" y="455"/>
                      <a:pt x="359" y="455"/>
                      <a:pt x="359" y="455"/>
                    </a:cubicBezTo>
                    <a:cubicBezTo>
                      <a:pt x="355" y="459"/>
                      <a:pt x="355" y="459"/>
                      <a:pt x="355" y="459"/>
                    </a:cubicBezTo>
                    <a:cubicBezTo>
                      <a:pt x="351" y="454"/>
                      <a:pt x="351" y="454"/>
                      <a:pt x="351" y="454"/>
                    </a:cubicBezTo>
                    <a:cubicBezTo>
                      <a:pt x="358" y="440"/>
                      <a:pt x="358" y="440"/>
                      <a:pt x="358" y="440"/>
                    </a:cubicBezTo>
                    <a:cubicBezTo>
                      <a:pt x="363" y="439"/>
                      <a:pt x="363" y="439"/>
                      <a:pt x="363" y="439"/>
                    </a:cubicBezTo>
                    <a:cubicBezTo>
                      <a:pt x="363" y="439"/>
                      <a:pt x="365" y="432"/>
                      <a:pt x="367" y="428"/>
                    </a:cubicBezTo>
                    <a:cubicBezTo>
                      <a:pt x="369" y="425"/>
                      <a:pt x="373" y="426"/>
                      <a:pt x="373" y="426"/>
                    </a:cubicBezTo>
                    <a:cubicBezTo>
                      <a:pt x="375" y="418"/>
                      <a:pt x="375" y="418"/>
                      <a:pt x="375" y="418"/>
                    </a:cubicBezTo>
                    <a:cubicBezTo>
                      <a:pt x="379" y="419"/>
                      <a:pt x="379" y="419"/>
                      <a:pt x="379" y="419"/>
                    </a:cubicBezTo>
                    <a:cubicBezTo>
                      <a:pt x="389" y="408"/>
                      <a:pt x="389" y="408"/>
                      <a:pt x="389" y="408"/>
                    </a:cubicBezTo>
                    <a:cubicBezTo>
                      <a:pt x="404" y="403"/>
                      <a:pt x="404" y="403"/>
                      <a:pt x="404" y="403"/>
                    </a:cubicBezTo>
                    <a:cubicBezTo>
                      <a:pt x="413" y="395"/>
                      <a:pt x="413" y="395"/>
                      <a:pt x="413" y="395"/>
                    </a:cubicBezTo>
                    <a:cubicBezTo>
                      <a:pt x="413" y="389"/>
                      <a:pt x="413" y="389"/>
                      <a:pt x="413" y="389"/>
                    </a:cubicBezTo>
                    <a:cubicBezTo>
                      <a:pt x="413" y="389"/>
                      <a:pt x="407" y="389"/>
                      <a:pt x="402" y="385"/>
                    </a:cubicBezTo>
                    <a:cubicBezTo>
                      <a:pt x="398" y="381"/>
                      <a:pt x="392" y="347"/>
                      <a:pt x="392" y="347"/>
                    </a:cubicBezTo>
                    <a:cubicBezTo>
                      <a:pt x="415" y="317"/>
                      <a:pt x="415" y="317"/>
                      <a:pt x="415" y="317"/>
                    </a:cubicBezTo>
                    <a:cubicBezTo>
                      <a:pt x="416" y="309"/>
                      <a:pt x="416" y="309"/>
                      <a:pt x="416" y="309"/>
                    </a:cubicBezTo>
                    <a:cubicBezTo>
                      <a:pt x="420" y="310"/>
                      <a:pt x="420" y="310"/>
                      <a:pt x="420" y="310"/>
                    </a:cubicBezTo>
                    <a:cubicBezTo>
                      <a:pt x="436" y="293"/>
                      <a:pt x="436" y="293"/>
                      <a:pt x="436" y="293"/>
                    </a:cubicBezTo>
                    <a:cubicBezTo>
                      <a:pt x="436" y="293"/>
                      <a:pt x="444" y="281"/>
                      <a:pt x="447" y="279"/>
                    </a:cubicBezTo>
                    <a:cubicBezTo>
                      <a:pt x="450" y="276"/>
                      <a:pt x="453" y="277"/>
                      <a:pt x="453" y="277"/>
                    </a:cubicBezTo>
                    <a:cubicBezTo>
                      <a:pt x="452" y="279"/>
                      <a:pt x="452" y="279"/>
                      <a:pt x="452" y="279"/>
                    </a:cubicBezTo>
                    <a:cubicBezTo>
                      <a:pt x="449" y="279"/>
                      <a:pt x="449" y="279"/>
                      <a:pt x="449" y="279"/>
                    </a:cubicBezTo>
                    <a:cubicBezTo>
                      <a:pt x="449" y="281"/>
                      <a:pt x="449" y="281"/>
                      <a:pt x="449" y="281"/>
                    </a:cubicBezTo>
                    <a:cubicBezTo>
                      <a:pt x="452" y="282"/>
                      <a:pt x="452" y="282"/>
                      <a:pt x="452" y="282"/>
                    </a:cubicBezTo>
                    <a:cubicBezTo>
                      <a:pt x="457" y="277"/>
                      <a:pt x="457" y="277"/>
                      <a:pt x="457" y="277"/>
                    </a:cubicBezTo>
                    <a:cubicBezTo>
                      <a:pt x="457" y="277"/>
                      <a:pt x="462" y="276"/>
                      <a:pt x="464" y="274"/>
                    </a:cubicBezTo>
                    <a:cubicBezTo>
                      <a:pt x="465" y="273"/>
                      <a:pt x="457" y="266"/>
                      <a:pt x="457" y="266"/>
                    </a:cubicBezTo>
                    <a:cubicBezTo>
                      <a:pt x="472" y="251"/>
                      <a:pt x="472" y="251"/>
                      <a:pt x="472" y="251"/>
                    </a:cubicBezTo>
                    <a:cubicBezTo>
                      <a:pt x="481" y="251"/>
                      <a:pt x="481" y="251"/>
                      <a:pt x="481" y="251"/>
                    </a:cubicBezTo>
                    <a:cubicBezTo>
                      <a:pt x="484" y="248"/>
                      <a:pt x="484" y="248"/>
                      <a:pt x="484" y="248"/>
                    </a:cubicBezTo>
                    <a:cubicBezTo>
                      <a:pt x="484" y="248"/>
                      <a:pt x="499" y="245"/>
                      <a:pt x="506" y="245"/>
                    </a:cubicBezTo>
                    <a:cubicBezTo>
                      <a:pt x="511" y="245"/>
                      <a:pt x="524" y="245"/>
                      <a:pt x="530" y="242"/>
                    </a:cubicBezTo>
                    <a:cubicBezTo>
                      <a:pt x="537" y="238"/>
                      <a:pt x="533" y="236"/>
                      <a:pt x="541" y="232"/>
                    </a:cubicBezTo>
                    <a:cubicBezTo>
                      <a:pt x="549" y="227"/>
                      <a:pt x="575" y="221"/>
                      <a:pt x="581" y="216"/>
                    </a:cubicBezTo>
                    <a:cubicBezTo>
                      <a:pt x="588" y="211"/>
                      <a:pt x="590" y="202"/>
                      <a:pt x="589" y="199"/>
                    </a:cubicBezTo>
                    <a:cubicBezTo>
                      <a:pt x="589" y="196"/>
                      <a:pt x="586" y="192"/>
                      <a:pt x="587" y="189"/>
                    </a:cubicBezTo>
                    <a:cubicBezTo>
                      <a:pt x="588" y="186"/>
                      <a:pt x="592" y="189"/>
                      <a:pt x="594" y="187"/>
                    </a:cubicBezTo>
                    <a:cubicBezTo>
                      <a:pt x="597" y="186"/>
                      <a:pt x="597" y="182"/>
                      <a:pt x="597" y="182"/>
                    </a:cubicBezTo>
                    <a:cubicBezTo>
                      <a:pt x="591" y="179"/>
                      <a:pt x="591" y="179"/>
                      <a:pt x="591" y="179"/>
                    </a:cubicBezTo>
                    <a:cubicBezTo>
                      <a:pt x="590" y="174"/>
                      <a:pt x="590" y="174"/>
                      <a:pt x="590" y="174"/>
                    </a:cubicBezTo>
                    <a:cubicBezTo>
                      <a:pt x="583" y="174"/>
                      <a:pt x="583" y="174"/>
                      <a:pt x="583" y="174"/>
                    </a:cubicBezTo>
                    <a:cubicBezTo>
                      <a:pt x="583" y="174"/>
                      <a:pt x="582" y="171"/>
                      <a:pt x="576" y="169"/>
                    </a:cubicBezTo>
                    <a:cubicBezTo>
                      <a:pt x="568" y="168"/>
                      <a:pt x="565" y="178"/>
                      <a:pt x="563" y="178"/>
                    </a:cubicBezTo>
                    <a:cubicBezTo>
                      <a:pt x="558" y="178"/>
                      <a:pt x="558" y="178"/>
                      <a:pt x="558" y="178"/>
                    </a:cubicBezTo>
                    <a:cubicBezTo>
                      <a:pt x="558" y="178"/>
                      <a:pt x="555" y="175"/>
                      <a:pt x="551" y="171"/>
                    </a:cubicBezTo>
                    <a:cubicBezTo>
                      <a:pt x="547" y="167"/>
                      <a:pt x="540" y="174"/>
                      <a:pt x="535" y="174"/>
                    </a:cubicBezTo>
                    <a:cubicBezTo>
                      <a:pt x="531" y="174"/>
                      <a:pt x="530" y="170"/>
                      <a:pt x="530" y="170"/>
                    </a:cubicBezTo>
                    <a:cubicBezTo>
                      <a:pt x="530" y="170"/>
                      <a:pt x="532" y="164"/>
                      <a:pt x="532" y="163"/>
                    </a:cubicBezTo>
                    <a:cubicBezTo>
                      <a:pt x="532" y="161"/>
                      <a:pt x="526" y="166"/>
                      <a:pt x="526" y="166"/>
                    </a:cubicBezTo>
                    <a:cubicBezTo>
                      <a:pt x="519" y="161"/>
                      <a:pt x="519" y="161"/>
                      <a:pt x="519" y="161"/>
                    </a:cubicBezTo>
                    <a:lnTo>
                      <a:pt x="520" y="161"/>
                    </a:lnTo>
                    <a:close/>
                    <a:moveTo>
                      <a:pt x="622" y="329"/>
                    </a:moveTo>
                    <a:cubicBezTo>
                      <a:pt x="616" y="328"/>
                      <a:pt x="607" y="333"/>
                      <a:pt x="607" y="333"/>
                    </a:cubicBezTo>
                    <a:cubicBezTo>
                      <a:pt x="608" y="339"/>
                      <a:pt x="608" y="339"/>
                      <a:pt x="608" y="339"/>
                    </a:cubicBezTo>
                    <a:cubicBezTo>
                      <a:pt x="608" y="339"/>
                      <a:pt x="613" y="339"/>
                      <a:pt x="617" y="340"/>
                    </a:cubicBezTo>
                    <a:cubicBezTo>
                      <a:pt x="621" y="340"/>
                      <a:pt x="624" y="345"/>
                      <a:pt x="624" y="345"/>
                    </a:cubicBezTo>
                    <a:cubicBezTo>
                      <a:pt x="630" y="347"/>
                      <a:pt x="630" y="347"/>
                      <a:pt x="630" y="347"/>
                    </a:cubicBezTo>
                    <a:cubicBezTo>
                      <a:pt x="631" y="341"/>
                      <a:pt x="631" y="341"/>
                      <a:pt x="631" y="341"/>
                    </a:cubicBezTo>
                    <a:cubicBezTo>
                      <a:pt x="631" y="341"/>
                      <a:pt x="627" y="331"/>
                      <a:pt x="622" y="329"/>
                    </a:cubicBezTo>
                    <a:close/>
                  </a:path>
                </a:pathLst>
              </a:custGeom>
              <a:solidFill>
                <a:srgbClr val="FDC795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216" name="Slovenia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165725" y="4545013"/>
                <a:ext cx="307975" cy="217487"/>
              </a:xfrm>
              <a:custGeom>
                <a:avLst/>
                <a:gdLst/>
                <a:ahLst/>
                <a:cxnLst>
                  <a:cxn ang="0">
                    <a:pos x="119" y="13"/>
                  </a:cxn>
                  <a:cxn ang="0">
                    <a:pos x="108" y="13"/>
                  </a:cxn>
                  <a:cxn ang="0">
                    <a:pos x="96" y="20"/>
                  </a:cxn>
                  <a:cxn ang="0">
                    <a:pos x="83" y="20"/>
                  </a:cxn>
                  <a:cxn ang="0">
                    <a:pos x="68" y="22"/>
                  </a:cxn>
                  <a:cxn ang="0">
                    <a:pos x="59" y="30"/>
                  </a:cxn>
                  <a:cxn ang="0">
                    <a:pos x="46" y="34"/>
                  </a:cxn>
                  <a:cxn ang="0">
                    <a:pos x="33" y="33"/>
                  </a:cxn>
                  <a:cxn ang="0">
                    <a:pos x="18" y="31"/>
                  </a:cxn>
                  <a:cxn ang="0">
                    <a:pos x="15" y="36"/>
                  </a:cxn>
                  <a:cxn ang="0">
                    <a:pos x="0" y="45"/>
                  </a:cxn>
                  <a:cxn ang="0">
                    <a:pos x="14" y="53"/>
                  </a:cxn>
                  <a:cxn ang="0">
                    <a:pos x="5" y="68"/>
                  </a:cxn>
                  <a:cxn ang="0">
                    <a:pos x="11" y="78"/>
                  </a:cxn>
                  <a:cxn ang="0">
                    <a:pos x="18" y="91"/>
                  </a:cxn>
                  <a:cxn ang="0">
                    <a:pos x="7" y="99"/>
                  </a:cxn>
                  <a:cxn ang="0">
                    <a:pos x="19" y="98"/>
                  </a:cxn>
                  <a:cxn ang="0">
                    <a:pos x="32" y="97"/>
                  </a:cxn>
                  <a:cxn ang="0">
                    <a:pos x="52" y="93"/>
                  </a:cxn>
                  <a:cxn ang="0">
                    <a:pos x="55" y="88"/>
                  </a:cxn>
                  <a:cxn ang="0">
                    <a:pos x="58" y="88"/>
                  </a:cxn>
                  <a:cxn ang="0">
                    <a:pos x="72" y="97"/>
                  </a:cxn>
                  <a:cxn ang="0">
                    <a:pos x="80" y="96"/>
                  </a:cxn>
                  <a:cxn ang="0">
                    <a:pos x="94" y="94"/>
                  </a:cxn>
                  <a:cxn ang="0">
                    <a:pos x="95" y="83"/>
                  </a:cxn>
                  <a:cxn ang="0">
                    <a:pos x="85" y="80"/>
                  </a:cxn>
                  <a:cxn ang="0">
                    <a:pos x="107" y="71"/>
                  </a:cxn>
                  <a:cxn ang="0">
                    <a:pos x="102" y="50"/>
                  </a:cxn>
                  <a:cxn ang="0">
                    <a:pos x="124" y="31"/>
                  </a:cxn>
                  <a:cxn ang="0">
                    <a:pos x="132" y="23"/>
                  </a:cxn>
                  <a:cxn ang="0">
                    <a:pos x="145" y="20"/>
                  </a:cxn>
                  <a:cxn ang="0">
                    <a:pos x="137" y="11"/>
                  </a:cxn>
                  <a:cxn ang="0">
                    <a:pos x="133" y="3"/>
                  </a:cxn>
                  <a:cxn ang="0">
                    <a:pos x="121" y="3"/>
                  </a:cxn>
                </a:cxnLst>
                <a:rect l="0" t="0" r="r" b="b"/>
                <a:pathLst>
                  <a:path w="145" h="102">
                    <a:moveTo>
                      <a:pt x="117" y="6"/>
                    </a:moveTo>
                    <a:cubicBezTo>
                      <a:pt x="115" y="10"/>
                      <a:pt x="119" y="13"/>
                      <a:pt x="119" y="13"/>
                    </a:cubicBezTo>
                    <a:cubicBezTo>
                      <a:pt x="116" y="15"/>
                      <a:pt x="116" y="15"/>
                      <a:pt x="116" y="15"/>
                    </a:cubicBezTo>
                    <a:cubicBezTo>
                      <a:pt x="116" y="15"/>
                      <a:pt x="114" y="12"/>
                      <a:pt x="108" y="13"/>
                    </a:cubicBezTo>
                    <a:cubicBezTo>
                      <a:pt x="100" y="13"/>
                      <a:pt x="100" y="15"/>
                      <a:pt x="100" y="15"/>
                    </a:cubicBezTo>
                    <a:cubicBezTo>
                      <a:pt x="96" y="20"/>
                      <a:pt x="96" y="20"/>
                      <a:pt x="96" y="20"/>
                    </a:cubicBezTo>
                    <a:cubicBezTo>
                      <a:pt x="96" y="20"/>
                      <a:pt x="94" y="18"/>
                      <a:pt x="91" y="18"/>
                    </a:cubicBezTo>
                    <a:cubicBezTo>
                      <a:pt x="88" y="17"/>
                      <a:pt x="83" y="20"/>
                      <a:pt x="83" y="20"/>
                    </a:cubicBezTo>
                    <a:cubicBezTo>
                      <a:pt x="77" y="19"/>
                      <a:pt x="77" y="19"/>
                      <a:pt x="77" y="19"/>
                    </a:cubicBezTo>
                    <a:cubicBezTo>
                      <a:pt x="77" y="19"/>
                      <a:pt x="72" y="21"/>
                      <a:pt x="68" y="22"/>
                    </a:cubicBezTo>
                    <a:cubicBezTo>
                      <a:pt x="65" y="22"/>
                      <a:pt x="66" y="28"/>
                      <a:pt x="64" y="29"/>
                    </a:cubicBezTo>
                    <a:cubicBezTo>
                      <a:pt x="62" y="30"/>
                      <a:pt x="59" y="30"/>
                      <a:pt x="59" y="30"/>
                    </a:cubicBezTo>
                    <a:cubicBezTo>
                      <a:pt x="53" y="37"/>
                      <a:pt x="53" y="37"/>
                      <a:pt x="53" y="37"/>
                    </a:cubicBezTo>
                    <a:cubicBezTo>
                      <a:pt x="46" y="34"/>
                      <a:pt x="46" y="34"/>
                      <a:pt x="46" y="34"/>
                    </a:cubicBezTo>
                    <a:cubicBezTo>
                      <a:pt x="35" y="36"/>
                      <a:pt x="35" y="36"/>
                      <a:pt x="35" y="36"/>
                    </a:cubicBezTo>
                    <a:cubicBezTo>
                      <a:pt x="33" y="33"/>
                      <a:pt x="33" y="33"/>
                      <a:pt x="33" y="33"/>
                    </a:cubicBezTo>
                    <a:cubicBezTo>
                      <a:pt x="23" y="30"/>
                      <a:pt x="23" y="30"/>
                      <a:pt x="23" y="30"/>
                    </a:cubicBezTo>
                    <a:cubicBezTo>
                      <a:pt x="18" y="31"/>
                      <a:pt x="18" y="31"/>
                      <a:pt x="18" y="31"/>
                    </a:cubicBezTo>
                    <a:cubicBezTo>
                      <a:pt x="14" y="30"/>
                      <a:pt x="14" y="30"/>
                      <a:pt x="14" y="30"/>
                    </a:cubicBezTo>
                    <a:cubicBezTo>
                      <a:pt x="15" y="31"/>
                      <a:pt x="16" y="35"/>
                      <a:pt x="15" y="36"/>
                    </a:cubicBezTo>
                    <a:cubicBezTo>
                      <a:pt x="10" y="36"/>
                      <a:pt x="10" y="36"/>
                      <a:pt x="10" y="36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3" y="51"/>
                      <a:pt x="3" y="51"/>
                      <a:pt x="3" y="51"/>
                    </a:cubicBezTo>
                    <a:cubicBezTo>
                      <a:pt x="3" y="51"/>
                      <a:pt x="13" y="47"/>
                      <a:pt x="14" y="53"/>
                    </a:cubicBezTo>
                    <a:cubicBezTo>
                      <a:pt x="14" y="57"/>
                      <a:pt x="4" y="62"/>
                      <a:pt x="4" y="62"/>
                    </a:cubicBezTo>
                    <a:cubicBezTo>
                      <a:pt x="5" y="68"/>
                      <a:pt x="5" y="68"/>
                      <a:pt x="5" y="68"/>
                    </a:cubicBezTo>
                    <a:cubicBezTo>
                      <a:pt x="5" y="68"/>
                      <a:pt x="13" y="62"/>
                      <a:pt x="14" y="65"/>
                    </a:cubicBezTo>
                    <a:cubicBezTo>
                      <a:pt x="15" y="67"/>
                      <a:pt x="11" y="78"/>
                      <a:pt x="11" y="78"/>
                    </a:cubicBezTo>
                    <a:cubicBezTo>
                      <a:pt x="11" y="78"/>
                      <a:pt x="23" y="78"/>
                      <a:pt x="23" y="84"/>
                    </a:cubicBezTo>
                    <a:cubicBezTo>
                      <a:pt x="23" y="88"/>
                      <a:pt x="18" y="91"/>
                      <a:pt x="18" y="91"/>
                    </a:cubicBezTo>
                    <a:cubicBezTo>
                      <a:pt x="11" y="94"/>
                      <a:pt x="11" y="94"/>
                      <a:pt x="11" y="94"/>
                    </a:cubicBezTo>
                    <a:cubicBezTo>
                      <a:pt x="7" y="99"/>
                      <a:pt x="7" y="99"/>
                      <a:pt x="7" y="99"/>
                    </a:cubicBezTo>
                    <a:cubicBezTo>
                      <a:pt x="7" y="99"/>
                      <a:pt x="12" y="102"/>
                      <a:pt x="14" y="102"/>
                    </a:cubicBezTo>
                    <a:cubicBezTo>
                      <a:pt x="15" y="102"/>
                      <a:pt x="19" y="98"/>
                      <a:pt x="19" y="98"/>
                    </a:cubicBezTo>
                    <a:cubicBezTo>
                      <a:pt x="25" y="102"/>
                      <a:pt x="25" y="102"/>
                      <a:pt x="25" y="102"/>
                    </a:cubicBezTo>
                    <a:cubicBezTo>
                      <a:pt x="32" y="97"/>
                      <a:pt x="32" y="97"/>
                      <a:pt x="32" y="97"/>
                    </a:cubicBezTo>
                    <a:cubicBezTo>
                      <a:pt x="35" y="99"/>
                      <a:pt x="35" y="99"/>
                      <a:pt x="35" y="99"/>
                    </a:cubicBezTo>
                    <a:cubicBezTo>
                      <a:pt x="52" y="93"/>
                      <a:pt x="52" y="93"/>
                      <a:pt x="52" y="93"/>
                    </a:cubicBezTo>
                    <a:cubicBezTo>
                      <a:pt x="53" y="89"/>
                      <a:pt x="53" y="89"/>
                      <a:pt x="53" y="89"/>
                    </a:cubicBezTo>
                    <a:cubicBezTo>
                      <a:pt x="55" y="88"/>
                      <a:pt x="55" y="88"/>
                      <a:pt x="55" y="88"/>
                    </a:cubicBezTo>
                    <a:cubicBezTo>
                      <a:pt x="55" y="88"/>
                      <a:pt x="54" y="85"/>
                      <a:pt x="55" y="84"/>
                    </a:cubicBezTo>
                    <a:cubicBezTo>
                      <a:pt x="58" y="84"/>
                      <a:pt x="58" y="88"/>
                      <a:pt x="58" y="88"/>
                    </a:cubicBezTo>
                    <a:cubicBezTo>
                      <a:pt x="62" y="93"/>
                      <a:pt x="62" y="93"/>
                      <a:pt x="62" y="93"/>
                    </a:cubicBezTo>
                    <a:cubicBezTo>
                      <a:pt x="72" y="97"/>
                      <a:pt x="72" y="97"/>
                      <a:pt x="72" y="97"/>
                    </a:cubicBezTo>
                    <a:cubicBezTo>
                      <a:pt x="72" y="97"/>
                      <a:pt x="71" y="92"/>
                      <a:pt x="72" y="92"/>
                    </a:cubicBezTo>
                    <a:cubicBezTo>
                      <a:pt x="75" y="92"/>
                      <a:pt x="80" y="96"/>
                      <a:pt x="80" y="96"/>
                    </a:cubicBezTo>
                    <a:cubicBezTo>
                      <a:pt x="80" y="96"/>
                      <a:pt x="78" y="99"/>
                      <a:pt x="84" y="99"/>
                    </a:cubicBezTo>
                    <a:cubicBezTo>
                      <a:pt x="91" y="99"/>
                      <a:pt x="94" y="94"/>
                      <a:pt x="94" y="94"/>
                    </a:cubicBezTo>
                    <a:cubicBezTo>
                      <a:pt x="94" y="94"/>
                      <a:pt x="88" y="90"/>
                      <a:pt x="91" y="88"/>
                    </a:cubicBezTo>
                    <a:cubicBezTo>
                      <a:pt x="93" y="86"/>
                      <a:pt x="95" y="83"/>
                      <a:pt x="95" y="83"/>
                    </a:cubicBezTo>
                    <a:cubicBezTo>
                      <a:pt x="93" y="80"/>
                      <a:pt x="93" y="80"/>
                      <a:pt x="93" y="80"/>
                    </a:cubicBezTo>
                    <a:cubicBezTo>
                      <a:pt x="93" y="80"/>
                      <a:pt x="83" y="84"/>
                      <a:pt x="85" y="80"/>
                    </a:cubicBezTo>
                    <a:cubicBezTo>
                      <a:pt x="87" y="76"/>
                      <a:pt x="101" y="69"/>
                      <a:pt x="101" y="69"/>
                    </a:cubicBezTo>
                    <a:cubicBezTo>
                      <a:pt x="107" y="71"/>
                      <a:pt x="107" y="71"/>
                      <a:pt x="107" y="71"/>
                    </a:cubicBezTo>
                    <a:cubicBezTo>
                      <a:pt x="109" y="58"/>
                      <a:pt x="109" y="58"/>
                      <a:pt x="109" y="58"/>
                    </a:cubicBezTo>
                    <a:cubicBezTo>
                      <a:pt x="109" y="58"/>
                      <a:pt x="99" y="54"/>
                      <a:pt x="102" y="50"/>
                    </a:cubicBezTo>
                    <a:cubicBezTo>
                      <a:pt x="105" y="46"/>
                      <a:pt x="124" y="38"/>
                      <a:pt x="124" y="38"/>
                    </a:cubicBezTo>
                    <a:cubicBezTo>
                      <a:pt x="124" y="38"/>
                      <a:pt x="121" y="31"/>
                      <a:pt x="124" y="31"/>
                    </a:cubicBezTo>
                    <a:cubicBezTo>
                      <a:pt x="126" y="31"/>
                      <a:pt x="132" y="34"/>
                      <a:pt x="132" y="34"/>
                    </a:cubicBezTo>
                    <a:cubicBezTo>
                      <a:pt x="132" y="34"/>
                      <a:pt x="129" y="23"/>
                      <a:pt x="132" y="23"/>
                    </a:cubicBezTo>
                    <a:cubicBezTo>
                      <a:pt x="136" y="22"/>
                      <a:pt x="145" y="25"/>
                      <a:pt x="145" y="25"/>
                    </a:cubicBezTo>
                    <a:cubicBezTo>
                      <a:pt x="145" y="20"/>
                      <a:pt x="145" y="20"/>
                      <a:pt x="145" y="20"/>
                    </a:cubicBezTo>
                    <a:cubicBezTo>
                      <a:pt x="145" y="20"/>
                      <a:pt x="137" y="21"/>
                      <a:pt x="137" y="18"/>
                    </a:cubicBezTo>
                    <a:cubicBezTo>
                      <a:pt x="137" y="11"/>
                      <a:pt x="137" y="11"/>
                      <a:pt x="137" y="11"/>
                    </a:cubicBezTo>
                    <a:cubicBezTo>
                      <a:pt x="137" y="11"/>
                      <a:pt x="133" y="12"/>
                      <a:pt x="133" y="9"/>
                    </a:cubicBezTo>
                    <a:cubicBezTo>
                      <a:pt x="134" y="7"/>
                      <a:pt x="137" y="5"/>
                      <a:pt x="133" y="3"/>
                    </a:cubicBezTo>
                    <a:cubicBezTo>
                      <a:pt x="132" y="3"/>
                      <a:pt x="128" y="2"/>
                      <a:pt x="124" y="0"/>
                    </a:cubicBezTo>
                    <a:cubicBezTo>
                      <a:pt x="121" y="3"/>
                      <a:pt x="121" y="3"/>
                      <a:pt x="121" y="3"/>
                    </a:cubicBezTo>
                    <a:cubicBezTo>
                      <a:pt x="121" y="3"/>
                      <a:pt x="119" y="2"/>
                      <a:pt x="117" y="6"/>
                    </a:cubicBez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217" name="Slovakia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483225" y="4140200"/>
                <a:ext cx="523875" cy="277812"/>
              </a:xfrm>
              <a:custGeom>
                <a:avLst/>
                <a:gdLst/>
                <a:ahLst/>
                <a:cxnLst>
                  <a:cxn ang="0">
                    <a:pos x="221" y="7"/>
                  </a:cxn>
                  <a:cxn ang="0">
                    <a:pos x="202" y="1"/>
                  </a:cxn>
                  <a:cxn ang="0">
                    <a:pos x="179" y="7"/>
                  </a:cxn>
                  <a:cxn ang="0">
                    <a:pos x="165" y="9"/>
                  </a:cxn>
                  <a:cxn ang="0">
                    <a:pos x="141" y="16"/>
                  </a:cxn>
                  <a:cxn ang="0">
                    <a:pos x="130" y="23"/>
                  </a:cxn>
                  <a:cxn ang="0">
                    <a:pos x="125" y="19"/>
                  </a:cxn>
                  <a:cxn ang="0">
                    <a:pos x="116" y="14"/>
                  </a:cxn>
                  <a:cxn ang="0">
                    <a:pos x="113" y="11"/>
                  </a:cxn>
                  <a:cxn ang="0">
                    <a:pos x="102" y="9"/>
                  </a:cxn>
                  <a:cxn ang="0">
                    <a:pos x="96" y="16"/>
                  </a:cxn>
                  <a:cxn ang="0">
                    <a:pos x="86" y="10"/>
                  </a:cxn>
                  <a:cxn ang="0">
                    <a:pos x="76" y="13"/>
                  </a:cxn>
                  <a:cxn ang="0">
                    <a:pos x="64" y="23"/>
                  </a:cxn>
                  <a:cxn ang="0">
                    <a:pos x="51" y="43"/>
                  </a:cxn>
                  <a:cxn ang="0">
                    <a:pos x="43" y="53"/>
                  </a:cxn>
                  <a:cxn ang="0">
                    <a:pos x="14" y="59"/>
                  </a:cxn>
                  <a:cxn ang="0">
                    <a:pos x="4" y="73"/>
                  </a:cxn>
                  <a:cxn ang="0">
                    <a:pos x="0" y="90"/>
                  </a:cxn>
                  <a:cxn ang="0">
                    <a:pos x="9" y="105"/>
                  </a:cxn>
                  <a:cxn ang="0">
                    <a:pos x="14" y="117"/>
                  </a:cxn>
                  <a:cxn ang="0">
                    <a:pos x="37" y="126"/>
                  </a:cxn>
                  <a:cxn ang="0">
                    <a:pos x="56" y="129"/>
                  </a:cxn>
                  <a:cxn ang="0">
                    <a:pos x="76" y="126"/>
                  </a:cxn>
                  <a:cxn ang="0">
                    <a:pos x="93" y="118"/>
                  </a:cxn>
                  <a:cxn ang="0">
                    <a:pos x="102" y="104"/>
                  </a:cxn>
                  <a:cxn ang="0">
                    <a:pos x="123" y="89"/>
                  </a:cxn>
                  <a:cxn ang="0">
                    <a:pos x="155" y="83"/>
                  </a:cxn>
                  <a:cxn ang="0">
                    <a:pos x="185" y="63"/>
                  </a:cxn>
                  <a:cxn ang="0">
                    <a:pos x="210" y="63"/>
                  </a:cxn>
                  <a:cxn ang="0">
                    <a:pos x="225" y="67"/>
                  </a:cxn>
                  <a:cxn ang="0">
                    <a:pos x="232" y="55"/>
                  </a:cxn>
                  <a:cxn ang="0">
                    <a:pos x="241" y="30"/>
                  </a:cxn>
                  <a:cxn ang="0">
                    <a:pos x="222" y="14"/>
                  </a:cxn>
                </a:cxnLst>
                <a:rect l="0" t="0" r="r" b="b"/>
                <a:pathLst>
                  <a:path w="246" h="130">
                    <a:moveTo>
                      <a:pt x="222" y="14"/>
                    </a:moveTo>
                    <a:cubicBezTo>
                      <a:pt x="222" y="14"/>
                      <a:pt x="222" y="9"/>
                      <a:pt x="221" y="7"/>
                    </a:cubicBezTo>
                    <a:cubicBezTo>
                      <a:pt x="220" y="5"/>
                      <a:pt x="208" y="5"/>
                      <a:pt x="208" y="5"/>
                    </a:cubicBezTo>
                    <a:cubicBezTo>
                      <a:pt x="202" y="1"/>
                      <a:pt x="202" y="1"/>
                      <a:pt x="202" y="1"/>
                    </a:cubicBezTo>
                    <a:cubicBezTo>
                      <a:pt x="202" y="1"/>
                      <a:pt x="199" y="0"/>
                      <a:pt x="192" y="1"/>
                    </a:cubicBezTo>
                    <a:cubicBezTo>
                      <a:pt x="184" y="3"/>
                      <a:pt x="179" y="7"/>
                      <a:pt x="179" y="7"/>
                    </a:cubicBezTo>
                    <a:cubicBezTo>
                      <a:pt x="179" y="7"/>
                      <a:pt x="178" y="13"/>
                      <a:pt x="173" y="14"/>
                    </a:cubicBezTo>
                    <a:cubicBezTo>
                      <a:pt x="166" y="15"/>
                      <a:pt x="165" y="9"/>
                      <a:pt x="165" y="9"/>
                    </a:cubicBezTo>
                    <a:cubicBezTo>
                      <a:pt x="153" y="9"/>
                      <a:pt x="153" y="9"/>
                      <a:pt x="153" y="9"/>
                    </a:cubicBezTo>
                    <a:cubicBezTo>
                      <a:pt x="146" y="10"/>
                      <a:pt x="141" y="16"/>
                      <a:pt x="141" y="16"/>
                    </a:cubicBezTo>
                    <a:cubicBezTo>
                      <a:pt x="138" y="26"/>
                      <a:pt x="138" y="26"/>
                      <a:pt x="138" y="26"/>
                    </a:cubicBezTo>
                    <a:cubicBezTo>
                      <a:pt x="130" y="23"/>
                      <a:pt x="130" y="23"/>
                      <a:pt x="130" y="23"/>
                    </a:cubicBezTo>
                    <a:cubicBezTo>
                      <a:pt x="130" y="23"/>
                      <a:pt x="126" y="26"/>
                      <a:pt x="124" y="26"/>
                    </a:cubicBezTo>
                    <a:cubicBezTo>
                      <a:pt x="120" y="26"/>
                      <a:pt x="125" y="19"/>
                      <a:pt x="125" y="19"/>
                    </a:cubicBezTo>
                    <a:cubicBezTo>
                      <a:pt x="122" y="12"/>
                      <a:pt x="122" y="12"/>
                      <a:pt x="122" y="12"/>
                    </a:cubicBezTo>
                    <a:cubicBezTo>
                      <a:pt x="116" y="14"/>
                      <a:pt x="116" y="14"/>
                      <a:pt x="116" y="14"/>
                    </a:cubicBezTo>
                    <a:cubicBezTo>
                      <a:pt x="117" y="11"/>
                      <a:pt x="117" y="11"/>
                      <a:pt x="117" y="11"/>
                    </a:cubicBezTo>
                    <a:cubicBezTo>
                      <a:pt x="113" y="11"/>
                      <a:pt x="113" y="11"/>
                      <a:pt x="113" y="11"/>
                    </a:cubicBezTo>
                    <a:cubicBezTo>
                      <a:pt x="113" y="11"/>
                      <a:pt x="112" y="4"/>
                      <a:pt x="108" y="3"/>
                    </a:cubicBezTo>
                    <a:cubicBezTo>
                      <a:pt x="103" y="3"/>
                      <a:pt x="102" y="9"/>
                      <a:pt x="102" y="9"/>
                    </a:cubicBezTo>
                    <a:cubicBezTo>
                      <a:pt x="99" y="9"/>
                      <a:pt x="99" y="9"/>
                      <a:pt x="99" y="9"/>
                    </a:cubicBezTo>
                    <a:cubicBezTo>
                      <a:pt x="96" y="16"/>
                      <a:pt x="96" y="16"/>
                      <a:pt x="96" y="16"/>
                    </a:cubicBezTo>
                    <a:cubicBezTo>
                      <a:pt x="86" y="18"/>
                      <a:pt x="86" y="18"/>
                      <a:pt x="86" y="18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3" y="10"/>
                      <a:pt x="83" y="10"/>
                      <a:pt x="83" y="10"/>
                    </a:cubicBezTo>
                    <a:cubicBezTo>
                      <a:pt x="76" y="13"/>
                      <a:pt x="76" y="13"/>
                      <a:pt x="76" y="13"/>
                    </a:cubicBezTo>
                    <a:cubicBezTo>
                      <a:pt x="69" y="12"/>
                      <a:pt x="69" y="12"/>
                      <a:pt x="69" y="12"/>
                    </a:cubicBezTo>
                    <a:cubicBezTo>
                      <a:pt x="69" y="12"/>
                      <a:pt x="68" y="20"/>
                      <a:pt x="64" y="23"/>
                    </a:cubicBezTo>
                    <a:cubicBezTo>
                      <a:pt x="60" y="26"/>
                      <a:pt x="58" y="24"/>
                      <a:pt x="54" y="27"/>
                    </a:cubicBezTo>
                    <a:cubicBezTo>
                      <a:pt x="52" y="31"/>
                      <a:pt x="54" y="39"/>
                      <a:pt x="51" y="43"/>
                    </a:cubicBezTo>
                    <a:cubicBezTo>
                      <a:pt x="49" y="47"/>
                      <a:pt x="47" y="43"/>
                      <a:pt x="44" y="46"/>
                    </a:cubicBezTo>
                    <a:cubicBezTo>
                      <a:pt x="41" y="50"/>
                      <a:pt x="43" y="53"/>
                      <a:pt x="43" y="53"/>
                    </a:cubicBezTo>
                    <a:cubicBezTo>
                      <a:pt x="30" y="61"/>
                      <a:pt x="30" y="61"/>
                      <a:pt x="30" y="61"/>
                    </a:cubicBezTo>
                    <a:cubicBezTo>
                      <a:pt x="30" y="61"/>
                      <a:pt x="18" y="57"/>
                      <a:pt x="14" y="59"/>
                    </a:cubicBezTo>
                    <a:cubicBezTo>
                      <a:pt x="10" y="61"/>
                      <a:pt x="5" y="69"/>
                      <a:pt x="4" y="72"/>
                    </a:cubicBezTo>
                    <a:cubicBezTo>
                      <a:pt x="4" y="73"/>
                      <a:pt x="4" y="73"/>
                      <a:pt x="4" y="73"/>
                    </a:cubicBezTo>
                    <a:cubicBezTo>
                      <a:pt x="4" y="83"/>
                      <a:pt x="4" y="83"/>
                      <a:pt x="4" y="83"/>
                    </a:cubicBezTo>
                    <a:cubicBezTo>
                      <a:pt x="4" y="83"/>
                      <a:pt x="1" y="85"/>
                      <a:pt x="0" y="90"/>
                    </a:cubicBezTo>
                    <a:cubicBezTo>
                      <a:pt x="0" y="95"/>
                      <a:pt x="7" y="99"/>
                      <a:pt x="7" y="99"/>
                    </a:cubicBezTo>
                    <a:cubicBezTo>
                      <a:pt x="9" y="105"/>
                      <a:pt x="9" y="105"/>
                      <a:pt x="9" y="105"/>
                    </a:cubicBezTo>
                    <a:cubicBezTo>
                      <a:pt x="9" y="105"/>
                      <a:pt x="12" y="109"/>
                      <a:pt x="14" y="113"/>
                    </a:cubicBezTo>
                    <a:cubicBezTo>
                      <a:pt x="14" y="114"/>
                      <a:pt x="15" y="116"/>
                      <a:pt x="14" y="117"/>
                    </a:cubicBezTo>
                    <a:cubicBezTo>
                      <a:pt x="18" y="116"/>
                      <a:pt x="22" y="116"/>
                      <a:pt x="25" y="117"/>
                    </a:cubicBezTo>
                    <a:cubicBezTo>
                      <a:pt x="30" y="118"/>
                      <a:pt x="37" y="126"/>
                      <a:pt x="37" y="126"/>
                    </a:cubicBezTo>
                    <a:cubicBezTo>
                      <a:pt x="37" y="126"/>
                      <a:pt x="41" y="130"/>
                      <a:pt x="46" y="130"/>
                    </a:cubicBezTo>
                    <a:cubicBezTo>
                      <a:pt x="50" y="130"/>
                      <a:pt x="56" y="129"/>
                      <a:pt x="56" y="129"/>
                    </a:cubicBezTo>
                    <a:cubicBezTo>
                      <a:pt x="63" y="129"/>
                      <a:pt x="63" y="129"/>
                      <a:pt x="63" y="129"/>
                    </a:cubicBezTo>
                    <a:cubicBezTo>
                      <a:pt x="76" y="126"/>
                      <a:pt x="76" y="126"/>
                      <a:pt x="76" y="126"/>
                    </a:cubicBezTo>
                    <a:cubicBezTo>
                      <a:pt x="86" y="125"/>
                      <a:pt x="86" y="125"/>
                      <a:pt x="86" y="125"/>
                    </a:cubicBezTo>
                    <a:cubicBezTo>
                      <a:pt x="93" y="118"/>
                      <a:pt x="93" y="118"/>
                      <a:pt x="93" y="118"/>
                    </a:cubicBezTo>
                    <a:cubicBezTo>
                      <a:pt x="93" y="118"/>
                      <a:pt x="86" y="113"/>
                      <a:pt x="90" y="106"/>
                    </a:cubicBezTo>
                    <a:cubicBezTo>
                      <a:pt x="93" y="101"/>
                      <a:pt x="102" y="104"/>
                      <a:pt x="102" y="104"/>
                    </a:cubicBezTo>
                    <a:cubicBezTo>
                      <a:pt x="119" y="98"/>
                      <a:pt x="119" y="98"/>
                      <a:pt x="119" y="98"/>
                    </a:cubicBezTo>
                    <a:cubicBezTo>
                      <a:pt x="119" y="98"/>
                      <a:pt x="118" y="90"/>
                      <a:pt x="123" y="89"/>
                    </a:cubicBezTo>
                    <a:cubicBezTo>
                      <a:pt x="127" y="88"/>
                      <a:pt x="138" y="94"/>
                      <a:pt x="138" y="94"/>
                    </a:cubicBezTo>
                    <a:cubicBezTo>
                      <a:pt x="138" y="94"/>
                      <a:pt x="150" y="87"/>
                      <a:pt x="155" y="83"/>
                    </a:cubicBezTo>
                    <a:cubicBezTo>
                      <a:pt x="159" y="79"/>
                      <a:pt x="158" y="69"/>
                      <a:pt x="163" y="66"/>
                    </a:cubicBezTo>
                    <a:cubicBezTo>
                      <a:pt x="168" y="62"/>
                      <a:pt x="176" y="61"/>
                      <a:pt x="185" y="63"/>
                    </a:cubicBezTo>
                    <a:cubicBezTo>
                      <a:pt x="194" y="67"/>
                      <a:pt x="201" y="58"/>
                      <a:pt x="201" y="58"/>
                    </a:cubicBezTo>
                    <a:cubicBezTo>
                      <a:pt x="210" y="63"/>
                      <a:pt x="210" y="63"/>
                      <a:pt x="210" y="63"/>
                    </a:cubicBezTo>
                    <a:cubicBezTo>
                      <a:pt x="210" y="63"/>
                      <a:pt x="211" y="71"/>
                      <a:pt x="216" y="72"/>
                    </a:cubicBezTo>
                    <a:cubicBezTo>
                      <a:pt x="222" y="73"/>
                      <a:pt x="222" y="69"/>
                      <a:pt x="225" y="67"/>
                    </a:cubicBezTo>
                    <a:cubicBezTo>
                      <a:pt x="228" y="64"/>
                      <a:pt x="234" y="66"/>
                      <a:pt x="234" y="66"/>
                    </a:cubicBezTo>
                    <a:cubicBezTo>
                      <a:pt x="234" y="66"/>
                      <a:pt x="232" y="59"/>
                      <a:pt x="232" y="55"/>
                    </a:cubicBezTo>
                    <a:cubicBezTo>
                      <a:pt x="232" y="51"/>
                      <a:pt x="240" y="43"/>
                      <a:pt x="240" y="43"/>
                    </a:cubicBezTo>
                    <a:cubicBezTo>
                      <a:pt x="241" y="30"/>
                      <a:pt x="241" y="30"/>
                      <a:pt x="241" y="30"/>
                    </a:cubicBezTo>
                    <a:cubicBezTo>
                      <a:pt x="246" y="18"/>
                      <a:pt x="246" y="18"/>
                      <a:pt x="246" y="18"/>
                    </a:cubicBezTo>
                    <a:lnTo>
                      <a:pt x="222" y="14"/>
                    </a:ln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218" name="Serbia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708650" y="4608513"/>
                <a:ext cx="463550" cy="525041"/>
              </a:xfrm>
              <a:custGeom>
                <a:avLst/>
                <a:gdLst/>
                <a:ahLst/>
                <a:cxnLst>
                  <a:cxn ang="0">
                    <a:pos x="137" y="108"/>
                  </a:cxn>
                  <a:cxn ang="0">
                    <a:pos x="136" y="89"/>
                  </a:cxn>
                  <a:cxn ang="0">
                    <a:pos x="134" y="77"/>
                  </a:cxn>
                  <a:cxn ang="0">
                    <a:pos x="135" y="65"/>
                  </a:cxn>
                  <a:cxn ang="0">
                    <a:pos x="128" y="58"/>
                  </a:cxn>
                  <a:cxn ang="0">
                    <a:pos x="105" y="65"/>
                  </a:cxn>
                  <a:cxn ang="0">
                    <a:pos x="96" y="56"/>
                  </a:cxn>
                  <a:cxn ang="0">
                    <a:pos x="94" y="41"/>
                  </a:cxn>
                  <a:cxn ang="0">
                    <a:pos x="77" y="38"/>
                  </a:cxn>
                  <a:cxn ang="0">
                    <a:pos x="65" y="24"/>
                  </a:cxn>
                  <a:cxn ang="0">
                    <a:pos x="57" y="11"/>
                  </a:cxn>
                  <a:cxn ang="0">
                    <a:pos x="50" y="9"/>
                  </a:cxn>
                  <a:cxn ang="0">
                    <a:pos x="31" y="5"/>
                  </a:cxn>
                  <a:cxn ang="0">
                    <a:pos x="11" y="14"/>
                  </a:cxn>
                  <a:cxn ang="0">
                    <a:pos x="0" y="19"/>
                  </a:cxn>
                  <a:cxn ang="0">
                    <a:pos x="8" y="33"/>
                  </a:cxn>
                  <a:cxn ang="0">
                    <a:pos x="14" y="48"/>
                  </a:cxn>
                  <a:cxn ang="0">
                    <a:pos x="14" y="50"/>
                  </a:cxn>
                  <a:cxn ang="0">
                    <a:pos x="24" y="64"/>
                  </a:cxn>
                  <a:cxn ang="0">
                    <a:pos x="15" y="82"/>
                  </a:cxn>
                  <a:cxn ang="0">
                    <a:pos x="24" y="92"/>
                  </a:cxn>
                  <a:cxn ang="0">
                    <a:pos x="21" y="106"/>
                  </a:cxn>
                  <a:cxn ang="0">
                    <a:pos x="24" y="124"/>
                  </a:cxn>
                  <a:cxn ang="0">
                    <a:pos x="31" y="132"/>
                  </a:cxn>
                  <a:cxn ang="0">
                    <a:pos x="47" y="143"/>
                  </a:cxn>
                  <a:cxn ang="0">
                    <a:pos x="64" y="155"/>
                  </a:cxn>
                  <a:cxn ang="0">
                    <a:pos x="65" y="158"/>
                  </a:cxn>
                  <a:cxn ang="0">
                    <a:pos x="73" y="154"/>
                  </a:cxn>
                  <a:cxn ang="0">
                    <a:pos x="77" y="145"/>
                  </a:cxn>
                  <a:cxn ang="0">
                    <a:pos x="78" y="138"/>
                  </a:cxn>
                  <a:cxn ang="0">
                    <a:pos x="83" y="134"/>
                  </a:cxn>
                  <a:cxn ang="0">
                    <a:pos x="83" y="140"/>
                  </a:cxn>
                  <a:cxn ang="0">
                    <a:pos x="88" y="141"/>
                  </a:cxn>
                  <a:cxn ang="0">
                    <a:pos x="90" y="143"/>
                  </a:cxn>
                  <a:cxn ang="0">
                    <a:pos x="98" y="146"/>
                  </a:cxn>
                  <a:cxn ang="0">
                    <a:pos x="102" y="150"/>
                  </a:cxn>
                  <a:cxn ang="0">
                    <a:pos x="107" y="154"/>
                  </a:cxn>
                  <a:cxn ang="0">
                    <a:pos x="112" y="156"/>
                  </a:cxn>
                  <a:cxn ang="0">
                    <a:pos x="118" y="161"/>
                  </a:cxn>
                  <a:cxn ang="0">
                    <a:pos x="116" y="170"/>
                  </a:cxn>
                  <a:cxn ang="0">
                    <a:pos x="114" y="176"/>
                  </a:cxn>
                  <a:cxn ang="0">
                    <a:pos x="125" y="172"/>
                  </a:cxn>
                  <a:cxn ang="0">
                    <a:pos x="140" y="170"/>
                  </a:cxn>
                  <a:cxn ang="0">
                    <a:pos x="143" y="150"/>
                  </a:cxn>
                  <a:cxn ang="0">
                    <a:pos x="150" y="142"/>
                  </a:cxn>
                  <a:cxn ang="0">
                    <a:pos x="150" y="119"/>
                  </a:cxn>
                </a:cxnLst>
                <a:rect l="0" t="0" r="r" b="b"/>
                <a:pathLst>
                  <a:path w="158" h="177">
                    <a:moveTo>
                      <a:pt x="150" y="119"/>
                    </a:moveTo>
                    <a:cubicBezTo>
                      <a:pt x="148" y="117"/>
                      <a:pt x="139" y="115"/>
                      <a:pt x="139" y="115"/>
                    </a:cubicBezTo>
                    <a:cubicBezTo>
                      <a:pt x="137" y="108"/>
                      <a:pt x="137" y="108"/>
                      <a:pt x="137" y="108"/>
                    </a:cubicBezTo>
                    <a:cubicBezTo>
                      <a:pt x="131" y="102"/>
                      <a:pt x="131" y="102"/>
                      <a:pt x="131" y="102"/>
                    </a:cubicBezTo>
                    <a:cubicBezTo>
                      <a:pt x="132" y="91"/>
                      <a:pt x="132" y="91"/>
                      <a:pt x="132" y="91"/>
                    </a:cubicBezTo>
                    <a:cubicBezTo>
                      <a:pt x="132" y="91"/>
                      <a:pt x="135" y="90"/>
                      <a:pt x="136" y="89"/>
                    </a:cubicBezTo>
                    <a:cubicBezTo>
                      <a:pt x="137" y="87"/>
                      <a:pt x="137" y="83"/>
                      <a:pt x="137" y="83"/>
                    </a:cubicBezTo>
                    <a:cubicBezTo>
                      <a:pt x="137" y="83"/>
                      <a:pt x="140" y="80"/>
                      <a:pt x="139" y="77"/>
                    </a:cubicBezTo>
                    <a:cubicBezTo>
                      <a:pt x="138" y="74"/>
                      <a:pt x="134" y="77"/>
                      <a:pt x="134" y="77"/>
                    </a:cubicBezTo>
                    <a:cubicBezTo>
                      <a:pt x="132" y="69"/>
                      <a:pt x="132" y="69"/>
                      <a:pt x="132" y="69"/>
                    </a:cubicBezTo>
                    <a:cubicBezTo>
                      <a:pt x="134" y="69"/>
                      <a:pt x="134" y="69"/>
                      <a:pt x="134" y="69"/>
                    </a:cubicBezTo>
                    <a:cubicBezTo>
                      <a:pt x="135" y="65"/>
                      <a:pt x="135" y="65"/>
                      <a:pt x="135" y="65"/>
                    </a:cubicBezTo>
                    <a:cubicBezTo>
                      <a:pt x="138" y="66"/>
                      <a:pt x="138" y="66"/>
                      <a:pt x="138" y="66"/>
                    </a:cubicBezTo>
                    <a:cubicBezTo>
                      <a:pt x="139" y="63"/>
                      <a:pt x="139" y="63"/>
                      <a:pt x="139" y="63"/>
                    </a:cubicBezTo>
                    <a:cubicBezTo>
                      <a:pt x="139" y="63"/>
                      <a:pt x="135" y="60"/>
                      <a:pt x="128" y="58"/>
                    </a:cubicBezTo>
                    <a:cubicBezTo>
                      <a:pt x="123" y="58"/>
                      <a:pt x="122" y="71"/>
                      <a:pt x="119" y="71"/>
                    </a:cubicBezTo>
                    <a:cubicBezTo>
                      <a:pt x="116" y="72"/>
                      <a:pt x="116" y="65"/>
                      <a:pt x="113" y="64"/>
                    </a:cubicBezTo>
                    <a:cubicBezTo>
                      <a:pt x="111" y="62"/>
                      <a:pt x="108" y="67"/>
                      <a:pt x="105" y="65"/>
                    </a:cubicBezTo>
                    <a:cubicBezTo>
                      <a:pt x="102" y="65"/>
                      <a:pt x="100" y="61"/>
                      <a:pt x="99" y="60"/>
                    </a:cubicBezTo>
                    <a:cubicBezTo>
                      <a:pt x="97" y="60"/>
                      <a:pt x="90" y="58"/>
                      <a:pt x="90" y="58"/>
                    </a:cubicBezTo>
                    <a:cubicBezTo>
                      <a:pt x="96" y="56"/>
                      <a:pt x="96" y="56"/>
                      <a:pt x="96" y="56"/>
                    </a:cubicBezTo>
                    <a:cubicBezTo>
                      <a:pt x="97" y="53"/>
                      <a:pt x="97" y="53"/>
                      <a:pt x="97" y="53"/>
                    </a:cubicBezTo>
                    <a:cubicBezTo>
                      <a:pt x="90" y="52"/>
                      <a:pt x="90" y="52"/>
                      <a:pt x="90" y="52"/>
                    </a:cubicBezTo>
                    <a:cubicBezTo>
                      <a:pt x="90" y="52"/>
                      <a:pt x="94" y="46"/>
                      <a:pt x="94" y="41"/>
                    </a:cubicBezTo>
                    <a:cubicBezTo>
                      <a:pt x="93" y="35"/>
                      <a:pt x="84" y="39"/>
                      <a:pt x="84" y="39"/>
                    </a:cubicBezTo>
                    <a:cubicBezTo>
                      <a:pt x="81" y="36"/>
                      <a:pt x="81" y="36"/>
                      <a:pt x="81" y="36"/>
                    </a:cubicBezTo>
                    <a:cubicBezTo>
                      <a:pt x="77" y="38"/>
                      <a:pt x="77" y="38"/>
                      <a:pt x="77" y="38"/>
                    </a:cubicBezTo>
                    <a:cubicBezTo>
                      <a:pt x="66" y="30"/>
                      <a:pt x="66" y="30"/>
                      <a:pt x="66" y="30"/>
                    </a:cubicBezTo>
                    <a:cubicBezTo>
                      <a:pt x="69" y="27"/>
                      <a:pt x="69" y="27"/>
                      <a:pt x="69" y="27"/>
                    </a:cubicBezTo>
                    <a:cubicBezTo>
                      <a:pt x="65" y="24"/>
                      <a:pt x="65" y="24"/>
                      <a:pt x="65" y="24"/>
                    </a:cubicBezTo>
                    <a:cubicBezTo>
                      <a:pt x="67" y="16"/>
                      <a:pt x="67" y="16"/>
                      <a:pt x="67" y="16"/>
                    </a:cubicBezTo>
                    <a:cubicBezTo>
                      <a:pt x="67" y="16"/>
                      <a:pt x="63" y="19"/>
                      <a:pt x="61" y="19"/>
                    </a:cubicBezTo>
                    <a:cubicBezTo>
                      <a:pt x="58" y="19"/>
                      <a:pt x="57" y="11"/>
                      <a:pt x="57" y="11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3" y="8"/>
                      <a:pt x="53" y="8"/>
                      <a:pt x="53" y="8"/>
                    </a:cubicBezTo>
                    <a:cubicBezTo>
                      <a:pt x="50" y="9"/>
                      <a:pt x="50" y="9"/>
                      <a:pt x="50" y="9"/>
                    </a:cubicBezTo>
                    <a:cubicBezTo>
                      <a:pt x="45" y="1"/>
                      <a:pt x="45" y="1"/>
                      <a:pt x="45" y="1"/>
                    </a:cubicBezTo>
                    <a:cubicBezTo>
                      <a:pt x="39" y="1"/>
                      <a:pt x="39" y="1"/>
                      <a:pt x="39" y="1"/>
                    </a:cubicBezTo>
                    <a:cubicBezTo>
                      <a:pt x="32" y="0"/>
                      <a:pt x="31" y="5"/>
                      <a:pt x="31" y="5"/>
                    </a:cubicBezTo>
                    <a:cubicBezTo>
                      <a:pt x="31" y="5"/>
                      <a:pt x="28" y="3"/>
                      <a:pt x="26" y="3"/>
                    </a:cubicBezTo>
                    <a:cubicBezTo>
                      <a:pt x="24" y="3"/>
                      <a:pt x="21" y="6"/>
                      <a:pt x="19" y="8"/>
                    </a:cubicBezTo>
                    <a:cubicBezTo>
                      <a:pt x="17" y="11"/>
                      <a:pt x="11" y="14"/>
                      <a:pt x="11" y="14"/>
                    </a:cubicBezTo>
                    <a:cubicBezTo>
                      <a:pt x="7" y="13"/>
                      <a:pt x="7" y="13"/>
                      <a:pt x="7" y="13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2" y="21"/>
                      <a:pt x="4" y="24"/>
                      <a:pt x="4" y="24"/>
                    </a:cubicBezTo>
                    <a:cubicBezTo>
                      <a:pt x="4" y="28"/>
                      <a:pt x="0" y="32"/>
                      <a:pt x="2" y="33"/>
                    </a:cubicBezTo>
                    <a:cubicBezTo>
                      <a:pt x="5" y="37"/>
                      <a:pt x="5" y="33"/>
                      <a:pt x="8" y="33"/>
                    </a:cubicBezTo>
                    <a:cubicBezTo>
                      <a:pt x="12" y="33"/>
                      <a:pt x="11" y="37"/>
                      <a:pt x="6" y="39"/>
                    </a:cubicBezTo>
                    <a:cubicBezTo>
                      <a:pt x="2" y="40"/>
                      <a:pt x="6" y="43"/>
                      <a:pt x="6" y="43"/>
                    </a:cubicBezTo>
                    <a:cubicBezTo>
                      <a:pt x="14" y="48"/>
                      <a:pt x="14" y="48"/>
                      <a:pt x="14" y="48"/>
                    </a:cubicBezTo>
                    <a:cubicBezTo>
                      <a:pt x="22" y="48"/>
                      <a:pt x="22" y="48"/>
                      <a:pt x="22" y="48"/>
                    </a:cubicBezTo>
                    <a:cubicBezTo>
                      <a:pt x="22" y="50"/>
                      <a:pt x="22" y="50"/>
                      <a:pt x="22" y="50"/>
                    </a:cubicBezTo>
                    <a:cubicBezTo>
                      <a:pt x="14" y="50"/>
                      <a:pt x="14" y="50"/>
                      <a:pt x="14" y="50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3" y="62"/>
                      <a:pt x="13" y="62"/>
                      <a:pt x="13" y="62"/>
                    </a:cubicBezTo>
                    <a:cubicBezTo>
                      <a:pt x="24" y="64"/>
                      <a:pt x="24" y="64"/>
                      <a:pt x="24" y="64"/>
                    </a:cubicBezTo>
                    <a:cubicBezTo>
                      <a:pt x="21" y="66"/>
                      <a:pt x="21" y="66"/>
                      <a:pt x="21" y="66"/>
                    </a:cubicBezTo>
                    <a:cubicBezTo>
                      <a:pt x="21" y="66"/>
                      <a:pt x="21" y="73"/>
                      <a:pt x="19" y="75"/>
                    </a:cubicBezTo>
                    <a:cubicBezTo>
                      <a:pt x="18" y="78"/>
                      <a:pt x="15" y="82"/>
                      <a:pt x="15" y="82"/>
                    </a:cubicBezTo>
                    <a:cubicBezTo>
                      <a:pt x="16" y="85"/>
                      <a:pt x="16" y="85"/>
                      <a:pt x="16" y="85"/>
                    </a:cubicBezTo>
                    <a:cubicBezTo>
                      <a:pt x="16" y="85"/>
                      <a:pt x="13" y="90"/>
                      <a:pt x="15" y="91"/>
                    </a:cubicBezTo>
                    <a:cubicBezTo>
                      <a:pt x="18" y="92"/>
                      <a:pt x="24" y="92"/>
                      <a:pt x="24" y="92"/>
                    </a:cubicBezTo>
                    <a:cubicBezTo>
                      <a:pt x="34" y="101"/>
                      <a:pt x="34" y="101"/>
                      <a:pt x="34" y="101"/>
                    </a:cubicBezTo>
                    <a:cubicBezTo>
                      <a:pt x="34" y="101"/>
                      <a:pt x="34" y="106"/>
                      <a:pt x="31" y="106"/>
                    </a:cubicBezTo>
                    <a:cubicBezTo>
                      <a:pt x="27" y="106"/>
                      <a:pt x="21" y="106"/>
                      <a:pt x="21" y="106"/>
                    </a:cubicBezTo>
                    <a:cubicBezTo>
                      <a:pt x="27" y="114"/>
                      <a:pt x="27" y="114"/>
                      <a:pt x="27" y="114"/>
                    </a:cubicBezTo>
                    <a:cubicBezTo>
                      <a:pt x="27" y="114"/>
                      <a:pt x="37" y="122"/>
                      <a:pt x="32" y="124"/>
                    </a:cubicBezTo>
                    <a:cubicBezTo>
                      <a:pt x="28" y="128"/>
                      <a:pt x="24" y="124"/>
                      <a:pt x="24" y="124"/>
                    </a:cubicBezTo>
                    <a:cubicBezTo>
                      <a:pt x="24" y="125"/>
                      <a:pt x="24" y="125"/>
                      <a:pt x="24" y="125"/>
                    </a:cubicBezTo>
                    <a:cubicBezTo>
                      <a:pt x="26" y="129"/>
                      <a:pt x="26" y="129"/>
                      <a:pt x="26" y="129"/>
                    </a:cubicBezTo>
                    <a:cubicBezTo>
                      <a:pt x="31" y="132"/>
                      <a:pt x="31" y="132"/>
                      <a:pt x="31" y="132"/>
                    </a:cubicBezTo>
                    <a:cubicBezTo>
                      <a:pt x="37" y="136"/>
                      <a:pt x="37" y="136"/>
                      <a:pt x="37" y="136"/>
                    </a:cubicBezTo>
                    <a:cubicBezTo>
                      <a:pt x="43" y="141"/>
                      <a:pt x="43" y="141"/>
                      <a:pt x="43" y="141"/>
                    </a:cubicBezTo>
                    <a:cubicBezTo>
                      <a:pt x="47" y="143"/>
                      <a:pt x="47" y="143"/>
                      <a:pt x="47" y="143"/>
                    </a:cubicBezTo>
                    <a:cubicBezTo>
                      <a:pt x="60" y="149"/>
                      <a:pt x="60" y="149"/>
                      <a:pt x="60" y="149"/>
                    </a:cubicBezTo>
                    <a:cubicBezTo>
                      <a:pt x="64" y="150"/>
                      <a:pt x="64" y="150"/>
                      <a:pt x="64" y="150"/>
                    </a:cubicBezTo>
                    <a:cubicBezTo>
                      <a:pt x="64" y="155"/>
                      <a:pt x="64" y="155"/>
                      <a:pt x="64" y="155"/>
                    </a:cubicBezTo>
                    <a:cubicBezTo>
                      <a:pt x="61" y="156"/>
                      <a:pt x="61" y="156"/>
                      <a:pt x="61" y="156"/>
                    </a:cubicBezTo>
                    <a:cubicBezTo>
                      <a:pt x="61" y="157"/>
                      <a:pt x="61" y="157"/>
                      <a:pt x="61" y="158"/>
                    </a:cubicBezTo>
                    <a:cubicBezTo>
                      <a:pt x="65" y="158"/>
                      <a:pt x="65" y="158"/>
                      <a:pt x="65" y="158"/>
                    </a:cubicBezTo>
                    <a:cubicBezTo>
                      <a:pt x="69" y="158"/>
                      <a:pt x="69" y="158"/>
                      <a:pt x="69" y="158"/>
                    </a:cubicBezTo>
                    <a:cubicBezTo>
                      <a:pt x="69" y="158"/>
                      <a:pt x="71" y="157"/>
                      <a:pt x="71" y="157"/>
                    </a:cubicBezTo>
                    <a:cubicBezTo>
                      <a:pt x="72" y="156"/>
                      <a:pt x="72" y="155"/>
                      <a:pt x="73" y="154"/>
                    </a:cubicBezTo>
                    <a:cubicBezTo>
                      <a:pt x="73" y="154"/>
                      <a:pt x="72" y="153"/>
                      <a:pt x="73" y="152"/>
                    </a:cubicBezTo>
                    <a:cubicBezTo>
                      <a:pt x="74" y="151"/>
                      <a:pt x="76" y="149"/>
                      <a:pt x="76" y="149"/>
                    </a:cubicBezTo>
                    <a:cubicBezTo>
                      <a:pt x="76" y="149"/>
                      <a:pt x="77" y="145"/>
                      <a:pt x="77" y="145"/>
                    </a:cubicBezTo>
                    <a:cubicBezTo>
                      <a:pt x="76" y="144"/>
                      <a:pt x="76" y="143"/>
                      <a:pt x="75" y="143"/>
                    </a:cubicBezTo>
                    <a:cubicBezTo>
                      <a:pt x="75" y="142"/>
                      <a:pt x="76" y="139"/>
                      <a:pt x="76" y="139"/>
                    </a:cubicBezTo>
                    <a:cubicBezTo>
                      <a:pt x="76" y="139"/>
                      <a:pt x="77" y="138"/>
                      <a:pt x="78" y="138"/>
                    </a:cubicBezTo>
                    <a:cubicBezTo>
                      <a:pt x="79" y="137"/>
                      <a:pt x="80" y="138"/>
                      <a:pt x="81" y="138"/>
                    </a:cubicBezTo>
                    <a:cubicBezTo>
                      <a:pt x="81" y="138"/>
                      <a:pt x="82" y="135"/>
                      <a:pt x="82" y="135"/>
                    </a:cubicBezTo>
                    <a:cubicBezTo>
                      <a:pt x="82" y="136"/>
                      <a:pt x="82" y="134"/>
                      <a:pt x="83" y="134"/>
                    </a:cubicBezTo>
                    <a:cubicBezTo>
                      <a:pt x="84" y="134"/>
                      <a:pt x="84" y="136"/>
                      <a:pt x="84" y="136"/>
                    </a:cubicBezTo>
                    <a:cubicBezTo>
                      <a:pt x="84" y="136"/>
                      <a:pt x="85" y="137"/>
                      <a:pt x="85" y="138"/>
                    </a:cubicBezTo>
                    <a:cubicBezTo>
                      <a:pt x="84" y="139"/>
                      <a:pt x="83" y="140"/>
                      <a:pt x="83" y="140"/>
                    </a:cubicBezTo>
                    <a:cubicBezTo>
                      <a:pt x="83" y="140"/>
                      <a:pt x="84" y="141"/>
                      <a:pt x="84" y="141"/>
                    </a:cubicBezTo>
                    <a:cubicBezTo>
                      <a:pt x="85" y="141"/>
                      <a:pt x="85" y="141"/>
                      <a:pt x="85" y="141"/>
                    </a:cubicBezTo>
                    <a:cubicBezTo>
                      <a:pt x="88" y="141"/>
                      <a:pt x="88" y="141"/>
                      <a:pt x="88" y="141"/>
                    </a:cubicBezTo>
                    <a:cubicBezTo>
                      <a:pt x="88" y="141"/>
                      <a:pt x="88" y="142"/>
                      <a:pt x="88" y="142"/>
                    </a:cubicBezTo>
                    <a:cubicBezTo>
                      <a:pt x="89" y="142"/>
                      <a:pt x="89" y="142"/>
                      <a:pt x="90" y="143"/>
                    </a:cubicBezTo>
                    <a:cubicBezTo>
                      <a:pt x="90" y="143"/>
                      <a:pt x="90" y="143"/>
                      <a:pt x="90" y="143"/>
                    </a:cubicBezTo>
                    <a:cubicBezTo>
                      <a:pt x="91" y="144"/>
                      <a:pt x="93" y="143"/>
                      <a:pt x="94" y="143"/>
                    </a:cubicBezTo>
                    <a:cubicBezTo>
                      <a:pt x="95" y="143"/>
                      <a:pt x="95" y="145"/>
                      <a:pt x="95" y="145"/>
                    </a:cubicBezTo>
                    <a:cubicBezTo>
                      <a:pt x="95" y="145"/>
                      <a:pt x="97" y="145"/>
                      <a:pt x="98" y="146"/>
                    </a:cubicBezTo>
                    <a:cubicBezTo>
                      <a:pt x="98" y="146"/>
                      <a:pt x="98" y="149"/>
                      <a:pt x="98" y="149"/>
                    </a:cubicBezTo>
                    <a:cubicBezTo>
                      <a:pt x="98" y="149"/>
                      <a:pt x="99" y="150"/>
                      <a:pt x="100" y="150"/>
                    </a:cubicBezTo>
                    <a:cubicBezTo>
                      <a:pt x="101" y="150"/>
                      <a:pt x="102" y="150"/>
                      <a:pt x="102" y="150"/>
                    </a:cubicBezTo>
                    <a:cubicBezTo>
                      <a:pt x="102" y="150"/>
                      <a:pt x="103" y="152"/>
                      <a:pt x="103" y="152"/>
                    </a:cubicBezTo>
                    <a:cubicBezTo>
                      <a:pt x="105" y="153"/>
                      <a:pt x="105" y="153"/>
                      <a:pt x="105" y="153"/>
                    </a:cubicBezTo>
                    <a:cubicBezTo>
                      <a:pt x="107" y="154"/>
                      <a:pt x="107" y="154"/>
                      <a:pt x="107" y="154"/>
                    </a:cubicBezTo>
                    <a:cubicBezTo>
                      <a:pt x="110" y="155"/>
                      <a:pt x="110" y="155"/>
                      <a:pt x="110" y="155"/>
                    </a:cubicBezTo>
                    <a:cubicBezTo>
                      <a:pt x="111" y="155"/>
                      <a:pt x="111" y="155"/>
                      <a:pt x="111" y="155"/>
                    </a:cubicBezTo>
                    <a:cubicBezTo>
                      <a:pt x="112" y="156"/>
                      <a:pt x="112" y="156"/>
                      <a:pt x="112" y="156"/>
                    </a:cubicBezTo>
                    <a:cubicBezTo>
                      <a:pt x="114" y="157"/>
                      <a:pt x="114" y="157"/>
                      <a:pt x="114" y="157"/>
                    </a:cubicBezTo>
                    <a:cubicBezTo>
                      <a:pt x="114" y="157"/>
                      <a:pt x="116" y="157"/>
                      <a:pt x="117" y="158"/>
                    </a:cubicBezTo>
                    <a:cubicBezTo>
                      <a:pt x="117" y="158"/>
                      <a:pt x="118" y="161"/>
                      <a:pt x="118" y="161"/>
                    </a:cubicBezTo>
                    <a:cubicBezTo>
                      <a:pt x="118" y="161"/>
                      <a:pt x="119" y="163"/>
                      <a:pt x="119" y="163"/>
                    </a:cubicBezTo>
                    <a:cubicBezTo>
                      <a:pt x="119" y="164"/>
                      <a:pt x="118" y="166"/>
                      <a:pt x="118" y="166"/>
                    </a:cubicBezTo>
                    <a:cubicBezTo>
                      <a:pt x="116" y="170"/>
                      <a:pt x="116" y="170"/>
                      <a:pt x="116" y="170"/>
                    </a:cubicBezTo>
                    <a:cubicBezTo>
                      <a:pt x="116" y="170"/>
                      <a:pt x="115" y="172"/>
                      <a:pt x="115" y="172"/>
                    </a:cubicBezTo>
                    <a:cubicBezTo>
                      <a:pt x="115" y="173"/>
                      <a:pt x="114" y="174"/>
                      <a:pt x="114" y="174"/>
                    </a:cubicBezTo>
                    <a:cubicBezTo>
                      <a:pt x="114" y="174"/>
                      <a:pt x="114" y="175"/>
                      <a:pt x="114" y="176"/>
                    </a:cubicBezTo>
                    <a:cubicBezTo>
                      <a:pt x="114" y="176"/>
                      <a:pt x="113" y="176"/>
                      <a:pt x="112" y="177"/>
                    </a:cubicBezTo>
                    <a:cubicBezTo>
                      <a:pt x="114" y="177"/>
                      <a:pt x="115" y="177"/>
                      <a:pt x="116" y="177"/>
                    </a:cubicBezTo>
                    <a:cubicBezTo>
                      <a:pt x="120" y="177"/>
                      <a:pt x="125" y="172"/>
                      <a:pt x="125" y="172"/>
                    </a:cubicBezTo>
                    <a:cubicBezTo>
                      <a:pt x="132" y="173"/>
                      <a:pt x="132" y="173"/>
                      <a:pt x="132" y="173"/>
                    </a:cubicBezTo>
                    <a:cubicBezTo>
                      <a:pt x="137" y="168"/>
                      <a:pt x="137" y="168"/>
                      <a:pt x="137" y="168"/>
                    </a:cubicBezTo>
                    <a:cubicBezTo>
                      <a:pt x="140" y="170"/>
                      <a:pt x="140" y="170"/>
                      <a:pt x="140" y="170"/>
                    </a:cubicBezTo>
                    <a:cubicBezTo>
                      <a:pt x="146" y="162"/>
                      <a:pt x="146" y="162"/>
                      <a:pt x="146" y="162"/>
                    </a:cubicBezTo>
                    <a:cubicBezTo>
                      <a:pt x="140" y="156"/>
                      <a:pt x="140" y="156"/>
                      <a:pt x="140" y="156"/>
                    </a:cubicBezTo>
                    <a:cubicBezTo>
                      <a:pt x="143" y="150"/>
                      <a:pt x="143" y="150"/>
                      <a:pt x="143" y="150"/>
                    </a:cubicBezTo>
                    <a:cubicBezTo>
                      <a:pt x="139" y="148"/>
                      <a:pt x="139" y="148"/>
                      <a:pt x="139" y="148"/>
                    </a:cubicBezTo>
                    <a:cubicBezTo>
                      <a:pt x="139" y="148"/>
                      <a:pt x="139" y="146"/>
                      <a:pt x="142" y="144"/>
                    </a:cubicBezTo>
                    <a:cubicBezTo>
                      <a:pt x="145" y="141"/>
                      <a:pt x="148" y="143"/>
                      <a:pt x="150" y="142"/>
                    </a:cubicBezTo>
                    <a:cubicBezTo>
                      <a:pt x="151" y="141"/>
                      <a:pt x="152" y="139"/>
                      <a:pt x="152" y="139"/>
                    </a:cubicBezTo>
                    <a:cubicBezTo>
                      <a:pt x="158" y="128"/>
                      <a:pt x="158" y="128"/>
                      <a:pt x="158" y="128"/>
                    </a:cubicBezTo>
                    <a:cubicBezTo>
                      <a:pt x="158" y="128"/>
                      <a:pt x="155" y="121"/>
                      <a:pt x="150" y="119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219" name="Russia" descr="© INSCALE GmbH, 05.05.2010&#10;http://www.presentationload.com/"/>
              <p:cNvSpPr>
                <a:spLocks noChangeAspect="1"/>
              </p:cNvSpPr>
              <p:nvPr/>
            </p:nvSpPr>
            <p:spPr bwMode="auto">
              <a:xfrm>
                <a:off x="5670550" y="3346450"/>
                <a:ext cx="249237" cy="136525"/>
              </a:xfrm>
              <a:custGeom>
                <a:avLst/>
                <a:gdLst/>
                <a:ahLst/>
                <a:cxnLst>
                  <a:cxn ang="0">
                    <a:pos x="73" y="18"/>
                  </a:cxn>
                  <a:cxn ang="0">
                    <a:pos x="75" y="13"/>
                  </a:cxn>
                  <a:cxn ang="0">
                    <a:pos x="67" y="7"/>
                  </a:cxn>
                  <a:cxn ang="0">
                    <a:pos x="60" y="7"/>
                  </a:cxn>
                  <a:cxn ang="0">
                    <a:pos x="53" y="9"/>
                  </a:cxn>
                  <a:cxn ang="0">
                    <a:pos x="53" y="7"/>
                  </a:cxn>
                  <a:cxn ang="0">
                    <a:pos x="46" y="6"/>
                  </a:cxn>
                  <a:cxn ang="0">
                    <a:pos x="41" y="4"/>
                  </a:cxn>
                  <a:cxn ang="0">
                    <a:pos x="37" y="5"/>
                  </a:cxn>
                  <a:cxn ang="0">
                    <a:pos x="34" y="2"/>
                  </a:cxn>
                  <a:cxn ang="0">
                    <a:pos x="33" y="5"/>
                  </a:cxn>
                  <a:cxn ang="0">
                    <a:pos x="30" y="5"/>
                  </a:cxn>
                  <a:cxn ang="0">
                    <a:pos x="34" y="16"/>
                  </a:cxn>
                  <a:cxn ang="0">
                    <a:pos x="29" y="19"/>
                  </a:cxn>
                  <a:cxn ang="0">
                    <a:pos x="24" y="19"/>
                  </a:cxn>
                  <a:cxn ang="0">
                    <a:pos x="21" y="18"/>
                  </a:cxn>
                  <a:cxn ang="0">
                    <a:pos x="16" y="19"/>
                  </a:cxn>
                  <a:cxn ang="0">
                    <a:pos x="24" y="7"/>
                  </a:cxn>
                  <a:cxn ang="0">
                    <a:pos x="24" y="5"/>
                  </a:cxn>
                  <a:cxn ang="0">
                    <a:pos x="27" y="1"/>
                  </a:cxn>
                  <a:cxn ang="0">
                    <a:pos x="26" y="0"/>
                  </a:cxn>
                  <a:cxn ang="0">
                    <a:pos x="24" y="1"/>
                  </a:cxn>
                  <a:cxn ang="0">
                    <a:pos x="21" y="7"/>
                  </a:cxn>
                  <a:cxn ang="0">
                    <a:pos x="15" y="16"/>
                  </a:cxn>
                  <a:cxn ang="0">
                    <a:pos x="13" y="18"/>
                  </a:cxn>
                  <a:cxn ang="0">
                    <a:pos x="1" y="20"/>
                  </a:cxn>
                  <a:cxn ang="0">
                    <a:pos x="0" y="24"/>
                  </a:cxn>
                  <a:cxn ang="0">
                    <a:pos x="2" y="26"/>
                  </a:cxn>
                  <a:cxn ang="0">
                    <a:pos x="0" y="34"/>
                  </a:cxn>
                  <a:cxn ang="0">
                    <a:pos x="2" y="34"/>
                  </a:cxn>
                  <a:cxn ang="0">
                    <a:pos x="2" y="32"/>
                  </a:cxn>
                  <a:cxn ang="0">
                    <a:pos x="4" y="31"/>
                  </a:cxn>
                  <a:cxn ang="0">
                    <a:pos x="5" y="33"/>
                  </a:cxn>
                  <a:cxn ang="0">
                    <a:pos x="8" y="30"/>
                  </a:cxn>
                  <a:cxn ang="0">
                    <a:pos x="14" y="31"/>
                  </a:cxn>
                  <a:cxn ang="0">
                    <a:pos x="10" y="32"/>
                  </a:cxn>
                  <a:cxn ang="0">
                    <a:pos x="10" y="34"/>
                  </a:cxn>
                  <a:cxn ang="0">
                    <a:pos x="5" y="37"/>
                  </a:cxn>
                  <a:cxn ang="0">
                    <a:pos x="4" y="36"/>
                  </a:cxn>
                  <a:cxn ang="0">
                    <a:pos x="2" y="42"/>
                  </a:cxn>
                  <a:cxn ang="0">
                    <a:pos x="39" y="42"/>
                  </a:cxn>
                  <a:cxn ang="0">
                    <a:pos x="75" y="36"/>
                  </a:cxn>
                  <a:cxn ang="0">
                    <a:pos x="72" y="25"/>
                  </a:cxn>
                  <a:cxn ang="0">
                    <a:pos x="73" y="18"/>
                  </a:cxn>
                </a:cxnLst>
                <a:rect l="0" t="0" r="r" b="b"/>
                <a:pathLst>
                  <a:path w="78" h="43">
                    <a:moveTo>
                      <a:pt x="73" y="18"/>
                    </a:moveTo>
                    <a:cubicBezTo>
                      <a:pt x="73" y="18"/>
                      <a:pt x="78" y="15"/>
                      <a:pt x="75" y="13"/>
                    </a:cubicBezTo>
                    <a:cubicBezTo>
                      <a:pt x="73" y="11"/>
                      <a:pt x="67" y="7"/>
                      <a:pt x="67" y="7"/>
                    </a:cubicBezTo>
                    <a:cubicBezTo>
                      <a:pt x="60" y="7"/>
                      <a:pt x="60" y="7"/>
                      <a:pt x="60" y="7"/>
                    </a:cubicBezTo>
                    <a:cubicBezTo>
                      <a:pt x="53" y="9"/>
                      <a:pt x="53" y="9"/>
                      <a:pt x="53" y="9"/>
                    </a:cubicBezTo>
                    <a:cubicBezTo>
                      <a:pt x="53" y="7"/>
                      <a:pt x="53" y="7"/>
                      <a:pt x="53" y="7"/>
                    </a:cubicBezTo>
                    <a:cubicBezTo>
                      <a:pt x="53" y="7"/>
                      <a:pt x="49" y="8"/>
                      <a:pt x="46" y="6"/>
                    </a:cubicBezTo>
                    <a:cubicBezTo>
                      <a:pt x="43" y="5"/>
                      <a:pt x="41" y="4"/>
                      <a:pt x="41" y="4"/>
                    </a:cubicBezTo>
                    <a:cubicBezTo>
                      <a:pt x="37" y="5"/>
                      <a:pt x="37" y="5"/>
                      <a:pt x="37" y="5"/>
                    </a:cubicBezTo>
                    <a:cubicBezTo>
                      <a:pt x="34" y="2"/>
                      <a:pt x="34" y="2"/>
                      <a:pt x="34" y="2"/>
                    </a:cubicBezTo>
                    <a:cubicBezTo>
                      <a:pt x="33" y="5"/>
                      <a:pt x="33" y="5"/>
                      <a:pt x="33" y="5"/>
                    </a:cubicBezTo>
                    <a:cubicBezTo>
                      <a:pt x="30" y="5"/>
                      <a:pt x="30" y="5"/>
                      <a:pt x="30" y="5"/>
                    </a:cubicBezTo>
                    <a:cubicBezTo>
                      <a:pt x="34" y="16"/>
                      <a:pt x="34" y="16"/>
                      <a:pt x="34" y="16"/>
                    </a:cubicBezTo>
                    <a:cubicBezTo>
                      <a:pt x="29" y="19"/>
                      <a:pt x="29" y="19"/>
                      <a:pt x="29" y="19"/>
                    </a:cubicBezTo>
                    <a:cubicBezTo>
                      <a:pt x="24" y="19"/>
                      <a:pt x="24" y="19"/>
                      <a:pt x="24" y="19"/>
                    </a:cubicBezTo>
                    <a:cubicBezTo>
                      <a:pt x="24" y="19"/>
                      <a:pt x="22" y="18"/>
                      <a:pt x="21" y="18"/>
                    </a:cubicBezTo>
                    <a:cubicBezTo>
                      <a:pt x="20" y="18"/>
                      <a:pt x="16" y="19"/>
                      <a:pt x="16" y="19"/>
                    </a:cubicBezTo>
                    <a:cubicBezTo>
                      <a:pt x="24" y="7"/>
                      <a:pt x="24" y="7"/>
                      <a:pt x="24" y="7"/>
                    </a:cubicBezTo>
                    <a:cubicBezTo>
                      <a:pt x="24" y="5"/>
                      <a:pt x="24" y="5"/>
                      <a:pt x="24" y="5"/>
                    </a:cubicBezTo>
                    <a:cubicBezTo>
                      <a:pt x="27" y="1"/>
                      <a:pt x="27" y="1"/>
                      <a:pt x="27" y="1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21" y="7"/>
                      <a:pt x="21" y="7"/>
                      <a:pt x="21" y="7"/>
                    </a:cubicBezTo>
                    <a:cubicBezTo>
                      <a:pt x="15" y="16"/>
                      <a:pt x="15" y="16"/>
                      <a:pt x="15" y="16"/>
                    </a:cubicBezTo>
                    <a:cubicBezTo>
                      <a:pt x="13" y="18"/>
                      <a:pt x="13" y="18"/>
                      <a:pt x="13" y="18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2" y="26"/>
                      <a:pt x="2" y="26"/>
                      <a:pt x="2" y="26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2" y="34"/>
                      <a:pt x="2" y="34"/>
                      <a:pt x="2" y="34"/>
                    </a:cubicBezTo>
                    <a:cubicBezTo>
                      <a:pt x="2" y="32"/>
                      <a:pt x="2" y="32"/>
                      <a:pt x="2" y="32"/>
                    </a:cubicBezTo>
                    <a:cubicBezTo>
                      <a:pt x="4" y="31"/>
                      <a:pt x="4" y="31"/>
                      <a:pt x="4" y="31"/>
                    </a:cubicBezTo>
                    <a:cubicBezTo>
                      <a:pt x="5" y="33"/>
                      <a:pt x="5" y="33"/>
                      <a:pt x="5" y="33"/>
                    </a:cubicBezTo>
                    <a:cubicBezTo>
                      <a:pt x="8" y="30"/>
                      <a:pt x="8" y="30"/>
                      <a:pt x="8" y="30"/>
                    </a:cubicBezTo>
                    <a:cubicBezTo>
                      <a:pt x="14" y="31"/>
                      <a:pt x="14" y="31"/>
                      <a:pt x="14" y="31"/>
                    </a:cubicBezTo>
                    <a:cubicBezTo>
                      <a:pt x="10" y="32"/>
                      <a:pt x="10" y="32"/>
                      <a:pt x="10" y="32"/>
                    </a:cubicBezTo>
                    <a:cubicBezTo>
                      <a:pt x="10" y="34"/>
                      <a:pt x="10" y="34"/>
                      <a:pt x="10" y="34"/>
                    </a:cubicBezTo>
                    <a:cubicBezTo>
                      <a:pt x="5" y="37"/>
                      <a:pt x="5" y="37"/>
                      <a:pt x="5" y="37"/>
                    </a:cubicBezTo>
                    <a:cubicBezTo>
                      <a:pt x="4" y="36"/>
                      <a:pt x="4" y="36"/>
                      <a:pt x="4" y="36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7" y="42"/>
                      <a:pt x="30" y="43"/>
                      <a:pt x="39" y="42"/>
                    </a:cubicBezTo>
                    <a:cubicBezTo>
                      <a:pt x="49" y="42"/>
                      <a:pt x="75" y="36"/>
                      <a:pt x="75" y="36"/>
                    </a:cubicBezTo>
                    <a:cubicBezTo>
                      <a:pt x="75" y="36"/>
                      <a:pt x="71" y="31"/>
                      <a:pt x="72" y="25"/>
                    </a:cubicBezTo>
                    <a:cubicBezTo>
                      <a:pt x="72" y="21"/>
                      <a:pt x="73" y="18"/>
                      <a:pt x="73" y="18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220" name="Romania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5838825" y="4219575"/>
                <a:ext cx="955675" cy="679450"/>
              </a:xfrm>
              <a:custGeom>
                <a:avLst/>
                <a:gdLst/>
                <a:ahLst/>
                <a:cxnLst>
                  <a:cxn ang="0">
                    <a:pos x="428" y="156"/>
                  </a:cxn>
                  <a:cxn ang="0">
                    <a:pos x="402" y="170"/>
                  </a:cxn>
                  <a:cxn ang="0">
                    <a:pos x="387" y="175"/>
                  </a:cxn>
                  <a:cxn ang="0">
                    <a:pos x="365" y="162"/>
                  </a:cxn>
                  <a:cxn ang="0">
                    <a:pos x="361" y="136"/>
                  </a:cxn>
                  <a:cxn ang="0">
                    <a:pos x="361" y="116"/>
                  </a:cxn>
                  <a:cxn ang="0">
                    <a:pos x="350" y="83"/>
                  </a:cxn>
                  <a:cxn ang="0">
                    <a:pos x="332" y="65"/>
                  </a:cxn>
                  <a:cxn ang="0">
                    <a:pos x="291" y="18"/>
                  </a:cxn>
                  <a:cxn ang="0">
                    <a:pos x="247" y="24"/>
                  </a:cxn>
                  <a:cxn ang="0">
                    <a:pos x="202" y="51"/>
                  </a:cxn>
                  <a:cxn ang="0">
                    <a:pos x="164" y="44"/>
                  </a:cxn>
                  <a:cxn ang="0">
                    <a:pos x="115" y="37"/>
                  </a:cxn>
                  <a:cxn ang="0">
                    <a:pos x="107" y="47"/>
                  </a:cxn>
                  <a:cxn ang="0">
                    <a:pos x="93" y="67"/>
                  </a:cxn>
                  <a:cxn ang="0">
                    <a:pos x="81" y="70"/>
                  </a:cxn>
                  <a:cxn ang="0">
                    <a:pos x="71" y="94"/>
                  </a:cxn>
                  <a:cxn ang="0">
                    <a:pos x="65" y="108"/>
                  </a:cxn>
                  <a:cxn ang="0">
                    <a:pos x="59" y="125"/>
                  </a:cxn>
                  <a:cxn ang="0">
                    <a:pos x="55" y="140"/>
                  </a:cxn>
                  <a:cxn ang="0">
                    <a:pos x="45" y="148"/>
                  </a:cxn>
                  <a:cxn ang="0">
                    <a:pos x="43" y="164"/>
                  </a:cxn>
                  <a:cxn ang="0">
                    <a:pos x="27" y="174"/>
                  </a:cxn>
                  <a:cxn ang="0">
                    <a:pos x="12" y="181"/>
                  </a:cxn>
                  <a:cxn ang="0">
                    <a:pos x="0" y="184"/>
                  </a:cxn>
                  <a:cxn ang="0">
                    <a:pos x="12" y="194"/>
                  </a:cxn>
                  <a:cxn ang="0">
                    <a:pos x="17" y="197"/>
                  </a:cxn>
                  <a:cxn ang="0">
                    <a:pos x="31" y="205"/>
                  </a:cxn>
                  <a:cxn ang="0">
                    <a:pos x="33" y="219"/>
                  </a:cxn>
                  <a:cxn ang="0">
                    <a:pos x="45" y="235"/>
                  </a:cxn>
                  <a:cxn ang="0">
                    <a:pos x="55" y="237"/>
                  </a:cxn>
                  <a:cxn ang="0">
                    <a:pos x="63" y="254"/>
                  </a:cxn>
                  <a:cxn ang="0">
                    <a:pos x="71" y="260"/>
                  </a:cxn>
                  <a:cxn ang="0">
                    <a:pos x="75" y="266"/>
                  </a:cxn>
                  <a:cxn ang="0">
                    <a:pos x="95" y="271"/>
                  </a:cxn>
                  <a:cxn ang="0">
                    <a:pos x="115" y="263"/>
                  </a:cxn>
                  <a:cxn ang="0">
                    <a:pos x="129" y="274"/>
                  </a:cxn>
                  <a:cxn ang="0">
                    <a:pos x="123" y="278"/>
                  </a:cxn>
                  <a:cxn ang="0">
                    <a:pos x="123" y="290"/>
                  </a:cxn>
                  <a:cxn ang="0">
                    <a:pos x="129" y="294"/>
                  </a:cxn>
                  <a:cxn ang="0">
                    <a:pos x="148" y="302"/>
                  </a:cxn>
                  <a:cxn ang="0">
                    <a:pos x="151" y="318"/>
                  </a:cxn>
                  <a:cxn ang="0">
                    <a:pos x="179" y="314"/>
                  </a:cxn>
                  <a:cxn ang="0">
                    <a:pos x="206" y="318"/>
                  </a:cxn>
                  <a:cxn ang="0">
                    <a:pos x="229" y="310"/>
                  </a:cxn>
                  <a:cxn ang="0">
                    <a:pos x="250" y="310"/>
                  </a:cxn>
                  <a:cxn ang="0">
                    <a:pos x="271" y="309"/>
                  </a:cxn>
                  <a:cxn ang="0">
                    <a:pos x="308" y="275"/>
                  </a:cxn>
                  <a:cxn ang="0">
                    <a:pos x="355" y="268"/>
                  </a:cxn>
                  <a:cxn ang="0">
                    <a:pos x="372" y="268"/>
                  </a:cxn>
                  <a:cxn ang="0">
                    <a:pos x="385" y="272"/>
                  </a:cxn>
                  <a:cxn ang="0">
                    <a:pos x="413" y="273"/>
                  </a:cxn>
                  <a:cxn ang="0">
                    <a:pos x="408" y="239"/>
                  </a:cxn>
                  <a:cxn ang="0">
                    <a:pos x="411" y="221"/>
                  </a:cxn>
                  <a:cxn ang="0">
                    <a:pos x="407" y="207"/>
                  </a:cxn>
                  <a:cxn ang="0">
                    <a:pos x="413" y="191"/>
                  </a:cxn>
                  <a:cxn ang="0">
                    <a:pos x="420" y="193"/>
                  </a:cxn>
                  <a:cxn ang="0">
                    <a:pos x="424" y="195"/>
                  </a:cxn>
                  <a:cxn ang="0">
                    <a:pos x="419" y="204"/>
                  </a:cxn>
                  <a:cxn ang="0">
                    <a:pos x="431" y="199"/>
                  </a:cxn>
                  <a:cxn ang="0">
                    <a:pos x="443" y="167"/>
                  </a:cxn>
                  <a:cxn ang="0">
                    <a:pos x="418" y="212"/>
                  </a:cxn>
                  <a:cxn ang="0">
                    <a:pos x="418" y="207"/>
                  </a:cxn>
                </a:cxnLst>
                <a:rect l="0" t="0" r="r" b="b"/>
                <a:pathLst>
                  <a:path w="448" h="319">
                    <a:moveTo>
                      <a:pt x="443" y="167"/>
                    </a:moveTo>
                    <a:cubicBezTo>
                      <a:pt x="443" y="167"/>
                      <a:pt x="439" y="158"/>
                      <a:pt x="428" y="156"/>
                    </a:cubicBezTo>
                    <a:cubicBezTo>
                      <a:pt x="419" y="155"/>
                      <a:pt x="407" y="170"/>
                      <a:pt x="407" y="170"/>
                    </a:cubicBezTo>
                    <a:cubicBezTo>
                      <a:pt x="402" y="170"/>
                      <a:pt x="402" y="170"/>
                      <a:pt x="402" y="170"/>
                    </a:cubicBezTo>
                    <a:cubicBezTo>
                      <a:pt x="402" y="177"/>
                      <a:pt x="402" y="177"/>
                      <a:pt x="402" y="177"/>
                    </a:cubicBezTo>
                    <a:cubicBezTo>
                      <a:pt x="402" y="177"/>
                      <a:pt x="399" y="178"/>
                      <a:pt x="387" y="175"/>
                    </a:cubicBezTo>
                    <a:cubicBezTo>
                      <a:pt x="376" y="173"/>
                      <a:pt x="377" y="167"/>
                      <a:pt x="377" y="167"/>
                    </a:cubicBezTo>
                    <a:cubicBezTo>
                      <a:pt x="365" y="162"/>
                      <a:pt x="365" y="162"/>
                      <a:pt x="365" y="162"/>
                    </a:cubicBezTo>
                    <a:cubicBezTo>
                      <a:pt x="368" y="156"/>
                      <a:pt x="368" y="156"/>
                      <a:pt x="368" y="156"/>
                    </a:cubicBezTo>
                    <a:cubicBezTo>
                      <a:pt x="361" y="136"/>
                      <a:pt x="361" y="136"/>
                      <a:pt x="361" y="136"/>
                    </a:cubicBezTo>
                    <a:cubicBezTo>
                      <a:pt x="357" y="119"/>
                      <a:pt x="357" y="119"/>
                      <a:pt x="357" y="119"/>
                    </a:cubicBezTo>
                    <a:cubicBezTo>
                      <a:pt x="361" y="116"/>
                      <a:pt x="361" y="116"/>
                      <a:pt x="361" y="116"/>
                    </a:cubicBezTo>
                    <a:cubicBezTo>
                      <a:pt x="361" y="116"/>
                      <a:pt x="361" y="102"/>
                      <a:pt x="360" y="94"/>
                    </a:cubicBezTo>
                    <a:cubicBezTo>
                      <a:pt x="358" y="85"/>
                      <a:pt x="350" y="83"/>
                      <a:pt x="350" y="83"/>
                    </a:cubicBezTo>
                    <a:cubicBezTo>
                      <a:pt x="350" y="83"/>
                      <a:pt x="349" y="76"/>
                      <a:pt x="346" y="71"/>
                    </a:cubicBezTo>
                    <a:cubicBezTo>
                      <a:pt x="345" y="67"/>
                      <a:pt x="332" y="65"/>
                      <a:pt x="332" y="65"/>
                    </a:cubicBezTo>
                    <a:cubicBezTo>
                      <a:pt x="332" y="65"/>
                      <a:pt x="316" y="46"/>
                      <a:pt x="310" y="40"/>
                    </a:cubicBezTo>
                    <a:cubicBezTo>
                      <a:pt x="304" y="36"/>
                      <a:pt x="299" y="33"/>
                      <a:pt x="291" y="18"/>
                    </a:cubicBezTo>
                    <a:cubicBezTo>
                      <a:pt x="285" y="4"/>
                      <a:pt x="270" y="2"/>
                      <a:pt x="270" y="2"/>
                    </a:cubicBezTo>
                    <a:cubicBezTo>
                      <a:pt x="252" y="0"/>
                      <a:pt x="247" y="24"/>
                      <a:pt x="247" y="24"/>
                    </a:cubicBezTo>
                    <a:cubicBezTo>
                      <a:pt x="247" y="24"/>
                      <a:pt x="230" y="33"/>
                      <a:pt x="215" y="37"/>
                    </a:cubicBezTo>
                    <a:cubicBezTo>
                      <a:pt x="199" y="41"/>
                      <a:pt x="211" y="48"/>
                      <a:pt x="202" y="51"/>
                    </a:cubicBezTo>
                    <a:cubicBezTo>
                      <a:pt x="192" y="53"/>
                      <a:pt x="182" y="40"/>
                      <a:pt x="178" y="39"/>
                    </a:cubicBezTo>
                    <a:cubicBezTo>
                      <a:pt x="173" y="37"/>
                      <a:pt x="164" y="44"/>
                      <a:pt x="164" y="44"/>
                    </a:cubicBezTo>
                    <a:cubicBezTo>
                      <a:pt x="164" y="44"/>
                      <a:pt x="141" y="45"/>
                      <a:pt x="129" y="46"/>
                    </a:cubicBezTo>
                    <a:cubicBezTo>
                      <a:pt x="116" y="47"/>
                      <a:pt x="122" y="37"/>
                      <a:pt x="115" y="37"/>
                    </a:cubicBezTo>
                    <a:cubicBezTo>
                      <a:pt x="110" y="37"/>
                      <a:pt x="111" y="48"/>
                      <a:pt x="111" y="48"/>
                    </a:cubicBezTo>
                    <a:cubicBezTo>
                      <a:pt x="107" y="47"/>
                      <a:pt x="107" y="47"/>
                      <a:pt x="107" y="47"/>
                    </a:cubicBezTo>
                    <a:cubicBezTo>
                      <a:pt x="105" y="52"/>
                      <a:pt x="105" y="52"/>
                      <a:pt x="105" y="52"/>
                    </a:cubicBezTo>
                    <a:cubicBezTo>
                      <a:pt x="93" y="67"/>
                      <a:pt x="93" y="67"/>
                      <a:pt x="93" y="67"/>
                    </a:cubicBezTo>
                    <a:cubicBezTo>
                      <a:pt x="84" y="67"/>
                      <a:pt x="84" y="67"/>
                      <a:pt x="84" y="67"/>
                    </a:cubicBezTo>
                    <a:cubicBezTo>
                      <a:pt x="81" y="70"/>
                      <a:pt x="81" y="70"/>
                      <a:pt x="81" y="70"/>
                    </a:cubicBezTo>
                    <a:cubicBezTo>
                      <a:pt x="70" y="87"/>
                      <a:pt x="70" y="87"/>
                      <a:pt x="70" y="87"/>
                    </a:cubicBezTo>
                    <a:cubicBezTo>
                      <a:pt x="71" y="94"/>
                      <a:pt x="71" y="94"/>
                      <a:pt x="71" y="94"/>
                    </a:cubicBezTo>
                    <a:cubicBezTo>
                      <a:pt x="67" y="97"/>
                      <a:pt x="67" y="97"/>
                      <a:pt x="67" y="97"/>
                    </a:cubicBezTo>
                    <a:cubicBezTo>
                      <a:pt x="65" y="108"/>
                      <a:pt x="65" y="108"/>
                      <a:pt x="65" y="108"/>
                    </a:cubicBezTo>
                    <a:cubicBezTo>
                      <a:pt x="58" y="119"/>
                      <a:pt x="58" y="119"/>
                      <a:pt x="58" y="119"/>
                    </a:cubicBezTo>
                    <a:cubicBezTo>
                      <a:pt x="59" y="125"/>
                      <a:pt x="59" y="125"/>
                      <a:pt x="59" y="125"/>
                    </a:cubicBezTo>
                    <a:cubicBezTo>
                      <a:pt x="53" y="135"/>
                      <a:pt x="53" y="135"/>
                      <a:pt x="53" y="135"/>
                    </a:cubicBezTo>
                    <a:cubicBezTo>
                      <a:pt x="55" y="140"/>
                      <a:pt x="55" y="140"/>
                      <a:pt x="55" y="140"/>
                    </a:cubicBezTo>
                    <a:cubicBezTo>
                      <a:pt x="49" y="148"/>
                      <a:pt x="49" y="148"/>
                      <a:pt x="49" y="148"/>
                    </a:cubicBezTo>
                    <a:cubicBezTo>
                      <a:pt x="45" y="148"/>
                      <a:pt x="45" y="148"/>
                      <a:pt x="45" y="148"/>
                    </a:cubicBezTo>
                    <a:cubicBezTo>
                      <a:pt x="47" y="161"/>
                      <a:pt x="47" y="161"/>
                      <a:pt x="47" y="161"/>
                    </a:cubicBezTo>
                    <a:cubicBezTo>
                      <a:pt x="43" y="164"/>
                      <a:pt x="43" y="164"/>
                      <a:pt x="43" y="164"/>
                    </a:cubicBezTo>
                    <a:cubicBezTo>
                      <a:pt x="43" y="164"/>
                      <a:pt x="45" y="170"/>
                      <a:pt x="42" y="173"/>
                    </a:cubicBezTo>
                    <a:cubicBezTo>
                      <a:pt x="39" y="177"/>
                      <a:pt x="33" y="173"/>
                      <a:pt x="27" y="174"/>
                    </a:cubicBezTo>
                    <a:cubicBezTo>
                      <a:pt x="22" y="175"/>
                      <a:pt x="24" y="182"/>
                      <a:pt x="21" y="183"/>
                    </a:cubicBezTo>
                    <a:cubicBezTo>
                      <a:pt x="17" y="184"/>
                      <a:pt x="12" y="181"/>
                      <a:pt x="12" y="181"/>
                    </a:cubicBezTo>
                    <a:cubicBezTo>
                      <a:pt x="10" y="184"/>
                      <a:pt x="10" y="184"/>
                      <a:pt x="10" y="184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7" y="195"/>
                      <a:pt x="7" y="195"/>
                      <a:pt x="7" y="195"/>
                    </a:cubicBezTo>
                    <a:cubicBezTo>
                      <a:pt x="12" y="194"/>
                      <a:pt x="12" y="194"/>
                      <a:pt x="12" y="194"/>
                    </a:cubicBezTo>
                    <a:cubicBezTo>
                      <a:pt x="15" y="197"/>
                      <a:pt x="15" y="197"/>
                      <a:pt x="15" y="197"/>
                    </a:cubicBezTo>
                    <a:cubicBezTo>
                      <a:pt x="17" y="197"/>
                      <a:pt x="17" y="197"/>
                      <a:pt x="17" y="197"/>
                    </a:cubicBezTo>
                    <a:cubicBezTo>
                      <a:pt x="17" y="197"/>
                      <a:pt x="18" y="208"/>
                      <a:pt x="22" y="208"/>
                    </a:cubicBezTo>
                    <a:cubicBezTo>
                      <a:pt x="25" y="208"/>
                      <a:pt x="31" y="205"/>
                      <a:pt x="31" y="205"/>
                    </a:cubicBezTo>
                    <a:cubicBezTo>
                      <a:pt x="28" y="216"/>
                      <a:pt x="28" y="216"/>
                      <a:pt x="28" y="216"/>
                    </a:cubicBezTo>
                    <a:cubicBezTo>
                      <a:pt x="33" y="219"/>
                      <a:pt x="33" y="219"/>
                      <a:pt x="33" y="219"/>
                    </a:cubicBezTo>
                    <a:cubicBezTo>
                      <a:pt x="30" y="224"/>
                      <a:pt x="30" y="224"/>
                      <a:pt x="30" y="224"/>
                    </a:cubicBezTo>
                    <a:cubicBezTo>
                      <a:pt x="45" y="235"/>
                      <a:pt x="45" y="235"/>
                      <a:pt x="45" y="235"/>
                    </a:cubicBezTo>
                    <a:cubicBezTo>
                      <a:pt x="50" y="233"/>
                      <a:pt x="50" y="233"/>
                      <a:pt x="50" y="233"/>
                    </a:cubicBezTo>
                    <a:cubicBezTo>
                      <a:pt x="55" y="237"/>
                      <a:pt x="55" y="237"/>
                      <a:pt x="55" y="237"/>
                    </a:cubicBezTo>
                    <a:cubicBezTo>
                      <a:pt x="55" y="237"/>
                      <a:pt x="67" y="231"/>
                      <a:pt x="68" y="239"/>
                    </a:cubicBezTo>
                    <a:cubicBezTo>
                      <a:pt x="68" y="247"/>
                      <a:pt x="63" y="254"/>
                      <a:pt x="63" y="254"/>
                    </a:cubicBezTo>
                    <a:cubicBezTo>
                      <a:pt x="72" y="256"/>
                      <a:pt x="72" y="256"/>
                      <a:pt x="72" y="256"/>
                    </a:cubicBezTo>
                    <a:cubicBezTo>
                      <a:pt x="71" y="260"/>
                      <a:pt x="71" y="260"/>
                      <a:pt x="71" y="260"/>
                    </a:cubicBezTo>
                    <a:cubicBezTo>
                      <a:pt x="63" y="263"/>
                      <a:pt x="63" y="263"/>
                      <a:pt x="63" y="263"/>
                    </a:cubicBezTo>
                    <a:cubicBezTo>
                      <a:pt x="63" y="263"/>
                      <a:pt x="72" y="265"/>
                      <a:pt x="75" y="266"/>
                    </a:cubicBezTo>
                    <a:cubicBezTo>
                      <a:pt x="77" y="267"/>
                      <a:pt x="79" y="272"/>
                      <a:pt x="83" y="273"/>
                    </a:cubicBezTo>
                    <a:cubicBezTo>
                      <a:pt x="88" y="275"/>
                      <a:pt x="92" y="268"/>
                      <a:pt x="95" y="271"/>
                    </a:cubicBezTo>
                    <a:cubicBezTo>
                      <a:pt x="99" y="273"/>
                      <a:pt x="99" y="282"/>
                      <a:pt x="103" y="281"/>
                    </a:cubicBezTo>
                    <a:cubicBezTo>
                      <a:pt x="107" y="281"/>
                      <a:pt x="108" y="263"/>
                      <a:pt x="115" y="263"/>
                    </a:cubicBezTo>
                    <a:cubicBezTo>
                      <a:pt x="124" y="265"/>
                      <a:pt x="130" y="270"/>
                      <a:pt x="130" y="270"/>
                    </a:cubicBezTo>
                    <a:cubicBezTo>
                      <a:pt x="129" y="274"/>
                      <a:pt x="129" y="274"/>
                      <a:pt x="129" y="274"/>
                    </a:cubicBezTo>
                    <a:cubicBezTo>
                      <a:pt x="125" y="272"/>
                      <a:pt x="125" y="272"/>
                      <a:pt x="125" y="272"/>
                    </a:cubicBezTo>
                    <a:cubicBezTo>
                      <a:pt x="123" y="278"/>
                      <a:pt x="123" y="278"/>
                      <a:pt x="123" y="278"/>
                    </a:cubicBezTo>
                    <a:cubicBezTo>
                      <a:pt x="120" y="278"/>
                      <a:pt x="120" y="278"/>
                      <a:pt x="120" y="278"/>
                    </a:cubicBezTo>
                    <a:cubicBezTo>
                      <a:pt x="123" y="290"/>
                      <a:pt x="123" y="290"/>
                      <a:pt x="123" y="290"/>
                    </a:cubicBezTo>
                    <a:cubicBezTo>
                      <a:pt x="123" y="290"/>
                      <a:pt x="129" y="286"/>
                      <a:pt x="130" y="290"/>
                    </a:cubicBezTo>
                    <a:cubicBezTo>
                      <a:pt x="131" y="291"/>
                      <a:pt x="130" y="293"/>
                      <a:pt x="129" y="294"/>
                    </a:cubicBezTo>
                    <a:cubicBezTo>
                      <a:pt x="133" y="296"/>
                      <a:pt x="139" y="299"/>
                      <a:pt x="141" y="299"/>
                    </a:cubicBezTo>
                    <a:cubicBezTo>
                      <a:pt x="145" y="300"/>
                      <a:pt x="148" y="298"/>
                      <a:pt x="148" y="302"/>
                    </a:cubicBezTo>
                    <a:cubicBezTo>
                      <a:pt x="149" y="307"/>
                      <a:pt x="142" y="306"/>
                      <a:pt x="141" y="312"/>
                    </a:cubicBezTo>
                    <a:cubicBezTo>
                      <a:pt x="141" y="317"/>
                      <a:pt x="145" y="318"/>
                      <a:pt x="151" y="318"/>
                    </a:cubicBezTo>
                    <a:cubicBezTo>
                      <a:pt x="156" y="319"/>
                      <a:pt x="166" y="310"/>
                      <a:pt x="170" y="310"/>
                    </a:cubicBezTo>
                    <a:cubicBezTo>
                      <a:pt x="173" y="310"/>
                      <a:pt x="179" y="314"/>
                      <a:pt x="179" y="314"/>
                    </a:cubicBezTo>
                    <a:cubicBezTo>
                      <a:pt x="187" y="314"/>
                      <a:pt x="187" y="314"/>
                      <a:pt x="187" y="314"/>
                    </a:cubicBezTo>
                    <a:cubicBezTo>
                      <a:pt x="187" y="314"/>
                      <a:pt x="196" y="319"/>
                      <a:pt x="206" y="318"/>
                    </a:cubicBezTo>
                    <a:cubicBezTo>
                      <a:pt x="217" y="317"/>
                      <a:pt x="218" y="312"/>
                      <a:pt x="221" y="309"/>
                    </a:cubicBezTo>
                    <a:cubicBezTo>
                      <a:pt x="225" y="308"/>
                      <a:pt x="226" y="310"/>
                      <a:pt x="229" y="310"/>
                    </a:cubicBezTo>
                    <a:cubicBezTo>
                      <a:pt x="234" y="312"/>
                      <a:pt x="243" y="307"/>
                      <a:pt x="243" y="307"/>
                    </a:cubicBezTo>
                    <a:cubicBezTo>
                      <a:pt x="250" y="310"/>
                      <a:pt x="250" y="310"/>
                      <a:pt x="250" y="310"/>
                    </a:cubicBezTo>
                    <a:cubicBezTo>
                      <a:pt x="256" y="307"/>
                      <a:pt x="256" y="307"/>
                      <a:pt x="256" y="307"/>
                    </a:cubicBezTo>
                    <a:cubicBezTo>
                      <a:pt x="256" y="307"/>
                      <a:pt x="258" y="312"/>
                      <a:pt x="271" y="309"/>
                    </a:cubicBezTo>
                    <a:cubicBezTo>
                      <a:pt x="283" y="306"/>
                      <a:pt x="286" y="298"/>
                      <a:pt x="290" y="292"/>
                    </a:cubicBezTo>
                    <a:cubicBezTo>
                      <a:pt x="294" y="286"/>
                      <a:pt x="302" y="276"/>
                      <a:pt x="308" y="275"/>
                    </a:cubicBezTo>
                    <a:cubicBezTo>
                      <a:pt x="313" y="274"/>
                      <a:pt x="328" y="265"/>
                      <a:pt x="337" y="262"/>
                    </a:cubicBezTo>
                    <a:cubicBezTo>
                      <a:pt x="345" y="259"/>
                      <a:pt x="351" y="267"/>
                      <a:pt x="355" y="268"/>
                    </a:cubicBezTo>
                    <a:cubicBezTo>
                      <a:pt x="359" y="269"/>
                      <a:pt x="365" y="262"/>
                      <a:pt x="367" y="262"/>
                    </a:cubicBezTo>
                    <a:cubicBezTo>
                      <a:pt x="369" y="262"/>
                      <a:pt x="369" y="267"/>
                      <a:pt x="372" y="268"/>
                    </a:cubicBezTo>
                    <a:cubicBezTo>
                      <a:pt x="375" y="269"/>
                      <a:pt x="381" y="262"/>
                      <a:pt x="381" y="262"/>
                    </a:cubicBezTo>
                    <a:cubicBezTo>
                      <a:pt x="385" y="272"/>
                      <a:pt x="385" y="272"/>
                      <a:pt x="385" y="272"/>
                    </a:cubicBezTo>
                    <a:cubicBezTo>
                      <a:pt x="385" y="272"/>
                      <a:pt x="393" y="274"/>
                      <a:pt x="397" y="274"/>
                    </a:cubicBezTo>
                    <a:cubicBezTo>
                      <a:pt x="401" y="275"/>
                      <a:pt x="413" y="273"/>
                      <a:pt x="413" y="273"/>
                    </a:cubicBezTo>
                    <a:cubicBezTo>
                      <a:pt x="413" y="273"/>
                      <a:pt x="415" y="265"/>
                      <a:pt x="414" y="257"/>
                    </a:cubicBezTo>
                    <a:cubicBezTo>
                      <a:pt x="414" y="249"/>
                      <a:pt x="408" y="239"/>
                      <a:pt x="408" y="239"/>
                    </a:cubicBezTo>
                    <a:cubicBezTo>
                      <a:pt x="419" y="214"/>
                      <a:pt x="419" y="214"/>
                      <a:pt x="419" y="214"/>
                    </a:cubicBezTo>
                    <a:cubicBezTo>
                      <a:pt x="411" y="221"/>
                      <a:pt x="411" y="221"/>
                      <a:pt x="411" y="221"/>
                    </a:cubicBezTo>
                    <a:cubicBezTo>
                      <a:pt x="411" y="209"/>
                      <a:pt x="411" y="209"/>
                      <a:pt x="411" y="209"/>
                    </a:cubicBezTo>
                    <a:cubicBezTo>
                      <a:pt x="407" y="207"/>
                      <a:pt x="407" y="207"/>
                      <a:pt x="407" y="207"/>
                    </a:cubicBezTo>
                    <a:cubicBezTo>
                      <a:pt x="415" y="203"/>
                      <a:pt x="415" y="203"/>
                      <a:pt x="415" y="203"/>
                    </a:cubicBezTo>
                    <a:cubicBezTo>
                      <a:pt x="415" y="203"/>
                      <a:pt x="411" y="197"/>
                      <a:pt x="413" y="191"/>
                    </a:cubicBezTo>
                    <a:cubicBezTo>
                      <a:pt x="414" y="184"/>
                      <a:pt x="421" y="189"/>
                      <a:pt x="421" y="189"/>
                    </a:cubicBezTo>
                    <a:cubicBezTo>
                      <a:pt x="420" y="193"/>
                      <a:pt x="420" y="193"/>
                      <a:pt x="420" y="193"/>
                    </a:cubicBezTo>
                    <a:cubicBezTo>
                      <a:pt x="422" y="198"/>
                      <a:pt x="422" y="198"/>
                      <a:pt x="422" y="198"/>
                    </a:cubicBezTo>
                    <a:cubicBezTo>
                      <a:pt x="424" y="195"/>
                      <a:pt x="424" y="195"/>
                      <a:pt x="424" y="195"/>
                    </a:cubicBezTo>
                    <a:cubicBezTo>
                      <a:pt x="426" y="198"/>
                      <a:pt x="426" y="198"/>
                      <a:pt x="426" y="198"/>
                    </a:cubicBezTo>
                    <a:cubicBezTo>
                      <a:pt x="419" y="204"/>
                      <a:pt x="419" y="204"/>
                      <a:pt x="419" y="204"/>
                    </a:cubicBezTo>
                    <a:cubicBezTo>
                      <a:pt x="423" y="207"/>
                      <a:pt x="423" y="207"/>
                      <a:pt x="423" y="207"/>
                    </a:cubicBezTo>
                    <a:cubicBezTo>
                      <a:pt x="423" y="207"/>
                      <a:pt x="428" y="202"/>
                      <a:pt x="431" y="199"/>
                    </a:cubicBezTo>
                    <a:cubicBezTo>
                      <a:pt x="434" y="198"/>
                      <a:pt x="439" y="198"/>
                      <a:pt x="443" y="192"/>
                    </a:cubicBezTo>
                    <a:cubicBezTo>
                      <a:pt x="448" y="187"/>
                      <a:pt x="443" y="167"/>
                      <a:pt x="443" y="167"/>
                    </a:cubicBezTo>
                    <a:close/>
                    <a:moveTo>
                      <a:pt x="415" y="211"/>
                    </a:moveTo>
                    <a:cubicBezTo>
                      <a:pt x="418" y="212"/>
                      <a:pt x="418" y="212"/>
                      <a:pt x="418" y="212"/>
                    </a:cubicBezTo>
                    <a:cubicBezTo>
                      <a:pt x="420" y="209"/>
                      <a:pt x="420" y="209"/>
                      <a:pt x="420" y="209"/>
                    </a:cubicBezTo>
                    <a:cubicBezTo>
                      <a:pt x="418" y="207"/>
                      <a:pt x="418" y="207"/>
                      <a:pt x="418" y="207"/>
                    </a:cubicBezTo>
                    <a:lnTo>
                      <a:pt x="415" y="211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221" name="Portugal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2684463" y="4979988"/>
                <a:ext cx="431800" cy="715962"/>
              </a:xfrm>
              <a:custGeom>
                <a:avLst/>
                <a:gdLst/>
                <a:ahLst/>
                <a:cxnLst>
                  <a:cxn ang="0">
                    <a:pos x="89" y="295"/>
                  </a:cxn>
                  <a:cxn ang="0">
                    <a:pos x="102" y="279"/>
                  </a:cxn>
                  <a:cxn ang="0">
                    <a:pos x="120" y="271"/>
                  </a:cxn>
                  <a:cxn ang="0">
                    <a:pos x="113" y="267"/>
                  </a:cxn>
                  <a:cxn ang="0">
                    <a:pos x="113" y="231"/>
                  </a:cxn>
                  <a:cxn ang="0">
                    <a:pos x="133" y="213"/>
                  </a:cxn>
                  <a:cxn ang="0">
                    <a:pos x="118" y="190"/>
                  </a:cxn>
                  <a:cxn ang="0">
                    <a:pos x="117" y="183"/>
                  </a:cxn>
                  <a:cxn ang="0">
                    <a:pos x="138" y="173"/>
                  </a:cxn>
                  <a:cxn ang="0">
                    <a:pos x="145" y="165"/>
                  </a:cxn>
                  <a:cxn ang="0">
                    <a:pos x="146" y="142"/>
                  </a:cxn>
                  <a:cxn ang="0">
                    <a:pos x="159" y="133"/>
                  </a:cxn>
                  <a:cxn ang="0">
                    <a:pos x="165" y="100"/>
                  </a:cxn>
                  <a:cxn ang="0">
                    <a:pos x="169" y="88"/>
                  </a:cxn>
                  <a:cxn ang="0">
                    <a:pos x="183" y="78"/>
                  </a:cxn>
                  <a:cxn ang="0">
                    <a:pos x="203" y="57"/>
                  </a:cxn>
                  <a:cxn ang="0">
                    <a:pos x="190" y="44"/>
                  </a:cxn>
                  <a:cxn ang="0">
                    <a:pos x="183" y="30"/>
                  </a:cxn>
                  <a:cxn ang="0">
                    <a:pos x="179" y="31"/>
                  </a:cxn>
                  <a:cxn ang="0">
                    <a:pos x="164" y="24"/>
                  </a:cxn>
                  <a:cxn ang="0">
                    <a:pos x="147" y="27"/>
                  </a:cxn>
                  <a:cxn ang="0">
                    <a:pos x="135" y="23"/>
                  </a:cxn>
                  <a:cxn ang="0">
                    <a:pos x="125" y="21"/>
                  </a:cxn>
                  <a:cxn ang="0">
                    <a:pos x="120" y="10"/>
                  </a:cxn>
                  <a:cxn ang="0">
                    <a:pos x="116" y="6"/>
                  </a:cxn>
                  <a:cxn ang="0">
                    <a:pos x="109" y="4"/>
                  </a:cxn>
                  <a:cxn ang="0">
                    <a:pos x="90" y="6"/>
                  </a:cxn>
                  <a:cxn ang="0">
                    <a:pos x="78" y="14"/>
                  </a:cxn>
                  <a:cxn ang="0">
                    <a:pos x="82" y="21"/>
                  </a:cxn>
                  <a:cxn ang="0">
                    <a:pos x="79" y="30"/>
                  </a:cxn>
                  <a:cxn ang="0">
                    <a:pos x="79" y="67"/>
                  </a:cxn>
                  <a:cxn ang="0">
                    <a:pos x="70" y="89"/>
                  </a:cxn>
                  <a:cxn ang="0">
                    <a:pos x="77" y="81"/>
                  </a:cxn>
                  <a:cxn ang="0">
                    <a:pos x="77" y="90"/>
                  </a:cxn>
                  <a:cxn ang="0">
                    <a:pos x="53" y="115"/>
                  </a:cxn>
                  <a:cxn ang="0">
                    <a:pos x="39" y="147"/>
                  </a:cxn>
                  <a:cxn ang="0">
                    <a:pos x="35" y="155"/>
                  </a:cxn>
                  <a:cxn ang="0">
                    <a:pos x="28" y="164"/>
                  </a:cxn>
                  <a:cxn ang="0">
                    <a:pos x="17" y="165"/>
                  </a:cxn>
                  <a:cxn ang="0">
                    <a:pos x="10" y="181"/>
                  </a:cxn>
                  <a:cxn ang="0">
                    <a:pos x="2" y="197"/>
                  </a:cxn>
                  <a:cxn ang="0">
                    <a:pos x="17" y="209"/>
                  </a:cxn>
                  <a:cxn ang="0">
                    <a:pos x="30" y="207"/>
                  </a:cxn>
                  <a:cxn ang="0">
                    <a:pos x="20" y="216"/>
                  </a:cxn>
                  <a:cxn ang="0">
                    <a:pos x="12" y="213"/>
                  </a:cxn>
                  <a:cxn ang="0">
                    <a:pos x="11" y="226"/>
                  </a:cxn>
                  <a:cxn ang="0">
                    <a:pos x="29" y="225"/>
                  </a:cxn>
                  <a:cxn ang="0">
                    <a:pos x="36" y="224"/>
                  </a:cxn>
                  <a:cxn ang="0">
                    <a:pos x="40" y="233"/>
                  </a:cxn>
                  <a:cxn ang="0">
                    <a:pos x="30" y="228"/>
                  </a:cxn>
                  <a:cxn ang="0">
                    <a:pos x="19" y="260"/>
                  </a:cxn>
                  <a:cxn ang="0">
                    <a:pos x="21" y="275"/>
                  </a:cxn>
                  <a:cxn ang="0">
                    <a:pos x="16" y="297"/>
                  </a:cxn>
                  <a:cxn ang="0">
                    <a:pos x="10" y="308"/>
                  </a:cxn>
                  <a:cxn ang="0">
                    <a:pos x="0" y="322"/>
                  </a:cxn>
                  <a:cxn ang="0">
                    <a:pos x="51" y="334"/>
                  </a:cxn>
                  <a:cxn ang="0">
                    <a:pos x="73" y="328"/>
                  </a:cxn>
                  <a:cxn ang="0">
                    <a:pos x="85" y="311"/>
                  </a:cxn>
                </a:cxnLst>
                <a:rect l="0" t="0" r="r" b="b"/>
                <a:pathLst>
                  <a:path w="203" h="336">
                    <a:moveTo>
                      <a:pt x="83" y="304"/>
                    </a:moveTo>
                    <a:cubicBezTo>
                      <a:pt x="83" y="304"/>
                      <a:pt x="85" y="300"/>
                      <a:pt x="89" y="295"/>
                    </a:cubicBezTo>
                    <a:cubicBezTo>
                      <a:pt x="93" y="289"/>
                      <a:pt x="100" y="287"/>
                      <a:pt x="100" y="287"/>
                    </a:cubicBezTo>
                    <a:cubicBezTo>
                      <a:pt x="102" y="279"/>
                      <a:pt x="102" y="279"/>
                      <a:pt x="102" y="279"/>
                    </a:cubicBezTo>
                    <a:cubicBezTo>
                      <a:pt x="117" y="278"/>
                      <a:pt x="117" y="278"/>
                      <a:pt x="117" y="278"/>
                    </a:cubicBezTo>
                    <a:cubicBezTo>
                      <a:pt x="120" y="271"/>
                      <a:pt x="120" y="271"/>
                      <a:pt x="120" y="271"/>
                    </a:cubicBezTo>
                    <a:cubicBezTo>
                      <a:pt x="122" y="267"/>
                      <a:pt x="122" y="267"/>
                      <a:pt x="122" y="267"/>
                    </a:cubicBezTo>
                    <a:cubicBezTo>
                      <a:pt x="113" y="267"/>
                      <a:pt x="113" y="267"/>
                      <a:pt x="113" y="267"/>
                    </a:cubicBezTo>
                    <a:cubicBezTo>
                      <a:pt x="104" y="248"/>
                      <a:pt x="104" y="248"/>
                      <a:pt x="104" y="248"/>
                    </a:cubicBezTo>
                    <a:cubicBezTo>
                      <a:pt x="113" y="231"/>
                      <a:pt x="113" y="231"/>
                      <a:pt x="113" y="231"/>
                    </a:cubicBezTo>
                    <a:cubicBezTo>
                      <a:pt x="123" y="228"/>
                      <a:pt x="123" y="228"/>
                      <a:pt x="123" y="228"/>
                    </a:cubicBezTo>
                    <a:cubicBezTo>
                      <a:pt x="123" y="228"/>
                      <a:pt x="131" y="219"/>
                      <a:pt x="133" y="213"/>
                    </a:cubicBezTo>
                    <a:cubicBezTo>
                      <a:pt x="135" y="207"/>
                      <a:pt x="125" y="209"/>
                      <a:pt x="125" y="209"/>
                    </a:cubicBezTo>
                    <a:cubicBezTo>
                      <a:pt x="118" y="190"/>
                      <a:pt x="118" y="190"/>
                      <a:pt x="118" y="190"/>
                    </a:cubicBezTo>
                    <a:cubicBezTo>
                      <a:pt x="118" y="190"/>
                      <a:pt x="121" y="186"/>
                      <a:pt x="121" y="183"/>
                    </a:cubicBezTo>
                    <a:cubicBezTo>
                      <a:pt x="121" y="181"/>
                      <a:pt x="117" y="183"/>
                      <a:pt x="117" y="183"/>
                    </a:cubicBezTo>
                    <a:cubicBezTo>
                      <a:pt x="111" y="168"/>
                      <a:pt x="111" y="168"/>
                      <a:pt x="111" y="168"/>
                    </a:cubicBezTo>
                    <a:cubicBezTo>
                      <a:pt x="138" y="173"/>
                      <a:pt x="138" y="173"/>
                      <a:pt x="138" y="173"/>
                    </a:cubicBezTo>
                    <a:cubicBezTo>
                      <a:pt x="142" y="165"/>
                      <a:pt x="142" y="165"/>
                      <a:pt x="142" y="165"/>
                    </a:cubicBezTo>
                    <a:cubicBezTo>
                      <a:pt x="145" y="165"/>
                      <a:pt x="145" y="165"/>
                      <a:pt x="145" y="165"/>
                    </a:cubicBezTo>
                    <a:cubicBezTo>
                      <a:pt x="150" y="154"/>
                      <a:pt x="150" y="154"/>
                      <a:pt x="150" y="154"/>
                    </a:cubicBezTo>
                    <a:cubicBezTo>
                      <a:pt x="150" y="154"/>
                      <a:pt x="146" y="147"/>
                      <a:pt x="146" y="142"/>
                    </a:cubicBezTo>
                    <a:cubicBezTo>
                      <a:pt x="146" y="137"/>
                      <a:pt x="153" y="138"/>
                      <a:pt x="153" y="138"/>
                    </a:cubicBezTo>
                    <a:cubicBezTo>
                      <a:pt x="159" y="133"/>
                      <a:pt x="159" y="133"/>
                      <a:pt x="159" y="133"/>
                    </a:cubicBezTo>
                    <a:cubicBezTo>
                      <a:pt x="157" y="125"/>
                      <a:pt x="157" y="125"/>
                      <a:pt x="157" y="125"/>
                    </a:cubicBezTo>
                    <a:cubicBezTo>
                      <a:pt x="165" y="100"/>
                      <a:pt x="165" y="100"/>
                      <a:pt x="165" y="100"/>
                    </a:cubicBezTo>
                    <a:cubicBezTo>
                      <a:pt x="162" y="88"/>
                      <a:pt x="162" y="88"/>
                      <a:pt x="162" y="88"/>
                    </a:cubicBezTo>
                    <a:cubicBezTo>
                      <a:pt x="169" y="88"/>
                      <a:pt x="169" y="88"/>
                      <a:pt x="169" y="88"/>
                    </a:cubicBezTo>
                    <a:cubicBezTo>
                      <a:pt x="177" y="78"/>
                      <a:pt x="177" y="78"/>
                      <a:pt x="177" y="78"/>
                    </a:cubicBezTo>
                    <a:cubicBezTo>
                      <a:pt x="183" y="78"/>
                      <a:pt x="183" y="78"/>
                      <a:pt x="183" y="78"/>
                    </a:cubicBezTo>
                    <a:cubicBezTo>
                      <a:pt x="185" y="78"/>
                      <a:pt x="195" y="71"/>
                      <a:pt x="195" y="71"/>
                    </a:cubicBezTo>
                    <a:cubicBezTo>
                      <a:pt x="195" y="71"/>
                      <a:pt x="202" y="62"/>
                      <a:pt x="203" y="57"/>
                    </a:cubicBezTo>
                    <a:cubicBezTo>
                      <a:pt x="203" y="53"/>
                      <a:pt x="195" y="53"/>
                      <a:pt x="191" y="53"/>
                    </a:cubicBezTo>
                    <a:cubicBezTo>
                      <a:pt x="187" y="53"/>
                      <a:pt x="190" y="44"/>
                      <a:pt x="190" y="44"/>
                    </a:cubicBezTo>
                    <a:cubicBezTo>
                      <a:pt x="192" y="32"/>
                      <a:pt x="192" y="32"/>
                      <a:pt x="192" y="32"/>
                    </a:cubicBezTo>
                    <a:cubicBezTo>
                      <a:pt x="183" y="30"/>
                      <a:pt x="183" y="30"/>
                      <a:pt x="183" y="30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79" y="31"/>
                      <a:pt x="179" y="31"/>
                      <a:pt x="179" y="31"/>
                    </a:cubicBezTo>
                    <a:cubicBezTo>
                      <a:pt x="169" y="28"/>
                      <a:pt x="169" y="28"/>
                      <a:pt x="169" y="28"/>
                    </a:cubicBezTo>
                    <a:cubicBezTo>
                      <a:pt x="169" y="28"/>
                      <a:pt x="168" y="24"/>
                      <a:pt x="164" y="24"/>
                    </a:cubicBezTo>
                    <a:cubicBezTo>
                      <a:pt x="161" y="24"/>
                      <a:pt x="163" y="30"/>
                      <a:pt x="157" y="31"/>
                    </a:cubicBezTo>
                    <a:cubicBezTo>
                      <a:pt x="151" y="34"/>
                      <a:pt x="147" y="27"/>
                      <a:pt x="147" y="27"/>
                    </a:cubicBezTo>
                    <a:cubicBezTo>
                      <a:pt x="142" y="29"/>
                      <a:pt x="142" y="29"/>
                      <a:pt x="142" y="29"/>
                    </a:cubicBezTo>
                    <a:cubicBezTo>
                      <a:pt x="135" y="23"/>
                      <a:pt x="135" y="23"/>
                      <a:pt x="135" y="23"/>
                    </a:cubicBezTo>
                    <a:cubicBezTo>
                      <a:pt x="128" y="25"/>
                      <a:pt x="128" y="25"/>
                      <a:pt x="128" y="25"/>
                    </a:cubicBezTo>
                    <a:cubicBezTo>
                      <a:pt x="125" y="21"/>
                      <a:pt x="125" y="21"/>
                      <a:pt x="125" y="21"/>
                    </a:cubicBezTo>
                    <a:cubicBezTo>
                      <a:pt x="125" y="21"/>
                      <a:pt x="121" y="30"/>
                      <a:pt x="113" y="23"/>
                    </a:cubicBezTo>
                    <a:cubicBezTo>
                      <a:pt x="105" y="16"/>
                      <a:pt x="120" y="10"/>
                      <a:pt x="120" y="10"/>
                    </a:cubicBezTo>
                    <a:cubicBezTo>
                      <a:pt x="120" y="7"/>
                      <a:pt x="120" y="7"/>
                      <a:pt x="120" y="7"/>
                    </a:cubicBezTo>
                    <a:cubicBezTo>
                      <a:pt x="116" y="6"/>
                      <a:pt x="116" y="6"/>
                      <a:pt x="116" y="6"/>
                    </a:cubicBezTo>
                    <a:cubicBezTo>
                      <a:pt x="118" y="0"/>
                      <a:pt x="118" y="0"/>
                      <a:pt x="118" y="0"/>
                    </a:cubicBezTo>
                    <a:cubicBezTo>
                      <a:pt x="109" y="4"/>
                      <a:pt x="109" y="4"/>
                      <a:pt x="109" y="4"/>
                    </a:cubicBezTo>
                    <a:cubicBezTo>
                      <a:pt x="95" y="1"/>
                      <a:pt x="95" y="1"/>
                      <a:pt x="95" y="1"/>
                    </a:cubicBezTo>
                    <a:cubicBezTo>
                      <a:pt x="90" y="6"/>
                      <a:pt x="90" y="6"/>
                      <a:pt x="90" y="6"/>
                    </a:cubicBezTo>
                    <a:cubicBezTo>
                      <a:pt x="83" y="10"/>
                      <a:pt x="83" y="10"/>
                      <a:pt x="83" y="10"/>
                    </a:cubicBezTo>
                    <a:cubicBezTo>
                      <a:pt x="78" y="14"/>
                      <a:pt x="78" y="14"/>
                      <a:pt x="78" y="14"/>
                    </a:cubicBezTo>
                    <a:cubicBezTo>
                      <a:pt x="77" y="21"/>
                      <a:pt x="77" y="21"/>
                      <a:pt x="77" y="21"/>
                    </a:cubicBezTo>
                    <a:cubicBezTo>
                      <a:pt x="82" y="21"/>
                      <a:pt x="82" y="21"/>
                      <a:pt x="82" y="21"/>
                    </a:cubicBezTo>
                    <a:cubicBezTo>
                      <a:pt x="79" y="24"/>
                      <a:pt x="79" y="24"/>
                      <a:pt x="79" y="24"/>
                    </a:cubicBezTo>
                    <a:cubicBezTo>
                      <a:pt x="79" y="30"/>
                      <a:pt x="79" y="30"/>
                      <a:pt x="79" y="30"/>
                    </a:cubicBezTo>
                    <a:cubicBezTo>
                      <a:pt x="78" y="39"/>
                      <a:pt x="78" y="39"/>
                      <a:pt x="78" y="39"/>
                    </a:cubicBezTo>
                    <a:cubicBezTo>
                      <a:pt x="79" y="67"/>
                      <a:pt x="79" y="67"/>
                      <a:pt x="79" y="67"/>
                    </a:cubicBezTo>
                    <a:cubicBezTo>
                      <a:pt x="69" y="86"/>
                      <a:pt x="69" y="86"/>
                      <a:pt x="69" y="86"/>
                    </a:cubicBezTo>
                    <a:cubicBezTo>
                      <a:pt x="70" y="89"/>
                      <a:pt x="70" y="89"/>
                      <a:pt x="70" y="89"/>
                    </a:cubicBezTo>
                    <a:cubicBezTo>
                      <a:pt x="75" y="81"/>
                      <a:pt x="75" y="81"/>
                      <a:pt x="75" y="81"/>
                    </a:cubicBezTo>
                    <a:cubicBezTo>
                      <a:pt x="77" y="81"/>
                      <a:pt x="77" y="81"/>
                      <a:pt x="77" y="81"/>
                    </a:cubicBezTo>
                    <a:cubicBezTo>
                      <a:pt x="75" y="86"/>
                      <a:pt x="75" y="86"/>
                      <a:pt x="75" y="86"/>
                    </a:cubicBezTo>
                    <a:cubicBezTo>
                      <a:pt x="77" y="90"/>
                      <a:pt x="77" y="90"/>
                      <a:pt x="77" y="90"/>
                    </a:cubicBezTo>
                    <a:cubicBezTo>
                      <a:pt x="68" y="91"/>
                      <a:pt x="68" y="91"/>
                      <a:pt x="68" y="91"/>
                    </a:cubicBezTo>
                    <a:cubicBezTo>
                      <a:pt x="53" y="115"/>
                      <a:pt x="53" y="115"/>
                      <a:pt x="53" y="115"/>
                    </a:cubicBezTo>
                    <a:cubicBezTo>
                      <a:pt x="54" y="119"/>
                      <a:pt x="54" y="119"/>
                      <a:pt x="54" y="119"/>
                    </a:cubicBezTo>
                    <a:cubicBezTo>
                      <a:pt x="39" y="147"/>
                      <a:pt x="39" y="147"/>
                      <a:pt x="39" y="147"/>
                    </a:cubicBezTo>
                    <a:cubicBezTo>
                      <a:pt x="34" y="152"/>
                      <a:pt x="34" y="152"/>
                      <a:pt x="34" y="152"/>
                    </a:cubicBezTo>
                    <a:cubicBezTo>
                      <a:pt x="35" y="155"/>
                      <a:pt x="35" y="155"/>
                      <a:pt x="35" y="155"/>
                    </a:cubicBezTo>
                    <a:cubicBezTo>
                      <a:pt x="28" y="160"/>
                      <a:pt x="28" y="160"/>
                      <a:pt x="28" y="160"/>
                    </a:cubicBezTo>
                    <a:cubicBezTo>
                      <a:pt x="28" y="164"/>
                      <a:pt x="28" y="164"/>
                      <a:pt x="28" y="164"/>
                    </a:cubicBezTo>
                    <a:cubicBezTo>
                      <a:pt x="26" y="163"/>
                      <a:pt x="26" y="163"/>
                      <a:pt x="26" y="163"/>
                    </a:cubicBezTo>
                    <a:cubicBezTo>
                      <a:pt x="17" y="165"/>
                      <a:pt x="17" y="165"/>
                      <a:pt x="17" y="165"/>
                    </a:cubicBezTo>
                    <a:cubicBezTo>
                      <a:pt x="17" y="172"/>
                      <a:pt x="17" y="172"/>
                      <a:pt x="17" y="172"/>
                    </a:cubicBezTo>
                    <a:cubicBezTo>
                      <a:pt x="10" y="181"/>
                      <a:pt x="10" y="181"/>
                      <a:pt x="10" y="181"/>
                    </a:cubicBezTo>
                    <a:cubicBezTo>
                      <a:pt x="10" y="189"/>
                      <a:pt x="10" y="189"/>
                      <a:pt x="10" y="189"/>
                    </a:cubicBezTo>
                    <a:cubicBezTo>
                      <a:pt x="2" y="197"/>
                      <a:pt x="2" y="197"/>
                      <a:pt x="2" y="197"/>
                    </a:cubicBezTo>
                    <a:cubicBezTo>
                      <a:pt x="2" y="204"/>
                      <a:pt x="2" y="204"/>
                      <a:pt x="2" y="204"/>
                    </a:cubicBezTo>
                    <a:cubicBezTo>
                      <a:pt x="17" y="209"/>
                      <a:pt x="17" y="209"/>
                      <a:pt x="17" y="209"/>
                    </a:cubicBezTo>
                    <a:cubicBezTo>
                      <a:pt x="29" y="197"/>
                      <a:pt x="29" y="197"/>
                      <a:pt x="29" y="197"/>
                    </a:cubicBezTo>
                    <a:cubicBezTo>
                      <a:pt x="30" y="207"/>
                      <a:pt x="30" y="207"/>
                      <a:pt x="30" y="207"/>
                    </a:cubicBezTo>
                    <a:cubicBezTo>
                      <a:pt x="23" y="211"/>
                      <a:pt x="23" y="211"/>
                      <a:pt x="23" y="211"/>
                    </a:cubicBezTo>
                    <a:cubicBezTo>
                      <a:pt x="20" y="216"/>
                      <a:pt x="20" y="216"/>
                      <a:pt x="20" y="216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2" y="213"/>
                      <a:pt x="12" y="213"/>
                      <a:pt x="12" y="213"/>
                    </a:cubicBezTo>
                    <a:cubicBezTo>
                      <a:pt x="12" y="218"/>
                      <a:pt x="12" y="218"/>
                      <a:pt x="12" y="218"/>
                    </a:cubicBezTo>
                    <a:cubicBezTo>
                      <a:pt x="11" y="220"/>
                      <a:pt x="11" y="226"/>
                      <a:pt x="11" y="226"/>
                    </a:cubicBezTo>
                    <a:cubicBezTo>
                      <a:pt x="11" y="226"/>
                      <a:pt x="18" y="229"/>
                      <a:pt x="20" y="228"/>
                    </a:cubicBezTo>
                    <a:cubicBezTo>
                      <a:pt x="22" y="227"/>
                      <a:pt x="29" y="225"/>
                      <a:pt x="29" y="225"/>
                    </a:cubicBezTo>
                    <a:cubicBezTo>
                      <a:pt x="33" y="227"/>
                      <a:pt x="33" y="227"/>
                      <a:pt x="33" y="227"/>
                    </a:cubicBezTo>
                    <a:cubicBezTo>
                      <a:pt x="36" y="224"/>
                      <a:pt x="36" y="224"/>
                      <a:pt x="36" y="224"/>
                    </a:cubicBezTo>
                    <a:cubicBezTo>
                      <a:pt x="35" y="229"/>
                      <a:pt x="35" y="229"/>
                      <a:pt x="35" y="229"/>
                    </a:cubicBezTo>
                    <a:cubicBezTo>
                      <a:pt x="40" y="233"/>
                      <a:pt x="40" y="233"/>
                      <a:pt x="40" y="233"/>
                    </a:cubicBezTo>
                    <a:cubicBezTo>
                      <a:pt x="36" y="233"/>
                      <a:pt x="36" y="233"/>
                      <a:pt x="36" y="233"/>
                    </a:cubicBezTo>
                    <a:cubicBezTo>
                      <a:pt x="30" y="228"/>
                      <a:pt x="30" y="228"/>
                      <a:pt x="30" y="228"/>
                    </a:cubicBezTo>
                    <a:cubicBezTo>
                      <a:pt x="30" y="228"/>
                      <a:pt x="32" y="239"/>
                      <a:pt x="30" y="244"/>
                    </a:cubicBezTo>
                    <a:cubicBezTo>
                      <a:pt x="27" y="250"/>
                      <a:pt x="19" y="260"/>
                      <a:pt x="19" y="260"/>
                    </a:cubicBezTo>
                    <a:cubicBezTo>
                      <a:pt x="23" y="264"/>
                      <a:pt x="23" y="264"/>
                      <a:pt x="23" y="264"/>
                    </a:cubicBezTo>
                    <a:cubicBezTo>
                      <a:pt x="21" y="275"/>
                      <a:pt x="21" y="275"/>
                      <a:pt x="21" y="275"/>
                    </a:cubicBezTo>
                    <a:cubicBezTo>
                      <a:pt x="21" y="275"/>
                      <a:pt x="17" y="282"/>
                      <a:pt x="17" y="286"/>
                    </a:cubicBezTo>
                    <a:cubicBezTo>
                      <a:pt x="17" y="289"/>
                      <a:pt x="18" y="295"/>
                      <a:pt x="16" y="297"/>
                    </a:cubicBezTo>
                    <a:cubicBezTo>
                      <a:pt x="13" y="300"/>
                      <a:pt x="10" y="304"/>
                      <a:pt x="10" y="304"/>
                    </a:cubicBezTo>
                    <a:cubicBezTo>
                      <a:pt x="10" y="308"/>
                      <a:pt x="10" y="308"/>
                      <a:pt x="10" y="308"/>
                    </a:cubicBezTo>
                    <a:cubicBezTo>
                      <a:pt x="0" y="318"/>
                      <a:pt x="0" y="318"/>
                      <a:pt x="0" y="318"/>
                    </a:cubicBezTo>
                    <a:cubicBezTo>
                      <a:pt x="0" y="322"/>
                      <a:pt x="0" y="322"/>
                      <a:pt x="0" y="322"/>
                    </a:cubicBezTo>
                    <a:cubicBezTo>
                      <a:pt x="0" y="322"/>
                      <a:pt x="12" y="319"/>
                      <a:pt x="19" y="318"/>
                    </a:cubicBezTo>
                    <a:cubicBezTo>
                      <a:pt x="27" y="318"/>
                      <a:pt x="51" y="334"/>
                      <a:pt x="51" y="334"/>
                    </a:cubicBezTo>
                    <a:cubicBezTo>
                      <a:pt x="51" y="334"/>
                      <a:pt x="57" y="336"/>
                      <a:pt x="63" y="334"/>
                    </a:cubicBezTo>
                    <a:cubicBezTo>
                      <a:pt x="68" y="332"/>
                      <a:pt x="73" y="328"/>
                      <a:pt x="73" y="328"/>
                    </a:cubicBezTo>
                    <a:cubicBezTo>
                      <a:pt x="85" y="328"/>
                      <a:pt x="85" y="328"/>
                      <a:pt x="85" y="328"/>
                    </a:cubicBezTo>
                    <a:cubicBezTo>
                      <a:pt x="85" y="311"/>
                      <a:pt x="85" y="311"/>
                      <a:pt x="85" y="311"/>
                    </a:cubicBezTo>
                    <a:lnTo>
                      <a:pt x="83" y="304"/>
                    </a:ln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222" name="Poland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195888" y="3438525"/>
                <a:ext cx="917575" cy="757237"/>
              </a:xfrm>
              <a:custGeom>
                <a:avLst/>
                <a:gdLst/>
                <a:ahLst/>
                <a:cxnLst>
                  <a:cxn ang="0">
                    <a:pos x="430" y="225"/>
                  </a:cxn>
                  <a:cxn ang="0">
                    <a:pos x="402" y="196"/>
                  </a:cxn>
                  <a:cxn ang="0">
                    <a:pos x="398" y="168"/>
                  </a:cxn>
                  <a:cxn ang="0">
                    <a:pos x="390" y="146"/>
                  </a:cxn>
                  <a:cxn ang="0">
                    <a:pos x="398" y="112"/>
                  </a:cxn>
                  <a:cxn ang="0">
                    <a:pos x="393" y="84"/>
                  </a:cxn>
                  <a:cxn ang="0">
                    <a:pos x="376" y="44"/>
                  </a:cxn>
                  <a:cxn ang="0">
                    <a:pos x="364" y="17"/>
                  </a:cxn>
                  <a:cxn ang="0">
                    <a:pos x="337" y="9"/>
                  </a:cxn>
                  <a:cxn ang="0">
                    <a:pos x="224" y="18"/>
                  </a:cxn>
                  <a:cxn ang="0">
                    <a:pos x="216" y="26"/>
                  </a:cxn>
                  <a:cxn ang="0">
                    <a:pos x="204" y="33"/>
                  </a:cxn>
                  <a:cxn ang="0">
                    <a:pos x="212" y="23"/>
                  </a:cxn>
                  <a:cxn ang="0">
                    <a:pos x="211" y="22"/>
                  </a:cxn>
                  <a:cxn ang="0">
                    <a:pos x="173" y="8"/>
                  </a:cxn>
                  <a:cxn ang="0">
                    <a:pos x="175" y="5"/>
                  </a:cxn>
                  <a:cxn ang="0">
                    <a:pos x="123" y="9"/>
                  </a:cxn>
                  <a:cxn ang="0">
                    <a:pos x="88" y="30"/>
                  </a:cxn>
                  <a:cxn ang="0">
                    <a:pos x="38" y="46"/>
                  </a:cxn>
                  <a:cxn ang="0">
                    <a:pos x="6" y="60"/>
                  </a:cxn>
                  <a:cxn ang="0">
                    <a:pos x="16" y="63"/>
                  </a:cxn>
                  <a:cxn ang="0">
                    <a:pos x="24" y="58"/>
                  </a:cxn>
                  <a:cxn ang="0">
                    <a:pos x="19" y="80"/>
                  </a:cxn>
                  <a:cxn ang="0">
                    <a:pos x="22" y="88"/>
                  </a:cxn>
                  <a:cxn ang="0">
                    <a:pos x="6" y="83"/>
                  </a:cxn>
                  <a:cxn ang="0">
                    <a:pos x="2" y="124"/>
                  </a:cxn>
                  <a:cxn ang="0">
                    <a:pos x="19" y="163"/>
                  </a:cxn>
                  <a:cxn ang="0">
                    <a:pos x="24" y="195"/>
                  </a:cxn>
                  <a:cxn ang="0">
                    <a:pos x="39" y="226"/>
                  </a:cxn>
                  <a:cxn ang="0">
                    <a:pos x="36" y="261"/>
                  </a:cxn>
                  <a:cxn ang="0">
                    <a:pos x="44" y="258"/>
                  </a:cxn>
                  <a:cxn ang="0">
                    <a:pos x="58" y="264"/>
                  </a:cxn>
                  <a:cxn ang="0">
                    <a:pos x="88" y="275"/>
                  </a:cxn>
                  <a:cxn ang="0">
                    <a:pos x="109" y="280"/>
                  </a:cxn>
                  <a:cxn ang="0">
                    <a:pos x="114" y="308"/>
                  </a:cxn>
                  <a:cxn ang="0">
                    <a:pos x="134" y="302"/>
                  </a:cxn>
                  <a:cxn ang="0">
                    <a:pos x="127" y="287"/>
                  </a:cxn>
                  <a:cxn ang="0">
                    <a:pos x="162" y="293"/>
                  </a:cxn>
                  <a:cxn ang="0">
                    <a:pos x="166" y="308"/>
                  </a:cxn>
                  <a:cxn ang="0">
                    <a:pos x="176" y="309"/>
                  </a:cxn>
                  <a:cxn ang="0">
                    <a:pos x="205" y="329"/>
                  </a:cxn>
                  <a:cxn ang="0">
                    <a:pos x="221" y="340"/>
                  </a:cxn>
                  <a:cxn ang="0">
                    <a:pos x="234" y="339"/>
                  </a:cxn>
                  <a:cxn ang="0">
                    <a:pos x="248" y="341"/>
                  </a:cxn>
                  <a:cxn ang="0">
                    <a:pos x="257" y="342"/>
                  </a:cxn>
                  <a:cxn ang="0">
                    <a:pos x="265" y="353"/>
                  </a:cxn>
                  <a:cxn ang="0">
                    <a:pos x="288" y="339"/>
                  </a:cxn>
                  <a:cxn ang="0">
                    <a:pos x="314" y="337"/>
                  </a:cxn>
                  <a:cxn ang="0">
                    <a:pos x="343" y="335"/>
                  </a:cxn>
                  <a:cxn ang="0">
                    <a:pos x="381" y="348"/>
                  </a:cxn>
                  <a:cxn ang="0">
                    <a:pos x="386" y="341"/>
                  </a:cxn>
                  <a:cxn ang="0">
                    <a:pos x="392" y="301"/>
                  </a:cxn>
                  <a:cxn ang="0">
                    <a:pos x="428" y="254"/>
                  </a:cxn>
                </a:cxnLst>
                <a:rect l="0" t="0" r="r" b="b"/>
                <a:pathLst>
                  <a:path w="431" h="356">
                    <a:moveTo>
                      <a:pt x="422" y="231"/>
                    </a:moveTo>
                    <a:cubicBezTo>
                      <a:pt x="423" y="229"/>
                      <a:pt x="427" y="228"/>
                      <a:pt x="427" y="228"/>
                    </a:cubicBezTo>
                    <a:cubicBezTo>
                      <a:pt x="430" y="225"/>
                      <a:pt x="430" y="225"/>
                      <a:pt x="430" y="225"/>
                    </a:cubicBezTo>
                    <a:cubicBezTo>
                      <a:pt x="430" y="225"/>
                      <a:pt x="422" y="222"/>
                      <a:pt x="419" y="218"/>
                    </a:cubicBezTo>
                    <a:cubicBezTo>
                      <a:pt x="417" y="215"/>
                      <a:pt x="415" y="210"/>
                      <a:pt x="411" y="207"/>
                    </a:cubicBezTo>
                    <a:cubicBezTo>
                      <a:pt x="407" y="203"/>
                      <a:pt x="402" y="202"/>
                      <a:pt x="402" y="196"/>
                    </a:cubicBezTo>
                    <a:cubicBezTo>
                      <a:pt x="402" y="189"/>
                      <a:pt x="398" y="185"/>
                      <a:pt x="396" y="181"/>
                    </a:cubicBezTo>
                    <a:cubicBezTo>
                      <a:pt x="394" y="178"/>
                      <a:pt x="394" y="172"/>
                      <a:pt x="394" y="172"/>
                    </a:cubicBezTo>
                    <a:cubicBezTo>
                      <a:pt x="398" y="168"/>
                      <a:pt x="398" y="168"/>
                      <a:pt x="398" y="168"/>
                    </a:cubicBezTo>
                    <a:cubicBezTo>
                      <a:pt x="395" y="162"/>
                      <a:pt x="395" y="162"/>
                      <a:pt x="395" y="162"/>
                    </a:cubicBezTo>
                    <a:cubicBezTo>
                      <a:pt x="397" y="154"/>
                      <a:pt x="397" y="154"/>
                      <a:pt x="397" y="154"/>
                    </a:cubicBezTo>
                    <a:cubicBezTo>
                      <a:pt x="397" y="154"/>
                      <a:pt x="399" y="149"/>
                      <a:pt x="390" y="146"/>
                    </a:cubicBezTo>
                    <a:cubicBezTo>
                      <a:pt x="380" y="141"/>
                      <a:pt x="373" y="141"/>
                      <a:pt x="373" y="141"/>
                    </a:cubicBezTo>
                    <a:cubicBezTo>
                      <a:pt x="373" y="141"/>
                      <a:pt x="374" y="126"/>
                      <a:pt x="380" y="120"/>
                    </a:cubicBezTo>
                    <a:cubicBezTo>
                      <a:pt x="386" y="115"/>
                      <a:pt x="398" y="112"/>
                      <a:pt x="398" y="112"/>
                    </a:cubicBezTo>
                    <a:cubicBezTo>
                      <a:pt x="396" y="93"/>
                      <a:pt x="396" y="93"/>
                      <a:pt x="396" y="93"/>
                    </a:cubicBezTo>
                    <a:cubicBezTo>
                      <a:pt x="398" y="92"/>
                      <a:pt x="398" y="92"/>
                      <a:pt x="398" y="92"/>
                    </a:cubicBezTo>
                    <a:cubicBezTo>
                      <a:pt x="393" y="84"/>
                      <a:pt x="393" y="84"/>
                      <a:pt x="393" y="84"/>
                    </a:cubicBezTo>
                    <a:cubicBezTo>
                      <a:pt x="395" y="80"/>
                      <a:pt x="395" y="80"/>
                      <a:pt x="395" y="80"/>
                    </a:cubicBezTo>
                    <a:cubicBezTo>
                      <a:pt x="395" y="80"/>
                      <a:pt x="380" y="62"/>
                      <a:pt x="379" y="56"/>
                    </a:cubicBezTo>
                    <a:cubicBezTo>
                      <a:pt x="377" y="50"/>
                      <a:pt x="376" y="44"/>
                      <a:pt x="376" y="44"/>
                    </a:cubicBezTo>
                    <a:cubicBezTo>
                      <a:pt x="368" y="31"/>
                      <a:pt x="368" y="31"/>
                      <a:pt x="368" y="31"/>
                    </a:cubicBezTo>
                    <a:cubicBezTo>
                      <a:pt x="365" y="28"/>
                      <a:pt x="365" y="28"/>
                      <a:pt x="365" y="28"/>
                    </a:cubicBezTo>
                    <a:cubicBezTo>
                      <a:pt x="365" y="28"/>
                      <a:pt x="368" y="25"/>
                      <a:pt x="364" y="17"/>
                    </a:cubicBezTo>
                    <a:cubicBezTo>
                      <a:pt x="359" y="9"/>
                      <a:pt x="351" y="11"/>
                      <a:pt x="347" y="11"/>
                    </a:cubicBezTo>
                    <a:cubicBezTo>
                      <a:pt x="343" y="10"/>
                      <a:pt x="344" y="6"/>
                      <a:pt x="341" y="5"/>
                    </a:cubicBezTo>
                    <a:cubicBezTo>
                      <a:pt x="338" y="4"/>
                      <a:pt x="337" y="9"/>
                      <a:pt x="337" y="9"/>
                    </a:cubicBezTo>
                    <a:cubicBezTo>
                      <a:pt x="335" y="9"/>
                      <a:pt x="335" y="9"/>
                      <a:pt x="335" y="9"/>
                    </a:cubicBezTo>
                    <a:cubicBezTo>
                      <a:pt x="334" y="9"/>
                      <a:pt x="296" y="19"/>
                      <a:pt x="280" y="19"/>
                    </a:cubicBezTo>
                    <a:cubicBezTo>
                      <a:pt x="265" y="20"/>
                      <a:pt x="224" y="18"/>
                      <a:pt x="224" y="18"/>
                    </a:cubicBezTo>
                    <a:cubicBezTo>
                      <a:pt x="221" y="21"/>
                      <a:pt x="221" y="21"/>
                      <a:pt x="221" y="21"/>
                    </a:cubicBezTo>
                    <a:cubicBezTo>
                      <a:pt x="217" y="21"/>
                      <a:pt x="217" y="21"/>
                      <a:pt x="217" y="21"/>
                    </a:cubicBezTo>
                    <a:cubicBezTo>
                      <a:pt x="216" y="26"/>
                      <a:pt x="216" y="26"/>
                      <a:pt x="216" y="26"/>
                    </a:cubicBezTo>
                    <a:cubicBezTo>
                      <a:pt x="216" y="26"/>
                      <a:pt x="212" y="27"/>
                      <a:pt x="210" y="29"/>
                    </a:cubicBezTo>
                    <a:cubicBezTo>
                      <a:pt x="209" y="30"/>
                      <a:pt x="208" y="35"/>
                      <a:pt x="208" y="35"/>
                    </a:cubicBezTo>
                    <a:cubicBezTo>
                      <a:pt x="204" y="33"/>
                      <a:pt x="204" y="33"/>
                      <a:pt x="204" y="33"/>
                    </a:cubicBezTo>
                    <a:cubicBezTo>
                      <a:pt x="200" y="33"/>
                      <a:pt x="200" y="33"/>
                      <a:pt x="200" y="33"/>
                    </a:cubicBezTo>
                    <a:cubicBezTo>
                      <a:pt x="202" y="29"/>
                      <a:pt x="202" y="29"/>
                      <a:pt x="202" y="29"/>
                    </a:cubicBezTo>
                    <a:cubicBezTo>
                      <a:pt x="202" y="29"/>
                      <a:pt x="209" y="25"/>
                      <a:pt x="212" y="23"/>
                    </a:cubicBezTo>
                    <a:cubicBezTo>
                      <a:pt x="216" y="21"/>
                      <a:pt x="224" y="9"/>
                      <a:pt x="224" y="9"/>
                    </a:cubicBezTo>
                    <a:cubicBezTo>
                      <a:pt x="222" y="7"/>
                      <a:pt x="222" y="7"/>
                      <a:pt x="222" y="7"/>
                    </a:cubicBezTo>
                    <a:cubicBezTo>
                      <a:pt x="222" y="7"/>
                      <a:pt x="214" y="21"/>
                      <a:pt x="211" y="22"/>
                    </a:cubicBezTo>
                    <a:cubicBezTo>
                      <a:pt x="209" y="22"/>
                      <a:pt x="191" y="36"/>
                      <a:pt x="180" y="27"/>
                    </a:cubicBezTo>
                    <a:cubicBezTo>
                      <a:pt x="168" y="19"/>
                      <a:pt x="166" y="6"/>
                      <a:pt x="166" y="6"/>
                    </a:cubicBezTo>
                    <a:cubicBezTo>
                      <a:pt x="166" y="6"/>
                      <a:pt x="171" y="7"/>
                      <a:pt x="173" y="8"/>
                    </a:cubicBezTo>
                    <a:cubicBezTo>
                      <a:pt x="176" y="9"/>
                      <a:pt x="181" y="14"/>
                      <a:pt x="181" y="14"/>
                    </a:cubicBezTo>
                    <a:cubicBezTo>
                      <a:pt x="182" y="12"/>
                      <a:pt x="182" y="12"/>
                      <a:pt x="182" y="12"/>
                    </a:cubicBezTo>
                    <a:cubicBezTo>
                      <a:pt x="182" y="12"/>
                      <a:pt x="178" y="7"/>
                      <a:pt x="175" y="5"/>
                    </a:cubicBezTo>
                    <a:cubicBezTo>
                      <a:pt x="171" y="4"/>
                      <a:pt x="164" y="0"/>
                      <a:pt x="160" y="0"/>
                    </a:cubicBezTo>
                    <a:cubicBezTo>
                      <a:pt x="156" y="0"/>
                      <a:pt x="140" y="6"/>
                      <a:pt x="136" y="7"/>
                    </a:cubicBezTo>
                    <a:cubicBezTo>
                      <a:pt x="132" y="7"/>
                      <a:pt x="128" y="9"/>
                      <a:pt x="123" y="9"/>
                    </a:cubicBezTo>
                    <a:cubicBezTo>
                      <a:pt x="119" y="10"/>
                      <a:pt x="111" y="18"/>
                      <a:pt x="107" y="20"/>
                    </a:cubicBezTo>
                    <a:cubicBezTo>
                      <a:pt x="103" y="22"/>
                      <a:pt x="98" y="21"/>
                      <a:pt x="95" y="24"/>
                    </a:cubicBezTo>
                    <a:cubicBezTo>
                      <a:pt x="92" y="26"/>
                      <a:pt x="92" y="26"/>
                      <a:pt x="88" y="30"/>
                    </a:cubicBezTo>
                    <a:cubicBezTo>
                      <a:pt x="85" y="34"/>
                      <a:pt x="82" y="37"/>
                      <a:pt x="82" y="37"/>
                    </a:cubicBezTo>
                    <a:cubicBezTo>
                      <a:pt x="60" y="43"/>
                      <a:pt x="42" y="43"/>
                      <a:pt x="42" y="43"/>
                    </a:cubicBezTo>
                    <a:cubicBezTo>
                      <a:pt x="38" y="46"/>
                      <a:pt x="38" y="46"/>
                      <a:pt x="38" y="46"/>
                    </a:cubicBezTo>
                    <a:cubicBezTo>
                      <a:pt x="24" y="51"/>
                      <a:pt x="24" y="51"/>
                      <a:pt x="24" y="51"/>
                    </a:cubicBezTo>
                    <a:cubicBezTo>
                      <a:pt x="20" y="52"/>
                      <a:pt x="20" y="52"/>
                      <a:pt x="20" y="52"/>
                    </a:cubicBezTo>
                    <a:cubicBezTo>
                      <a:pt x="6" y="60"/>
                      <a:pt x="6" y="60"/>
                      <a:pt x="6" y="60"/>
                    </a:cubicBezTo>
                    <a:cubicBezTo>
                      <a:pt x="7" y="62"/>
                      <a:pt x="7" y="62"/>
                      <a:pt x="7" y="62"/>
                    </a:cubicBezTo>
                    <a:cubicBezTo>
                      <a:pt x="11" y="61"/>
                      <a:pt x="11" y="61"/>
                      <a:pt x="11" y="61"/>
                    </a:cubicBezTo>
                    <a:cubicBezTo>
                      <a:pt x="16" y="63"/>
                      <a:pt x="16" y="63"/>
                      <a:pt x="16" y="63"/>
                    </a:cubicBezTo>
                    <a:cubicBezTo>
                      <a:pt x="20" y="55"/>
                      <a:pt x="20" y="55"/>
                      <a:pt x="20" y="55"/>
                    </a:cubicBezTo>
                    <a:cubicBezTo>
                      <a:pt x="25" y="53"/>
                      <a:pt x="25" y="53"/>
                      <a:pt x="25" y="53"/>
                    </a:cubicBezTo>
                    <a:cubicBezTo>
                      <a:pt x="24" y="58"/>
                      <a:pt x="24" y="58"/>
                      <a:pt x="24" y="58"/>
                    </a:cubicBezTo>
                    <a:cubicBezTo>
                      <a:pt x="24" y="58"/>
                      <a:pt x="19" y="60"/>
                      <a:pt x="19" y="63"/>
                    </a:cubicBezTo>
                    <a:cubicBezTo>
                      <a:pt x="20" y="66"/>
                      <a:pt x="22" y="72"/>
                      <a:pt x="22" y="73"/>
                    </a:cubicBezTo>
                    <a:cubicBezTo>
                      <a:pt x="22" y="74"/>
                      <a:pt x="18" y="77"/>
                      <a:pt x="19" y="80"/>
                    </a:cubicBezTo>
                    <a:cubicBezTo>
                      <a:pt x="21" y="81"/>
                      <a:pt x="30" y="94"/>
                      <a:pt x="26" y="96"/>
                    </a:cubicBezTo>
                    <a:cubicBezTo>
                      <a:pt x="24" y="98"/>
                      <a:pt x="19" y="97"/>
                      <a:pt x="20" y="94"/>
                    </a:cubicBezTo>
                    <a:cubicBezTo>
                      <a:pt x="21" y="91"/>
                      <a:pt x="22" y="88"/>
                      <a:pt x="22" y="88"/>
                    </a:cubicBezTo>
                    <a:cubicBezTo>
                      <a:pt x="19" y="82"/>
                      <a:pt x="19" y="82"/>
                      <a:pt x="19" y="82"/>
                    </a:cubicBezTo>
                    <a:cubicBezTo>
                      <a:pt x="19" y="82"/>
                      <a:pt x="12" y="81"/>
                      <a:pt x="9" y="81"/>
                    </a:cubicBezTo>
                    <a:cubicBezTo>
                      <a:pt x="8" y="81"/>
                      <a:pt x="7" y="82"/>
                      <a:pt x="6" y="83"/>
                    </a:cubicBezTo>
                    <a:cubicBezTo>
                      <a:pt x="7" y="87"/>
                      <a:pt x="7" y="94"/>
                      <a:pt x="9" y="98"/>
                    </a:cubicBezTo>
                    <a:cubicBezTo>
                      <a:pt x="13" y="104"/>
                      <a:pt x="11" y="110"/>
                      <a:pt x="9" y="117"/>
                    </a:cubicBezTo>
                    <a:cubicBezTo>
                      <a:pt x="8" y="121"/>
                      <a:pt x="4" y="121"/>
                      <a:pt x="2" y="124"/>
                    </a:cubicBezTo>
                    <a:cubicBezTo>
                      <a:pt x="1" y="125"/>
                      <a:pt x="1" y="131"/>
                      <a:pt x="0" y="133"/>
                    </a:cubicBezTo>
                    <a:cubicBezTo>
                      <a:pt x="9" y="134"/>
                      <a:pt x="22" y="148"/>
                      <a:pt x="22" y="155"/>
                    </a:cubicBezTo>
                    <a:cubicBezTo>
                      <a:pt x="22" y="159"/>
                      <a:pt x="18" y="157"/>
                      <a:pt x="19" y="163"/>
                    </a:cubicBezTo>
                    <a:cubicBezTo>
                      <a:pt x="20" y="167"/>
                      <a:pt x="20" y="168"/>
                      <a:pt x="24" y="170"/>
                    </a:cubicBezTo>
                    <a:cubicBezTo>
                      <a:pt x="28" y="171"/>
                      <a:pt x="24" y="181"/>
                      <a:pt x="25" y="181"/>
                    </a:cubicBezTo>
                    <a:cubicBezTo>
                      <a:pt x="31" y="182"/>
                      <a:pt x="26" y="192"/>
                      <a:pt x="24" y="195"/>
                    </a:cubicBezTo>
                    <a:cubicBezTo>
                      <a:pt x="20" y="200"/>
                      <a:pt x="28" y="204"/>
                      <a:pt x="30" y="210"/>
                    </a:cubicBezTo>
                    <a:cubicBezTo>
                      <a:pt x="32" y="212"/>
                      <a:pt x="26" y="216"/>
                      <a:pt x="30" y="218"/>
                    </a:cubicBezTo>
                    <a:cubicBezTo>
                      <a:pt x="34" y="220"/>
                      <a:pt x="39" y="219"/>
                      <a:pt x="39" y="226"/>
                    </a:cubicBezTo>
                    <a:cubicBezTo>
                      <a:pt x="39" y="232"/>
                      <a:pt x="45" y="235"/>
                      <a:pt x="42" y="242"/>
                    </a:cubicBezTo>
                    <a:cubicBezTo>
                      <a:pt x="42" y="246"/>
                      <a:pt x="40" y="257"/>
                      <a:pt x="37" y="259"/>
                    </a:cubicBezTo>
                    <a:cubicBezTo>
                      <a:pt x="37" y="260"/>
                      <a:pt x="37" y="260"/>
                      <a:pt x="36" y="261"/>
                    </a:cubicBezTo>
                    <a:cubicBezTo>
                      <a:pt x="44" y="263"/>
                      <a:pt x="44" y="263"/>
                      <a:pt x="44" y="263"/>
                    </a:cubicBezTo>
                    <a:cubicBezTo>
                      <a:pt x="46" y="261"/>
                      <a:pt x="46" y="261"/>
                      <a:pt x="46" y="261"/>
                    </a:cubicBezTo>
                    <a:cubicBezTo>
                      <a:pt x="44" y="258"/>
                      <a:pt x="44" y="258"/>
                      <a:pt x="44" y="258"/>
                    </a:cubicBezTo>
                    <a:cubicBezTo>
                      <a:pt x="46" y="255"/>
                      <a:pt x="46" y="255"/>
                      <a:pt x="46" y="255"/>
                    </a:cubicBezTo>
                    <a:cubicBezTo>
                      <a:pt x="60" y="257"/>
                      <a:pt x="60" y="257"/>
                      <a:pt x="60" y="257"/>
                    </a:cubicBezTo>
                    <a:cubicBezTo>
                      <a:pt x="58" y="264"/>
                      <a:pt x="58" y="264"/>
                      <a:pt x="58" y="264"/>
                    </a:cubicBezTo>
                    <a:cubicBezTo>
                      <a:pt x="66" y="272"/>
                      <a:pt x="66" y="272"/>
                      <a:pt x="66" y="272"/>
                    </a:cubicBezTo>
                    <a:cubicBezTo>
                      <a:pt x="66" y="267"/>
                      <a:pt x="66" y="267"/>
                      <a:pt x="66" y="267"/>
                    </a:cubicBezTo>
                    <a:cubicBezTo>
                      <a:pt x="88" y="275"/>
                      <a:pt x="88" y="275"/>
                      <a:pt x="88" y="275"/>
                    </a:cubicBezTo>
                    <a:cubicBezTo>
                      <a:pt x="89" y="281"/>
                      <a:pt x="89" y="281"/>
                      <a:pt x="89" y="281"/>
                    </a:cubicBezTo>
                    <a:cubicBezTo>
                      <a:pt x="102" y="275"/>
                      <a:pt x="102" y="275"/>
                      <a:pt x="102" y="275"/>
                    </a:cubicBezTo>
                    <a:cubicBezTo>
                      <a:pt x="109" y="280"/>
                      <a:pt x="109" y="280"/>
                      <a:pt x="109" y="280"/>
                    </a:cubicBezTo>
                    <a:cubicBezTo>
                      <a:pt x="109" y="280"/>
                      <a:pt x="96" y="288"/>
                      <a:pt x="98" y="291"/>
                    </a:cubicBezTo>
                    <a:cubicBezTo>
                      <a:pt x="100" y="293"/>
                      <a:pt x="109" y="292"/>
                      <a:pt x="110" y="295"/>
                    </a:cubicBezTo>
                    <a:cubicBezTo>
                      <a:pt x="112" y="298"/>
                      <a:pt x="111" y="306"/>
                      <a:pt x="114" y="308"/>
                    </a:cubicBezTo>
                    <a:cubicBezTo>
                      <a:pt x="117" y="310"/>
                      <a:pt x="123" y="308"/>
                      <a:pt x="124" y="306"/>
                    </a:cubicBezTo>
                    <a:cubicBezTo>
                      <a:pt x="124" y="304"/>
                      <a:pt x="130" y="301"/>
                      <a:pt x="130" y="301"/>
                    </a:cubicBezTo>
                    <a:cubicBezTo>
                      <a:pt x="134" y="302"/>
                      <a:pt x="134" y="302"/>
                      <a:pt x="134" y="302"/>
                    </a:cubicBezTo>
                    <a:cubicBezTo>
                      <a:pt x="134" y="302"/>
                      <a:pt x="136" y="296"/>
                      <a:pt x="134" y="296"/>
                    </a:cubicBezTo>
                    <a:cubicBezTo>
                      <a:pt x="132" y="296"/>
                      <a:pt x="128" y="293"/>
                      <a:pt x="128" y="293"/>
                    </a:cubicBezTo>
                    <a:cubicBezTo>
                      <a:pt x="127" y="287"/>
                      <a:pt x="127" y="287"/>
                      <a:pt x="127" y="287"/>
                    </a:cubicBezTo>
                    <a:cubicBezTo>
                      <a:pt x="127" y="287"/>
                      <a:pt x="134" y="289"/>
                      <a:pt x="140" y="291"/>
                    </a:cubicBezTo>
                    <a:cubicBezTo>
                      <a:pt x="146" y="293"/>
                      <a:pt x="150" y="298"/>
                      <a:pt x="150" y="298"/>
                    </a:cubicBezTo>
                    <a:cubicBezTo>
                      <a:pt x="162" y="293"/>
                      <a:pt x="162" y="293"/>
                      <a:pt x="162" y="293"/>
                    </a:cubicBezTo>
                    <a:cubicBezTo>
                      <a:pt x="166" y="298"/>
                      <a:pt x="166" y="298"/>
                      <a:pt x="166" y="298"/>
                    </a:cubicBezTo>
                    <a:cubicBezTo>
                      <a:pt x="162" y="303"/>
                      <a:pt x="162" y="303"/>
                      <a:pt x="162" y="303"/>
                    </a:cubicBezTo>
                    <a:cubicBezTo>
                      <a:pt x="162" y="303"/>
                      <a:pt x="165" y="307"/>
                      <a:pt x="166" y="308"/>
                    </a:cubicBezTo>
                    <a:cubicBezTo>
                      <a:pt x="168" y="309"/>
                      <a:pt x="170" y="315"/>
                      <a:pt x="170" y="315"/>
                    </a:cubicBezTo>
                    <a:cubicBezTo>
                      <a:pt x="175" y="313"/>
                      <a:pt x="175" y="313"/>
                      <a:pt x="175" y="313"/>
                    </a:cubicBezTo>
                    <a:cubicBezTo>
                      <a:pt x="176" y="309"/>
                      <a:pt x="176" y="309"/>
                      <a:pt x="176" y="309"/>
                    </a:cubicBezTo>
                    <a:cubicBezTo>
                      <a:pt x="192" y="314"/>
                      <a:pt x="192" y="314"/>
                      <a:pt x="192" y="314"/>
                    </a:cubicBezTo>
                    <a:cubicBezTo>
                      <a:pt x="202" y="317"/>
                      <a:pt x="202" y="317"/>
                      <a:pt x="202" y="317"/>
                    </a:cubicBezTo>
                    <a:cubicBezTo>
                      <a:pt x="205" y="329"/>
                      <a:pt x="205" y="329"/>
                      <a:pt x="205" y="329"/>
                    </a:cubicBezTo>
                    <a:cubicBezTo>
                      <a:pt x="214" y="329"/>
                      <a:pt x="214" y="329"/>
                      <a:pt x="214" y="329"/>
                    </a:cubicBezTo>
                    <a:cubicBezTo>
                      <a:pt x="218" y="340"/>
                      <a:pt x="218" y="340"/>
                      <a:pt x="218" y="340"/>
                    </a:cubicBezTo>
                    <a:cubicBezTo>
                      <a:pt x="221" y="340"/>
                      <a:pt x="221" y="340"/>
                      <a:pt x="221" y="340"/>
                    </a:cubicBezTo>
                    <a:cubicBezTo>
                      <a:pt x="221" y="348"/>
                      <a:pt x="221" y="348"/>
                      <a:pt x="221" y="348"/>
                    </a:cubicBezTo>
                    <a:cubicBezTo>
                      <a:pt x="231" y="346"/>
                      <a:pt x="231" y="346"/>
                      <a:pt x="231" y="346"/>
                    </a:cubicBezTo>
                    <a:cubicBezTo>
                      <a:pt x="234" y="339"/>
                      <a:pt x="234" y="339"/>
                      <a:pt x="234" y="339"/>
                    </a:cubicBezTo>
                    <a:cubicBezTo>
                      <a:pt x="237" y="339"/>
                      <a:pt x="237" y="339"/>
                      <a:pt x="237" y="339"/>
                    </a:cubicBezTo>
                    <a:cubicBezTo>
                      <a:pt x="237" y="339"/>
                      <a:pt x="238" y="333"/>
                      <a:pt x="243" y="333"/>
                    </a:cubicBezTo>
                    <a:cubicBezTo>
                      <a:pt x="247" y="334"/>
                      <a:pt x="248" y="341"/>
                      <a:pt x="248" y="341"/>
                    </a:cubicBezTo>
                    <a:cubicBezTo>
                      <a:pt x="252" y="341"/>
                      <a:pt x="252" y="341"/>
                      <a:pt x="252" y="341"/>
                    </a:cubicBezTo>
                    <a:cubicBezTo>
                      <a:pt x="251" y="344"/>
                      <a:pt x="251" y="344"/>
                      <a:pt x="251" y="344"/>
                    </a:cubicBezTo>
                    <a:cubicBezTo>
                      <a:pt x="257" y="342"/>
                      <a:pt x="257" y="342"/>
                      <a:pt x="257" y="342"/>
                    </a:cubicBezTo>
                    <a:cubicBezTo>
                      <a:pt x="260" y="349"/>
                      <a:pt x="260" y="349"/>
                      <a:pt x="260" y="349"/>
                    </a:cubicBezTo>
                    <a:cubicBezTo>
                      <a:pt x="260" y="349"/>
                      <a:pt x="255" y="356"/>
                      <a:pt x="259" y="356"/>
                    </a:cubicBezTo>
                    <a:cubicBezTo>
                      <a:pt x="261" y="356"/>
                      <a:pt x="265" y="353"/>
                      <a:pt x="265" y="353"/>
                    </a:cubicBezTo>
                    <a:cubicBezTo>
                      <a:pt x="273" y="356"/>
                      <a:pt x="273" y="356"/>
                      <a:pt x="273" y="356"/>
                    </a:cubicBezTo>
                    <a:cubicBezTo>
                      <a:pt x="276" y="346"/>
                      <a:pt x="276" y="346"/>
                      <a:pt x="276" y="346"/>
                    </a:cubicBezTo>
                    <a:cubicBezTo>
                      <a:pt x="276" y="346"/>
                      <a:pt x="281" y="340"/>
                      <a:pt x="288" y="339"/>
                    </a:cubicBezTo>
                    <a:cubicBezTo>
                      <a:pt x="300" y="339"/>
                      <a:pt x="300" y="339"/>
                      <a:pt x="300" y="339"/>
                    </a:cubicBezTo>
                    <a:cubicBezTo>
                      <a:pt x="300" y="339"/>
                      <a:pt x="301" y="345"/>
                      <a:pt x="308" y="344"/>
                    </a:cubicBezTo>
                    <a:cubicBezTo>
                      <a:pt x="313" y="343"/>
                      <a:pt x="314" y="337"/>
                      <a:pt x="314" y="337"/>
                    </a:cubicBezTo>
                    <a:cubicBezTo>
                      <a:pt x="314" y="337"/>
                      <a:pt x="319" y="333"/>
                      <a:pt x="327" y="331"/>
                    </a:cubicBezTo>
                    <a:cubicBezTo>
                      <a:pt x="334" y="330"/>
                      <a:pt x="337" y="331"/>
                      <a:pt x="337" y="331"/>
                    </a:cubicBezTo>
                    <a:cubicBezTo>
                      <a:pt x="343" y="335"/>
                      <a:pt x="343" y="335"/>
                      <a:pt x="343" y="335"/>
                    </a:cubicBezTo>
                    <a:cubicBezTo>
                      <a:pt x="343" y="335"/>
                      <a:pt x="355" y="335"/>
                      <a:pt x="356" y="337"/>
                    </a:cubicBezTo>
                    <a:cubicBezTo>
                      <a:pt x="357" y="339"/>
                      <a:pt x="357" y="344"/>
                      <a:pt x="357" y="344"/>
                    </a:cubicBezTo>
                    <a:cubicBezTo>
                      <a:pt x="381" y="348"/>
                      <a:pt x="381" y="348"/>
                      <a:pt x="381" y="348"/>
                    </a:cubicBezTo>
                    <a:cubicBezTo>
                      <a:pt x="395" y="352"/>
                      <a:pt x="395" y="352"/>
                      <a:pt x="395" y="352"/>
                    </a:cubicBezTo>
                    <a:cubicBezTo>
                      <a:pt x="396" y="346"/>
                      <a:pt x="396" y="346"/>
                      <a:pt x="396" y="346"/>
                    </a:cubicBezTo>
                    <a:cubicBezTo>
                      <a:pt x="396" y="346"/>
                      <a:pt x="388" y="344"/>
                      <a:pt x="386" y="341"/>
                    </a:cubicBezTo>
                    <a:cubicBezTo>
                      <a:pt x="385" y="338"/>
                      <a:pt x="386" y="335"/>
                      <a:pt x="385" y="330"/>
                    </a:cubicBezTo>
                    <a:cubicBezTo>
                      <a:pt x="385" y="325"/>
                      <a:pt x="379" y="318"/>
                      <a:pt x="379" y="318"/>
                    </a:cubicBezTo>
                    <a:cubicBezTo>
                      <a:pt x="379" y="318"/>
                      <a:pt x="389" y="308"/>
                      <a:pt x="392" y="301"/>
                    </a:cubicBezTo>
                    <a:cubicBezTo>
                      <a:pt x="396" y="294"/>
                      <a:pt x="397" y="283"/>
                      <a:pt x="400" y="279"/>
                    </a:cubicBezTo>
                    <a:cubicBezTo>
                      <a:pt x="404" y="276"/>
                      <a:pt x="414" y="258"/>
                      <a:pt x="414" y="258"/>
                    </a:cubicBezTo>
                    <a:cubicBezTo>
                      <a:pt x="414" y="258"/>
                      <a:pt x="425" y="261"/>
                      <a:pt x="428" y="254"/>
                    </a:cubicBezTo>
                    <a:cubicBezTo>
                      <a:pt x="431" y="246"/>
                      <a:pt x="431" y="238"/>
                      <a:pt x="428" y="235"/>
                    </a:cubicBezTo>
                    <a:cubicBezTo>
                      <a:pt x="425" y="234"/>
                      <a:pt x="421" y="233"/>
                      <a:pt x="422" y="231"/>
                    </a:cubicBez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223" name="Norway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4508500" y="1143000"/>
                <a:ext cx="1471612" cy="1873250"/>
              </a:xfrm>
              <a:custGeom>
                <a:avLst/>
                <a:gdLst/>
                <a:ahLst/>
                <a:cxnLst>
                  <a:cxn ang="0">
                    <a:pos x="626" y="61"/>
                  </a:cxn>
                  <a:cxn ang="0">
                    <a:pos x="605" y="40"/>
                  </a:cxn>
                  <a:cxn ang="0">
                    <a:pos x="586" y="22"/>
                  </a:cxn>
                  <a:cxn ang="0">
                    <a:pos x="547" y="55"/>
                  </a:cxn>
                  <a:cxn ang="0">
                    <a:pos x="532" y="46"/>
                  </a:cxn>
                  <a:cxn ang="0">
                    <a:pos x="465" y="77"/>
                  </a:cxn>
                  <a:cxn ang="0">
                    <a:pos x="445" y="116"/>
                  </a:cxn>
                  <a:cxn ang="0">
                    <a:pos x="410" y="132"/>
                  </a:cxn>
                  <a:cxn ang="0">
                    <a:pos x="380" y="181"/>
                  </a:cxn>
                  <a:cxn ang="0">
                    <a:pos x="374" y="209"/>
                  </a:cxn>
                  <a:cxn ang="0">
                    <a:pos x="330" y="227"/>
                  </a:cxn>
                  <a:cxn ang="0">
                    <a:pos x="331" y="254"/>
                  </a:cxn>
                  <a:cxn ang="0">
                    <a:pos x="331" y="290"/>
                  </a:cxn>
                  <a:cxn ang="0">
                    <a:pos x="275" y="339"/>
                  </a:cxn>
                  <a:cxn ang="0">
                    <a:pos x="261" y="381"/>
                  </a:cxn>
                  <a:cxn ang="0">
                    <a:pos x="252" y="428"/>
                  </a:cxn>
                  <a:cxn ang="0">
                    <a:pos x="198" y="471"/>
                  </a:cxn>
                  <a:cxn ang="0">
                    <a:pos x="224" y="509"/>
                  </a:cxn>
                  <a:cxn ang="0">
                    <a:pos x="141" y="534"/>
                  </a:cxn>
                  <a:cxn ang="0">
                    <a:pos x="122" y="571"/>
                  </a:cxn>
                  <a:cxn ang="0">
                    <a:pos x="96" y="584"/>
                  </a:cxn>
                  <a:cxn ang="0">
                    <a:pos x="69" y="595"/>
                  </a:cxn>
                  <a:cxn ang="0">
                    <a:pos x="26" y="611"/>
                  </a:cxn>
                  <a:cxn ang="0">
                    <a:pos x="23" y="650"/>
                  </a:cxn>
                  <a:cxn ang="0">
                    <a:pos x="83" y="675"/>
                  </a:cxn>
                  <a:cxn ang="0">
                    <a:pos x="74" y="678"/>
                  </a:cxn>
                  <a:cxn ang="0">
                    <a:pos x="38" y="704"/>
                  </a:cxn>
                  <a:cxn ang="0">
                    <a:pos x="55" y="723"/>
                  </a:cxn>
                  <a:cxn ang="0">
                    <a:pos x="42" y="766"/>
                  </a:cxn>
                  <a:cxn ang="0">
                    <a:pos x="26" y="785"/>
                  </a:cxn>
                  <a:cxn ang="0">
                    <a:pos x="34" y="813"/>
                  </a:cxn>
                  <a:cxn ang="0">
                    <a:pos x="65" y="873"/>
                  </a:cxn>
                  <a:cxn ang="0">
                    <a:pos x="182" y="789"/>
                  </a:cxn>
                  <a:cxn ang="0">
                    <a:pos x="230" y="815"/>
                  </a:cxn>
                  <a:cxn ang="0">
                    <a:pos x="305" y="482"/>
                  </a:cxn>
                  <a:cxn ang="0">
                    <a:pos x="443" y="205"/>
                  </a:cxn>
                  <a:cxn ang="0">
                    <a:pos x="595" y="78"/>
                  </a:cxn>
                  <a:cxn ang="0">
                    <a:pos x="18" y="803"/>
                  </a:cxn>
                  <a:cxn ang="0">
                    <a:pos x="10" y="767"/>
                  </a:cxn>
                  <a:cxn ang="0">
                    <a:pos x="14" y="743"/>
                  </a:cxn>
                  <a:cxn ang="0">
                    <a:pos x="10" y="711"/>
                  </a:cxn>
                  <a:cxn ang="0">
                    <a:pos x="8" y="699"/>
                  </a:cxn>
                  <a:cxn ang="0">
                    <a:pos x="7" y="680"/>
                  </a:cxn>
                  <a:cxn ang="0">
                    <a:pos x="15" y="632"/>
                  </a:cxn>
                  <a:cxn ang="0">
                    <a:pos x="44" y="600"/>
                  </a:cxn>
                  <a:cxn ang="0">
                    <a:pos x="58" y="582"/>
                  </a:cxn>
                  <a:cxn ang="0">
                    <a:pos x="106" y="551"/>
                  </a:cxn>
                  <a:cxn ang="0">
                    <a:pos x="123" y="537"/>
                  </a:cxn>
                  <a:cxn ang="0">
                    <a:pos x="162" y="515"/>
                  </a:cxn>
                  <a:cxn ang="0">
                    <a:pos x="259" y="367"/>
                  </a:cxn>
                  <a:cxn ang="0">
                    <a:pos x="264" y="359"/>
                  </a:cxn>
                  <a:cxn ang="0">
                    <a:pos x="301" y="294"/>
                  </a:cxn>
                  <a:cxn ang="0">
                    <a:pos x="351" y="208"/>
                  </a:cxn>
                  <a:cxn ang="0">
                    <a:pos x="296" y="220"/>
                  </a:cxn>
                  <a:cxn ang="0">
                    <a:pos x="362" y="187"/>
                  </a:cxn>
                  <a:cxn ang="0">
                    <a:pos x="322" y="218"/>
                  </a:cxn>
                  <a:cxn ang="0">
                    <a:pos x="320" y="183"/>
                  </a:cxn>
                  <a:cxn ang="0">
                    <a:pos x="367" y="152"/>
                  </a:cxn>
                  <a:cxn ang="0">
                    <a:pos x="411" y="97"/>
                  </a:cxn>
                  <a:cxn ang="0">
                    <a:pos x="407" y="97"/>
                  </a:cxn>
                  <a:cxn ang="0">
                    <a:pos x="492" y="40"/>
                  </a:cxn>
                  <a:cxn ang="0">
                    <a:pos x="514" y="56"/>
                  </a:cxn>
                  <a:cxn ang="0">
                    <a:pos x="538" y="19"/>
                  </a:cxn>
                </a:cxnLst>
                <a:rect l="0" t="0" r="r" b="b"/>
                <a:pathLst>
                  <a:path w="690" h="880">
                    <a:moveTo>
                      <a:pt x="685" y="71"/>
                    </a:moveTo>
                    <a:cubicBezTo>
                      <a:pt x="685" y="68"/>
                      <a:pt x="685" y="68"/>
                      <a:pt x="685" y="68"/>
                    </a:cubicBezTo>
                    <a:cubicBezTo>
                      <a:pt x="681" y="68"/>
                      <a:pt x="681" y="68"/>
                      <a:pt x="681" y="68"/>
                    </a:cubicBezTo>
                    <a:cubicBezTo>
                      <a:pt x="681" y="68"/>
                      <a:pt x="681" y="66"/>
                      <a:pt x="678" y="66"/>
                    </a:cubicBezTo>
                    <a:cubicBezTo>
                      <a:pt x="673" y="66"/>
                      <a:pt x="673" y="66"/>
                      <a:pt x="673" y="66"/>
                    </a:cubicBezTo>
                    <a:cubicBezTo>
                      <a:pt x="675" y="75"/>
                      <a:pt x="675" y="75"/>
                      <a:pt x="675" y="75"/>
                    </a:cubicBezTo>
                    <a:cubicBezTo>
                      <a:pt x="673" y="76"/>
                      <a:pt x="673" y="76"/>
                      <a:pt x="673" y="76"/>
                    </a:cubicBezTo>
                    <a:cubicBezTo>
                      <a:pt x="673" y="72"/>
                      <a:pt x="673" y="72"/>
                      <a:pt x="673" y="72"/>
                    </a:cubicBezTo>
                    <a:cubicBezTo>
                      <a:pt x="668" y="64"/>
                      <a:pt x="668" y="64"/>
                      <a:pt x="668" y="64"/>
                    </a:cubicBezTo>
                    <a:cubicBezTo>
                      <a:pt x="666" y="64"/>
                      <a:pt x="666" y="64"/>
                      <a:pt x="666" y="64"/>
                    </a:cubicBezTo>
                    <a:cubicBezTo>
                      <a:pt x="668" y="72"/>
                      <a:pt x="668" y="72"/>
                      <a:pt x="668" y="72"/>
                    </a:cubicBezTo>
                    <a:cubicBezTo>
                      <a:pt x="666" y="76"/>
                      <a:pt x="666" y="76"/>
                      <a:pt x="666" y="76"/>
                    </a:cubicBezTo>
                    <a:cubicBezTo>
                      <a:pt x="664" y="73"/>
                      <a:pt x="664" y="73"/>
                      <a:pt x="664" y="73"/>
                    </a:cubicBezTo>
                    <a:cubicBezTo>
                      <a:pt x="662" y="76"/>
                      <a:pt x="662" y="76"/>
                      <a:pt x="662" y="76"/>
                    </a:cubicBezTo>
                    <a:cubicBezTo>
                      <a:pt x="659" y="77"/>
                      <a:pt x="659" y="77"/>
                      <a:pt x="659" y="77"/>
                    </a:cubicBezTo>
                    <a:cubicBezTo>
                      <a:pt x="659" y="77"/>
                      <a:pt x="656" y="81"/>
                      <a:pt x="655" y="81"/>
                    </a:cubicBezTo>
                    <a:cubicBezTo>
                      <a:pt x="654" y="80"/>
                      <a:pt x="655" y="77"/>
                      <a:pt x="656" y="75"/>
                    </a:cubicBezTo>
                    <a:cubicBezTo>
                      <a:pt x="657" y="74"/>
                      <a:pt x="657" y="67"/>
                      <a:pt x="654" y="66"/>
                    </a:cubicBezTo>
                    <a:cubicBezTo>
                      <a:pt x="652" y="64"/>
                      <a:pt x="649" y="71"/>
                      <a:pt x="649" y="71"/>
                    </a:cubicBezTo>
                    <a:cubicBezTo>
                      <a:pt x="647" y="71"/>
                      <a:pt x="647" y="71"/>
                      <a:pt x="647" y="71"/>
                    </a:cubicBezTo>
                    <a:cubicBezTo>
                      <a:pt x="647" y="71"/>
                      <a:pt x="653" y="64"/>
                      <a:pt x="649" y="62"/>
                    </a:cubicBezTo>
                    <a:cubicBezTo>
                      <a:pt x="645" y="59"/>
                      <a:pt x="641" y="62"/>
                      <a:pt x="641" y="62"/>
                    </a:cubicBezTo>
                    <a:cubicBezTo>
                      <a:pt x="637" y="59"/>
                      <a:pt x="637" y="59"/>
                      <a:pt x="637" y="59"/>
                    </a:cubicBezTo>
                    <a:cubicBezTo>
                      <a:pt x="633" y="61"/>
                      <a:pt x="633" y="61"/>
                      <a:pt x="633" y="61"/>
                    </a:cubicBezTo>
                    <a:cubicBezTo>
                      <a:pt x="632" y="59"/>
                      <a:pt x="632" y="59"/>
                      <a:pt x="632" y="59"/>
                    </a:cubicBezTo>
                    <a:cubicBezTo>
                      <a:pt x="632" y="59"/>
                      <a:pt x="629" y="62"/>
                      <a:pt x="626" y="61"/>
                    </a:cubicBezTo>
                    <a:cubicBezTo>
                      <a:pt x="624" y="60"/>
                      <a:pt x="626" y="58"/>
                      <a:pt x="626" y="58"/>
                    </a:cubicBezTo>
                    <a:cubicBezTo>
                      <a:pt x="626" y="57"/>
                      <a:pt x="624" y="56"/>
                      <a:pt x="625" y="53"/>
                    </a:cubicBezTo>
                    <a:cubicBezTo>
                      <a:pt x="625" y="51"/>
                      <a:pt x="646" y="57"/>
                      <a:pt x="646" y="57"/>
                    </a:cubicBezTo>
                    <a:cubicBezTo>
                      <a:pt x="646" y="57"/>
                      <a:pt x="655" y="57"/>
                      <a:pt x="662" y="52"/>
                    </a:cubicBezTo>
                    <a:cubicBezTo>
                      <a:pt x="668" y="47"/>
                      <a:pt x="666" y="41"/>
                      <a:pt x="666" y="41"/>
                    </a:cubicBezTo>
                    <a:cubicBezTo>
                      <a:pt x="666" y="41"/>
                      <a:pt x="678" y="35"/>
                      <a:pt x="677" y="30"/>
                    </a:cubicBezTo>
                    <a:cubicBezTo>
                      <a:pt x="675" y="26"/>
                      <a:pt x="667" y="28"/>
                      <a:pt x="667" y="28"/>
                    </a:cubicBezTo>
                    <a:cubicBezTo>
                      <a:pt x="667" y="28"/>
                      <a:pt x="664" y="24"/>
                      <a:pt x="661" y="24"/>
                    </a:cubicBezTo>
                    <a:cubicBezTo>
                      <a:pt x="656" y="24"/>
                      <a:pt x="652" y="27"/>
                      <a:pt x="652" y="27"/>
                    </a:cubicBezTo>
                    <a:cubicBezTo>
                      <a:pt x="655" y="19"/>
                      <a:pt x="655" y="19"/>
                      <a:pt x="655" y="19"/>
                    </a:cubicBezTo>
                    <a:cubicBezTo>
                      <a:pt x="651" y="19"/>
                      <a:pt x="651" y="19"/>
                      <a:pt x="651" y="19"/>
                    </a:cubicBezTo>
                    <a:cubicBezTo>
                      <a:pt x="651" y="19"/>
                      <a:pt x="652" y="16"/>
                      <a:pt x="648" y="16"/>
                    </a:cubicBezTo>
                    <a:cubicBezTo>
                      <a:pt x="644" y="15"/>
                      <a:pt x="645" y="21"/>
                      <a:pt x="642" y="21"/>
                    </a:cubicBezTo>
                    <a:cubicBezTo>
                      <a:pt x="640" y="22"/>
                      <a:pt x="642" y="16"/>
                      <a:pt x="640" y="16"/>
                    </a:cubicBezTo>
                    <a:cubicBezTo>
                      <a:pt x="639" y="16"/>
                      <a:pt x="632" y="22"/>
                      <a:pt x="632" y="22"/>
                    </a:cubicBezTo>
                    <a:cubicBezTo>
                      <a:pt x="632" y="15"/>
                      <a:pt x="632" y="15"/>
                      <a:pt x="632" y="15"/>
                    </a:cubicBezTo>
                    <a:cubicBezTo>
                      <a:pt x="632" y="15"/>
                      <a:pt x="629" y="10"/>
                      <a:pt x="622" y="11"/>
                    </a:cubicBezTo>
                    <a:cubicBezTo>
                      <a:pt x="615" y="11"/>
                      <a:pt x="616" y="22"/>
                      <a:pt x="616" y="22"/>
                    </a:cubicBezTo>
                    <a:cubicBezTo>
                      <a:pt x="617" y="25"/>
                      <a:pt x="617" y="25"/>
                      <a:pt x="617" y="25"/>
                    </a:cubicBezTo>
                    <a:cubicBezTo>
                      <a:pt x="616" y="36"/>
                      <a:pt x="616" y="36"/>
                      <a:pt x="616" y="36"/>
                    </a:cubicBezTo>
                    <a:cubicBezTo>
                      <a:pt x="619" y="36"/>
                      <a:pt x="619" y="36"/>
                      <a:pt x="619" y="36"/>
                    </a:cubicBezTo>
                    <a:cubicBezTo>
                      <a:pt x="619" y="39"/>
                      <a:pt x="619" y="39"/>
                      <a:pt x="619" y="39"/>
                    </a:cubicBezTo>
                    <a:cubicBezTo>
                      <a:pt x="614" y="39"/>
                      <a:pt x="614" y="39"/>
                      <a:pt x="614" y="39"/>
                    </a:cubicBezTo>
                    <a:cubicBezTo>
                      <a:pt x="613" y="35"/>
                      <a:pt x="613" y="35"/>
                      <a:pt x="613" y="35"/>
                    </a:cubicBezTo>
                    <a:cubicBezTo>
                      <a:pt x="608" y="40"/>
                      <a:pt x="608" y="40"/>
                      <a:pt x="608" y="40"/>
                    </a:cubicBezTo>
                    <a:cubicBezTo>
                      <a:pt x="605" y="40"/>
                      <a:pt x="605" y="40"/>
                      <a:pt x="605" y="40"/>
                    </a:cubicBezTo>
                    <a:cubicBezTo>
                      <a:pt x="605" y="42"/>
                      <a:pt x="605" y="42"/>
                      <a:pt x="605" y="42"/>
                    </a:cubicBezTo>
                    <a:cubicBezTo>
                      <a:pt x="603" y="37"/>
                      <a:pt x="603" y="37"/>
                      <a:pt x="603" y="37"/>
                    </a:cubicBezTo>
                    <a:cubicBezTo>
                      <a:pt x="603" y="37"/>
                      <a:pt x="606" y="34"/>
                      <a:pt x="608" y="33"/>
                    </a:cubicBezTo>
                    <a:cubicBezTo>
                      <a:pt x="610" y="31"/>
                      <a:pt x="612" y="25"/>
                      <a:pt x="610" y="22"/>
                    </a:cubicBezTo>
                    <a:cubicBezTo>
                      <a:pt x="609" y="21"/>
                      <a:pt x="605" y="26"/>
                      <a:pt x="604" y="28"/>
                    </a:cubicBezTo>
                    <a:cubicBezTo>
                      <a:pt x="604" y="30"/>
                      <a:pt x="599" y="32"/>
                      <a:pt x="599" y="32"/>
                    </a:cubicBezTo>
                    <a:cubicBezTo>
                      <a:pt x="599" y="32"/>
                      <a:pt x="601" y="29"/>
                      <a:pt x="602" y="28"/>
                    </a:cubicBezTo>
                    <a:cubicBezTo>
                      <a:pt x="603" y="27"/>
                      <a:pt x="606" y="21"/>
                      <a:pt x="606" y="21"/>
                    </a:cubicBezTo>
                    <a:cubicBezTo>
                      <a:pt x="602" y="21"/>
                      <a:pt x="602" y="21"/>
                      <a:pt x="602" y="21"/>
                    </a:cubicBezTo>
                    <a:cubicBezTo>
                      <a:pt x="601" y="21"/>
                      <a:pt x="598" y="25"/>
                      <a:pt x="598" y="25"/>
                    </a:cubicBezTo>
                    <a:cubicBezTo>
                      <a:pt x="598" y="25"/>
                      <a:pt x="598" y="22"/>
                      <a:pt x="599" y="21"/>
                    </a:cubicBezTo>
                    <a:cubicBezTo>
                      <a:pt x="599" y="19"/>
                      <a:pt x="604" y="19"/>
                      <a:pt x="608" y="18"/>
                    </a:cubicBezTo>
                    <a:cubicBezTo>
                      <a:pt x="613" y="17"/>
                      <a:pt x="612" y="5"/>
                      <a:pt x="612" y="5"/>
                    </a:cubicBezTo>
                    <a:cubicBezTo>
                      <a:pt x="606" y="5"/>
                      <a:pt x="606" y="5"/>
                      <a:pt x="606" y="5"/>
                    </a:cubicBezTo>
                    <a:cubicBezTo>
                      <a:pt x="606" y="5"/>
                      <a:pt x="604" y="8"/>
                      <a:pt x="603" y="6"/>
                    </a:cubicBezTo>
                    <a:cubicBezTo>
                      <a:pt x="601" y="6"/>
                      <a:pt x="604" y="2"/>
                      <a:pt x="602" y="1"/>
                    </a:cubicBezTo>
                    <a:cubicBezTo>
                      <a:pt x="600" y="0"/>
                      <a:pt x="598" y="5"/>
                      <a:pt x="596" y="5"/>
                    </a:cubicBezTo>
                    <a:cubicBezTo>
                      <a:pt x="593" y="6"/>
                      <a:pt x="591" y="1"/>
                      <a:pt x="587" y="2"/>
                    </a:cubicBezTo>
                    <a:cubicBezTo>
                      <a:pt x="584" y="4"/>
                      <a:pt x="591" y="11"/>
                      <a:pt x="589" y="11"/>
                    </a:cubicBezTo>
                    <a:cubicBezTo>
                      <a:pt x="587" y="12"/>
                      <a:pt x="585" y="9"/>
                      <a:pt x="581" y="8"/>
                    </a:cubicBezTo>
                    <a:cubicBezTo>
                      <a:pt x="577" y="8"/>
                      <a:pt x="584" y="13"/>
                      <a:pt x="584" y="13"/>
                    </a:cubicBezTo>
                    <a:cubicBezTo>
                      <a:pt x="581" y="14"/>
                      <a:pt x="581" y="14"/>
                      <a:pt x="581" y="14"/>
                    </a:cubicBezTo>
                    <a:cubicBezTo>
                      <a:pt x="583" y="17"/>
                      <a:pt x="583" y="17"/>
                      <a:pt x="583" y="17"/>
                    </a:cubicBezTo>
                    <a:cubicBezTo>
                      <a:pt x="586" y="17"/>
                      <a:pt x="586" y="17"/>
                      <a:pt x="586" y="17"/>
                    </a:cubicBezTo>
                    <a:cubicBezTo>
                      <a:pt x="593" y="21"/>
                      <a:pt x="593" y="21"/>
                      <a:pt x="593" y="21"/>
                    </a:cubicBezTo>
                    <a:cubicBezTo>
                      <a:pt x="586" y="22"/>
                      <a:pt x="586" y="22"/>
                      <a:pt x="586" y="22"/>
                    </a:cubicBezTo>
                    <a:cubicBezTo>
                      <a:pt x="587" y="27"/>
                      <a:pt x="587" y="27"/>
                      <a:pt x="587" y="27"/>
                    </a:cubicBezTo>
                    <a:cubicBezTo>
                      <a:pt x="583" y="27"/>
                      <a:pt x="583" y="27"/>
                      <a:pt x="583" y="27"/>
                    </a:cubicBezTo>
                    <a:cubicBezTo>
                      <a:pt x="583" y="30"/>
                      <a:pt x="583" y="30"/>
                      <a:pt x="583" y="30"/>
                    </a:cubicBezTo>
                    <a:cubicBezTo>
                      <a:pt x="585" y="31"/>
                      <a:pt x="585" y="31"/>
                      <a:pt x="585" y="31"/>
                    </a:cubicBezTo>
                    <a:cubicBezTo>
                      <a:pt x="585" y="35"/>
                      <a:pt x="585" y="35"/>
                      <a:pt x="585" y="35"/>
                    </a:cubicBezTo>
                    <a:cubicBezTo>
                      <a:pt x="587" y="36"/>
                      <a:pt x="587" y="36"/>
                      <a:pt x="587" y="36"/>
                    </a:cubicBezTo>
                    <a:cubicBezTo>
                      <a:pt x="582" y="37"/>
                      <a:pt x="582" y="37"/>
                      <a:pt x="582" y="37"/>
                    </a:cubicBezTo>
                    <a:cubicBezTo>
                      <a:pt x="587" y="45"/>
                      <a:pt x="587" y="45"/>
                      <a:pt x="587" y="45"/>
                    </a:cubicBezTo>
                    <a:cubicBezTo>
                      <a:pt x="580" y="45"/>
                      <a:pt x="580" y="45"/>
                      <a:pt x="580" y="45"/>
                    </a:cubicBezTo>
                    <a:cubicBezTo>
                      <a:pt x="576" y="55"/>
                      <a:pt x="576" y="55"/>
                      <a:pt x="576" y="55"/>
                    </a:cubicBezTo>
                    <a:cubicBezTo>
                      <a:pt x="574" y="35"/>
                      <a:pt x="574" y="35"/>
                      <a:pt x="574" y="35"/>
                    </a:cubicBezTo>
                    <a:cubicBezTo>
                      <a:pt x="569" y="37"/>
                      <a:pt x="569" y="37"/>
                      <a:pt x="569" y="37"/>
                    </a:cubicBezTo>
                    <a:cubicBezTo>
                      <a:pt x="575" y="26"/>
                      <a:pt x="575" y="26"/>
                      <a:pt x="575" y="26"/>
                    </a:cubicBezTo>
                    <a:cubicBezTo>
                      <a:pt x="573" y="24"/>
                      <a:pt x="573" y="24"/>
                      <a:pt x="573" y="24"/>
                    </a:cubicBezTo>
                    <a:cubicBezTo>
                      <a:pt x="573" y="24"/>
                      <a:pt x="574" y="17"/>
                      <a:pt x="569" y="17"/>
                    </a:cubicBezTo>
                    <a:cubicBezTo>
                      <a:pt x="564" y="18"/>
                      <a:pt x="564" y="32"/>
                      <a:pt x="564" y="32"/>
                    </a:cubicBezTo>
                    <a:cubicBezTo>
                      <a:pt x="560" y="33"/>
                      <a:pt x="560" y="33"/>
                      <a:pt x="560" y="33"/>
                    </a:cubicBezTo>
                    <a:cubicBezTo>
                      <a:pt x="560" y="33"/>
                      <a:pt x="561" y="41"/>
                      <a:pt x="558" y="45"/>
                    </a:cubicBezTo>
                    <a:cubicBezTo>
                      <a:pt x="556" y="50"/>
                      <a:pt x="550" y="60"/>
                      <a:pt x="550" y="60"/>
                    </a:cubicBezTo>
                    <a:cubicBezTo>
                      <a:pt x="550" y="60"/>
                      <a:pt x="555" y="62"/>
                      <a:pt x="554" y="65"/>
                    </a:cubicBezTo>
                    <a:cubicBezTo>
                      <a:pt x="553" y="68"/>
                      <a:pt x="551" y="73"/>
                      <a:pt x="551" y="73"/>
                    </a:cubicBezTo>
                    <a:cubicBezTo>
                      <a:pt x="549" y="78"/>
                      <a:pt x="549" y="78"/>
                      <a:pt x="549" y="78"/>
                    </a:cubicBezTo>
                    <a:cubicBezTo>
                      <a:pt x="546" y="74"/>
                      <a:pt x="546" y="74"/>
                      <a:pt x="546" y="74"/>
                    </a:cubicBezTo>
                    <a:cubicBezTo>
                      <a:pt x="544" y="77"/>
                      <a:pt x="544" y="77"/>
                      <a:pt x="544" y="77"/>
                    </a:cubicBezTo>
                    <a:cubicBezTo>
                      <a:pt x="541" y="71"/>
                      <a:pt x="541" y="71"/>
                      <a:pt x="541" y="71"/>
                    </a:cubicBezTo>
                    <a:cubicBezTo>
                      <a:pt x="547" y="55"/>
                      <a:pt x="547" y="55"/>
                      <a:pt x="547" y="55"/>
                    </a:cubicBezTo>
                    <a:cubicBezTo>
                      <a:pt x="542" y="55"/>
                      <a:pt x="542" y="55"/>
                      <a:pt x="542" y="55"/>
                    </a:cubicBezTo>
                    <a:cubicBezTo>
                      <a:pt x="541" y="52"/>
                      <a:pt x="541" y="52"/>
                      <a:pt x="541" y="52"/>
                    </a:cubicBezTo>
                    <a:cubicBezTo>
                      <a:pt x="553" y="34"/>
                      <a:pt x="553" y="34"/>
                      <a:pt x="553" y="34"/>
                    </a:cubicBezTo>
                    <a:cubicBezTo>
                      <a:pt x="551" y="32"/>
                      <a:pt x="551" y="32"/>
                      <a:pt x="551" y="32"/>
                    </a:cubicBezTo>
                    <a:cubicBezTo>
                      <a:pt x="551" y="32"/>
                      <a:pt x="556" y="25"/>
                      <a:pt x="554" y="24"/>
                    </a:cubicBezTo>
                    <a:cubicBezTo>
                      <a:pt x="552" y="22"/>
                      <a:pt x="546" y="29"/>
                      <a:pt x="546" y="29"/>
                    </a:cubicBezTo>
                    <a:cubicBezTo>
                      <a:pt x="546" y="22"/>
                      <a:pt x="546" y="22"/>
                      <a:pt x="546" y="22"/>
                    </a:cubicBezTo>
                    <a:cubicBezTo>
                      <a:pt x="540" y="22"/>
                      <a:pt x="540" y="22"/>
                      <a:pt x="540" y="22"/>
                    </a:cubicBezTo>
                    <a:cubicBezTo>
                      <a:pt x="542" y="26"/>
                      <a:pt x="542" y="26"/>
                      <a:pt x="542" y="26"/>
                    </a:cubicBezTo>
                    <a:cubicBezTo>
                      <a:pt x="541" y="31"/>
                      <a:pt x="541" y="31"/>
                      <a:pt x="541" y="31"/>
                    </a:cubicBezTo>
                    <a:cubicBezTo>
                      <a:pt x="537" y="26"/>
                      <a:pt x="537" y="26"/>
                      <a:pt x="537" y="26"/>
                    </a:cubicBezTo>
                    <a:cubicBezTo>
                      <a:pt x="534" y="29"/>
                      <a:pt x="534" y="29"/>
                      <a:pt x="534" y="29"/>
                    </a:cubicBezTo>
                    <a:cubicBezTo>
                      <a:pt x="535" y="24"/>
                      <a:pt x="535" y="24"/>
                      <a:pt x="535" y="24"/>
                    </a:cubicBezTo>
                    <a:cubicBezTo>
                      <a:pt x="534" y="22"/>
                      <a:pt x="534" y="22"/>
                      <a:pt x="534" y="22"/>
                    </a:cubicBezTo>
                    <a:cubicBezTo>
                      <a:pt x="532" y="26"/>
                      <a:pt x="532" y="26"/>
                      <a:pt x="532" y="26"/>
                    </a:cubicBezTo>
                    <a:cubicBezTo>
                      <a:pt x="525" y="21"/>
                      <a:pt x="525" y="21"/>
                      <a:pt x="525" y="21"/>
                    </a:cubicBezTo>
                    <a:cubicBezTo>
                      <a:pt x="523" y="27"/>
                      <a:pt x="523" y="27"/>
                      <a:pt x="523" y="27"/>
                    </a:cubicBezTo>
                    <a:cubicBezTo>
                      <a:pt x="530" y="30"/>
                      <a:pt x="530" y="30"/>
                      <a:pt x="530" y="30"/>
                    </a:cubicBezTo>
                    <a:cubicBezTo>
                      <a:pt x="526" y="31"/>
                      <a:pt x="526" y="31"/>
                      <a:pt x="526" y="31"/>
                    </a:cubicBezTo>
                    <a:cubicBezTo>
                      <a:pt x="526" y="35"/>
                      <a:pt x="526" y="35"/>
                      <a:pt x="526" y="35"/>
                    </a:cubicBezTo>
                    <a:cubicBezTo>
                      <a:pt x="523" y="34"/>
                      <a:pt x="523" y="34"/>
                      <a:pt x="523" y="34"/>
                    </a:cubicBezTo>
                    <a:cubicBezTo>
                      <a:pt x="522" y="32"/>
                      <a:pt x="522" y="32"/>
                      <a:pt x="522" y="32"/>
                    </a:cubicBezTo>
                    <a:cubicBezTo>
                      <a:pt x="519" y="32"/>
                      <a:pt x="519" y="32"/>
                      <a:pt x="519" y="32"/>
                    </a:cubicBezTo>
                    <a:cubicBezTo>
                      <a:pt x="519" y="39"/>
                      <a:pt x="519" y="39"/>
                      <a:pt x="519" y="39"/>
                    </a:cubicBezTo>
                    <a:cubicBezTo>
                      <a:pt x="526" y="40"/>
                      <a:pt x="526" y="40"/>
                      <a:pt x="526" y="40"/>
                    </a:cubicBezTo>
                    <a:cubicBezTo>
                      <a:pt x="532" y="46"/>
                      <a:pt x="532" y="46"/>
                      <a:pt x="532" y="46"/>
                    </a:cubicBezTo>
                    <a:cubicBezTo>
                      <a:pt x="532" y="48"/>
                      <a:pt x="532" y="48"/>
                      <a:pt x="532" y="48"/>
                    </a:cubicBezTo>
                    <a:cubicBezTo>
                      <a:pt x="532" y="48"/>
                      <a:pt x="530" y="46"/>
                      <a:pt x="527" y="45"/>
                    </a:cubicBezTo>
                    <a:cubicBezTo>
                      <a:pt x="525" y="43"/>
                      <a:pt x="521" y="43"/>
                      <a:pt x="521" y="43"/>
                    </a:cubicBezTo>
                    <a:cubicBezTo>
                      <a:pt x="520" y="53"/>
                      <a:pt x="520" y="53"/>
                      <a:pt x="520" y="53"/>
                    </a:cubicBezTo>
                    <a:cubicBezTo>
                      <a:pt x="522" y="52"/>
                      <a:pt x="522" y="52"/>
                      <a:pt x="522" y="52"/>
                    </a:cubicBezTo>
                    <a:cubicBezTo>
                      <a:pt x="525" y="58"/>
                      <a:pt x="525" y="58"/>
                      <a:pt x="525" y="58"/>
                    </a:cubicBezTo>
                    <a:cubicBezTo>
                      <a:pt x="525" y="58"/>
                      <a:pt x="522" y="57"/>
                      <a:pt x="519" y="56"/>
                    </a:cubicBezTo>
                    <a:cubicBezTo>
                      <a:pt x="515" y="56"/>
                      <a:pt x="514" y="59"/>
                      <a:pt x="514" y="59"/>
                    </a:cubicBezTo>
                    <a:cubicBezTo>
                      <a:pt x="505" y="75"/>
                      <a:pt x="505" y="75"/>
                      <a:pt x="505" y="75"/>
                    </a:cubicBezTo>
                    <a:cubicBezTo>
                      <a:pt x="507" y="75"/>
                      <a:pt x="507" y="75"/>
                      <a:pt x="507" y="75"/>
                    </a:cubicBezTo>
                    <a:cubicBezTo>
                      <a:pt x="504" y="78"/>
                      <a:pt x="504" y="78"/>
                      <a:pt x="504" y="78"/>
                    </a:cubicBezTo>
                    <a:cubicBezTo>
                      <a:pt x="508" y="83"/>
                      <a:pt x="508" y="83"/>
                      <a:pt x="508" y="83"/>
                    </a:cubicBezTo>
                    <a:cubicBezTo>
                      <a:pt x="505" y="85"/>
                      <a:pt x="505" y="85"/>
                      <a:pt x="505" y="85"/>
                    </a:cubicBezTo>
                    <a:cubicBezTo>
                      <a:pt x="513" y="90"/>
                      <a:pt x="513" y="90"/>
                      <a:pt x="513" y="90"/>
                    </a:cubicBezTo>
                    <a:cubicBezTo>
                      <a:pt x="504" y="92"/>
                      <a:pt x="504" y="92"/>
                      <a:pt x="504" y="92"/>
                    </a:cubicBezTo>
                    <a:cubicBezTo>
                      <a:pt x="499" y="83"/>
                      <a:pt x="499" y="83"/>
                      <a:pt x="499" y="83"/>
                    </a:cubicBezTo>
                    <a:cubicBezTo>
                      <a:pt x="486" y="91"/>
                      <a:pt x="486" y="91"/>
                      <a:pt x="486" y="91"/>
                    </a:cubicBezTo>
                    <a:cubicBezTo>
                      <a:pt x="486" y="89"/>
                      <a:pt x="486" y="89"/>
                      <a:pt x="486" y="89"/>
                    </a:cubicBezTo>
                    <a:cubicBezTo>
                      <a:pt x="486" y="89"/>
                      <a:pt x="497" y="83"/>
                      <a:pt x="498" y="79"/>
                    </a:cubicBezTo>
                    <a:cubicBezTo>
                      <a:pt x="499" y="76"/>
                      <a:pt x="489" y="78"/>
                      <a:pt x="489" y="78"/>
                    </a:cubicBezTo>
                    <a:cubicBezTo>
                      <a:pt x="489" y="78"/>
                      <a:pt x="486" y="75"/>
                      <a:pt x="484" y="78"/>
                    </a:cubicBezTo>
                    <a:cubicBezTo>
                      <a:pt x="481" y="81"/>
                      <a:pt x="487" y="84"/>
                      <a:pt x="487" y="84"/>
                    </a:cubicBezTo>
                    <a:cubicBezTo>
                      <a:pt x="483" y="84"/>
                      <a:pt x="483" y="84"/>
                      <a:pt x="483" y="84"/>
                    </a:cubicBezTo>
                    <a:cubicBezTo>
                      <a:pt x="483" y="84"/>
                      <a:pt x="481" y="76"/>
                      <a:pt x="476" y="76"/>
                    </a:cubicBezTo>
                    <a:cubicBezTo>
                      <a:pt x="472" y="76"/>
                      <a:pt x="472" y="82"/>
                      <a:pt x="472" y="82"/>
                    </a:cubicBezTo>
                    <a:cubicBezTo>
                      <a:pt x="465" y="77"/>
                      <a:pt x="465" y="77"/>
                      <a:pt x="465" y="77"/>
                    </a:cubicBezTo>
                    <a:cubicBezTo>
                      <a:pt x="464" y="80"/>
                      <a:pt x="464" y="80"/>
                      <a:pt x="464" y="80"/>
                    </a:cubicBezTo>
                    <a:cubicBezTo>
                      <a:pt x="464" y="80"/>
                      <a:pt x="460" y="79"/>
                      <a:pt x="458" y="82"/>
                    </a:cubicBezTo>
                    <a:cubicBezTo>
                      <a:pt x="456" y="87"/>
                      <a:pt x="465" y="87"/>
                      <a:pt x="465" y="87"/>
                    </a:cubicBezTo>
                    <a:cubicBezTo>
                      <a:pt x="462" y="90"/>
                      <a:pt x="462" y="90"/>
                      <a:pt x="462" y="90"/>
                    </a:cubicBezTo>
                    <a:cubicBezTo>
                      <a:pt x="472" y="92"/>
                      <a:pt x="472" y="92"/>
                      <a:pt x="472" y="92"/>
                    </a:cubicBezTo>
                    <a:cubicBezTo>
                      <a:pt x="477" y="91"/>
                      <a:pt x="477" y="91"/>
                      <a:pt x="477" y="91"/>
                    </a:cubicBezTo>
                    <a:cubicBezTo>
                      <a:pt x="473" y="94"/>
                      <a:pt x="473" y="94"/>
                      <a:pt x="473" y="94"/>
                    </a:cubicBezTo>
                    <a:cubicBezTo>
                      <a:pt x="474" y="95"/>
                      <a:pt x="474" y="95"/>
                      <a:pt x="474" y="95"/>
                    </a:cubicBezTo>
                    <a:cubicBezTo>
                      <a:pt x="478" y="94"/>
                      <a:pt x="478" y="94"/>
                      <a:pt x="478" y="94"/>
                    </a:cubicBezTo>
                    <a:cubicBezTo>
                      <a:pt x="478" y="97"/>
                      <a:pt x="478" y="97"/>
                      <a:pt x="478" y="97"/>
                    </a:cubicBezTo>
                    <a:cubicBezTo>
                      <a:pt x="475" y="97"/>
                      <a:pt x="475" y="97"/>
                      <a:pt x="475" y="97"/>
                    </a:cubicBezTo>
                    <a:cubicBezTo>
                      <a:pt x="478" y="103"/>
                      <a:pt x="478" y="103"/>
                      <a:pt x="478" y="103"/>
                    </a:cubicBezTo>
                    <a:cubicBezTo>
                      <a:pt x="478" y="106"/>
                      <a:pt x="478" y="106"/>
                      <a:pt x="478" y="106"/>
                    </a:cubicBezTo>
                    <a:cubicBezTo>
                      <a:pt x="478" y="106"/>
                      <a:pt x="484" y="110"/>
                      <a:pt x="482" y="111"/>
                    </a:cubicBezTo>
                    <a:cubicBezTo>
                      <a:pt x="479" y="112"/>
                      <a:pt x="474" y="103"/>
                      <a:pt x="474" y="103"/>
                    </a:cubicBezTo>
                    <a:cubicBezTo>
                      <a:pt x="469" y="100"/>
                      <a:pt x="469" y="100"/>
                      <a:pt x="469" y="100"/>
                    </a:cubicBezTo>
                    <a:cubicBezTo>
                      <a:pt x="469" y="100"/>
                      <a:pt x="465" y="94"/>
                      <a:pt x="460" y="94"/>
                    </a:cubicBezTo>
                    <a:cubicBezTo>
                      <a:pt x="457" y="94"/>
                      <a:pt x="459" y="100"/>
                      <a:pt x="459" y="100"/>
                    </a:cubicBezTo>
                    <a:cubicBezTo>
                      <a:pt x="461" y="104"/>
                      <a:pt x="461" y="104"/>
                      <a:pt x="461" y="104"/>
                    </a:cubicBezTo>
                    <a:cubicBezTo>
                      <a:pt x="458" y="106"/>
                      <a:pt x="458" y="106"/>
                      <a:pt x="458" y="106"/>
                    </a:cubicBezTo>
                    <a:cubicBezTo>
                      <a:pt x="456" y="111"/>
                      <a:pt x="456" y="111"/>
                      <a:pt x="456" y="111"/>
                    </a:cubicBezTo>
                    <a:cubicBezTo>
                      <a:pt x="454" y="106"/>
                      <a:pt x="454" y="106"/>
                      <a:pt x="454" y="106"/>
                    </a:cubicBezTo>
                    <a:cubicBezTo>
                      <a:pt x="457" y="102"/>
                      <a:pt x="457" y="102"/>
                      <a:pt x="457" y="102"/>
                    </a:cubicBezTo>
                    <a:cubicBezTo>
                      <a:pt x="457" y="100"/>
                      <a:pt x="457" y="100"/>
                      <a:pt x="457" y="100"/>
                    </a:cubicBezTo>
                    <a:cubicBezTo>
                      <a:pt x="451" y="106"/>
                      <a:pt x="451" y="106"/>
                      <a:pt x="451" y="106"/>
                    </a:cubicBezTo>
                    <a:cubicBezTo>
                      <a:pt x="445" y="116"/>
                      <a:pt x="445" y="116"/>
                      <a:pt x="445" y="116"/>
                    </a:cubicBezTo>
                    <a:cubicBezTo>
                      <a:pt x="448" y="124"/>
                      <a:pt x="448" y="124"/>
                      <a:pt x="448" y="124"/>
                    </a:cubicBezTo>
                    <a:cubicBezTo>
                      <a:pt x="452" y="129"/>
                      <a:pt x="452" y="129"/>
                      <a:pt x="452" y="129"/>
                    </a:cubicBezTo>
                    <a:cubicBezTo>
                      <a:pt x="444" y="126"/>
                      <a:pt x="444" y="126"/>
                      <a:pt x="444" y="126"/>
                    </a:cubicBezTo>
                    <a:cubicBezTo>
                      <a:pt x="442" y="140"/>
                      <a:pt x="442" y="140"/>
                      <a:pt x="442" y="140"/>
                    </a:cubicBezTo>
                    <a:cubicBezTo>
                      <a:pt x="440" y="140"/>
                      <a:pt x="440" y="140"/>
                      <a:pt x="440" y="140"/>
                    </a:cubicBezTo>
                    <a:cubicBezTo>
                      <a:pt x="436" y="147"/>
                      <a:pt x="436" y="147"/>
                      <a:pt x="436" y="147"/>
                    </a:cubicBezTo>
                    <a:cubicBezTo>
                      <a:pt x="434" y="144"/>
                      <a:pt x="434" y="144"/>
                      <a:pt x="434" y="144"/>
                    </a:cubicBezTo>
                    <a:cubicBezTo>
                      <a:pt x="439" y="138"/>
                      <a:pt x="439" y="138"/>
                      <a:pt x="439" y="138"/>
                    </a:cubicBezTo>
                    <a:cubicBezTo>
                      <a:pt x="441" y="129"/>
                      <a:pt x="441" y="129"/>
                      <a:pt x="441" y="129"/>
                    </a:cubicBezTo>
                    <a:cubicBezTo>
                      <a:pt x="440" y="128"/>
                      <a:pt x="440" y="128"/>
                      <a:pt x="440" y="128"/>
                    </a:cubicBezTo>
                    <a:cubicBezTo>
                      <a:pt x="443" y="125"/>
                      <a:pt x="443" y="125"/>
                      <a:pt x="443" y="125"/>
                    </a:cubicBezTo>
                    <a:cubicBezTo>
                      <a:pt x="441" y="120"/>
                      <a:pt x="441" y="120"/>
                      <a:pt x="441" y="120"/>
                    </a:cubicBezTo>
                    <a:cubicBezTo>
                      <a:pt x="441" y="112"/>
                      <a:pt x="441" y="112"/>
                      <a:pt x="441" y="112"/>
                    </a:cubicBezTo>
                    <a:cubicBezTo>
                      <a:pt x="441" y="109"/>
                      <a:pt x="439" y="102"/>
                      <a:pt x="439" y="102"/>
                    </a:cubicBezTo>
                    <a:cubicBezTo>
                      <a:pt x="434" y="106"/>
                      <a:pt x="434" y="106"/>
                      <a:pt x="434" y="106"/>
                    </a:cubicBezTo>
                    <a:cubicBezTo>
                      <a:pt x="434" y="106"/>
                      <a:pt x="435" y="112"/>
                      <a:pt x="432" y="115"/>
                    </a:cubicBezTo>
                    <a:cubicBezTo>
                      <a:pt x="428" y="118"/>
                      <a:pt x="431" y="124"/>
                      <a:pt x="431" y="124"/>
                    </a:cubicBezTo>
                    <a:cubicBezTo>
                      <a:pt x="434" y="126"/>
                      <a:pt x="434" y="126"/>
                      <a:pt x="434" y="126"/>
                    </a:cubicBezTo>
                    <a:cubicBezTo>
                      <a:pt x="429" y="128"/>
                      <a:pt x="429" y="128"/>
                      <a:pt x="429" y="128"/>
                    </a:cubicBezTo>
                    <a:cubicBezTo>
                      <a:pt x="429" y="137"/>
                      <a:pt x="429" y="137"/>
                      <a:pt x="429" y="137"/>
                    </a:cubicBezTo>
                    <a:cubicBezTo>
                      <a:pt x="424" y="138"/>
                      <a:pt x="424" y="138"/>
                      <a:pt x="424" y="138"/>
                    </a:cubicBezTo>
                    <a:cubicBezTo>
                      <a:pt x="427" y="124"/>
                      <a:pt x="427" y="124"/>
                      <a:pt x="427" y="124"/>
                    </a:cubicBezTo>
                    <a:cubicBezTo>
                      <a:pt x="426" y="124"/>
                      <a:pt x="426" y="124"/>
                      <a:pt x="426" y="124"/>
                    </a:cubicBezTo>
                    <a:cubicBezTo>
                      <a:pt x="426" y="113"/>
                      <a:pt x="426" y="113"/>
                      <a:pt x="426" y="113"/>
                    </a:cubicBezTo>
                    <a:cubicBezTo>
                      <a:pt x="426" y="113"/>
                      <a:pt x="421" y="115"/>
                      <a:pt x="413" y="119"/>
                    </a:cubicBezTo>
                    <a:cubicBezTo>
                      <a:pt x="405" y="121"/>
                      <a:pt x="410" y="132"/>
                      <a:pt x="410" y="132"/>
                    </a:cubicBezTo>
                    <a:cubicBezTo>
                      <a:pt x="413" y="132"/>
                      <a:pt x="413" y="132"/>
                      <a:pt x="413" y="132"/>
                    </a:cubicBezTo>
                    <a:cubicBezTo>
                      <a:pt x="413" y="132"/>
                      <a:pt x="413" y="134"/>
                      <a:pt x="412" y="137"/>
                    </a:cubicBezTo>
                    <a:cubicBezTo>
                      <a:pt x="411" y="139"/>
                      <a:pt x="416" y="142"/>
                      <a:pt x="420" y="142"/>
                    </a:cubicBezTo>
                    <a:cubicBezTo>
                      <a:pt x="424" y="143"/>
                      <a:pt x="424" y="150"/>
                      <a:pt x="424" y="150"/>
                    </a:cubicBezTo>
                    <a:cubicBezTo>
                      <a:pt x="427" y="151"/>
                      <a:pt x="427" y="151"/>
                      <a:pt x="427" y="151"/>
                    </a:cubicBezTo>
                    <a:cubicBezTo>
                      <a:pt x="425" y="152"/>
                      <a:pt x="425" y="152"/>
                      <a:pt x="425" y="152"/>
                    </a:cubicBezTo>
                    <a:cubicBezTo>
                      <a:pt x="425" y="152"/>
                      <a:pt x="421" y="150"/>
                      <a:pt x="421" y="147"/>
                    </a:cubicBezTo>
                    <a:cubicBezTo>
                      <a:pt x="421" y="144"/>
                      <a:pt x="416" y="144"/>
                      <a:pt x="412" y="143"/>
                    </a:cubicBezTo>
                    <a:cubicBezTo>
                      <a:pt x="410" y="143"/>
                      <a:pt x="407" y="134"/>
                      <a:pt x="407" y="134"/>
                    </a:cubicBezTo>
                    <a:cubicBezTo>
                      <a:pt x="399" y="136"/>
                      <a:pt x="399" y="136"/>
                      <a:pt x="399" y="136"/>
                    </a:cubicBezTo>
                    <a:cubicBezTo>
                      <a:pt x="399" y="136"/>
                      <a:pt x="400" y="140"/>
                      <a:pt x="402" y="143"/>
                    </a:cubicBezTo>
                    <a:cubicBezTo>
                      <a:pt x="405" y="146"/>
                      <a:pt x="409" y="147"/>
                      <a:pt x="409" y="147"/>
                    </a:cubicBezTo>
                    <a:cubicBezTo>
                      <a:pt x="409" y="147"/>
                      <a:pt x="405" y="148"/>
                      <a:pt x="402" y="146"/>
                    </a:cubicBezTo>
                    <a:cubicBezTo>
                      <a:pt x="399" y="145"/>
                      <a:pt x="394" y="138"/>
                      <a:pt x="394" y="138"/>
                    </a:cubicBezTo>
                    <a:cubicBezTo>
                      <a:pt x="390" y="139"/>
                      <a:pt x="390" y="139"/>
                      <a:pt x="390" y="139"/>
                    </a:cubicBezTo>
                    <a:cubicBezTo>
                      <a:pt x="392" y="145"/>
                      <a:pt x="392" y="145"/>
                      <a:pt x="392" y="145"/>
                    </a:cubicBezTo>
                    <a:cubicBezTo>
                      <a:pt x="388" y="151"/>
                      <a:pt x="388" y="151"/>
                      <a:pt x="388" y="151"/>
                    </a:cubicBezTo>
                    <a:cubicBezTo>
                      <a:pt x="392" y="159"/>
                      <a:pt x="392" y="159"/>
                      <a:pt x="392" y="159"/>
                    </a:cubicBezTo>
                    <a:cubicBezTo>
                      <a:pt x="380" y="160"/>
                      <a:pt x="380" y="160"/>
                      <a:pt x="380" y="160"/>
                    </a:cubicBezTo>
                    <a:cubicBezTo>
                      <a:pt x="384" y="165"/>
                      <a:pt x="384" y="165"/>
                      <a:pt x="384" y="165"/>
                    </a:cubicBezTo>
                    <a:cubicBezTo>
                      <a:pt x="379" y="169"/>
                      <a:pt x="379" y="169"/>
                      <a:pt x="379" y="169"/>
                    </a:cubicBezTo>
                    <a:cubicBezTo>
                      <a:pt x="379" y="175"/>
                      <a:pt x="379" y="175"/>
                      <a:pt x="379" y="175"/>
                    </a:cubicBezTo>
                    <a:cubicBezTo>
                      <a:pt x="384" y="174"/>
                      <a:pt x="384" y="174"/>
                      <a:pt x="384" y="174"/>
                    </a:cubicBezTo>
                    <a:cubicBezTo>
                      <a:pt x="387" y="176"/>
                      <a:pt x="387" y="176"/>
                      <a:pt x="387" y="176"/>
                    </a:cubicBezTo>
                    <a:cubicBezTo>
                      <a:pt x="383" y="176"/>
                      <a:pt x="383" y="176"/>
                      <a:pt x="383" y="176"/>
                    </a:cubicBezTo>
                    <a:cubicBezTo>
                      <a:pt x="380" y="181"/>
                      <a:pt x="380" y="181"/>
                      <a:pt x="380" y="181"/>
                    </a:cubicBezTo>
                    <a:cubicBezTo>
                      <a:pt x="385" y="183"/>
                      <a:pt x="385" y="183"/>
                      <a:pt x="385" y="183"/>
                    </a:cubicBezTo>
                    <a:cubicBezTo>
                      <a:pt x="377" y="183"/>
                      <a:pt x="377" y="183"/>
                      <a:pt x="377" y="183"/>
                    </a:cubicBezTo>
                    <a:cubicBezTo>
                      <a:pt x="371" y="184"/>
                      <a:pt x="377" y="187"/>
                      <a:pt x="377" y="187"/>
                    </a:cubicBezTo>
                    <a:cubicBezTo>
                      <a:pt x="382" y="189"/>
                      <a:pt x="382" y="189"/>
                      <a:pt x="382" y="189"/>
                    </a:cubicBezTo>
                    <a:cubicBezTo>
                      <a:pt x="382" y="189"/>
                      <a:pt x="375" y="187"/>
                      <a:pt x="372" y="188"/>
                    </a:cubicBezTo>
                    <a:cubicBezTo>
                      <a:pt x="370" y="188"/>
                      <a:pt x="371" y="190"/>
                      <a:pt x="371" y="190"/>
                    </a:cubicBezTo>
                    <a:cubicBezTo>
                      <a:pt x="375" y="191"/>
                      <a:pt x="375" y="191"/>
                      <a:pt x="375" y="191"/>
                    </a:cubicBezTo>
                    <a:cubicBezTo>
                      <a:pt x="374" y="195"/>
                      <a:pt x="374" y="195"/>
                      <a:pt x="374" y="195"/>
                    </a:cubicBezTo>
                    <a:cubicBezTo>
                      <a:pt x="374" y="192"/>
                      <a:pt x="374" y="192"/>
                      <a:pt x="374" y="192"/>
                    </a:cubicBezTo>
                    <a:cubicBezTo>
                      <a:pt x="370" y="191"/>
                      <a:pt x="370" y="191"/>
                      <a:pt x="370" y="191"/>
                    </a:cubicBezTo>
                    <a:cubicBezTo>
                      <a:pt x="368" y="188"/>
                      <a:pt x="368" y="188"/>
                      <a:pt x="368" y="188"/>
                    </a:cubicBezTo>
                    <a:cubicBezTo>
                      <a:pt x="367" y="191"/>
                      <a:pt x="367" y="191"/>
                      <a:pt x="367" y="191"/>
                    </a:cubicBezTo>
                    <a:cubicBezTo>
                      <a:pt x="367" y="191"/>
                      <a:pt x="366" y="192"/>
                      <a:pt x="361" y="192"/>
                    </a:cubicBezTo>
                    <a:cubicBezTo>
                      <a:pt x="357" y="192"/>
                      <a:pt x="357" y="200"/>
                      <a:pt x="357" y="200"/>
                    </a:cubicBezTo>
                    <a:cubicBezTo>
                      <a:pt x="355" y="202"/>
                      <a:pt x="355" y="202"/>
                      <a:pt x="355" y="202"/>
                    </a:cubicBezTo>
                    <a:cubicBezTo>
                      <a:pt x="357" y="206"/>
                      <a:pt x="357" y="206"/>
                      <a:pt x="357" y="206"/>
                    </a:cubicBezTo>
                    <a:cubicBezTo>
                      <a:pt x="368" y="203"/>
                      <a:pt x="368" y="203"/>
                      <a:pt x="368" y="203"/>
                    </a:cubicBezTo>
                    <a:cubicBezTo>
                      <a:pt x="368" y="203"/>
                      <a:pt x="369" y="205"/>
                      <a:pt x="372" y="205"/>
                    </a:cubicBezTo>
                    <a:cubicBezTo>
                      <a:pt x="375" y="205"/>
                      <a:pt x="382" y="199"/>
                      <a:pt x="382" y="199"/>
                    </a:cubicBezTo>
                    <a:cubicBezTo>
                      <a:pt x="380" y="203"/>
                      <a:pt x="380" y="203"/>
                      <a:pt x="380" y="203"/>
                    </a:cubicBezTo>
                    <a:cubicBezTo>
                      <a:pt x="385" y="204"/>
                      <a:pt x="385" y="204"/>
                      <a:pt x="385" y="204"/>
                    </a:cubicBezTo>
                    <a:cubicBezTo>
                      <a:pt x="376" y="207"/>
                      <a:pt x="376" y="207"/>
                      <a:pt x="376" y="207"/>
                    </a:cubicBezTo>
                    <a:cubicBezTo>
                      <a:pt x="376" y="213"/>
                      <a:pt x="376" y="213"/>
                      <a:pt x="376" y="213"/>
                    </a:cubicBezTo>
                    <a:cubicBezTo>
                      <a:pt x="379" y="217"/>
                      <a:pt x="379" y="217"/>
                      <a:pt x="379" y="217"/>
                    </a:cubicBezTo>
                    <a:cubicBezTo>
                      <a:pt x="378" y="218"/>
                      <a:pt x="378" y="218"/>
                      <a:pt x="378" y="218"/>
                    </a:cubicBezTo>
                    <a:cubicBezTo>
                      <a:pt x="374" y="209"/>
                      <a:pt x="374" y="209"/>
                      <a:pt x="374" y="209"/>
                    </a:cubicBezTo>
                    <a:cubicBezTo>
                      <a:pt x="367" y="211"/>
                      <a:pt x="367" y="211"/>
                      <a:pt x="367" y="211"/>
                    </a:cubicBezTo>
                    <a:cubicBezTo>
                      <a:pt x="367" y="211"/>
                      <a:pt x="364" y="208"/>
                      <a:pt x="361" y="208"/>
                    </a:cubicBezTo>
                    <a:cubicBezTo>
                      <a:pt x="358" y="207"/>
                      <a:pt x="353" y="209"/>
                      <a:pt x="351" y="213"/>
                    </a:cubicBezTo>
                    <a:cubicBezTo>
                      <a:pt x="348" y="215"/>
                      <a:pt x="355" y="215"/>
                      <a:pt x="358" y="216"/>
                    </a:cubicBezTo>
                    <a:cubicBezTo>
                      <a:pt x="362" y="217"/>
                      <a:pt x="361" y="221"/>
                      <a:pt x="361" y="221"/>
                    </a:cubicBezTo>
                    <a:cubicBezTo>
                      <a:pt x="364" y="223"/>
                      <a:pt x="364" y="223"/>
                      <a:pt x="364" y="223"/>
                    </a:cubicBezTo>
                    <a:cubicBezTo>
                      <a:pt x="363" y="224"/>
                      <a:pt x="363" y="224"/>
                      <a:pt x="363" y="224"/>
                    </a:cubicBezTo>
                    <a:cubicBezTo>
                      <a:pt x="363" y="224"/>
                      <a:pt x="359" y="221"/>
                      <a:pt x="357" y="219"/>
                    </a:cubicBezTo>
                    <a:cubicBezTo>
                      <a:pt x="355" y="217"/>
                      <a:pt x="348" y="216"/>
                      <a:pt x="348" y="216"/>
                    </a:cubicBezTo>
                    <a:cubicBezTo>
                      <a:pt x="347" y="218"/>
                      <a:pt x="347" y="218"/>
                      <a:pt x="347" y="218"/>
                    </a:cubicBezTo>
                    <a:cubicBezTo>
                      <a:pt x="353" y="219"/>
                      <a:pt x="353" y="219"/>
                      <a:pt x="353" y="219"/>
                    </a:cubicBezTo>
                    <a:cubicBezTo>
                      <a:pt x="350" y="221"/>
                      <a:pt x="350" y="221"/>
                      <a:pt x="350" y="221"/>
                    </a:cubicBezTo>
                    <a:cubicBezTo>
                      <a:pt x="352" y="223"/>
                      <a:pt x="352" y="223"/>
                      <a:pt x="352" y="223"/>
                    </a:cubicBezTo>
                    <a:cubicBezTo>
                      <a:pt x="355" y="222"/>
                      <a:pt x="355" y="222"/>
                      <a:pt x="355" y="222"/>
                    </a:cubicBezTo>
                    <a:cubicBezTo>
                      <a:pt x="358" y="223"/>
                      <a:pt x="358" y="223"/>
                      <a:pt x="358" y="223"/>
                    </a:cubicBezTo>
                    <a:cubicBezTo>
                      <a:pt x="351" y="226"/>
                      <a:pt x="351" y="226"/>
                      <a:pt x="351" y="226"/>
                    </a:cubicBezTo>
                    <a:cubicBezTo>
                      <a:pt x="352" y="230"/>
                      <a:pt x="352" y="230"/>
                      <a:pt x="352" y="230"/>
                    </a:cubicBezTo>
                    <a:cubicBezTo>
                      <a:pt x="352" y="230"/>
                      <a:pt x="354" y="229"/>
                      <a:pt x="356" y="231"/>
                    </a:cubicBezTo>
                    <a:cubicBezTo>
                      <a:pt x="357" y="233"/>
                      <a:pt x="352" y="236"/>
                      <a:pt x="348" y="235"/>
                    </a:cubicBezTo>
                    <a:cubicBezTo>
                      <a:pt x="345" y="233"/>
                      <a:pt x="346" y="221"/>
                      <a:pt x="346" y="221"/>
                    </a:cubicBezTo>
                    <a:cubicBezTo>
                      <a:pt x="343" y="221"/>
                      <a:pt x="343" y="221"/>
                      <a:pt x="343" y="221"/>
                    </a:cubicBezTo>
                    <a:cubicBezTo>
                      <a:pt x="338" y="230"/>
                      <a:pt x="338" y="230"/>
                      <a:pt x="338" y="230"/>
                    </a:cubicBezTo>
                    <a:cubicBezTo>
                      <a:pt x="337" y="224"/>
                      <a:pt x="337" y="224"/>
                      <a:pt x="337" y="224"/>
                    </a:cubicBezTo>
                    <a:cubicBezTo>
                      <a:pt x="335" y="224"/>
                      <a:pt x="335" y="224"/>
                      <a:pt x="335" y="224"/>
                    </a:cubicBezTo>
                    <a:cubicBezTo>
                      <a:pt x="334" y="229"/>
                      <a:pt x="334" y="229"/>
                      <a:pt x="334" y="229"/>
                    </a:cubicBezTo>
                    <a:cubicBezTo>
                      <a:pt x="330" y="227"/>
                      <a:pt x="330" y="227"/>
                      <a:pt x="330" y="227"/>
                    </a:cubicBezTo>
                    <a:cubicBezTo>
                      <a:pt x="327" y="235"/>
                      <a:pt x="327" y="235"/>
                      <a:pt x="327" y="235"/>
                    </a:cubicBezTo>
                    <a:cubicBezTo>
                      <a:pt x="329" y="238"/>
                      <a:pt x="329" y="238"/>
                      <a:pt x="329" y="238"/>
                    </a:cubicBezTo>
                    <a:cubicBezTo>
                      <a:pt x="331" y="237"/>
                      <a:pt x="331" y="237"/>
                      <a:pt x="331" y="237"/>
                    </a:cubicBezTo>
                    <a:cubicBezTo>
                      <a:pt x="331" y="234"/>
                      <a:pt x="331" y="234"/>
                      <a:pt x="331" y="234"/>
                    </a:cubicBezTo>
                    <a:cubicBezTo>
                      <a:pt x="335" y="232"/>
                      <a:pt x="335" y="232"/>
                      <a:pt x="335" y="232"/>
                    </a:cubicBezTo>
                    <a:cubicBezTo>
                      <a:pt x="337" y="234"/>
                      <a:pt x="337" y="234"/>
                      <a:pt x="337" y="234"/>
                    </a:cubicBezTo>
                    <a:cubicBezTo>
                      <a:pt x="333" y="237"/>
                      <a:pt x="333" y="237"/>
                      <a:pt x="333" y="237"/>
                    </a:cubicBezTo>
                    <a:cubicBezTo>
                      <a:pt x="335" y="238"/>
                      <a:pt x="335" y="238"/>
                      <a:pt x="335" y="238"/>
                    </a:cubicBezTo>
                    <a:cubicBezTo>
                      <a:pt x="335" y="238"/>
                      <a:pt x="339" y="238"/>
                      <a:pt x="341" y="239"/>
                    </a:cubicBezTo>
                    <a:cubicBezTo>
                      <a:pt x="343" y="239"/>
                      <a:pt x="340" y="236"/>
                      <a:pt x="340" y="234"/>
                    </a:cubicBezTo>
                    <a:cubicBezTo>
                      <a:pt x="340" y="233"/>
                      <a:pt x="344" y="234"/>
                      <a:pt x="345" y="236"/>
                    </a:cubicBezTo>
                    <a:cubicBezTo>
                      <a:pt x="346" y="238"/>
                      <a:pt x="344" y="242"/>
                      <a:pt x="343" y="242"/>
                    </a:cubicBezTo>
                    <a:cubicBezTo>
                      <a:pt x="341" y="244"/>
                      <a:pt x="342" y="242"/>
                      <a:pt x="339" y="240"/>
                    </a:cubicBezTo>
                    <a:cubicBezTo>
                      <a:pt x="336" y="239"/>
                      <a:pt x="334" y="244"/>
                      <a:pt x="330" y="244"/>
                    </a:cubicBezTo>
                    <a:cubicBezTo>
                      <a:pt x="327" y="244"/>
                      <a:pt x="322" y="245"/>
                      <a:pt x="322" y="245"/>
                    </a:cubicBezTo>
                    <a:cubicBezTo>
                      <a:pt x="320" y="246"/>
                      <a:pt x="320" y="246"/>
                      <a:pt x="320" y="246"/>
                    </a:cubicBezTo>
                    <a:cubicBezTo>
                      <a:pt x="322" y="248"/>
                      <a:pt x="322" y="248"/>
                      <a:pt x="322" y="248"/>
                    </a:cubicBezTo>
                    <a:cubicBezTo>
                      <a:pt x="318" y="248"/>
                      <a:pt x="318" y="248"/>
                      <a:pt x="318" y="248"/>
                    </a:cubicBezTo>
                    <a:cubicBezTo>
                      <a:pt x="315" y="252"/>
                      <a:pt x="315" y="252"/>
                      <a:pt x="315" y="252"/>
                    </a:cubicBezTo>
                    <a:cubicBezTo>
                      <a:pt x="321" y="253"/>
                      <a:pt x="321" y="253"/>
                      <a:pt x="321" y="253"/>
                    </a:cubicBezTo>
                    <a:cubicBezTo>
                      <a:pt x="315" y="256"/>
                      <a:pt x="315" y="256"/>
                      <a:pt x="315" y="256"/>
                    </a:cubicBezTo>
                    <a:cubicBezTo>
                      <a:pt x="315" y="256"/>
                      <a:pt x="318" y="260"/>
                      <a:pt x="322" y="258"/>
                    </a:cubicBezTo>
                    <a:cubicBezTo>
                      <a:pt x="327" y="256"/>
                      <a:pt x="331" y="249"/>
                      <a:pt x="331" y="249"/>
                    </a:cubicBezTo>
                    <a:cubicBezTo>
                      <a:pt x="342" y="256"/>
                      <a:pt x="342" y="256"/>
                      <a:pt x="342" y="256"/>
                    </a:cubicBezTo>
                    <a:cubicBezTo>
                      <a:pt x="334" y="253"/>
                      <a:pt x="334" y="253"/>
                      <a:pt x="334" y="253"/>
                    </a:cubicBezTo>
                    <a:cubicBezTo>
                      <a:pt x="331" y="254"/>
                      <a:pt x="331" y="254"/>
                      <a:pt x="331" y="254"/>
                    </a:cubicBezTo>
                    <a:cubicBezTo>
                      <a:pt x="337" y="257"/>
                      <a:pt x="337" y="257"/>
                      <a:pt x="337" y="257"/>
                    </a:cubicBezTo>
                    <a:cubicBezTo>
                      <a:pt x="329" y="256"/>
                      <a:pt x="329" y="256"/>
                      <a:pt x="329" y="256"/>
                    </a:cubicBezTo>
                    <a:cubicBezTo>
                      <a:pt x="326" y="262"/>
                      <a:pt x="326" y="262"/>
                      <a:pt x="326" y="262"/>
                    </a:cubicBezTo>
                    <a:cubicBezTo>
                      <a:pt x="330" y="263"/>
                      <a:pt x="330" y="263"/>
                      <a:pt x="330" y="263"/>
                    </a:cubicBezTo>
                    <a:cubicBezTo>
                      <a:pt x="328" y="267"/>
                      <a:pt x="328" y="267"/>
                      <a:pt x="328" y="267"/>
                    </a:cubicBezTo>
                    <a:cubicBezTo>
                      <a:pt x="329" y="269"/>
                      <a:pt x="335" y="267"/>
                      <a:pt x="335" y="267"/>
                    </a:cubicBezTo>
                    <a:cubicBezTo>
                      <a:pt x="339" y="265"/>
                      <a:pt x="339" y="265"/>
                      <a:pt x="339" y="265"/>
                    </a:cubicBezTo>
                    <a:cubicBezTo>
                      <a:pt x="336" y="274"/>
                      <a:pt x="336" y="274"/>
                      <a:pt x="336" y="274"/>
                    </a:cubicBezTo>
                    <a:cubicBezTo>
                      <a:pt x="340" y="277"/>
                      <a:pt x="340" y="277"/>
                      <a:pt x="340" y="277"/>
                    </a:cubicBezTo>
                    <a:cubicBezTo>
                      <a:pt x="337" y="278"/>
                      <a:pt x="337" y="278"/>
                      <a:pt x="337" y="278"/>
                    </a:cubicBezTo>
                    <a:cubicBezTo>
                      <a:pt x="340" y="281"/>
                      <a:pt x="340" y="281"/>
                      <a:pt x="340" y="281"/>
                    </a:cubicBezTo>
                    <a:cubicBezTo>
                      <a:pt x="340" y="281"/>
                      <a:pt x="339" y="281"/>
                      <a:pt x="337" y="280"/>
                    </a:cubicBezTo>
                    <a:cubicBezTo>
                      <a:pt x="335" y="280"/>
                      <a:pt x="333" y="271"/>
                      <a:pt x="331" y="270"/>
                    </a:cubicBezTo>
                    <a:cubicBezTo>
                      <a:pt x="329" y="270"/>
                      <a:pt x="327" y="271"/>
                      <a:pt x="327" y="271"/>
                    </a:cubicBezTo>
                    <a:cubicBezTo>
                      <a:pt x="327" y="271"/>
                      <a:pt x="325" y="267"/>
                      <a:pt x="322" y="266"/>
                    </a:cubicBezTo>
                    <a:cubicBezTo>
                      <a:pt x="319" y="266"/>
                      <a:pt x="313" y="273"/>
                      <a:pt x="313" y="273"/>
                    </a:cubicBezTo>
                    <a:cubicBezTo>
                      <a:pt x="321" y="274"/>
                      <a:pt x="321" y="274"/>
                      <a:pt x="321" y="274"/>
                    </a:cubicBezTo>
                    <a:cubicBezTo>
                      <a:pt x="321" y="274"/>
                      <a:pt x="318" y="276"/>
                      <a:pt x="314" y="276"/>
                    </a:cubicBezTo>
                    <a:cubicBezTo>
                      <a:pt x="312" y="276"/>
                      <a:pt x="313" y="279"/>
                      <a:pt x="312" y="281"/>
                    </a:cubicBezTo>
                    <a:cubicBezTo>
                      <a:pt x="310" y="283"/>
                      <a:pt x="306" y="285"/>
                      <a:pt x="306" y="285"/>
                    </a:cubicBezTo>
                    <a:cubicBezTo>
                      <a:pt x="317" y="285"/>
                      <a:pt x="317" y="285"/>
                      <a:pt x="317" y="285"/>
                    </a:cubicBezTo>
                    <a:cubicBezTo>
                      <a:pt x="322" y="285"/>
                      <a:pt x="327" y="282"/>
                      <a:pt x="327" y="282"/>
                    </a:cubicBezTo>
                    <a:cubicBezTo>
                      <a:pt x="325" y="286"/>
                      <a:pt x="325" y="286"/>
                      <a:pt x="325" y="286"/>
                    </a:cubicBezTo>
                    <a:cubicBezTo>
                      <a:pt x="335" y="285"/>
                      <a:pt x="335" y="285"/>
                      <a:pt x="335" y="285"/>
                    </a:cubicBezTo>
                    <a:cubicBezTo>
                      <a:pt x="334" y="295"/>
                      <a:pt x="334" y="295"/>
                      <a:pt x="334" y="295"/>
                    </a:cubicBezTo>
                    <a:cubicBezTo>
                      <a:pt x="331" y="290"/>
                      <a:pt x="331" y="290"/>
                      <a:pt x="331" y="290"/>
                    </a:cubicBezTo>
                    <a:cubicBezTo>
                      <a:pt x="323" y="287"/>
                      <a:pt x="323" y="287"/>
                      <a:pt x="323" y="287"/>
                    </a:cubicBezTo>
                    <a:cubicBezTo>
                      <a:pt x="318" y="294"/>
                      <a:pt x="318" y="294"/>
                      <a:pt x="318" y="294"/>
                    </a:cubicBezTo>
                    <a:cubicBezTo>
                      <a:pt x="321" y="287"/>
                      <a:pt x="321" y="287"/>
                      <a:pt x="321" y="287"/>
                    </a:cubicBezTo>
                    <a:cubicBezTo>
                      <a:pt x="308" y="288"/>
                      <a:pt x="308" y="288"/>
                      <a:pt x="308" y="288"/>
                    </a:cubicBezTo>
                    <a:cubicBezTo>
                      <a:pt x="303" y="302"/>
                      <a:pt x="303" y="302"/>
                      <a:pt x="303" y="302"/>
                    </a:cubicBezTo>
                    <a:cubicBezTo>
                      <a:pt x="297" y="301"/>
                      <a:pt x="297" y="301"/>
                      <a:pt x="297" y="301"/>
                    </a:cubicBezTo>
                    <a:cubicBezTo>
                      <a:pt x="296" y="304"/>
                      <a:pt x="296" y="304"/>
                      <a:pt x="296" y="304"/>
                    </a:cubicBezTo>
                    <a:cubicBezTo>
                      <a:pt x="296" y="304"/>
                      <a:pt x="295" y="303"/>
                      <a:pt x="290" y="305"/>
                    </a:cubicBezTo>
                    <a:cubicBezTo>
                      <a:pt x="284" y="308"/>
                      <a:pt x="284" y="311"/>
                      <a:pt x="284" y="311"/>
                    </a:cubicBezTo>
                    <a:cubicBezTo>
                      <a:pt x="293" y="316"/>
                      <a:pt x="293" y="316"/>
                      <a:pt x="293" y="316"/>
                    </a:cubicBezTo>
                    <a:cubicBezTo>
                      <a:pt x="286" y="316"/>
                      <a:pt x="286" y="316"/>
                      <a:pt x="286" y="316"/>
                    </a:cubicBezTo>
                    <a:cubicBezTo>
                      <a:pt x="281" y="317"/>
                      <a:pt x="281" y="317"/>
                      <a:pt x="281" y="317"/>
                    </a:cubicBezTo>
                    <a:cubicBezTo>
                      <a:pt x="288" y="324"/>
                      <a:pt x="288" y="324"/>
                      <a:pt x="288" y="324"/>
                    </a:cubicBezTo>
                    <a:cubicBezTo>
                      <a:pt x="279" y="321"/>
                      <a:pt x="279" y="321"/>
                      <a:pt x="279" y="321"/>
                    </a:cubicBezTo>
                    <a:cubicBezTo>
                      <a:pt x="276" y="321"/>
                      <a:pt x="276" y="321"/>
                      <a:pt x="276" y="321"/>
                    </a:cubicBezTo>
                    <a:cubicBezTo>
                      <a:pt x="282" y="327"/>
                      <a:pt x="282" y="327"/>
                      <a:pt x="282" y="327"/>
                    </a:cubicBezTo>
                    <a:cubicBezTo>
                      <a:pt x="275" y="326"/>
                      <a:pt x="275" y="326"/>
                      <a:pt x="275" y="326"/>
                    </a:cubicBezTo>
                    <a:cubicBezTo>
                      <a:pt x="275" y="328"/>
                      <a:pt x="275" y="328"/>
                      <a:pt x="275" y="328"/>
                    </a:cubicBezTo>
                    <a:cubicBezTo>
                      <a:pt x="278" y="330"/>
                      <a:pt x="278" y="330"/>
                      <a:pt x="278" y="330"/>
                    </a:cubicBezTo>
                    <a:cubicBezTo>
                      <a:pt x="275" y="331"/>
                      <a:pt x="275" y="331"/>
                      <a:pt x="275" y="331"/>
                    </a:cubicBezTo>
                    <a:cubicBezTo>
                      <a:pt x="277" y="333"/>
                      <a:pt x="277" y="333"/>
                      <a:pt x="277" y="333"/>
                    </a:cubicBezTo>
                    <a:cubicBezTo>
                      <a:pt x="281" y="332"/>
                      <a:pt x="281" y="332"/>
                      <a:pt x="281" y="332"/>
                    </a:cubicBezTo>
                    <a:cubicBezTo>
                      <a:pt x="287" y="335"/>
                      <a:pt x="287" y="335"/>
                      <a:pt x="287" y="335"/>
                    </a:cubicBezTo>
                    <a:cubicBezTo>
                      <a:pt x="287" y="335"/>
                      <a:pt x="282" y="334"/>
                      <a:pt x="279" y="335"/>
                    </a:cubicBezTo>
                    <a:cubicBezTo>
                      <a:pt x="276" y="336"/>
                      <a:pt x="278" y="339"/>
                      <a:pt x="278" y="339"/>
                    </a:cubicBezTo>
                    <a:cubicBezTo>
                      <a:pt x="275" y="339"/>
                      <a:pt x="275" y="339"/>
                      <a:pt x="275" y="339"/>
                    </a:cubicBezTo>
                    <a:cubicBezTo>
                      <a:pt x="275" y="335"/>
                      <a:pt x="275" y="335"/>
                      <a:pt x="275" y="335"/>
                    </a:cubicBezTo>
                    <a:cubicBezTo>
                      <a:pt x="271" y="334"/>
                      <a:pt x="271" y="334"/>
                      <a:pt x="271" y="334"/>
                    </a:cubicBezTo>
                    <a:cubicBezTo>
                      <a:pt x="270" y="336"/>
                      <a:pt x="270" y="336"/>
                      <a:pt x="270" y="336"/>
                    </a:cubicBezTo>
                    <a:cubicBezTo>
                      <a:pt x="273" y="340"/>
                      <a:pt x="273" y="340"/>
                      <a:pt x="273" y="340"/>
                    </a:cubicBezTo>
                    <a:cubicBezTo>
                      <a:pt x="273" y="340"/>
                      <a:pt x="270" y="346"/>
                      <a:pt x="272" y="348"/>
                    </a:cubicBezTo>
                    <a:cubicBezTo>
                      <a:pt x="275" y="350"/>
                      <a:pt x="284" y="347"/>
                      <a:pt x="284" y="348"/>
                    </a:cubicBezTo>
                    <a:cubicBezTo>
                      <a:pt x="284" y="349"/>
                      <a:pt x="275" y="350"/>
                      <a:pt x="275" y="350"/>
                    </a:cubicBezTo>
                    <a:cubicBezTo>
                      <a:pt x="271" y="356"/>
                      <a:pt x="271" y="356"/>
                      <a:pt x="271" y="356"/>
                    </a:cubicBezTo>
                    <a:cubicBezTo>
                      <a:pt x="273" y="356"/>
                      <a:pt x="273" y="356"/>
                      <a:pt x="273" y="356"/>
                    </a:cubicBezTo>
                    <a:cubicBezTo>
                      <a:pt x="276" y="353"/>
                      <a:pt x="276" y="353"/>
                      <a:pt x="276" y="353"/>
                    </a:cubicBezTo>
                    <a:cubicBezTo>
                      <a:pt x="285" y="351"/>
                      <a:pt x="285" y="351"/>
                      <a:pt x="285" y="351"/>
                    </a:cubicBezTo>
                    <a:cubicBezTo>
                      <a:pt x="287" y="351"/>
                      <a:pt x="287" y="351"/>
                      <a:pt x="287" y="351"/>
                    </a:cubicBezTo>
                    <a:cubicBezTo>
                      <a:pt x="300" y="347"/>
                      <a:pt x="300" y="347"/>
                      <a:pt x="300" y="347"/>
                    </a:cubicBezTo>
                    <a:cubicBezTo>
                      <a:pt x="292" y="353"/>
                      <a:pt x="292" y="353"/>
                      <a:pt x="292" y="353"/>
                    </a:cubicBezTo>
                    <a:cubicBezTo>
                      <a:pt x="290" y="353"/>
                      <a:pt x="290" y="353"/>
                      <a:pt x="290" y="353"/>
                    </a:cubicBezTo>
                    <a:cubicBezTo>
                      <a:pt x="288" y="355"/>
                      <a:pt x="288" y="355"/>
                      <a:pt x="288" y="355"/>
                    </a:cubicBezTo>
                    <a:cubicBezTo>
                      <a:pt x="292" y="358"/>
                      <a:pt x="292" y="358"/>
                      <a:pt x="292" y="358"/>
                    </a:cubicBezTo>
                    <a:cubicBezTo>
                      <a:pt x="285" y="360"/>
                      <a:pt x="285" y="360"/>
                      <a:pt x="285" y="360"/>
                    </a:cubicBezTo>
                    <a:cubicBezTo>
                      <a:pt x="285" y="360"/>
                      <a:pt x="286" y="355"/>
                      <a:pt x="285" y="353"/>
                    </a:cubicBezTo>
                    <a:cubicBezTo>
                      <a:pt x="282" y="351"/>
                      <a:pt x="277" y="356"/>
                      <a:pt x="275" y="357"/>
                    </a:cubicBezTo>
                    <a:cubicBezTo>
                      <a:pt x="273" y="359"/>
                      <a:pt x="263" y="360"/>
                      <a:pt x="262" y="363"/>
                    </a:cubicBezTo>
                    <a:cubicBezTo>
                      <a:pt x="260" y="366"/>
                      <a:pt x="269" y="364"/>
                      <a:pt x="269" y="364"/>
                    </a:cubicBezTo>
                    <a:cubicBezTo>
                      <a:pt x="268" y="371"/>
                      <a:pt x="268" y="371"/>
                      <a:pt x="268" y="371"/>
                    </a:cubicBezTo>
                    <a:cubicBezTo>
                      <a:pt x="274" y="375"/>
                      <a:pt x="274" y="375"/>
                      <a:pt x="274" y="375"/>
                    </a:cubicBezTo>
                    <a:cubicBezTo>
                      <a:pt x="274" y="375"/>
                      <a:pt x="262" y="372"/>
                      <a:pt x="261" y="375"/>
                    </a:cubicBezTo>
                    <a:cubicBezTo>
                      <a:pt x="259" y="378"/>
                      <a:pt x="261" y="381"/>
                      <a:pt x="261" y="381"/>
                    </a:cubicBezTo>
                    <a:cubicBezTo>
                      <a:pt x="259" y="381"/>
                      <a:pt x="259" y="381"/>
                      <a:pt x="259" y="381"/>
                    </a:cubicBezTo>
                    <a:cubicBezTo>
                      <a:pt x="257" y="383"/>
                      <a:pt x="257" y="383"/>
                      <a:pt x="257" y="383"/>
                    </a:cubicBezTo>
                    <a:cubicBezTo>
                      <a:pt x="259" y="387"/>
                      <a:pt x="259" y="387"/>
                      <a:pt x="259" y="387"/>
                    </a:cubicBezTo>
                    <a:cubicBezTo>
                      <a:pt x="259" y="387"/>
                      <a:pt x="256" y="386"/>
                      <a:pt x="253" y="389"/>
                    </a:cubicBezTo>
                    <a:cubicBezTo>
                      <a:pt x="249" y="391"/>
                      <a:pt x="254" y="398"/>
                      <a:pt x="254" y="398"/>
                    </a:cubicBezTo>
                    <a:cubicBezTo>
                      <a:pt x="258" y="399"/>
                      <a:pt x="258" y="399"/>
                      <a:pt x="258" y="399"/>
                    </a:cubicBezTo>
                    <a:cubicBezTo>
                      <a:pt x="259" y="405"/>
                      <a:pt x="259" y="405"/>
                      <a:pt x="259" y="405"/>
                    </a:cubicBezTo>
                    <a:cubicBezTo>
                      <a:pt x="256" y="406"/>
                      <a:pt x="256" y="406"/>
                      <a:pt x="256" y="406"/>
                    </a:cubicBezTo>
                    <a:cubicBezTo>
                      <a:pt x="249" y="396"/>
                      <a:pt x="249" y="396"/>
                      <a:pt x="249" y="396"/>
                    </a:cubicBezTo>
                    <a:cubicBezTo>
                      <a:pt x="247" y="404"/>
                      <a:pt x="247" y="404"/>
                      <a:pt x="247" y="404"/>
                    </a:cubicBezTo>
                    <a:cubicBezTo>
                      <a:pt x="252" y="404"/>
                      <a:pt x="252" y="404"/>
                      <a:pt x="252" y="404"/>
                    </a:cubicBezTo>
                    <a:cubicBezTo>
                      <a:pt x="252" y="404"/>
                      <a:pt x="248" y="406"/>
                      <a:pt x="246" y="409"/>
                    </a:cubicBezTo>
                    <a:cubicBezTo>
                      <a:pt x="244" y="411"/>
                      <a:pt x="246" y="416"/>
                      <a:pt x="246" y="416"/>
                    </a:cubicBezTo>
                    <a:cubicBezTo>
                      <a:pt x="241" y="418"/>
                      <a:pt x="241" y="418"/>
                      <a:pt x="241" y="418"/>
                    </a:cubicBezTo>
                    <a:cubicBezTo>
                      <a:pt x="243" y="420"/>
                      <a:pt x="243" y="420"/>
                      <a:pt x="243" y="420"/>
                    </a:cubicBezTo>
                    <a:cubicBezTo>
                      <a:pt x="248" y="416"/>
                      <a:pt x="248" y="416"/>
                      <a:pt x="248" y="416"/>
                    </a:cubicBezTo>
                    <a:cubicBezTo>
                      <a:pt x="248" y="413"/>
                      <a:pt x="248" y="413"/>
                      <a:pt x="248" y="413"/>
                    </a:cubicBezTo>
                    <a:cubicBezTo>
                      <a:pt x="253" y="411"/>
                      <a:pt x="253" y="411"/>
                      <a:pt x="253" y="411"/>
                    </a:cubicBezTo>
                    <a:cubicBezTo>
                      <a:pt x="249" y="415"/>
                      <a:pt x="249" y="415"/>
                      <a:pt x="249" y="415"/>
                    </a:cubicBezTo>
                    <a:cubicBezTo>
                      <a:pt x="254" y="419"/>
                      <a:pt x="254" y="419"/>
                      <a:pt x="254" y="419"/>
                    </a:cubicBezTo>
                    <a:cubicBezTo>
                      <a:pt x="253" y="423"/>
                      <a:pt x="253" y="423"/>
                      <a:pt x="253" y="423"/>
                    </a:cubicBezTo>
                    <a:cubicBezTo>
                      <a:pt x="256" y="425"/>
                      <a:pt x="256" y="425"/>
                      <a:pt x="256" y="425"/>
                    </a:cubicBezTo>
                    <a:cubicBezTo>
                      <a:pt x="268" y="412"/>
                      <a:pt x="268" y="412"/>
                      <a:pt x="268" y="412"/>
                    </a:cubicBezTo>
                    <a:cubicBezTo>
                      <a:pt x="271" y="414"/>
                      <a:pt x="271" y="414"/>
                      <a:pt x="271" y="414"/>
                    </a:cubicBezTo>
                    <a:cubicBezTo>
                      <a:pt x="256" y="427"/>
                      <a:pt x="256" y="427"/>
                      <a:pt x="256" y="427"/>
                    </a:cubicBezTo>
                    <a:cubicBezTo>
                      <a:pt x="252" y="428"/>
                      <a:pt x="252" y="428"/>
                      <a:pt x="252" y="428"/>
                    </a:cubicBezTo>
                    <a:cubicBezTo>
                      <a:pt x="249" y="421"/>
                      <a:pt x="249" y="421"/>
                      <a:pt x="249" y="421"/>
                    </a:cubicBezTo>
                    <a:cubicBezTo>
                      <a:pt x="244" y="422"/>
                      <a:pt x="244" y="422"/>
                      <a:pt x="244" y="422"/>
                    </a:cubicBezTo>
                    <a:cubicBezTo>
                      <a:pt x="243" y="424"/>
                      <a:pt x="243" y="424"/>
                      <a:pt x="243" y="424"/>
                    </a:cubicBezTo>
                    <a:cubicBezTo>
                      <a:pt x="243" y="424"/>
                      <a:pt x="239" y="424"/>
                      <a:pt x="239" y="426"/>
                    </a:cubicBezTo>
                    <a:cubicBezTo>
                      <a:pt x="239" y="427"/>
                      <a:pt x="235" y="435"/>
                      <a:pt x="231" y="435"/>
                    </a:cubicBezTo>
                    <a:cubicBezTo>
                      <a:pt x="228" y="436"/>
                      <a:pt x="222" y="440"/>
                      <a:pt x="222" y="440"/>
                    </a:cubicBezTo>
                    <a:cubicBezTo>
                      <a:pt x="224" y="442"/>
                      <a:pt x="224" y="442"/>
                      <a:pt x="224" y="442"/>
                    </a:cubicBezTo>
                    <a:cubicBezTo>
                      <a:pt x="224" y="442"/>
                      <a:pt x="216" y="446"/>
                      <a:pt x="221" y="450"/>
                    </a:cubicBezTo>
                    <a:cubicBezTo>
                      <a:pt x="224" y="452"/>
                      <a:pt x="231" y="441"/>
                      <a:pt x="231" y="441"/>
                    </a:cubicBezTo>
                    <a:cubicBezTo>
                      <a:pt x="242" y="436"/>
                      <a:pt x="242" y="436"/>
                      <a:pt x="242" y="436"/>
                    </a:cubicBezTo>
                    <a:cubicBezTo>
                      <a:pt x="233" y="443"/>
                      <a:pt x="233" y="443"/>
                      <a:pt x="233" y="443"/>
                    </a:cubicBezTo>
                    <a:cubicBezTo>
                      <a:pt x="238" y="446"/>
                      <a:pt x="238" y="446"/>
                      <a:pt x="238" y="446"/>
                    </a:cubicBezTo>
                    <a:cubicBezTo>
                      <a:pt x="238" y="446"/>
                      <a:pt x="232" y="447"/>
                      <a:pt x="228" y="450"/>
                    </a:cubicBezTo>
                    <a:cubicBezTo>
                      <a:pt x="223" y="452"/>
                      <a:pt x="226" y="457"/>
                      <a:pt x="226" y="457"/>
                    </a:cubicBezTo>
                    <a:cubicBezTo>
                      <a:pt x="223" y="458"/>
                      <a:pt x="223" y="458"/>
                      <a:pt x="223" y="458"/>
                    </a:cubicBezTo>
                    <a:cubicBezTo>
                      <a:pt x="219" y="455"/>
                      <a:pt x="219" y="455"/>
                      <a:pt x="219" y="455"/>
                    </a:cubicBezTo>
                    <a:cubicBezTo>
                      <a:pt x="215" y="457"/>
                      <a:pt x="215" y="457"/>
                      <a:pt x="215" y="457"/>
                    </a:cubicBezTo>
                    <a:cubicBezTo>
                      <a:pt x="215" y="457"/>
                      <a:pt x="219" y="463"/>
                      <a:pt x="221" y="465"/>
                    </a:cubicBezTo>
                    <a:cubicBezTo>
                      <a:pt x="222" y="467"/>
                      <a:pt x="231" y="459"/>
                      <a:pt x="231" y="459"/>
                    </a:cubicBezTo>
                    <a:cubicBezTo>
                      <a:pt x="226" y="468"/>
                      <a:pt x="226" y="468"/>
                      <a:pt x="226" y="468"/>
                    </a:cubicBezTo>
                    <a:cubicBezTo>
                      <a:pt x="221" y="471"/>
                      <a:pt x="221" y="471"/>
                      <a:pt x="221" y="471"/>
                    </a:cubicBezTo>
                    <a:cubicBezTo>
                      <a:pt x="213" y="459"/>
                      <a:pt x="213" y="459"/>
                      <a:pt x="213" y="459"/>
                    </a:cubicBezTo>
                    <a:cubicBezTo>
                      <a:pt x="204" y="467"/>
                      <a:pt x="204" y="467"/>
                      <a:pt x="204" y="467"/>
                    </a:cubicBezTo>
                    <a:cubicBezTo>
                      <a:pt x="207" y="470"/>
                      <a:pt x="207" y="470"/>
                      <a:pt x="207" y="470"/>
                    </a:cubicBezTo>
                    <a:cubicBezTo>
                      <a:pt x="200" y="468"/>
                      <a:pt x="200" y="468"/>
                      <a:pt x="200" y="468"/>
                    </a:cubicBezTo>
                    <a:cubicBezTo>
                      <a:pt x="198" y="471"/>
                      <a:pt x="198" y="471"/>
                      <a:pt x="198" y="471"/>
                    </a:cubicBezTo>
                    <a:cubicBezTo>
                      <a:pt x="203" y="474"/>
                      <a:pt x="203" y="474"/>
                      <a:pt x="203" y="474"/>
                    </a:cubicBezTo>
                    <a:cubicBezTo>
                      <a:pt x="198" y="475"/>
                      <a:pt x="198" y="475"/>
                      <a:pt x="198" y="475"/>
                    </a:cubicBezTo>
                    <a:cubicBezTo>
                      <a:pt x="198" y="475"/>
                      <a:pt x="189" y="485"/>
                      <a:pt x="188" y="486"/>
                    </a:cubicBezTo>
                    <a:cubicBezTo>
                      <a:pt x="188" y="487"/>
                      <a:pt x="191" y="490"/>
                      <a:pt x="191" y="490"/>
                    </a:cubicBezTo>
                    <a:cubicBezTo>
                      <a:pt x="184" y="489"/>
                      <a:pt x="184" y="489"/>
                      <a:pt x="184" y="489"/>
                    </a:cubicBezTo>
                    <a:cubicBezTo>
                      <a:pt x="182" y="498"/>
                      <a:pt x="182" y="498"/>
                      <a:pt x="182" y="498"/>
                    </a:cubicBezTo>
                    <a:cubicBezTo>
                      <a:pt x="182" y="498"/>
                      <a:pt x="188" y="498"/>
                      <a:pt x="188" y="500"/>
                    </a:cubicBezTo>
                    <a:cubicBezTo>
                      <a:pt x="188" y="502"/>
                      <a:pt x="179" y="504"/>
                      <a:pt x="174" y="505"/>
                    </a:cubicBezTo>
                    <a:cubicBezTo>
                      <a:pt x="169" y="507"/>
                      <a:pt x="169" y="517"/>
                      <a:pt x="169" y="517"/>
                    </a:cubicBezTo>
                    <a:cubicBezTo>
                      <a:pt x="169" y="517"/>
                      <a:pt x="184" y="509"/>
                      <a:pt x="183" y="514"/>
                    </a:cubicBezTo>
                    <a:cubicBezTo>
                      <a:pt x="183" y="518"/>
                      <a:pt x="176" y="517"/>
                      <a:pt x="176" y="517"/>
                    </a:cubicBezTo>
                    <a:cubicBezTo>
                      <a:pt x="177" y="520"/>
                      <a:pt x="177" y="520"/>
                      <a:pt x="177" y="520"/>
                    </a:cubicBezTo>
                    <a:cubicBezTo>
                      <a:pt x="182" y="522"/>
                      <a:pt x="182" y="522"/>
                      <a:pt x="182" y="522"/>
                    </a:cubicBezTo>
                    <a:cubicBezTo>
                      <a:pt x="179" y="525"/>
                      <a:pt x="179" y="525"/>
                      <a:pt x="179" y="525"/>
                    </a:cubicBezTo>
                    <a:cubicBezTo>
                      <a:pt x="181" y="529"/>
                      <a:pt x="181" y="529"/>
                      <a:pt x="181" y="529"/>
                    </a:cubicBezTo>
                    <a:cubicBezTo>
                      <a:pt x="198" y="520"/>
                      <a:pt x="198" y="520"/>
                      <a:pt x="198" y="520"/>
                    </a:cubicBezTo>
                    <a:cubicBezTo>
                      <a:pt x="198" y="520"/>
                      <a:pt x="202" y="517"/>
                      <a:pt x="203" y="516"/>
                    </a:cubicBezTo>
                    <a:cubicBezTo>
                      <a:pt x="205" y="515"/>
                      <a:pt x="206" y="513"/>
                      <a:pt x="209" y="512"/>
                    </a:cubicBezTo>
                    <a:cubicBezTo>
                      <a:pt x="211" y="512"/>
                      <a:pt x="213" y="508"/>
                      <a:pt x="213" y="505"/>
                    </a:cubicBezTo>
                    <a:cubicBezTo>
                      <a:pt x="213" y="502"/>
                      <a:pt x="202" y="507"/>
                      <a:pt x="202" y="507"/>
                    </a:cubicBezTo>
                    <a:cubicBezTo>
                      <a:pt x="202" y="507"/>
                      <a:pt x="209" y="502"/>
                      <a:pt x="212" y="500"/>
                    </a:cubicBezTo>
                    <a:cubicBezTo>
                      <a:pt x="214" y="499"/>
                      <a:pt x="215" y="494"/>
                      <a:pt x="221" y="494"/>
                    </a:cubicBezTo>
                    <a:cubicBezTo>
                      <a:pt x="225" y="494"/>
                      <a:pt x="226" y="498"/>
                      <a:pt x="226" y="498"/>
                    </a:cubicBezTo>
                    <a:cubicBezTo>
                      <a:pt x="215" y="503"/>
                      <a:pt x="215" y="503"/>
                      <a:pt x="215" y="503"/>
                    </a:cubicBezTo>
                    <a:cubicBezTo>
                      <a:pt x="214" y="506"/>
                      <a:pt x="214" y="506"/>
                      <a:pt x="214" y="506"/>
                    </a:cubicBezTo>
                    <a:cubicBezTo>
                      <a:pt x="214" y="506"/>
                      <a:pt x="223" y="506"/>
                      <a:pt x="224" y="509"/>
                    </a:cubicBezTo>
                    <a:cubicBezTo>
                      <a:pt x="224" y="513"/>
                      <a:pt x="214" y="515"/>
                      <a:pt x="211" y="516"/>
                    </a:cubicBezTo>
                    <a:cubicBezTo>
                      <a:pt x="208" y="516"/>
                      <a:pt x="203" y="521"/>
                      <a:pt x="202" y="524"/>
                    </a:cubicBezTo>
                    <a:cubicBezTo>
                      <a:pt x="202" y="528"/>
                      <a:pt x="206" y="522"/>
                      <a:pt x="208" y="523"/>
                    </a:cubicBezTo>
                    <a:cubicBezTo>
                      <a:pt x="209" y="525"/>
                      <a:pt x="206" y="526"/>
                      <a:pt x="205" y="528"/>
                    </a:cubicBezTo>
                    <a:cubicBezTo>
                      <a:pt x="203" y="530"/>
                      <a:pt x="208" y="531"/>
                      <a:pt x="208" y="531"/>
                    </a:cubicBezTo>
                    <a:cubicBezTo>
                      <a:pt x="205" y="533"/>
                      <a:pt x="205" y="533"/>
                      <a:pt x="205" y="533"/>
                    </a:cubicBezTo>
                    <a:cubicBezTo>
                      <a:pt x="205" y="533"/>
                      <a:pt x="194" y="530"/>
                      <a:pt x="188" y="532"/>
                    </a:cubicBezTo>
                    <a:cubicBezTo>
                      <a:pt x="181" y="534"/>
                      <a:pt x="187" y="539"/>
                      <a:pt x="187" y="539"/>
                    </a:cubicBezTo>
                    <a:cubicBezTo>
                      <a:pt x="180" y="538"/>
                      <a:pt x="180" y="538"/>
                      <a:pt x="180" y="538"/>
                    </a:cubicBezTo>
                    <a:cubicBezTo>
                      <a:pt x="175" y="540"/>
                      <a:pt x="175" y="540"/>
                      <a:pt x="175" y="540"/>
                    </a:cubicBezTo>
                    <a:cubicBezTo>
                      <a:pt x="180" y="532"/>
                      <a:pt x="180" y="532"/>
                      <a:pt x="180" y="532"/>
                    </a:cubicBezTo>
                    <a:cubicBezTo>
                      <a:pt x="175" y="518"/>
                      <a:pt x="175" y="518"/>
                      <a:pt x="175" y="518"/>
                    </a:cubicBezTo>
                    <a:cubicBezTo>
                      <a:pt x="167" y="521"/>
                      <a:pt x="167" y="521"/>
                      <a:pt x="167" y="521"/>
                    </a:cubicBezTo>
                    <a:cubicBezTo>
                      <a:pt x="166" y="523"/>
                      <a:pt x="166" y="523"/>
                      <a:pt x="166" y="523"/>
                    </a:cubicBezTo>
                    <a:cubicBezTo>
                      <a:pt x="158" y="526"/>
                      <a:pt x="158" y="526"/>
                      <a:pt x="158" y="526"/>
                    </a:cubicBezTo>
                    <a:cubicBezTo>
                      <a:pt x="157" y="530"/>
                      <a:pt x="157" y="530"/>
                      <a:pt x="157" y="530"/>
                    </a:cubicBezTo>
                    <a:cubicBezTo>
                      <a:pt x="164" y="531"/>
                      <a:pt x="164" y="531"/>
                      <a:pt x="164" y="531"/>
                    </a:cubicBezTo>
                    <a:cubicBezTo>
                      <a:pt x="157" y="532"/>
                      <a:pt x="157" y="532"/>
                      <a:pt x="157" y="532"/>
                    </a:cubicBezTo>
                    <a:cubicBezTo>
                      <a:pt x="156" y="536"/>
                      <a:pt x="156" y="536"/>
                      <a:pt x="156" y="536"/>
                    </a:cubicBezTo>
                    <a:cubicBezTo>
                      <a:pt x="162" y="537"/>
                      <a:pt x="162" y="537"/>
                      <a:pt x="162" y="537"/>
                    </a:cubicBezTo>
                    <a:cubicBezTo>
                      <a:pt x="150" y="539"/>
                      <a:pt x="150" y="539"/>
                      <a:pt x="150" y="539"/>
                    </a:cubicBezTo>
                    <a:cubicBezTo>
                      <a:pt x="155" y="532"/>
                      <a:pt x="155" y="532"/>
                      <a:pt x="155" y="532"/>
                    </a:cubicBezTo>
                    <a:cubicBezTo>
                      <a:pt x="153" y="530"/>
                      <a:pt x="153" y="530"/>
                      <a:pt x="153" y="530"/>
                    </a:cubicBezTo>
                    <a:cubicBezTo>
                      <a:pt x="147" y="534"/>
                      <a:pt x="147" y="534"/>
                      <a:pt x="147" y="534"/>
                    </a:cubicBezTo>
                    <a:cubicBezTo>
                      <a:pt x="145" y="532"/>
                      <a:pt x="145" y="532"/>
                      <a:pt x="145" y="532"/>
                    </a:cubicBezTo>
                    <a:cubicBezTo>
                      <a:pt x="141" y="534"/>
                      <a:pt x="141" y="534"/>
                      <a:pt x="141" y="534"/>
                    </a:cubicBezTo>
                    <a:cubicBezTo>
                      <a:pt x="145" y="538"/>
                      <a:pt x="145" y="538"/>
                      <a:pt x="145" y="538"/>
                    </a:cubicBezTo>
                    <a:cubicBezTo>
                      <a:pt x="138" y="538"/>
                      <a:pt x="138" y="538"/>
                      <a:pt x="138" y="538"/>
                    </a:cubicBezTo>
                    <a:cubicBezTo>
                      <a:pt x="134" y="541"/>
                      <a:pt x="134" y="541"/>
                      <a:pt x="134" y="541"/>
                    </a:cubicBezTo>
                    <a:cubicBezTo>
                      <a:pt x="139" y="547"/>
                      <a:pt x="139" y="547"/>
                      <a:pt x="139" y="547"/>
                    </a:cubicBezTo>
                    <a:cubicBezTo>
                      <a:pt x="143" y="548"/>
                      <a:pt x="143" y="548"/>
                      <a:pt x="143" y="548"/>
                    </a:cubicBezTo>
                    <a:cubicBezTo>
                      <a:pt x="138" y="549"/>
                      <a:pt x="138" y="549"/>
                      <a:pt x="138" y="549"/>
                    </a:cubicBezTo>
                    <a:cubicBezTo>
                      <a:pt x="135" y="552"/>
                      <a:pt x="135" y="552"/>
                      <a:pt x="135" y="552"/>
                    </a:cubicBezTo>
                    <a:cubicBezTo>
                      <a:pt x="126" y="551"/>
                      <a:pt x="126" y="551"/>
                      <a:pt x="126" y="551"/>
                    </a:cubicBezTo>
                    <a:cubicBezTo>
                      <a:pt x="126" y="555"/>
                      <a:pt x="126" y="555"/>
                      <a:pt x="126" y="555"/>
                    </a:cubicBezTo>
                    <a:cubicBezTo>
                      <a:pt x="132" y="563"/>
                      <a:pt x="132" y="563"/>
                      <a:pt x="132" y="563"/>
                    </a:cubicBezTo>
                    <a:cubicBezTo>
                      <a:pt x="138" y="561"/>
                      <a:pt x="138" y="561"/>
                      <a:pt x="138" y="561"/>
                    </a:cubicBezTo>
                    <a:cubicBezTo>
                      <a:pt x="139" y="562"/>
                      <a:pt x="139" y="562"/>
                      <a:pt x="139" y="562"/>
                    </a:cubicBezTo>
                    <a:cubicBezTo>
                      <a:pt x="132" y="566"/>
                      <a:pt x="132" y="566"/>
                      <a:pt x="132" y="566"/>
                    </a:cubicBezTo>
                    <a:cubicBezTo>
                      <a:pt x="137" y="568"/>
                      <a:pt x="137" y="568"/>
                      <a:pt x="137" y="568"/>
                    </a:cubicBezTo>
                    <a:cubicBezTo>
                      <a:pt x="135" y="569"/>
                      <a:pt x="135" y="569"/>
                      <a:pt x="135" y="569"/>
                    </a:cubicBezTo>
                    <a:cubicBezTo>
                      <a:pt x="130" y="567"/>
                      <a:pt x="130" y="567"/>
                      <a:pt x="130" y="567"/>
                    </a:cubicBezTo>
                    <a:cubicBezTo>
                      <a:pt x="129" y="561"/>
                      <a:pt x="129" y="561"/>
                      <a:pt x="129" y="561"/>
                    </a:cubicBezTo>
                    <a:cubicBezTo>
                      <a:pt x="123" y="552"/>
                      <a:pt x="123" y="552"/>
                      <a:pt x="123" y="552"/>
                    </a:cubicBezTo>
                    <a:cubicBezTo>
                      <a:pt x="114" y="557"/>
                      <a:pt x="114" y="557"/>
                      <a:pt x="114" y="557"/>
                    </a:cubicBezTo>
                    <a:cubicBezTo>
                      <a:pt x="116" y="558"/>
                      <a:pt x="116" y="558"/>
                      <a:pt x="116" y="558"/>
                    </a:cubicBezTo>
                    <a:cubicBezTo>
                      <a:pt x="118" y="558"/>
                      <a:pt x="118" y="558"/>
                      <a:pt x="118" y="558"/>
                    </a:cubicBezTo>
                    <a:cubicBezTo>
                      <a:pt x="123" y="563"/>
                      <a:pt x="123" y="563"/>
                      <a:pt x="123" y="563"/>
                    </a:cubicBezTo>
                    <a:cubicBezTo>
                      <a:pt x="123" y="570"/>
                      <a:pt x="123" y="570"/>
                      <a:pt x="123" y="570"/>
                    </a:cubicBezTo>
                    <a:cubicBezTo>
                      <a:pt x="132" y="577"/>
                      <a:pt x="132" y="577"/>
                      <a:pt x="132" y="577"/>
                    </a:cubicBezTo>
                    <a:cubicBezTo>
                      <a:pt x="133" y="579"/>
                      <a:pt x="133" y="579"/>
                      <a:pt x="133" y="579"/>
                    </a:cubicBezTo>
                    <a:cubicBezTo>
                      <a:pt x="122" y="571"/>
                      <a:pt x="122" y="571"/>
                      <a:pt x="122" y="571"/>
                    </a:cubicBezTo>
                    <a:cubicBezTo>
                      <a:pt x="122" y="562"/>
                      <a:pt x="122" y="562"/>
                      <a:pt x="122" y="562"/>
                    </a:cubicBezTo>
                    <a:cubicBezTo>
                      <a:pt x="113" y="562"/>
                      <a:pt x="113" y="562"/>
                      <a:pt x="113" y="562"/>
                    </a:cubicBezTo>
                    <a:cubicBezTo>
                      <a:pt x="111" y="565"/>
                      <a:pt x="111" y="565"/>
                      <a:pt x="111" y="565"/>
                    </a:cubicBezTo>
                    <a:cubicBezTo>
                      <a:pt x="112" y="560"/>
                      <a:pt x="112" y="560"/>
                      <a:pt x="112" y="560"/>
                    </a:cubicBezTo>
                    <a:cubicBezTo>
                      <a:pt x="108" y="560"/>
                      <a:pt x="108" y="560"/>
                      <a:pt x="108" y="560"/>
                    </a:cubicBezTo>
                    <a:cubicBezTo>
                      <a:pt x="107" y="563"/>
                      <a:pt x="107" y="563"/>
                      <a:pt x="107" y="563"/>
                    </a:cubicBezTo>
                    <a:cubicBezTo>
                      <a:pt x="101" y="564"/>
                      <a:pt x="101" y="564"/>
                      <a:pt x="101" y="564"/>
                    </a:cubicBezTo>
                    <a:cubicBezTo>
                      <a:pt x="96" y="557"/>
                      <a:pt x="96" y="557"/>
                      <a:pt x="96" y="557"/>
                    </a:cubicBezTo>
                    <a:cubicBezTo>
                      <a:pt x="96" y="557"/>
                      <a:pt x="92" y="557"/>
                      <a:pt x="85" y="562"/>
                    </a:cubicBezTo>
                    <a:cubicBezTo>
                      <a:pt x="80" y="567"/>
                      <a:pt x="93" y="567"/>
                      <a:pt x="94" y="569"/>
                    </a:cubicBezTo>
                    <a:cubicBezTo>
                      <a:pt x="94" y="571"/>
                      <a:pt x="91" y="570"/>
                      <a:pt x="88" y="570"/>
                    </a:cubicBezTo>
                    <a:cubicBezTo>
                      <a:pt x="83" y="571"/>
                      <a:pt x="87" y="577"/>
                      <a:pt x="87" y="577"/>
                    </a:cubicBezTo>
                    <a:cubicBezTo>
                      <a:pt x="87" y="577"/>
                      <a:pt x="104" y="571"/>
                      <a:pt x="105" y="573"/>
                    </a:cubicBezTo>
                    <a:cubicBezTo>
                      <a:pt x="106" y="575"/>
                      <a:pt x="99" y="575"/>
                      <a:pt x="99" y="575"/>
                    </a:cubicBezTo>
                    <a:cubicBezTo>
                      <a:pt x="99" y="578"/>
                      <a:pt x="99" y="578"/>
                      <a:pt x="99" y="578"/>
                    </a:cubicBezTo>
                    <a:cubicBezTo>
                      <a:pt x="99" y="578"/>
                      <a:pt x="108" y="575"/>
                      <a:pt x="113" y="573"/>
                    </a:cubicBezTo>
                    <a:cubicBezTo>
                      <a:pt x="118" y="573"/>
                      <a:pt x="122" y="579"/>
                      <a:pt x="122" y="579"/>
                    </a:cubicBezTo>
                    <a:cubicBezTo>
                      <a:pt x="122" y="579"/>
                      <a:pt x="117" y="576"/>
                      <a:pt x="114" y="575"/>
                    </a:cubicBezTo>
                    <a:cubicBezTo>
                      <a:pt x="112" y="575"/>
                      <a:pt x="104" y="578"/>
                      <a:pt x="104" y="578"/>
                    </a:cubicBezTo>
                    <a:cubicBezTo>
                      <a:pt x="104" y="583"/>
                      <a:pt x="104" y="583"/>
                      <a:pt x="104" y="583"/>
                    </a:cubicBezTo>
                    <a:cubicBezTo>
                      <a:pt x="102" y="581"/>
                      <a:pt x="102" y="581"/>
                      <a:pt x="102" y="581"/>
                    </a:cubicBezTo>
                    <a:cubicBezTo>
                      <a:pt x="100" y="582"/>
                      <a:pt x="100" y="582"/>
                      <a:pt x="100" y="582"/>
                    </a:cubicBezTo>
                    <a:cubicBezTo>
                      <a:pt x="102" y="586"/>
                      <a:pt x="102" y="586"/>
                      <a:pt x="102" y="586"/>
                    </a:cubicBezTo>
                    <a:cubicBezTo>
                      <a:pt x="108" y="586"/>
                      <a:pt x="108" y="586"/>
                      <a:pt x="108" y="586"/>
                    </a:cubicBezTo>
                    <a:cubicBezTo>
                      <a:pt x="104" y="591"/>
                      <a:pt x="104" y="591"/>
                      <a:pt x="104" y="591"/>
                    </a:cubicBezTo>
                    <a:cubicBezTo>
                      <a:pt x="96" y="584"/>
                      <a:pt x="96" y="584"/>
                      <a:pt x="96" y="584"/>
                    </a:cubicBezTo>
                    <a:cubicBezTo>
                      <a:pt x="92" y="582"/>
                      <a:pt x="92" y="582"/>
                      <a:pt x="92" y="582"/>
                    </a:cubicBezTo>
                    <a:cubicBezTo>
                      <a:pt x="92" y="585"/>
                      <a:pt x="92" y="585"/>
                      <a:pt x="92" y="585"/>
                    </a:cubicBezTo>
                    <a:cubicBezTo>
                      <a:pt x="92" y="585"/>
                      <a:pt x="90" y="581"/>
                      <a:pt x="87" y="580"/>
                    </a:cubicBezTo>
                    <a:cubicBezTo>
                      <a:pt x="83" y="579"/>
                      <a:pt x="83" y="583"/>
                      <a:pt x="83" y="583"/>
                    </a:cubicBezTo>
                    <a:cubicBezTo>
                      <a:pt x="83" y="583"/>
                      <a:pt x="81" y="581"/>
                      <a:pt x="80" y="580"/>
                    </a:cubicBezTo>
                    <a:cubicBezTo>
                      <a:pt x="78" y="580"/>
                      <a:pt x="74" y="583"/>
                      <a:pt x="74" y="583"/>
                    </a:cubicBezTo>
                    <a:cubicBezTo>
                      <a:pt x="74" y="583"/>
                      <a:pt x="72" y="582"/>
                      <a:pt x="69" y="581"/>
                    </a:cubicBezTo>
                    <a:cubicBezTo>
                      <a:pt x="66" y="581"/>
                      <a:pt x="65" y="584"/>
                      <a:pt x="63" y="587"/>
                    </a:cubicBezTo>
                    <a:cubicBezTo>
                      <a:pt x="62" y="589"/>
                      <a:pt x="74" y="586"/>
                      <a:pt x="74" y="586"/>
                    </a:cubicBezTo>
                    <a:cubicBezTo>
                      <a:pt x="74" y="586"/>
                      <a:pt x="82" y="592"/>
                      <a:pt x="84" y="594"/>
                    </a:cubicBezTo>
                    <a:cubicBezTo>
                      <a:pt x="85" y="595"/>
                      <a:pt x="84" y="600"/>
                      <a:pt x="84" y="600"/>
                    </a:cubicBezTo>
                    <a:cubicBezTo>
                      <a:pt x="87" y="603"/>
                      <a:pt x="87" y="603"/>
                      <a:pt x="87" y="603"/>
                    </a:cubicBezTo>
                    <a:cubicBezTo>
                      <a:pt x="92" y="604"/>
                      <a:pt x="92" y="604"/>
                      <a:pt x="92" y="604"/>
                    </a:cubicBezTo>
                    <a:cubicBezTo>
                      <a:pt x="94" y="603"/>
                      <a:pt x="94" y="603"/>
                      <a:pt x="94" y="603"/>
                    </a:cubicBezTo>
                    <a:cubicBezTo>
                      <a:pt x="93" y="605"/>
                      <a:pt x="93" y="605"/>
                      <a:pt x="93" y="605"/>
                    </a:cubicBezTo>
                    <a:cubicBezTo>
                      <a:pt x="85" y="605"/>
                      <a:pt x="85" y="605"/>
                      <a:pt x="85" y="605"/>
                    </a:cubicBezTo>
                    <a:cubicBezTo>
                      <a:pt x="87" y="608"/>
                      <a:pt x="87" y="608"/>
                      <a:pt x="87" y="608"/>
                    </a:cubicBezTo>
                    <a:cubicBezTo>
                      <a:pt x="83" y="614"/>
                      <a:pt x="83" y="614"/>
                      <a:pt x="83" y="614"/>
                    </a:cubicBezTo>
                    <a:cubicBezTo>
                      <a:pt x="85" y="616"/>
                      <a:pt x="85" y="616"/>
                      <a:pt x="85" y="616"/>
                    </a:cubicBezTo>
                    <a:cubicBezTo>
                      <a:pt x="80" y="615"/>
                      <a:pt x="80" y="615"/>
                      <a:pt x="80" y="615"/>
                    </a:cubicBezTo>
                    <a:cubicBezTo>
                      <a:pt x="84" y="607"/>
                      <a:pt x="84" y="607"/>
                      <a:pt x="84" y="607"/>
                    </a:cubicBezTo>
                    <a:cubicBezTo>
                      <a:pt x="82" y="602"/>
                      <a:pt x="82" y="602"/>
                      <a:pt x="82" y="602"/>
                    </a:cubicBezTo>
                    <a:cubicBezTo>
                      <a:pt x="82" y="594"/>
                      <a:pt x="82" y="594"/>
                      <a:pt x="82" y="594"/>
                    </a:cubicBezTo>
                    <a:cubicBezTo>
                      <a:pt x="73" y="593"/>
                      <a:pt x="73" y="593"/>
                      <a:pt x="73" y="593"/>
                    </a:cubicBezTo>
                    <a:cubicBezTo>
                      <a:pt x="73" y="597"/>
                      <a:pt x="73" y="597"/>
                      <a:pt x="73" y="597"/>
                    </a:cubicBezTo>
                    <a:cubicBezTo>
                      <a:pt x="69" y="595"/>
                      <a:pt x="69" y="595"/>
                      <a:pt x="69" y="595"/>
                    </a:cubicBezTo>
                    <a:cubicBezTo>
                      <a:pt x="66" y="595"/>
                      <a:pt x="66" y="595"/>
                      <a:pt x="66" y="595"/>
                    </a:cubicBezTo>
                    <a:cubicBezTo>
                      <a:pt x="72" y="611"/>
                      <a:pt x="72" y="611"/>
                      <a:pt x="72" y="611"/>
                    </a:cubicBezTo>
                    <a:cubicBezTo>
                      <a:pt x="71" y="613"/>
                      <a:pt x="71" y="613"/>
                      <a:pt x="71" y="613"/>
                    </a:cubicBezTo>
                    <a:cubicBezTo>
                      <a:pt x="68" y="607"/>
                      <a:pt x="68" y="607"/>
                      <a:pt x="68" y="607"/>
                    </a:cubicBezTo>
                    <a:cubicBezTo>
                      <a:pt x="65" y="602"/>
                      <a:pt x="65" y="602"/>
                      <a:pt x="65" y="602"/>
                    </a:cubicBezTo>
                    <a:cubicBezTo>
                      <a:pt x="65" y="602"/>
                      <a:pt x="66" y="598"/>
                      <a:pt x="63" y="597"/>
                    </a:cubicBezTo>
                    <a:cubicBezTo>
                      <a:pt x="61" y="596"/>
                      <a:pt x="52" y="603"/>
                      <a:pt x="52" y="603"/>
                    </a:cubicBezTo>
                    <a:cubicBezTo>
                      <a:pt x="56" y="607"/>
                      <a:pt x="56" y="607"/>
                      <a:pt x="56" y="607"/>
                    </a:cubicBezTo>
                    <a:cubicBezTo>
                      <a:pt x="50" y="607"/>
                      <a:pt x="50" y="607"/>
                      <a:pt x="50" y="607"/>
                    </a:cubicBezTo>
                    <a:cubicBezTo>
                      <a:pt x="50" y="607"/>
                      <a:pt x="52" y="608"/>
                      <a:pt x="55" y="610"/>
                    </a:cubicBezTo>
                    <a:cubicBezTo>
                      <a:pt x="57" y="613"/>
                      <a:pt x="61" y="616"/>
                      <a:pt x="61" y="616"/>
                    </a:cubicBezTo>
                    <a:cubicBezTo>
                      <a:pt x="55" y="615"/>
                      <a:pt x="55" y="615"/>
                      <a:pt x="55" y="615"/>
                    </a:cubicBezTo>
                    <a:cubicBezTo>
                      <a:pt x="52" y="613"/>
                      <a:pt x="52" y="613"/>
                      <a:pt x="52" y="613"/>
                    </a:cubicBezTo>
                    <a:cubicBezTo>
                      <a:pt x="48" y="617"/>
                      <a:pt x="48" y="617"/>
                      <a:pt x="48" y="617"/>
                    </a:cubicBezTo>
                    <a:cubicBezTo>
                      <a:pt x="51" y="610"/>
                      <a:pt x="51" y="610"/>
                      <a:pt x="51" y="610"/>
                    </a:cubicBezTo>
                    <a:cubicBezTo>
                      <a:pt x="51" y="610"/>
                      <a:pt x="50" y="608"/>
                      <a:pt x="46" y="608"/>
                    </a:cubicBezTo>
                    <a:cubicBezTo>
                      <a:pt x="42" y="608"/>
                      <a:pt x="43" y="612"/>
                      <a:pt x="43" y="612"/>
                    </a:cubicBezTo>
                    <a:cubicBezTo>
                      <a:pt x="43" y="612"/>
                      <a:pt x="40" y="608"/>
                      <a:pt x="38" y="608"/>
                    </a:cubicBezTo>
                    <a:cubicBezTo>
                      <a:pt x="34" y="608"/>
                      <a:pt x="33" y="612"/>
                      <a:pt x="33" y="612"/>
                    </a:cubicBezTo>
                    <a:cubicBezTo>
                      <a:pt x="39" y="615"/>
                      <a:pt x="39" y="615"/>
                      <a:pt x="39" y="615"/>
                    </a:cubicBezTo>
                    <a:cubicBezTo>
                      <a:pt x="38" y="616"/>
                      <a:pt x="38" y="616"/>
                      <a:pt x="38" y="616"/>
                    </a:cubicBezTo>
                    <a:cubicBezTo>
                      <a:pt x="31" y="611"/>
                      <a:pt x="31" y="611"/>
                      <a:pt x="31" y="611"/>
                    </a:cubicBezTo>
                    <a:cubicBezTo>
                      <a:pt x="32" y="609"/>
                      <a:pt x="32" y="609"/>
                      <a:pt x="32" y="609"/>
                    </a:cubicBezTo>
                    <a:cubicBezTo>
                      <a:pt x="28" y="605"/>
                      <a:pt x="28" y="605"/>
                      <a:pt x="28" y="605"/>
                    </a:cubicBezTo>
                    <a:cubicBezTo>
                      <a:pt x="25" y="609"/>
                      <a:pt x="25" y="609"/>
                      <a:pt x="25" y="609"/>
                    </a:cubicBezTo>
                    <a:cubicBezTo>
                      <a:pt x="26" y="611"/>
                      <a:pt x="26" y="611"/>
                      <a:pt x="26" y="611"/>
                    </a:cubicBezTo>
                    <a:cubicBezTo>
                      <a:pt x="26" y="611"/>
                      <a:pt x="32" y="616"/>
                      <a:pt x="32" y="618"/>
                    </a:cubicBezTo>
                    <a:cubicBezTo>
                      <a:pt x="31" y="621"/>
                      <a:pt x="25" y="620"/>
                      <a:pt x="25" y="624"/>
                    </a:cubicBezTo>
                    <a:cubicBezTo>
                      <a:pt x="25" y="627"/>
                      <a:pt x="34" y="623"/>
                      <a:pt x="34" y="623"/>
                    </a:cubicBezTo>
                    <a:cubicBezTo>
                      <a:pt x="50" y="627"/>
                      <a:pt x="50" y="627"/>
                      <a:pt x="50" y="627"/>
                    </a:cubicBezTo>
                    <a:cubicBezTo>
                      <a:pt x="49" y="628"/>
                      <a:pt x="49" y="628"/>
                      <a:pt x="49" y="628"/>
                    </a:cubicBezTo>
                    <a:cubicBezTo>
                      <a:pt x="64" y="632"/>
                      <a:pt x="64" y="632"/>
                      <a:pt x="64" y="632"/>
                    </a:cubicBezTo>
                    <a:cubicBezTo>
                      <a:pt x="71" y="629"/>
                      <a:pt x="71" y="629"/>
                      <a:pt x="71" y="629"/>
                    </a:cubicBezTo>
                    <a:cubicBezTo>
                      <a:pt x="78" y="631"/>
                      <a:pt x="78" y="631"/>
                      <a:pt x="78" y="631"/>
                    </a:cubicBezTo>
                    <a:cubicBezTo>
                      <a:pt x="78" y="632"/>
                      <a:pt x="78" y="632"/>
                      <a:pt x="78" y="632"/>
                    </a:cubicBezTo>
                    <a:cubicBezTo>
                      <a:pt x="72" y="631"/>
                      <a:pt x="72" y="631"/>
                      <a:pt x="72" y="631"/>
                    </a:cubicBezTo>
                    <a:cubicBezTo>
                      <a:pt x="65" y="633"/>
                      <a:pt x="65" y="633"/>
                      <a:pt x="65" y="633"/>
                    </a:cubicBezTo>
                    <a:cubicBezTo>
                      <a:pt x="56" y="631"/>
                      <a:pt x="56" y="631"/>
                      <a:pt x="56" y="631"/>
                    </a:cubicBezTo>
                    <a:cubicBezTo>
                      <a:pt x="55" y="633"/>
                      <a:pt x="55" y="633"/>
                      <a:pt x="55" y="633"/>
                    </a:cubicBezTo>
                    <a:cubicBezTo>
                      <a:pt x="55" y="633"/>
                      <a:pt x="42" y="626"/>
                      <a:pt x="35" y="626"/>
                    </a:cubicBezTo>
                    <a:cubicBezTo>
                      <a:pt x="28" y="626"/>
                      <a:pt x="29" y="629"/>
                      <a:pt x="29" y="629"/>
                    </a:cubicBezTo>
                    <a:cubicBezTo>
                      <a:pt x="29" y="629"/>
                      <a:pt x="28" y="629"/>
                      <a:pt x="25" y="631"/>
                    </a:cubicBezTo>
                    <a:cubicBezTo>
                      <a:pt x="23" y="632"/>
                      <a:pt x="25" y="635"/>
                      <a:pt x="25" y="635"/>
                    </a:cubicBezTo>
                    <a:cubicBezTo>
                      <a:pt x="25" y="635"/>
                      <a:pt x="19" y="634"/>
                      <a:pt x="17" y="638"/>
                    </a:cubicBezTo>
                    <a:cubicBezTo>
                      <a:pt x="16" y="641"/>
                      <a:pt x="19" y="642"/>
                      <a:pt x="19" y="642"/>
                    </a:cubicBezTo>
                    <a:cubicBezTo>
                      <a:pt x="27" y="642"/>
                      <a:pt x="27" y="642"/>
                      <a:pt x="27" y="642"/>
                    </a:cubicBezTo>
                    <a:cubicBezTo>
                      <a:pt x="32" y="646"/>
                      <a:pt x="32" y="646"/>
                      <a:pt x="32" y="646"/>
                    </a:cubicBezTo>
                    <a:cubicBezTo>
                      <a:pt x="26" y="644"/>
                      <a:pt x="26" y="644"/>
                      <a:pt x="26" y="644"/>
                    </a:cubicBezTo>
                    <a:cubicBezTo>
                      <a:pt x="24" y="646"/>
                      <a:pt x="24" y="646"/>
                      <a:pt x="24" y="646"/>
                    </a:cubicBezTo>
                    <a:cubicBezTo>
                      <a:pt x="28" y="648"/>
                      <a:pt x="28" y="648"/>
                      <a:pt x="28" y="648"/>
                    </a:cubicBezTo>
                    <a:cubicBezTo>
                      <a:pt x="23" y="648"/>
                      <a:pt x="23" y="648"/>
                      <a:pt x="23" y="648"/>
                    </a:cubicBezTo>
                    <a:cubicBezTo>
                      <a:pt x="23" y="650"/>
                      <a:pt x="23" y="650"/>
                      <a:pt x="23" y="650"/>
                    </a:cubicBezTo>
                    <a:cubicBezTo>
                      <a:pt x="32" y="652"/>
                      <a:pt x="32" y="652"/>
                      <a:pt x="32" y="652"/>
                    </a:cubicBezTo>
                    <a:cubicBezTo>
                      <a:pt x="17" y="655"/>
                      <a:pt x="17" y="655"/>
                      <a:pt x="17" y="655"/>
                    </a:cubicBezTo>
                    <a:cubicBezTo>
                      <a:pt x="17" y="657"/>
                      <a:pt x="17" y="657"/>
                      <a:pt x="17" y="657"/>
                    </a:cubicBezTo>
                    <a:cubicBezTo>
                      <a:pt x="20" y="657"/>
                      <a:pt x="20" y="657"/>
                      <a:pt x="20" y="657"/>
                    </a:cubicBezTo>
                    <a:cubicBezTo>
                      <a:pt x="20" y="660"/>
                      <a:pt x="20" y="660"/>
                      <a:pt x="20" y="660"/>
                    </a:cubicBezTo>
                    <a:cubicBezTo>
                      <a:pt x="30" y="660"/>
                      <a:pt x="30" y="660"/>
                      <a:pt x="30" y="660"/>
                    </a:cubicBezTo>
                    <a:cubicBezTo>
                      <a:pt x="17" y="663"/>
                      <a:pt x="17" y="663"/>
                      <a:pt x="17" y="663"/>
                    </a:cubicBezTo>
                    <a:cubicBezTo>
                      <a:pt x="15" y="667"/>
                      <a:pt x="15" y="667"/>
                      <a:pt x="15" y="667"/>
                    </a:cubicBezTo>
                    <a:cubicBezTo>
                      <a:pt x="22" y="670"/>
                      <a:pt x="22" y="670"/>
                      <a:pt x="22" y="670"/>
                    </a:cubicBezTo>
                    <a:cubicBezTo>
                      <a:pt x="18" y="670"/>
                      <a:pt x="18" y="670"/>
                      <a:pt x="18" y="670"/>
                    </a:cubicBezTo>
                    <a:cubicBezTo>
                      <a:pt x="23" y="675"/>
                      <a:pt x="23" y="675"/>
                      <a:pt x="23" y="675"/>
                    </a:cubicBezTo>
                    <a:cubicBezTo>
                      <a:pt x="26" y="675"/>
                      <a:pt x="26" y="675"/>
                      <a:pt x="26" y="675"/>
                    </a:cubicBezTo>
                    <a:cubicBezTo>
                      <a:pt x="28" y="677"/>
                      <a:pt x="28" y="677"/>
                      <a:pt x="28" y="677"/>
                    </a:cubicBezTo>
                    <a:cubicBezTo>
                      <a:pt x="48" y="672"/>
                      <a:pt x="48" y="672"/>
                      <a:pt x="48" y="672"/>
                    </a:cubicBezTo>
                    <a:cubicBezTo>
                      <a:pt x="46" y="675"/>
                      <a:pt x="46" y="675"/>
                      <a:pt x="46" y="675"/>
                    </a:cubicBezTo>
                    <a:cubicBezTo>
                      <a:pt x="55" y="674"/>
                      <a:pt x="55" y="674"/>
                      <a:pt x="55" y="674"/>
                    </a:cubicBezTo>
                    <a:cubicBezTo>
                      <a:pt x="55" y="674"/>
                      <a:pt x="56" y="677"/>
                      <a:pt x="61" y="677"/>
                    </a:cubicBezTo>
                    <a:cubicBezTo>
                      <a:pt x="65" y="677"/>
                      <a:pt x="63" y="668"/>
                      <a:pt x="63" y="668"/>
                    </a:cubicBezTo>
                    <a:cubicBezTo>
                      <a:pt x="66" y="667"/>
                      <a:pt x="66" y="667"/>
                      <a:pt x="66" y="667"/>
                    </a:cubicBezTo>
                    <a:cubicBezTo>
                      <a:pt x="71" y="661"/>
                      <a:pt x="71" y="661"/>
                      <a:pt x="71" y="661"/>
                    </a:cubicBezTo>
                    <a:cubicBezTo>
                      <a:pt x="72" y="662"/>
                      <a:pt x="72" y="662"/>
                      <a:pt x="72" y="662"/>
                    </a:cubicBezTo>
                    <a:cubicBezTo>
                      <a:pt x="67" y="670"/>
                      <a:pt x="67" y="670"/>
                      <a:pt x="67" y="670"/>
                    </a:cubicBezTo>
                    <a:cubicBezTo>
                      <a:pt x="69" y="674"/>
                      <a:pt x="69" y="674"/>
                      <a:pt x="69" y="674"/>
                    </a:cubicBezTo>
                    <a:cubicBezTo>
                      <a:pt x="79" y="675"/>
                      <a:pt x="79" y="675"/>
                      <a:pt x="79" y="675"/>
                    </a:cubicBezTo>
                    <a:cubicBezTo>
                      <a:pt x="83" y="671"/>
                      <a:pt x="83" y="671"/>
                      <a:pt x="83" y="671"/>
                    </a:cubicBezTo>
                    <a:cubicBezTo>
                      <a:pt x="83" y="675"/>
                      <a:pt x="83" y="675"/>
                      <a:pt x="83" y="675"/>
                    </a:cubicBezTo>
                    <a:cubicBezTo>
                      <a:pt x="76" y="677"/>
                      <a:pt x="76" y="677"/>
                      <a:pt x="76" y="677"/>
                    </a:cubicBezTo>
                    <a:cubicBezTo>
                      <a:pt x="78" y="679"/>
                      <a:pt x="78" y="679"/>
                      <a:pt x="78" y="679"/>
                    </a:cubicBezTo>
                    <a:cubicBezTo>
                      <a:pt x="90" y="675"/>
                      <a:pt x="90" y="675"/>
                      <a:pt x="90" y="675"/>
                    </a:cubicBezTo>
                    <a:cubicBezTo>
                      <a:pt x="89" y="668"/>
                      <a:pt x="89" y="668"/>
                      <a:pt x="89" y="668"/>
                    </a:cubicBezTo>
                    <a:cubicBezTo>
                      <a:pt x="89" y="668"/>
                      <a:pt x="91" y="664"/>
                      <a:pt x="93" y="661"/>
                    </a:cubicBezTo>
                    <a:cubicBezTo>
                      <a:pt x="94" y="659"/>
                      <a:pt x="98" y="656"/>
                      <a:pt x="98" y="656"/>
                    </a:cubicBezTo>
                    <a:cubicBezTo>
                      <a:pt x="99" y="658"/>
                      <a:pt x="99" y="658"/>
                      <a:pt x="99" y="658"/>
                    </a:cubicBezTo>
                    <a:cubicBezTo>
                      <a:pt x="99" y="658"/>
                      <a:pt x="97" y="660"/>
                      <a:pt x="95" y="662"/>
                    </a:cubicBezTo>
                    <a:cubicBezTo>
                      <a:pt x="93" y="663"/>
                      <a:pt x="90" y="668"/>
                      <a:pt x="90" y="668"/>
                    </a:cubicBezTo>
                    <a:cubicBezTo>
                      <a:pt x="92" y="671"/>
                      <a:pt x="92" y="671"/>
                      <a:pt x="92" y="671"/>
                    </a:cubicBezTo>
                    <a:cubicBezTo>
                      <a:pt x="93" y="675"/>
                      <a:pt x="93" y="675"/>
                      <a:pt x="93" y="675"/>
                    </a:cubicBezTo>
                    <a:cubicBezTo>
                      <a:pt x="102" y="673"/>
                      <a:pt x="102" y="673"/>
                      <a:pt x="102" y="673"/>
                    </a:cubicBezTo>
                    <a:cubicBezTo>
                      <a:pt x="98" y="676"/>
                      <a:pt x="98" y="676"/>
                      <a:pt x="98" y="676"/>
                    </a:cubicBezTo>
                    <a:cubicBezTo>
                      <a:pt x="96" y="676"/>
                      <a:pt x="96" y="676"/>
                      <a:pt x="96" y="676"/>
                    </a:cubicBezTo>
                    <a:cubicBezTo>
                      <a:pt x="92" y="677"/>
                      <a:pt x="92" y="677"/>
                      <a:pt x="92" y="677"/>
                    </a:cubicBezTo>
                    <a:cubicBezTo>
                      <a:pt x="92" y="680"/>
                      <a:pt x="92" y="680"/>
                      <a:pt x="92" y="680"/>
                    </a:cubicBezTo>
                    <a:cubicBezTo>
                      <a:pt x="88" y="678"/>
                      <a:pt x="88" y="678"/>
                      <a:pt x="88" y="678"/>
                    </a:cubicBezTo>
                    <a:cubicBezTo>
                      <a:pt x="80" y="680"/>
                      <a:pt x="80" y="680"/>
                      <a:pt x="80" y="680"/>
                    </a:cubicBezTo>
                    <a:cubicBezTo>
                      <a:pt x="80" y="686"/>
                      <a:pt x="80" y="686"/>
                      <a:pt x="80" y="686"/>
                    </a:cubicBezTo>
                    <a:cubicBezTo>
                      <a:pt x="82" y="691"/>
                      <a:pt x="82" y="691"/>
                      <a:pt x="82" y="691"/>
                    </a:cubicBezTo>
                    <a:cubicBezTo>
                      <a:pt x="79" y="688"/>
                      <a:pt x="79" y="688"/>
                      <a:pt x="79" y="688"/>
                    </a:cubicBezTo>
                    <a:cubicBezTo>
                      <a:pt x="76" y="690"/>
                      <a:pt x="76" y="690"/>
                      <a:pt x="76" y="690"/>
                    </a:cubicBezTo>
                    <a:cubicBezTo>
                      <a:pt x="78" y="686"/>
                      <a:pt x="78" y="686"/>
                      <a:pt x="78" y="686"/>
                    </a:cubicBezTo>
                    <a:cubicBezTo>
                      <a:pt x="77" y="681"/>
                      <a:pt x="77" y="681"/>
                      <a:pt x="77" y="681"/>
                    </a:cubicBezTo>
                    <a:cubicBezTo>
                      <a:pt x="75" y="681"/>
                      <a:pt x="75" y="681"/>
                      <a:pt x="75" y="681"/>
                    </a:cubicBezTo>
                    <a:cubicBezTo>
                      <a:pt x="74" y="678"/>
                      <a:pt x="74" y="678"/>
                      <a:pt x="74" y="678"/>
                    </a:cubicBezTo>
                    <a:cubicBezTo>
                      <a:pt x="74" y="678"/>
                      <a:pt x="67" y="676"/>
                      <a:pt x="66" y="675"/>
                    </a:cubicBezTo>
                    <a:cubicBezTo>
                      <a:pt x="65" y="675"/>
                      <a:pt x="64" y="679"/>
                      <a:pt x="64" y="679"/>
                    </a:cubicBezTo>
                    <a:cubicBezTo>
                      <a:pt x="56" y="680"/>
                      <a:pt x="56" y="680"/>
                      <a:pt x="56" y="680"/>
                    </a:cubicBezTo>
                    <a:cubicBezTo>
                      <a:pt x="56" y="678"/>
                      <a:pt x="56" y="678"/>
                      <a:pt x="56" y="678"/>
                    </a:cubicBezTo>
                    <a:cubicBezTo>
                      <a:pt x="42" y="676"/>
                      <a:pt x="42" y="676"/>
                      <a:pt x="42" y="676"/>
                    </a:cubicBezTo>
                    <a:cubicBezTo>
                      <a:pt x="41" y="678"/>
                      <a:pt x="41" y="678"/>
                      <a:pt x="41" y="678"/>
                    </a:cubicBezTo>
                    <a:cubicBezTo>
                      <a:pt x="39" y="676"/>
                      <a:pt x="39" y="676"/>
                      <a:pt x="39" y="676"/>
                    </a:cubicBezTo>
                    <a:cubicBezTo>
                      <a:pt x="33" y="678"/>
                      <a:pt x="33" y="678"/>
                      <a:pt x="33" y="678"/>
                    </a:cubicBezTo>
                    <a:cubicBezTo>
                      <a:pt x="31" y="681"/>
                      <a:pt x="31" y="681"/>
                      <a:pt x="31" y="681"/>
                    </a:cubicBezTo>
                    <a:cubicBezTo>
                      <a:pt x="24" y="680"/>
                      <a:pt x="24" y="680"/>
                      <a:pt x="24" y="680"/>
                    </a:cubicBezTo>
                    <a:cubicBezTo>
                      <a:pt x="24" y="680"/>
                      <a:pt x="23" y="678"/>
                      <a:pt x="19" y="678"/>
                    </a:cubicBezTo>
                    <a:cubicBezTo>
                      <a:pt x="16" y="678"/>
                      <a:pt x="15" y="682"/>
                      <a:pt x="15" y="682"/>
                    </a:cubicBezTo>
                    <a:cubicBezTo>
                      <a:pt x="18" y="686"/>
                      <a:pt x="18" y="686"/>
                      <a:pt x="18" y="686"/>
                    </a:cubicBezTo>
                    <a:cubicBezTo>
                      <a:pt x="14" y="687"/>
                      <a:pt x="14" y="687"/>
                      <a:pt x="14" y="687"/>
                    </a:cubicBezTo>
                    <a:cubicBezTo>
                      <a:pt x="14" y="687"/>
                      <a:pt x="14" y="692"/>
                      <a:pt x="18" y="693"/>
                    </a:cubicBezTo>
                    <a:cubicBezTo>
                      <a:pt x="22" y="695"/>
                      <a:pt x="24" y="691"/>
                      <a:pt x="24" y="691"/>
                    </a:cubicBezTo>
                    <a:cubicBezTo>
                      <a:pt x="28" y="691"/>
                      <a:pt x="28" y="691"/>
                      <a:pt x="28" y="691"/>
                    </a:cubicBezTo>
                    <a:cubicBezTo>
                      <a:pt x="27" y="692"/>
                      <a:pt x="27" y="692"/>
                      <a:pt x="27" y="692"/>
                    </a:cubicBezTo>
                    <a:cubicBezTo>
                      <a:pt x="27" y="692"/>
                      <a:pt x="23" y="692"/>
                      <a:pt x="22" y="697"/>
                    </a:cubicBezTo>
                    <a:cubicBezTo>
                      <a:pt x="20" y="703"/>
                      <a:pt x="27" y="704"/>
                      <a:pt x="27" y="704"/>
                    </a:cubicBezTo>
                    <a:cubicBezTo>
                      <a:pt x="25" y="705"/>
                      <a:pt x="25" y="705"/>
                      <a:pt x="25" y="705"/>
                    </a:cubicBezTo>
                    <a:cubicBezTo>
                      <a:pt x="27" y="707"/>
                      <a:pt x="27" y="707"/>
                      <a:pt x="27" y="707"/>
                    </a:cubicBezTo>
                    <a:cubicBezTo>
                      <a:pt x="30" y="707"/>
                      <a:pt x="30" y="707"/>
                      <a:pt x="30" y="707"/>
                    </a:cubicBezTo>
                    <a:cubicBezTo>
                      <a:pt x="30" y="707"/>
                      <a:pt x="29" y="705"/>
                      <a:pt x="29" y="703"/>
                    </a:cubicBezTo>
                    <a:cubicBezTo>
                      <a:pt x="29" y="702"/>
                      <a:pt x="32" y="701"/>
                      <a:pt x="32" y="701"/>
                    </a:cubicBezTo>
                    <a:cubicBezTo>
                      <a:pt x="38" y="704"/>
                      <a:pt x="38" y="704"/>
                      <a:pt x="38" y="704"/>
                    </a:cubicBezTo>
                    <a:cubicBezTo>
                      <a:pt x="38" y="704"/>
                      <a:pt x="36" y="708"/>
                      <a:pt x="35" y="711"/>
                    </a:cubicBezTo>
                    <a:cubicBezTo>
                      <a:pt x="34" y="714"/>
                      <a:pt x="34" y="719"/>
                      <a:pt x="34" y="719"/>
                    </a:cubicBezTo>
                    <a:cubicBezTo>
                      <a:pt x="25" y="720"/>
                      <a:pt x="25" y="720"/>
                      <a:pt x="25" y="720"/>
                    </a:cubicBezTo>
                    <a:cubicBezTo>
                      <a:pt x="25" y="720"/>
                      <a:pt x="24" y="713"/>
                      <a:pt x="19" y="714"/>
                    </a:cubicBezTo>
                    <a:cubicBezTo>
                      <a:pt x="15" y="715"/>
                      <a:pt x="19" y="723"/>
                      <a:pt x="19" y="723"/>
                    </a:cubicBezTo>
                    <a:cubicBezTo>
                      <a:pt x="19" y="723"/>
                      <a:pt x="15" y="723"/>
                      <a:pt x="15" y="727"/>
                    </a:cubicBezTo>
                    <a:cubicBezTo>
                      <a:pt x="15" y="731"/>
                      <a:pt x="18" y="730"/>
                      <a:pt x="18" y="730"/>
                    </a:cubicBezTo>
                    <a:cubicBezTo>
                      <a:pt x="17" y="733"/>
                      <a:pt x="17" y="733"/>
                      <a:pt x="17" y="733"/>
                    </a:cubicBezTo>
                    <a:cubicBezTo>
                      <a:pt x="22" y="738"/>
                      <a:pt x="22" y="738"/>
                      <a:pt x="22" y="738"/>
                    </a:cubicBezTo>
                    <a:cubicBezTo>
                      <a:pt x="26" y="735"/>
                      <a:pt x="26" y="735"/>
                      <a:pt x="26" y="735"/>
                    </a:cubicBezTo>
                    <a:cubicBezTo>
                      <a:pt x="29" y="727"/>
                      <a:pt x="29" y="727"/>
                      <a:pt x="29" y="727"/>
                    </a:cubicBezTo>
                    <a:cubicBezTo>
                      <a:pt x="27" y="734"/>
                      <a:pt x="27" y="734"/>
                      <a:pt x="27" y="734"/>
                    </a:cubicBezTo>
                    <a:cubicBezTo>
                      <a:pt x="27" y="738"/>
                      <a:pt x="27" y="738"/>
                      <a:pt x="27" y="738"/>
                    </a:cubicBezTo>
                    <a:cubicBezTo>
                      <a:pt x="32" y="738"/>
                      <a:pt x="32" y="738"/>
                      <a:pt x="32" y="738"/>
                    </a:cubicBezTo>
                    <a:cubicBezTo>
                      <a:pt x="33" y="739"/>
                      <a:pt x="31" y="743"/>
                      <a:pt x="31" y="743"/>
                    </a:cubicBezTo>
                    <a:cubicBezTo>
                      <a:pt x="32" y="744"/>
                      <a:pt x="32" y="744"/>
                      <a:pt x="32" y="744"/>
                    </a:cubicBezTo>
                    <a:cubicBezTo>
                      <a:pt x="30" y="744"/>
                      <a:pt x="30" y="744"/>
                      <a:pt x="30" y="744"/>
                    </a:cubicBezTo>
                    <a:cubicBezTo>
                      <a:pt x="30" y="746"/>
                      <a:pt x="30" y="746"/>
                      <a:pt x="30" y="746"/>
                    </a:cubicBezTo>
                    <a:cubicBezTo>
                      <a:pt x="34" y="750"/>
                      <a:pt x="34" y="750"/>
                      <a:pt x="34" y="750"/>
                    </a:cubicBezTo>
                    <a:cubicBezTo>
                      <a:pt x="38" y="745"/>
                      <a:pt x="38" y="745"/>
                      <a:pt x="38" y="745"/>
                    </a:cubicBezTo>
                    <a:cubicBezTo>
                      <a:pt x="38" y="738"/>
                      <a:pt x="38" y="738"/>
                      <a:pt x="38" y="738"/>
                    </a:cubicBezTo>
                    <a:cubicBezTo>
                      <a:pt x="40" y="737"/>
                      <a:pt x="40" y="737"/>
                      <a:pt x="40" y="737"/>
                    </a:cubicBezTo>
                    <a:cubicBezTo>
                      <a:pt x="42" y="731"/>
                      <a:pt x="42" y="731"/>
                      <a:pt x="42" y="731"/>
                    </a:cubicBezTo>
                    <a:cubicBezTo>
                      <a:pt x="42" y="731"/>
                      <a:pt x="45" y="734"/>
                      <a:pt x="47" y="731"/>
                    </a:cubicBezTo>
                    <a:cubicBezTo>
                      <a:pt x="48" y="730"/>
                      <a:pt x="47" y="726"/>
                      <a:pt x="47" y="726"/>
                    </a:cubicBezTo>
                    <a:cubicBezTo>
                      <a:pt x="47" y="726"/>
                      <a:pt x="49" y="725"/>
                      <a:pt x="55" y="723"/>
                    </a:cubicBezTo>
                    <a:cubicBezTo>
                      <a:pt x="59" y="720"/>
                      <a:pt x="64" y="720"/>
                      <a:pt x="64" y="720"/>
                    </a:cubicBezTo>
                    <a:cubicBezTo>
                      <a:pt x="64" y="722"/>
                      <a:pt x="64" y="722"/>
                      <a:pt x="64" y="722"/>
                    </a:cubicBezTo>
                    <a:cubicBezTo>
                      <a:pt x="71" y="719"/>
                      <a:pt x="71" y="719"/>
                      <a:pt x="71" y="719"/>
                    </a:cubicBezTo>
                    <a:cubicBezTo>
                      <a:pt x="72" y="715"/>
                      <a:pt x="72" y="715"/>
                      <a:pt x="72" y="715"/>
                    </a:cubicBezTo>
                    <a:cubicBezTo>
                      <a:pt x="74" y="715"/>
                      <a:pt x="74" y="715"/>
                      <a:pt x="74" y="715"/>
                    </a:cubicBezTo>
                    <a:cubicBezTo>
                      <a:pt x="73" y="719"/>
                      <a:pt x="73" y="719"/>
                      <a:pt x="73" y="719"/>
                    </a:cubicBezTo>
                    <a:cubicBezTo>
                      <a:pt x="77" y="720"/>
                      <a:pt x="77" y="720"/>
                      <a:pt x="77" y="720"/>
                    </a:cubicBezTo>
                    <a:cubicBezTo>
                      <a:pt x="77" y="720"/>
                      <a:pt x="68" y="721"/>
                      <a:pt x="65" y="726"/>
                    </a:cubicBezTo>
                    <a:cubicBezTo>
                      <a:pt x="62" y="731"/>
                      <a:pt x="63" y="735"/>
                      <a:pt x="62" y="738"/>
                    </a:cubicBezTo>
                    <a:cubicBezTo>
                      <a:pt x="62" y="740"/>
                      <a:pt x="58" y="743"/>
                      <a:pt x="58" y="743"/>
                    </a:cubicBezTo>
                    <a:cubicBezTo>
                      <a:pt x="62" y="726"/>
                      <a:pt x="62" y="726"/>
                      <a:pt x="62" y="726"/>
                    </a:cubicBezTo>
                    <a:cubicBezTo>
                      <a:pt x="62" y="723"/>
                      <a:pt x="62" y="723"/>
                      <a:pt x="62" y="723"/>
                    </a:cubicBezTo>
                    <a:cubicBezTo>
                      <a:pt x="62" y="723"/>
                      <a:pt x="58" y="724"/>
                      <a:pt x="56" y="726"/>
                    </a:cubicBezTo>
                    <a:cubicBezTo>
                      <a:pt x="52" y="727"/>
                      <a:pt x="47" y="735"/>
                      <a:pt x="47" y="735"/>
                    </a:cubicBezTo>
                    <a:cubicBezTo>
                      <a:pt x="47" y="735"/>
                      <a:pt x="44" y="736"/>
                      <a:pt x="44" y="739"/>
                    </a:cubicBezTo>
                    <a:cubicBezTo>
                      <a:pt x="45" y="742"/>
                      <a:pt x="50" y="740"/>
                      <a:pt x="48" y="742"/>
                    </a:cubicBezTo>
                    <a:cubicBezTo>
                      <a:pt x="47" y="743"/>
                      <a:pt x="43" y="743"/>
                      <a:pt x="41" y="745"/>
                    </a:cubicBezTo>
                    <a:cubicBezTo>
                      <a:pt x="39" y="747"/>
                      <a:pt x="39" y="752"/>
                      <a:pt x="39" y="752"/>
                    </a:cubicBezTo>
                    <a:cubicBezTo>
                      <a:pt x="32" y="752"/>
                      <a:pt x="32" y="752"/>
                      <a:pt x="32" y="752"/>
                    </a:cubicBezTo>
                    <a:cubicBezTo>
                      <a:pt x="28" y="757"/>
                      <a:pt x="28" y="757"/>
                      <a:pt x="28" y="757"/>
                    </a:cubicBezTo>
                    <a:cubicBezTo>
                      <a:pt x="33" y="762"/>
                      <a:pt x="33" y="762"/>
                      <a:pt x="33" y="762"/>
                    </a:cubicBezTo>
                    <a:cubicBezTo>
                      <a:pt x="39" y="759"/>
                      <a:pt x="39" y="759"/>
                      <a:pt x="39" y="759"/>
                    </a:cubicBezTo>
                    <a:cubicBezTo>
                      <a:pt x="38" y="764"/>
                      <a:pt x="38" y="764"/>
                      <a:pt x="38" y="764"/>
                    </a:cubicBezTo>
                    <a:cubicBezTo>
                      <a:pt x="40" y="765"/>
                      <a:pt x="40" y="765"/>
                      <a:pt x="40" y="765"/>
                    </a:cubicBezTo>
                    <a:cubicBezTo>
                      <a:pt x="46" y="760"/>
                      <a:pt x="46" y="760"/>
                      <a:pt x="46" y="760"/>
                    </a:cubicBezTo>
                    <a:cubicBezTo>
                      <a:pt x="42" y="766"/>
                      <a:pt x="42" y="766"/>
                      <a:pt x="42" y="766"/>
                    </a:cubicBezTo>
                    <a:cubicBezTo>
                      <a:pt x="44" y="768"/>
                      <a:pt x="44" y="768"/>
                      <a:pt x="44" y="768"/>
                    </a:cubicBezTo>
                    <a:cubicBezTo>
                      <a:pt x="34" y="765"/>
                      <a:pt x="34" y="765"/>
                      <a:pt x="34" y="765"/>
                    </a:cubicBezTo>
                    <a:cubicBezTo>
                      <a:pt x="31" y="769"/>
                      <a:pt x="31" y="769"/>
                      <a:pt x="31" y="769"/>
                    </a:cubicBezTo>
                    <a:cubicBezTo>
                      <a:pt x="34" y="772"/>
                      <a:pt x="34" y="772"/>
                      <a:pt x="34" y="772"/>
                    </a:cubicBezTo>
                    <a:cubicBezTo>
                      <a:pt x="26" y="768"/>
                      <a:pt x="26" y="768"/>
                      <a:pt x="26" y="768"/>
                    </a:cubicBezTo>
                    <a:cubicBezTo>
                      <a:pt x="23" y="770"/>
                      <a:pt x="23" y="770"/>
                      <a:pt x="23" y="770"/>
                    </a:cubicBezTo>
                    <a:cubicBezTo>
                      <a:pt x="20" y="778"/>
                      <a:pt x="20" y="778"/>
                      <a:pt x="20" y="778"/>
                    </a:cubicBezTo>
                    <a:cubicBezTo>
                      <a:pt x="18" y="780"/>
                      <a:pt x="18" y="780"/>
                      <a:pt x="18" y="780"/>
                    </a:cubicBezTo>
                    <a:cubicBezTo>
                      <a:pt x="22" y="766"/>
                      <a:pt x="22" y="766"/>
                      <a:pt x="22" y="766"/>
                    </a:cubicBezTo>
                    <a:cubicBezTo>
                      <a:pt x="19" y="767"/>
                      <a:pt x="19" y="767"/>
                      <a:pt x="19" y="767"/>
                    </a:cubicBezTo>
                    <a:cubicBezTo>
                      <a:pt x="18" y="771"/>
                      <a:pt x="18" y="771"/>
                      <a:pt x="18" y="771"/>
                    </a:cubicBezTo>
                    <a:cubicBezTo>
                      <a:pt x="15" y="771"/>
                      <a:pt x="15" y="771"/>
                      <a:pt x="15" y="771"/>
                    </a:cubicBezTo>
                    <a:cubicBezTo>
                      <a:pt x="10" y="780"/>
                      <a:pt x="10" y="780"/>
                      <a:pt x="10" y="780"/>
                    </a:cubicBezTo>
                    <a:cubicBezTo>
                      <a:pt x="13" y="793"/>
                      <a:pt x="13" y="793"/>
                      <a:pt x="13" y="793"/>
                    </a:cubicBezTo>
                    <a:cubicBezTo>
                      <a:pt x="14" y="792"/>
                      <a:pt x="14" y="792"/>
                      <a:pt x="14" y="792"/>
                    </a:cubicBezTo>
                    <a:cubicBezTo>
                      <a:pt x="14" y="800"/>
                      <a:pt x="14" y="800"/>
                      <a:pt x="14" y="800"/>
                    </a:cubicBezTo>
                    <a:cubicBezTo>
                      <a:pt x="17" y="800"/>
                      <a:pt x="17" y="800"/>
                      <a:pt x="17" y="800"/>
                    </a:cubicBezTo>
                    <a:cubicBezTo>
                      <a:pt x="17" y="793"/>
                      <a:pt x="17" y="793"/>
                      <a:pt x="17" y="793"/>
                    </a:cubicBezTo>
                    <a:cubicBezTo>
                      <a:pt x="22" y="792"/>
                      <a:pt x="22" y="792"/>
                      <a:pt x="22" y="792"/>
                    </a:cubicBezTo>
                    <a:cubicBezTo>
                      <a:pt x="22" y="789"/>
                      <a:pt x="22" y="789"/>
                      <a:pt x="22" y="789"/>
                    </a:cubicBezTo>
                    <a:cubicBezTo>
                      <a:pt x="25" y="791"/>
                      <a:pt x="25" y="791"/>
                      <a:pt x="25" y="791"/>
                    </a:cubicBezTo>
                    <a:cubicBezTo>
                      <a:pt x="23" y="794"/>
                      <a:pt x="23" y="794"/>
                      <a:pt x="23" y="794"/>
                    </a:cubicBezTo>
                    <a:cubicBezTo>
                      <a:pt x="24" y="796"/>
                      <a:pt x="24" y="796"/>
                      <a:pt x="24" y="796"/>
                    </a:cubicBezTo>
                    <a:cubicBezTo>
                      <a:pt x="32" y="788"/>
                      <a:pt x="32" y="788"/>
                      <a:pt x="32" y="788"/>
                    </a:cubicBezTo>
                    <a:cubicBezTo>
                      <a:pt x="30" y="784"/>
                      <a:pt x="30" y="784"/>
                      <a:pt x="30" y="784"/>
                    </a:cubicBezTo>
                    <a:cubicBezTo>
                      <a:pt x="26" y="785"/>
                      <a:pt x="26" y="785"/>
                      <a:pt x="26" y="785"/>
                    </a:cubicBezTo>
                    <a:cubicBezTo>
                      <a:pt x="31" y="782"/>
                      <a:pt x="31" y="782"/>
                      <a:pt x="31" y="782"/>
                    </a:cubicBezTo>
                    <a:cubicBezTo>
                      <a:pt x="32" y="778"/>
                      <a:pt x="32" y="778"/>
                      <a:pt x="32" y="778"/>
                    </a:cubicBezTo>
                    <a:cubicBezTo>
                      <a:pt x="34" y="783"/>
                      <a:pt x="34" y="783"/>
                      <a:pt x="34" y="783"/>
                    </a:cubicBezTo>
                    <a:cubicBezTo>
                      <a:pt x="39" y="784"/>
                      <a:pt x="39" y="784"/>
                      <a:pt x="39" y="784"/>
                    </a:cubicBezTo>
                    <a:cubicBezTo>
                      <a:pt x="35" y="785"/>
                      <a:pt x="35" y="785"/>
                      <a:pt x="35" y="785"/>
                    </a:cubicBezTo>
                    <a:cubicBezTo>
                      <a:pt x="36" y="788"/>
                      <a:pt x="36" y="788"/>
                      <a:pt x="36" y="788"/>
                    </a:cubicBezTo>
                    <a:cubicBezTo>
                      <a:pt x="41" y="786"/>
                      <a:pt x="41" y="786"/>
                      <a:pt x="41" y="786"/>
                    </a:cubicBezTo>
                    <a:cubicBezTo>
                      <a:pt x="43" y="780"/>
                      <a:pt x="43" y="780"/>
                      <a:pt x="43" y="780"/>
                    </a:cubicBezTo>
                    <a:cubicBezTo>
                      <a:pt x="45" y="778"/>
                      <a:pt x="45" y="778"/>
                      <a:pt x="45" y="778"/>
                    </a:cubicBezTo>
                    <a:cubicBezTo>
                      <a:pt x="47" y="773"/>
                      <a:pt x="47" y="773"/>
                      <a:pt x="47" y="773"/>
                    </a:cubicBezTo>
                    <a:cubicBezTo>
                      <a:pt x="48" y="774"/>
                      <a:pt x="48" y="774"/>
                      <a:pt x="48" y="774"/>
                    </a:cubicBezTo>
                    <a:cubicBezTo>
                      <a:pt x="47" y="780"/>
                      <a:pt x="47" y="780"/>
                      <a:pt x="47" y="780"/>
                    </a:cubicBezTo>
                    <a:cubicBezTo>
                      <a:pt x="52" y="777"/>
                      <a:pt x="52" y="777"/>
                      <a:pt x="52" y="777"/>
                    </a:cubicBezTo>
                    <a:cubicBezTo>
                      <a:pt x="52" y="778"/>
                      <a:pt x="52" y="778"/>
                      <a:pt x="52" y="778"/>
                    </a:cubicBezTo>
                    <a:cubicBezTo>
                      <a:pt x="45" y="782"/>
                      <a:pt x="45" y="782"/>
                      <a:pt x="45" y="782"/>
                    </a:cubicBezTo>
                    <a:cubicBezTo>
                      <a:pt x="44" y="788"/>
                      <a:pt x="44" y="788"/>
                      <a:pt x="44" y="788"/>
                    </a:cubicBezTo>
                    <a:cubicBezTo>
                      <a:pt x="38" y="790"/>
                      <a:pt x="38" y="790"/>
                      <a:pt x="38" y="790"/>
                    </a:cubicBezTo>
                    <a:cubicBezTo>
                      <a:pt x="40" y="792"/>
                      <a:pt x="40" y="792"/>
                      <a:pt x="40" y="792"/>
                    </a:cubicBezTo>
                    <a:cubicBezTo>
                      <a:pt x="40" y="792"/>
                      <a:pt x="41" y="790"/>
                      <a:pt x="44" y="791"/>
                    </a:cubicBezTo>
                    <a:cubicBezTo>
                      <a:pt x="46" y="792"/>
                      <a:pt x="41" y="796"/>
                      <a:pt x="41" y="796"/>
                    </a:cubicBezTo>
                    <a:cubicBezTo>
                      <a:pt x="49" y="793"/>
                      <a:pt x="49" y="793"/>
                      <a:pt x="49" y="793"/>
                    </a:cubicBezTo>
                    <a:cubicBezTo>
                      <a:pt x="49" y="793"/>
                      <a:pt x="42" y="797"/>
                      <a:pt x="41" y="798"/>
                    </a:cubicBezTo>
                    <a:cubicBezTo>
                      <a:pt x="39" y="799"/>
                      <a:pt x="36" y="803"/>
                      <a:pt x="36" y="803"/>
                    </a:cubicBezTo>
                    <a:cubicBezTo>
                      <a:pt x="38" y="805"/>
                      <a:pt x="38" y="805"/>
                      <a:pt x="38" y="805"/>
                    </a:cubicBezTo>
                    <a:cubicBezTo>
                      <a:pt x="31" y="807"/>
                      <a:pt x="31" y="807"/>
                      <a:pt x="31" y="807"/>
                    </a:cubicBezTo>
                    <a:cubicBezTo>
                      <a:pt x="34" y="813"/>
                      <a:pt x="34" y="813"/>
                      <a:pt x="34" y="813"/>
                    </a:cubicBezTo>
                    <a:cubicBezTo>
                      <a:pt x="35" y="817"/>
                      <a:pt x="35" y="817"/>
                      <a:pt x="35" y="817"/>
                    </a:cubicBezTo>
                    <a:cubicBezTo>
                      <a:pt x="43" y="813"/>
                      <a:pt x="43" y="813"/>
                      <a:pt x="43" y="813"/>
                    </a:cubicBezTo>
                    <a:cubicBezTo>
                      <a:pt x="50" y="814"/>
                      <a:pt x="50" y="814"/>
                      <a:pt x="50" y="814"/>
                    </a:cubicBezTo>
                    <a:cubicBezTo>
                      <a:pt x="44" y="815"/>
                      <a:pt x="44" y="815"/>
                      <a:pt x="44" y="815"/>
                    </a:cubicBezTo>
                    <a:cubicBezTo>
                      <a:pt x="38" y="819"/>
                      <a:pt x="38" y="819"/>
                      <a:pt x="38" y="819"/>
                    </a:cubicBezTo>
                    <a:cubicBezTo>
                      <a:pt x="38" y="822"/>
                      <a:pt x="38" y="822"/>
                      <a:pt x="38" y="822"/>
                    </a:cubicBezTo>
                    <a:cubicBezTo>
                      <a:pt x="30" y="816"/>
                      <a:pt x="30" y="816"/>
                      <a:pt x="30" y="816"/>
                    </a:cubicBezTo>
                    <a:cubicBezTo>
                      <a:pt x="25" y="820"/>
                      <a:pt x="25" y="820"/>
                      <a:pt x="25" y="820"/>
                    </a:cubicBezTo>
                    <a:cubicBezTo>
                      <a:pt x="25" y="814"/>
                      <a:pt x="25" y="814"/>
                      <a:pt x="25" y="814"/>
                    </a:cubicBezTo>
                    <a:cubicBezTo>
                      <a:pt x="19" y="812"/>
                      <a:pt x="19" y="812"/>
                      <a:pt x="19" y="812"/>
                    </a:cubicBezTo>
                    <a:cubicBezTo>
                      <a:pt x="20" y="820"/>
                      <a:pt x="20" y="820"/>
                      <a:pt x="20" y="820"/>
                    </a:cubicBezTo>
                    <a:cubicBezTo>
                      <a:pt x="18" y="821"/>
                      <a:pt x="18" y="821"/>
                      <a:pt x="18" y="821"/>
                    </a:cubicBezTo>
                    <a:cubicBezTo>
                      <a:pt x="17" y="824"/>
                      <a:pt x="17" y="824"/>
                      <a:pt x="17" y="824"/>
                    </a:cubicBezTo>
                    <a:cubicBezTo>
                      <a:pt x="14" y="829"/>
                      <a:pt x="14" y="829"/>
                      <a:pt x="14" y="829"/>
                    </a:cubicBezTo>
                    <a:cubicBezTo>
                      <a:pt x="14" y="829"/>
                      <a:pt x="18" y="841"/>
                      <a:pt x="23" y="844"/>
                    </a:cubicBezTo>
                    <a:cubicBezTo>
                      <a:pt x="26" y="847"/>
                      <a:pt x="29" y="849"/>
                      <a:pt x="31" y="853"/>
                    </a:cubicBezTo>
                    <a:cubicBezTo>
                      <a:pt x="33" y="857"/>
                      <a:pt x="49" y="863"/>
                      <a:pt x="49" y="863"/>
                    </a:cubicBezTo>
                    <a:cubicBezTo>
                      <a:pt x="50" y="866"/>
                      <a:pt x="50" y="866"/>
                      <a:pt x="50" y="866"/>
                    </a:cubicBezTo>
                    <a:cubicBezTo>
                      <a:pt x="53" y="862"/>
                      <a:pt x="53" y="862"/>
                      <a:pt x="53" y="862"/>
                    </a:cubicBezTo>
                    <a:cubicBezTo>
                      <a:pt x="58" y="865"/>
                      <a:pt x="58" y="865"/>
                      <a:pt x="58" y="865"/>
                    </a:cubicBezTo>
                    <a:cubicBezTo>
                      <a:pt x="48" y="872"/>
                      <a:pt x="48" y="872"/>
                      <a:pt x="48" y="872"/>
                    </a:cubicBezTo>
                    <a:cubicBezTo>
                      <a:pt x="50" y="876"/>
                      <a:pt x="50" y="876"/>
                      <a:pt x="50" y="876"/>
                    </a:cubicBezTo>
                    <a:cubicBezTo>
                      <a:pt x="58" y="876"/>
                      <a:pt x="58" y="876"/>
                      <a:pt x="58" y="876"/>
                    </a:cubicBezTo>
                    <a:cubicBezTo>
                      <a:pt x="56" y="873"/>
                      <a:pt x="56" y="873"/>
                      <a:pt x="56" y="873"/>
                    </a:cubicBezTo>
                    <a:cubicBezTo>
                      <a:pt x="60" y="871"/>
                      <a:pt x="60" y="871"/>
                      <a:pt x="60" y="871"/>
                    </a:cubicBezTo>
                    <a:cubicBezTo>
                      <a:pt x="65" y="873"/>
                      <a:pt x="65" y="873"/>
                      <a:pt x="65" y="873"/>
                    </a:cubicBezTo>
                    <a:cubicBezTo>
                      <a:pt x="60" y="875"/>
                      <a:pt x="60" y="875"/>
                      <a:pt x="60" y="875"/>
                    </a:cubicBezTo>
                    <a:cubicBezTo>
                      <a:pt x="64" y="879"/>
                      <a:pt x="64" y="879"/>
                      <a:pt x="64" y="879"/>
                    </a:cubicBezTo>
                    <a:cubicBezTo>
                      <a:pt x="68" y="877"/>
                      <a:pt x="68" y="877"/>
                      <a:pt x="68" y="877"/>
                    </a:cubicBezTo>
                    <a:cubicBezTo>
                      <a:pt x="68" y="877"/>
                      <a:pt x="74" y="880"/>
                      <a:pt x="80" y="880"/>
                    </a:cubicBezTo>
                    <a:cubicBezTo>
                      <a:pt x="85" y="880"/>
                      <a:pt x="88" y="878"/>
                      <a:pt x="92" y="877"/>
                    </a:cubicBezTo>
                    <a:cubicBezTo>
                      <a:pt x="96" y="876"/>
                      <a:pt x="101" y="870"/>
                      <a:pt x="101" y="870"/>
                    </a:cubicBezTo>
                    <a:cubicBezTo>
                      <a:pt x="101" y="877"/>
                      <a:pt x="101" y="877"/>
                      <a:pt x="101" y="877"/>
                    </a:cubicBezTo>
                    <a:cubicBezTo>
                      <a:pt x="124" y="857"/>
                      <a:pt x="124" y="857"/>
                      <a:pt x="124" y="857"/>
                    </a:cubicBezTo>
                    <a:cubicBezTo>
                      <a:pt x="124" y="853"/>
                      <a:pt x="124" y="853"/>
                      <a:pt x="124" y="853"/>
                    </a:cubicBezTo>
                    <a:cubicBezTo>
                      <a:pt x="142" y="839"/>
                      <a:pt x="142" y="839"/>
                      <a:pt x="142" y="839"/>
                    </a:cubicBezTo>
                    <a:cubicBezTo>
                      <a:pt x="141" y="835"/>
                      <a:pt x="141" y="835"/>
                      <a:pt x="141" y="835"/>
                    </a:cubicBezTo>
                    <a:cubicBezTo>
                      <a:pt x="145" y="836"/>
                      <a:pt x="145" y="836"/>
                      <a:pt x="145" y="836"/>
                    </a:cubicBezTo>
                    <a:cubicBezTo>
                      <a:pt x="150" y="830"/>
                      <a:pt x="150" y="830"/>
                      <a:pt x="150" y="830"/>
                    </a:cubicBezTo>
                    <a:cubicBezTo>
                      <a:pt x="146" y="828"/>
                      <a:pt x="146" y="828"/>
                      <a:pt x="146" y="828"/>
                    </a:cubicBezTo>
                    <a:cubicBezTo>
                      <a:pt x="161" y="817"/>
                      <a:pt x="161" y="817"/>
                      <a:pt x="161" y="817"/>
                    </a:cubicBezTo>
                    <a:cubicBezTo>
                      <a:pt x="156" y="810"/>
                      <a:pt x="156" y="810"/>
                      <a:pt x="156" y="810"/>
                    </a:cubicBezTo>
                    <a:cubicBezTo>
                      <a:pt x="159" y="812"/>
                      <a:pt x="159" y="812"/>
                      <a:pt x="159" y="812"/>
                    </a:cubicBezTo>
                    <a:cubicBezTo>
                      <a:pt x="167" y="821"/>
                      <a:pt x="167" y="821"/>
                      <a:pt x="167" y="821"/>
                    </a:cubicBezTo>
                    <a:cubicBezTo>
                      <a:pt x="180" y="817"/>
                      <a:pt x="180" y="817"/>
                      <a:pt x="180" y="817"/>
                    </a:cubicBezTo>
                    <a:cubicBezTo>
                      <a:pt x="181" y="805"/>
                      <a:pt x="181" y="805"/>
                      <a:pt x="181" y="805"/>
                    </a:cubicBezTo>
                    <a:cubicBezTo>
                      <a:pt x="184" y="808"/>
                      <a:pt x="184" y="808"/>
                      <a:pt x="184" y="808"/>
                    </a:cubicBezTo>
                    <a:cubicBezTo>
                      <a:pt x="188" y="806"/>
                      <a:pt x="188" y="806"/>
                      <a:pt x="188" y="806"/>
                    </a:cubicBezTo>
                    <a:cubicBezTo>
                      <a:pt x="186" y="803"/>
                      <a:pt x="186" y="803"/>
                      <a:pt x="186" y="803"/>
                    </a:cubicBezTo>
                    <a:cubicBezTo>
                      <a:pt x="189" y="803"/>
                      <a:pt x="189" y="803"/>
                      <a:pt x="189" y="803"/>
                    </a:cubicBezTo>
                    <a:cubicBezTo>
                      <a:pt x="188" y="791"/>
                      <a:pt x="188" y="791"/>
                      <a:pt x="188" y="791"/>
                    </a:cubicBezTo>
                    <a:cubicBezTo>
                      <a:pt x="182" y="789"/>
                      <a:pt x="182" y="789"/>
                      <a:pt x="182" y="789"/>
                    </a:cubicBezTo>
                    <a:cubicBezTo>
                      <a:pt x="179" y="782"/>
                      <a:pt x="179" y="782"/>
                      <a:pt x="179" y="782"/>
                    </a:cubicBezTo>
                    <a:cubicBezTo>
                      <a:pt x="183" y="785"/>
                      <a:pt x="183" y="785"/>
                      <a:pt x="183" y="785"/>
                    </a:cubicBezTo>
                    <a:cubicBezTo>
                      <a:pt x="183" y="776"/>
                      <a:pt x="183" y="776"/>
                      <a:pt x="183" y="776"/>
                    </a:cubicBezTo>
                    <a:cubicBezTo>
                      <a:pt x="178" y="771"/>
                      <a:pt x="178" y="771"/>
                      <a:pt x="178" y="771"/>
                    </a:cubicBezTo>
                    <a:cubicBezTo>
                      <a:pt x="181" y="770"/>
                      <a:pt x="181" y="770"/>
                      <a:pt x="181" y="770"/>
                    </a:cubicBezTo>
                    <a:cubicBezTo>
                      <a:pt x="186" y="773"/>
                      <a:pt x="186" y="773"/>
                      <a:pt x="186" y="773"/>
                    </a:cubicBezTo>
                    <a:cubicBezTo>
                      <a:pt x="186" y="785"/>
                      <a:pt x="186" y="785"/>
                      <a:pt x="186" y="785"/>
                    </a:cubicBezTo>
                    <a:cubicBezTo>
                      <a:pt x="186" y="785"/>
                      <a:pt x="191" y="784"/>
                      <a:pt x="192" y="781"/>
                    </a:cubicBezTo>
                    <a:cubicBezTo>
                      <a:pt x="192" y="776"/>
                      <a:pt x="189" y="773"/>
                      <a:pt x="189" y="773"/>
                    </a:cubicBezTo>
                    <a:cubicBezTo>
                      <a:pt x="189" y="773"/>
                      <a:pt x="189" y="767"/>
                      <a:pt x="190" y="762"/>
                    </a:cubicBezTo>
                    <a:cubicBezTo>
                      <a:pt x="190" y="758"/>
                      <a:pt x="197" y="759"/>
                      <a:pt x="199" y="762"/>
                    </a:cubicBezTo>
                    <a:cubicBezTo>
                      <a:pt x="200" y="765"/>
                      <a:pt x="197" y="769"/>
                      <a:pt x="197" y="769"/>
                    </a:cubicBezTo>
                    <a:cubicBezTo>
                      <a:pt x="195" y="764"/>
                      <a:pt x="195" y="764"/>
                      <a:pt x="195" y="764"/>
                    </a:cubicBezTo>
                    <a:cubicBezTo>
                      <a:pt x="193" y="769"/>
                      <a:pt x="193" y="769"/>
                      <a:pt x="193" y="769"/>
                    </a:cubicBezTo>
                    <a:cubicBezTo>
                      <a:pt x="194" y="776"/>
                      <a:pt x="194" y="776"/>
                      <a:pt x="194" y="776"/>
                    </a:cubicBezTo>
                    <a:cubicBezTo>
                      <a:pt x="194" y="788"/>
                      <a:pt x="194" y="788"/>
                      <a:pt x="194" y="788"/>
                    </a:cubicBezTo>
                    <a:cubicBezTo>
                      <a:pt x="192" y="789"/>
                      <a:pt x="192" y="789"/>
                      <a:pt x="192" y="789"/>
                    </a:cubicBezTo>
                    <a:cubicBezTo>
                      <a:pt x="195" y="800"/>
                      <a:pt x="195" y="800"/>
                      <a:pt x="195" y="800"/>
                    </a:cubicBezTo>
                    <a:cubicBezTo>
                      <a:pt x="198" y="798"/>
                      <a:pt x="198" y="798"/>
                      <a:pt x="198" y="798"/>
                    </a:cubicBezTo>
                    <a:cubicBezTo>
                      <a:pt x="199" y="809"/>
                      <a:pt x="199" y="809"/>
                      <a:pt x="199" y="809"/>
                    </a:cubicBezTo>
                    <a:cubicBezTo>
                      <a:pt x="208" y="810"/>
                      <a:pt x="208" y="810"/>
                      <a:pt x="208" y="810"/>
                    </a:cubicBezTo>
                    <a:cubicBezTo>
                      <a:pt x="211" y="808"/>
                      <a:pt x="211" y="808"/>
                      <a:pt x="211" y="808"/>
                    </a:cubicBezTo>
                    <a:cubicBezTo>
                      <a:pt x="212" y="814"/>
                      <a:pt x="212" y="814"/>
                      <a:pt x="212" y="814"/>
                    </a:cubicBezTo>
                    <a:cubicBezTo>
                      <a:pt x="212" y="814"/>
                      <a:pt x="220" y="809"/>
                      <a:pt x="221" y="814"/>
                    </a:cubicBezTo>
                    <a:cubicBezTo>
                      <a:pt x="222" y="819"/>
                      <a:pt x="219" y="828"/>
                      <a:pt x="223" y="828"/>
                    </a:cubicBezTo>
                    <a:cubicBezTo>
                      <a:pt x="227" y="828"/>
                      <a:pt x="228" y="822"/>
                      <a:pt x="230" y="815"/>
                    </a:cubicBezTo>
                    <a:cubicBezTo>
                      <a:pt x="232" y="808"/>
                      <a:pt x="236" y="800"/>
                      <a:pt x="236" y="800"/>
                    </a:cubicBezTo>
                    <a:cubicBezTo>
                      <a:pt x="236" y="800"/>
                      <a:pt x="227" y="782"/>
                      <a:pt x="230" y="780"/>
                    </a:cubicBezTo>
                    <a:cubicBezTo>
                      <a:pt x="232" y="776"/>
                      <a:pt x="238" y="777"/>
                      <a:pt x="238" y="773"/>
                    </a:cubicBezTo>
                    <a:cubicBezTo>
                      <a:pt x="239" y="768"/>
                      <a:pt x="232" y="767"/>
                      <a:pt x="237" y="764"/>
                    </a:cubicBezTo>
                    <a:cubicBezTo>
                      <a:pt x="241" y="760"/>
                      <a:pt x="252" y="766"/>
                      <a:pt x="256" y="754"/>
                    </a:cubicBezTo>
                    <a:cubicBezTo>
                      <a:pt x="259" y="741"/>
                      <a:pt x="255" y="738"/>
                      <a:pt x="256" y="734"/>
                    </a:cubicBezTo>
                    <a:cubicBezTo>
                      <a:pt x="257" y="729"/>
                      <a:pt x="265" y="733"/>
                      <a:pt x="262" y="725"/>
                    </a:cubicBezTo>
                    <a:cubicBezTo>
                      <a:pt x="260" y="718"/>
                      <a:pt x="254" y="704"/>
                      <a:pt x="254" y="704"/>
                    </a:cubicBezTo>
                    <a:cubicBezTo>
                      <a:pt x="252" y="695"/>
                      <a:pt x="252" y="695"/>
                      <a:pt x="252" y="695"/>
                    </a:cubicBezTo>
                    <a:cubicBezTo>
                      <a:pt x="247" y="689"/>
                      <a:pt x="247" y="689"/>
                      <a:pt x="247" y="689"/>
                    </a:cubicBezTo>
                    <a:cubicBezTo>
                      <a:pt x="256" y="686"/>
                      <a:pt x="256" y="686"/>
                      <a:pt x="256" y="686"/>
                    </a:cubicBezTo>
                    <a:cubicBezTo>
                      <a:pt x="256" y="686"/>
                      <a:pt x="264" y="692"/>
                      <a:pt x="266" y="680"/>
                    </a:cubicBezTo>
                    <a:cubicBezTo>
                      <a:pt x="270" y="668"/>
                      <a:pt x="269" y="664"/>
                      <a:pt x="265" y="660"/>
                    </a:cubicBezTo>
                    <a:cubicBezTo>
                      <a:pt x="261" y="657"/>
                      <a:pt x="256" y="654"/>
                      <a:pt x="256" y="654"/>
                    </a:cubicBezTo>
                    <a:cubicBezTo>
                      <a:pt x="246" y="644"/>
                      <a:pt x="246" y="644"/>
                      <a:pt x="246" y="644"/>
                    </a:cubicBezTo>
                    <a:cubicBezTo>
                      <a:pt x="252" y="609"/>
                      <a:pt x="252" y="609"/>
                      <a:pt x="252" y="609"/>
                    </a:cubicBezTo>
                    <a:cubicBezTo>
                      <a:pt x="244" y="586"/>
                      <a:pt x="244" y="586"/>
                      <a:pt x="244" y="586"/>
                    </a:cubicBezTo>
                    <a:cubicBezTo>
                      <a:pt x="247" y="578"/>
                      <a:pt x="247" y="578"/>
                      <a:pt x="247" y="578"/>
                    </a:cubicBezTo>
                    <a:cubicBezTo>
                      <a:pt x="244" y="567"/>
                      <a:pt x="244" y="567"/>
                      <a:pt x="244" y="567"/>
                    </a:cubicBezTo>
                    <a:cubicBezTo>
                      <a:pt x="248" y="561"/>
                      <a:pt x="248" y="561"/>
                      <a:pt x="248" y="561"/>
                    </a:cubicBezTo>
                    <a:cubicBezTo>
                      <a:pt x="241" y="542"/>
                      <a:pt x="241" y="542"/>
                      <a:pt x="241" y="542"/>
                    </a:cubicBezTo>
                    <a:cubicBezTo>
                      <a:pt x="249" y="531"/>
                      <a:pt x="249" y="531"/>
                      <a:pt x="249" y="531"/>
                    </a:cubicBezTo>
                    <a:cubicBezTo>
                      <a:pt x="246" y="522"/>
                      <a:pt x="246" y="522"/>
                      <a:pt x="246" y="522"/>
                    </a:cubicBezTo>
                    <a:cubicBezTo>
                      <a:pt x="246" y="522"/>
                      <a:pt x="258" y="494"/>
                      <a:pt x="270" y="491"/>
                    </a:cubicBezTo>
                    <a:cubicBezTo>
                      <a:pt x="280" y="488"/>
                      <a:pt x="300" y="494"/>
                      <a:pt x="300" y="494"/>
                    </a:cubicBezTo>
                    <a:cubicBezTo>
                      <a:pt x="305" y="482"/>
                      <a:pt x="305" y="482"/>
                      <a:pt x="305" y="482"/>
                    </a:cubicBezTo>
                    <a:cubicBezTo>
                      <a:pt x="304" y="467"/>
                      <a:pt x="304" y="467"/>
                      <a:pt x="304" y="467"/>
                    </a:cubicBezTo>
                    <a:cubicBezTo>
                      <a:pt x="290" y="457"/>
                      <a:pt x="290" y="457"/>
                      <a:pt x="290" y="457"/>
                    </a:cubicBezTo>
                    <a:cubicBezTo>
                      <a:pt x="309" y="425"/>
                      <a:pt x="309" y="425"/>
                      <a:pt x="309" y="425"/>
                    </a:cubicBezTo>
                    <a:cubicBezTo>
                      <a:pt x="310" y="415"/>
                      <a:pt x="310" y="415"/>
                      <a:pt x="310" y="415"/>
                    </a:cubicBezTo>
                    <a:cubicBezTo>
                      <a:pt x="314" y="410"/>
                      <a:pt x="314" y="410"/>
                      <a:pt x="314" y="410"/>
                    </a:cubicBezTo>
                    <a:cubicBezTo>
                      <a:pt x="313" y="390"/>
                      <a:pt x="313" y="390"/>
                      <a:pt x="313" y="390"/>
                    </a:cubicBezTo>
                    <a:cubicBezTo>
                      <a:pt x="315" y="378"/>
                      <a:pt x="315" y="378"/>
                      <a:pt x="315" y="378"/>
                    </a:cubicBezTo>
                    <a:cubicBezTo>
                      <a:pt x="311" y="358"/>
                      <a:pt x="311" y="358"/>
                      <a:pt x="311" y="358"/>
                    </a:cubicBezTo>
                    <a:cubicBezTo>
                      <a:pt x="324" y="356"/>
                      <a:pt x="324" y="356"/>
                      <a:pt x="324" y="356"/>
                    </a:cubicBezTo>
                    <a:cubicBezTo>
                      <a:pt x="337" y="346"/>
                      <a:pt x="337" y="346"/>
                      <a:pt x="337" y="346"/>
                    </a:cubicBezTo>
                    <a:cubicBezTo>
                      <a:pt x="334" y="333"/>
                      <a:pt x="334" y="333"/>
                      <a:pt x="334" y="333"/>
                    </a:cubicBezTo>
                    <a:cubicBezTo>
                      <a:pt x="334" y="333"/>
                      <a:pt x="339" y="332"/>
                      <a:pt x="341" y="326"/>
                    </a:cubicBezTo>
                    <a:cubicBezTo>
                      <a:pt x="343" y="319"/>
                      <a:pt x="341" y="314"/>
                      <a:pt x="347" y="308"/>
                    </a:cubicBezTo>
                    <a:cubicBezTo>
                      <a:pt x="355" y="300"/>
                      <a:pt x="361" y="298"/>
                      <a:pt x="359" y="292"/>
                    </a:cubicBezTo>
                    <a:cubicBezTo>
                      <a:pt x="358" y="284"/>
                      <a:pt x="351" y="273"/>
                      <a:pt x="351" y="273"/>
                    </a:cubicBezTo>
                    <a:cubicBezTo>
                      <a:pt x="351" y="266"/>
                      <a:pt x="351" y="266"/>
                      <a:pt x="351" y="266"/>
                    </a:cubicBezTo>
                    <a:cubicBezTo>
                      <a:pt x="351" y="266"/>
                      <a:pt x="359" y="268"/>
                      <a:pt x="360" y="263"/>
                    </a:cubicBezTo>
                    <a:cubicBezTo>
                      <a:pt x="360" y="258"/>
                      <a:pt x="364" y="241"/>
                      <a:pt x="364" y="241"/>
                    </a:cubicBezTo>
                    <a:cubicBezTo>
                      <a:pt x="378" y="226"/>
                      <a:pt x="378" y="226"/>
                      <a:pt x="378" y="226"/>
                    </a:cubicBezTo>
                    <a:cubicBezTo>
                      <a:pt x="394" y="234"/>
                      <a:pt x="394" y="234"/>
                      <a:pt x="394" y="234"/>
                    </a:cubicBezTo>
                    <a:cubicBezTo>
                      <a:pt x="394" y="234"/>
                      <a:pt x="397" y="223"/>
                      <a:pt x="399" y="218"/>
                    </a:cubicBezTo>
                    <a:cubicBezTo>
                      <a:pt x="400" y="213"/>
                      <a:pt x="397" y="198"/>
                      <a:pt x="397" y="198"/>
                    </a:cubicBezTo>
                    <a:cubicBezTo>
                      <a:pt x="405" y="193"/>
                      <a:pt x="405" y="193"/>
                      <a:pt x="405" y="193"/>
                    </a:cubicBezTo>
                    <a:cubicBezTo>
                      <a:pt x="409" y="198"/>
                      <a:pt x="409" y="198"/>
                      <a:pt x="409" y="198"/>
                    </a:cubicBezTo>
                    <a:cubicBezTo>
                      <a:pt x="421" y="195"/>
                      <a:pt x="421" y="195"/>
                      <a:pt x="421" y="195"/>
                    </a:cubicBezTo>
                    <a:cubicBezTo>
                      <a:pt x="443" y="205"/>
                      <a:pt x="443" y="205"/>
                      <a:pt x="443" y="205"/>
                    </a:cubicBezTo>
                    <a:cubicBezTo>
                      <a:pt x="450" y="195"/>
                      <a:pt x="450" y="195"/>
                      <a:pt x="450" y="195"/>
                    </a:cubicBezTo>
                    <a:cubicBezTo>
                      <a:pt x="442" y="191"/>
                      <a:pt x="442" y="191"/>
                      <a:pt x="442" y="191"/>
                    </a:cubicBezTo>
                    <a:cubicBezTo>
                      <a:pt x="442" y="191"/>
                      <a:pt x="450" y="182"/>
                      <a:pt x="449" y="174"/>
                    </a:cubicBezTo>
                    <a:cubicBezTo>
                      <a:pt x="448" y="168"/>
                      <a:pt x="441" y="159"/>
                      <a:pt x="441" y="159"/>
                    </a:cubicBezTo>
                    <a:cubicBezTo>
                      <a:pt x="453" y="157"/>
                      <a:pt x="453" y="157"/>
                      <a:pt x="453" y="157"/>
                    </a:cubicBezTo>
                    <a:cubicBezTo>
                      <a:pt x="455" y="154"/>
                      <a:pt x="455" y="154"/>
                      <a:pt x="455" y="154"/>
                    </a:cubicBezTo>
                    <a:cubicBezTo>
                      <a:pt x="455" y="154"/>
                      <a:pt x="464" y="159"/>
                      <a:pt x="466" y="157"/>
                    </a:cubicBezTo>
                    <a:cubicBezTo>
                      <a:pt x="467" y="155"/>
                      <a:pt x="459" y="148"/>
                      <a:pt x="465" y="144"/>
                    </a:cubicBezTo>
                    <a:cubicBezTo>
                      <a:pt x="469" y="139"/>
                      <a:pt x="478" y="142"/>
                      <a:pt x="478" y="142"/>
                    </a:cubicBezTo>
                    <a:cubicBezTo>
                      <a:pt x="478" y="142"/>
                      <a:pt x="485" y="152"/>
                      <a:pt x="490" y="157"/>
                    </a:cubicBezTo>
                    <a:cubicBezTo>
                      <a:pt x="497" y="163"/>
                      <a:pt x="499" y="172"/>
                      <a:pt x="499" y="172"/>
                    </a:cubicBezTo>
                    <a:cubicBezTo>
                      <a:pt x="504" y="171"/>
                      <a:pt x="504" y="171"/>
                      <a:pt x="504" y="171"/>
                    </a:cubicBezTo>
                    <a:cubicBezTo>
                      <a:pt x="515" y="171"/>
                      <a:pt x="515" y="171"/>
                      <a:pt x="515" y="171"/>
                    </a:cubicBezTo>
                    <a:cubicBezTo>
                      <a:pt x="522" y="175"/>
                      <a:pt x="522" y="175"/>
                      <a:pt x="522" y="175"/>
                    </a:cubicBezTo>
                    <a:cubicBezTo>
                      <a:pt x="531" y="169"/>
                      <a:pt x="531" y="169"/>
                      <a:pt x="531" y="169"/>
                    </a:cubicBezTo>
                    <a:cubicBezTo>
                      <a:pt x="531" y="169"/>
                      <a:pt x="533" y="161"/>
                      <a:pt x="539" y="161"/>
                    </a:cubicBezTo>
                    <a:cubicBezTo>
                      <a:pt x="544" y="161"/>
                      <a:pt x="546" y="166"/>
                      <a:pt x="546" y="166"/>
                    </a:cubicBezTo>
                    <a:cubicBezTo>
                      <a:pt x="558" y="167"/>
                      <a:pt x="558" y="167"/>
                      <a:pt x="558" y="167"/>
                    </a:cubicBezTo>
                    <a:cubicBezTo>
                      <a:pt x="565" y="174"/>
                      <a:pt x="565" y="174"/>
                      <a:pt x="565" y="174"/>
                    </a:cubicBezTo>
                    <a:cubicBezTo>
                      <a:pt x="565" y="174"/>
                      <a:pt x="567" y="161"/>
                      <a:pt x="570" y="157"/>
                    </a:cubicBezTo>
                    <a:cubicBezTo>
                      <a:pt x="572" y="154"/>
                      <a:pt x="575" y="150"/>
                      <a:pt x="575" y="144"/>
                    </a:cubicBezTo>
                    <a:cubicBezTo>
                      <a:pt x="574" y="139"/>
                      <a:pt x="572" y="130"/>
                      <a:pt x="572" y="130"/>
                    </a:cubicBezTo>
                    <a:cubicBezTo>
                      <a:pt x="574" y="97"/>
                      <a:pt x="574" y="97"/>
                      <a:pt x="574" y="97"/>
                    </a:cubicBezTo>
                    <a:cubicBezTo>
                      <a:pt x="577" y="93"/>
                      <a:pt x="577" y="93"/>
                      <a:pt x="577" y="93"/>
                    </a:cubicBezTo>
                    <a:cubicBezTo>
                      <a:pt x="577" y="93"/>
                      <a:pt x="576" y="81"/>
                      <a:pt x="582" y="79"/>
                    </a:cubicBezTo>
                    <a:cubicBezTo>
                      <a:pt x="588" y="76"/>
                      <a:pt x="595" y="78"/>
                      <a:pt x="595" y="78"/>
                    </a:cubicBezTo>
                    <a:cubicBezTo>
                      <a:pt x="595" y="78"/>
                      <a:pt x="604" y="66"/>
                      <a:pt x="610" y="65"/>
                    </a:cubicBezTo>
                    <a:cubicBezTo>
                      <a:pt x="616" y="64"/>
                      <a:pt x="625" y="77"/>
                      <a:pt x="625" y="77"/>
                    </a:cubicBezTo>
                    <a:cubicBezTo>
                      <a:pt x="648" y="80"/>
                      <a:pt x="648" y="80"/>
                      <a:pt x="648" y="80"/>
                    </a:cubicBezTo>
                    <a:cubicBezTo>
                      <a:pt x="655" y="91"/>
                      <a:pt x="655" y="91"/>
                      <a:pt x="655" y="91"/>
                    </a:cubicBezTo>
                    <a:cubicBezTo>
                      <a:pt x="655" y="91"/>
                      <a:pt x="647" y="105"/>
                      <a:pt x="647" y="110"/>
                    </a:cubicBezTo>
                    <a:cubicBezTo>
                      <a:pt x="647" y="116"/>
                      <a:pt x="650" y="121"/>
                      <a:pt x="650" y="121"/>
                    </a:cubicBezTo>
                    <a:cubicBezTo>
                      <a:pt x="650" y="121"/>
                      <a:pt x="654" y="125"/>
                      <a:pt x="656" y="123"/>
                    </a:cubicBezTo>
                    <a:cubicBezTo>
                      <a:pt x="659" y="121"/>
                      <a:pt x="658" y="107"/>
                      <a:pt x="658" y="107"/>
                    </a:cubicBezTo>
                    <a:cubicBezTo>
                      <a:pt x="658" y="107"/>
                      <a:pt x="655" y="108"/>
                      <a:pt x="656" y="105"/>
                    </a:cubicBezTo>
                    <a:cubicBezTo>
                      <a:pt x="657" y="102"/>
                      <a:pt x="661" y="102"/>
                      <a:pt x="663" y="100"/>
                    </a:cubicBezTo>
                    <a:cubicBezTo>
                      <a:pt x="666" y="98"/>
                      <a:pt x="665" y="93"/>
                      <a:pt x="666" y="93"/>
                    </a:cubicBezTo>
                    <a:cubicBezTo>
                      <a:pt x="668" y="92"/>
                      <a:pt x="674" y="94"/>
                      <a:pt x="674" y="90"/>
                    </a:cubicBezTo>
                    <a:cubicBezTo>
                      <a:pt x="674" y="85"/>
                      <a:pt x="669" y="78"/>
                      <a:pt x="669" y="78"/>
                    </a:cubicBezTo>
                    <a:cubicBezTo>
                      <a:pt x="669" y="78"/>
                      <a:pt x="673" y="78"/>
                      <a:pt x="675" y="79"/>
                    </a:cubicBezTo>
                    <a:cubicBezTo>
                      <a:pt x="678" y="79"/>
                      <a:pt x="685" y="87"/>
                      <a:pt x="687" y="80"/>
                    </a:cubicBezTo>
                    <a:cubicBezTo>
                      <a:pt x="690" y="74"/>
                      <a:pt x="685" y="71"/>
                      <a:pt x="685" y="71"/>
                    </a:cubicBezTo>
                    <a:close/>
                    <a:moveTo>
                      <a:pt x="8" y="787"/>
                    </a:moveTo>
                    <a:cubicBezTo>
                      <a:pt x="8" y="787"/>
                      <a:pt x="7" y="793"/>
                      <a:pt x="8" y="794"/>
                    </a:cubicBezTo>
                    <a:cubicBezTo>
                      <a:pt x="9" y="796"/>
                      <a:pt x="6" y="800"/>
                      <a:pt x="6" y="800"/>
                    </a:cubicBezTo>
                    <a:cubicBezTo>
                      <a:pt x="9" y="800"/>
                      <a:pt x="9" y="800"/>
                      <a:pt x="9" y="800"/>
                    </a:cubicBezTo>
                    <a:cubicBezTo>
                      <a:pt x="11" y="798"/>
                      <a:pt x="11" y="798"/>
                      <a:pt x="11" y="798"/>
                    </a:cubicBezTo>
                    <a:cubicBezTo>
                      <a:pt x="11" y="792"/>
                      <a:pt x="11" y="792"/>
                      <a:pt x="11" y="792"/>
                    </a:cubicBezTo>
                    <a:cubicBezTo>
                      <a:pt x="10" y="785"/>
                      <a:pt x="10" y="785"/>
                      <a:pt x="10" y="785"/>
                    </a:cubicBezTo>
                    <a:lnTo>
                      <a:pt x="8" y="787"/>
                    </a:lnTo>
                    <a:close/>
                    <a:moveTo>
                      <a:pt x="27" y="805"/>
                    </a:moveTo>
                    <a:cubicBezTo>
                      <a:pt x="18" y="803"/>
                      <a:pt x="18" y="803"/>
                      <a:pt x="18" y="803"/>
                    </a:cubicBezTo>
                    <a:cubicBezTo>
                      <a:pt x="26" y="808"/>
                      <a:pt x="26" y="808"/>
                      <a:pt x="26" y="808"/>
                    </a:cubicBezTo>
                    <a:lnTo>
                      <a:pt x="27" y="805"/>
                    </a:lnTo>
                    <a:close/>
                    <a:moveTo>
                      <a:pt x="36" y="794"/>
                    </a:moveTo>
                    <a:cubicBezTo>
                      <a:pt x="32" y="794"/>
                      <a:pt x="32" y="794"/>
                      <a:pt x="32" y="794"/>
                    </a:cubicBezTo>
                    <a:cubicBezTo>
                      <a:pt x="30" y="799"/>
                      <a:pt x="30" y="799"/>
                      <a:pt x="30" y="799"/>
                    </a:cubicBezTo>
                    <a:cubicBezTo>
                      <a:pt x="38" y="798"/>
                      <a:pt x="38" y="798"/>
                      <a:pt x="38" y="798"/>
                    </a:cubicBezTo>
                    <a:lnTo>
                      <a:pt x="36" y="794"/>
                    </a:lnTo>
                    <a:close/>
                    <a:moveTo>
                      <a:pt x="16" y="750"/>
                    </a:moveTo>
                    <a:cubicBezTo>
                      <a:pt x="16" y="753"/>
                      <a:pt x="16" y="753"/>
                      <a:pt x="16" y="753"/>
                    </a:cubicBezTo>
                    <a:cubicBezTo>
                      <a:pt x="14" y="754"/>
                      <a:pt x="14" y="754"/>
                      <a:pt x="14" y="754"/>
                    </a:cubicBezTo>
                    <a:cubicBezTo>
                      <a:pt x="14" y="754"/>
                      <a:pt x="16" y="762"/>
                      <a:pt x="20" y="762"/>
                    </a:cubicBezTo>
                    <a:cubicBezTo>
                      <a:pt x="26" y="762"/>
                      <a:pt x="22" y="753"/>
                      <a:pt x="22" y="753"/>
                    </a:cubicBezTo>
                    <a:cubicBezTo>
                      <a:pt x="17" y="750"/>
                      <a:pt x="17" y="750"/>
                      <a:pt x="17" y="750"/>
                    </a:cubicBezTo>
                    <a:lnTo>
                      <a:pt x="16" y="750"/>
                    </a:lnTo>
                    <a:close/>
                    <a:moveTo>
                      <a:pt x="15" y="768"/>
                    </a:moveTo>
                    <a:cubicBezTo>
                      <a:pt x="17" y="766"/>
                      <a:pt x="17" y="766"/>
                      <a:pt x="17" y="766"/>
                    </a:cubicBezTo>
                    <a:cubicBezTo>
                      <a:pt x="15" y="762"/>
                      <a:pt x="15" y="762"/>
                      <a:pt x="15" y="762"/>
                    </a:cubicBezTo>
                    <a:cubicBezTo>
                      <a:pt x="15" y="758"/>
                      <a:pt x="15" y="758"/>
                      <a:pt x="15" y="758"/>
                    </a:cubicBezTo>
                    <a:cubicBezTo>
                      <a:pt x="11" y="756"/>
                      <a:pt x="11" y="756"/>
                      <a:pt x="11" y="756"/>
                    </a:cubicBezTo>
                    <a:cubicBezTo>
                      <a:pt x="11" y="757"/>
                      <a:pt x="11" y="757"/>
                      <a:pt x="11" y="757"/>
                    </a:cubicBezTo>
                    <a:cubicBezTo>
                      <a:pt x="11" y="757"/>
                      <a:pt x="10" y="758"/>
                      <a:pt x="9" y="760"/>
                    </a:cubicBezTo>
                    <a:cubicBezTo>
                      <a:pt x="8" y="762"/>
                      <a:pt x="12" y="764"/>
                      <a:pt x="12" y="764"/>
                    </a:cubicBezTo>
                    <a:cubicBezTo>
                      <a:pt x="9" y="767"/>
                      <a:pt x="9" y="767"/>
                      <a:pt x="9" y="767"/>
                    </a:cubicBezTo>
                    <a:cubicBezTo>
                      <a:pt x="9" y="773"/>
                      <a:pt x="9" y="773"/>
                      <a:pt x="9" y="773"/>
                    </a:cubicBezTo>
                    <a:cubicBezTo>
                      <a:pt x="13" y="772"/>
                      <a:pt x="13" y="772"/>
                      <a:pt x="13" y="772"/>
                    </a:cubicBezTo>
                    <a:cubicBezTo>
                      <a:pt x="10" y="767"/>
                      <a:pt x="10" y="767"/>
                      <a:pt x="10" y="767"/>
                    </a:cubicBezTo>
                    <a:cubicBezTo>
                      <a:pt x="14" y="764"/>
                      <a:pt x="14" y="764"/>
                      <a:pt x="14" y="764"/>
                    </a:cubicBezTo>
                    <a:cubicBezTo>
                      <a:pt x="15" y="764"/>
                      <a:pt x="15" y="764"/>
                      <a:pt x="15" y="764"/>
                    </a:cubicBezTo>
                    <a:cubicBezTo>
                      <a:pt x="14" y="766"/>
                      <a:pt x="14" y="766"/>
                      <a:pt x="14" y="766"/>
                    </a:cubicBezTo>
                    <a:lnTo>
                      <a:pt x="15" y="768"/>
                    </a:lnTo>
                    <a:close/>
                    <a:moveTo>
                      <a:pt x="29" y="766"/>
                    </a:moveTo>
                    <a:cubicBezTo>
                      <a:pt x="33" y="764"/>
                      <a:pt x="33" y="764"/>
                      <a:pt x="33" y="764"/>
                    </a:cubicBezTo>
                    <a:cubicBezTo>
                      <a:pt x="27" y="759"/>
                      <a:pt x="27" y="759"/>
                      <a:pt x="27" y="759"/>
                    </a:cubicBezTo>
                    <a:cubicBezTo>
                      <a:pt x="25" y="761"/>
                      <a:pt x="25" y="761"/>
                      <a:pt x="25" y="761"/>
                    </a:cubicBezTo>
                    <a:lnTo>
                      <a:pt x="29" y="766"/>
                    </a:lnTo>
                    <a:close/>
                    <a:moveTo>
                      <a:pt x="28" y="743"/>
                    </a:moveTo>
                    <a:cubicBezTo>
                      <a:pt x="23" y="744"/>
                      <a:pt x="23" y="744"/>
                      <a:pt x="23" y="744"/>
                    </a:cubicBezTo>
                    <a:cubicBezTo>
                      <a:pt x="23" y="747"/>
                      <a:pt x="23" y="747"/>
                      <a:pt x="23" y="747"/>
                    </a:cubicBezTo>
                    <a:cubicBezTo>
                      <a:pt x="20" y="749"/>
                      <a:pt x="20" y="749"/>
                      <a:pt x="20" y="749"/>
                    </a:cubicBezTo>
                    <a:cubicBezTo>
                      <a:pt x="23" y="751"/>
                      <a:pt x="23" y="751"/>
                      <a:pt x="23" y="751"/>
                    </a:cubicBezTo>
                    <a:cubicBezTo>
                      <a:pt x="25" y="754"/>
                      <a:pt x="25" y="754"/>
                      <a:pt x="25" y="754"/>
                    </a:cubicBezTo>
                    <a:cubicBezTo>
                      <a:pt x="27" y="754"/>
                      <a:pt x="27" y="754"/>
                      <a:pt x="27" y="754"/>
                    </a:cubicBezTo>
                    <a:cubicBezTo>
                      <a:pt x="27" y="751"/>
                      <a:pt x="27" y="751"/>
                      <a:pt x="27" y="751"/>
                    </a:cubicBezTo>
                    <a:cubicBezTo>
                      <a:pt x="29" y="749"/>
                      <a:pt x="29" y="749"/>
                      <a:pt x="29" y="749"/>
                    </a:cubicBezTo>
                    <a:lnTo>
                      <a:pt x="28" y="743"/>
                    </a:lnTo>
                    <a:close/>
                    <a:moveTo>
                      <a:pt x="19" y="743"/>
                    </a:moveTo>
                    <a:cubicBezTo>
                      <a:pt x="16" y="746"/>
                      <a:pt x="19" y="747"/>
                      <a:pt x="20" y="746"/>
                    </a:cubicBezTo>
                    <a:cubicBezTo>
                      <a:pt x="23" y="744"/>
                      <a:pt x="22" y="740"/>
                      <a:pt x="19" y="743"/>
                    </a:cubicBezTo>
                    <a:close/>
                    <a:moveTo>
                      <a:pt x="10" y="738"/>
                    </a:moveTo>
                    <a:cubicBezTo>
                      <a:pt x="11" y="740"/>
                      <a:pt x="11" y="740"/>
                      <a:pt x="11" y="740"/>
                    </a:cubicBezTo>
                    <a:cubicBezTo>
                      <a:pt x="12" y="740"/>
                      <a:pt x="12" y="740"/>
                      <a:pt x="12" y="740"/>
                    </a:cubicBezTo>
                    <a:cubicBezTo>
                      <a:pt x="14" y="743"/>
                      <a:pt x="14" y="743"/>
                      <a:pt x="14" y="743"/>
                    </a:cubicBezTo>
                    <a:cubicBezTo>
                      <a:pt x="12" y="745"/>
                      <a:pt x="12" y="745"/>
                      <a:pt x="12" y="745"/>
                    </a:cubicBezTo>
                    <a:cubicBezTo>
                      <a:pt x="15" y="746"/>
                      <a:pt x="15" y="746"/>
                      <a:pt x="15" y="746"/>
                    </a:cubicBezTo>
                    <a:cubicBezTo>
                      <a:pt x="16" y="742"/>
                      <a:pt x="16" y="742"/>
                      <a:pt x="16" y="742"/>
                    </a:cubicBezTo>
                    <a:cubicBezTo>
                      <a:pt x="12" y="737"/>
                      <a:pt x="12" y="737"/>
                      <a:pt x="12" y="737"/>
                    </a:cubicBezTo>
                    <a:lnTo>
                      <a:pt x="10" y="738"/>
                    </a:lnTo>
                    <a:close/>
                    <a:moveTo>
                      <a:pt x="13" y="749"/>
                    </a:moveTo>
                    <a:cubicBezTo>
                      <a:pt x="11" y="746"/>
                      <a:pt x="11" y="746"/>
                      <a:pt x="11" y="746"/>
                    </a:cubicBezTo>
                    <a:cubicBezTo>
                      <a:pt x="8" y="749"/>
                      <a:pt x="8" y="749"/>
                      <a:pt x="8" y="749"/>
                    </a:cubicBezTo>
                    <a:cubicBezTo>
                      <a:pt x="9" y="751"/>
                      <a:pt x="9" y="751"/>
                      <a:pt x="9" y="751"/>
                    </a:cubicBezTo>
                    <a:lnTo>
                      <a:pt x="13" y="749"/>
                    </a:lnTo>
                    <a:close/>
                    <a:moveTo>
                      <a:pt x="41" y="738"/>
                    </a:moveTo>
                    <a:cubicBezTo>
                      <a:pt x="39" y="740"/>
                      <a:pt x="39" y="740"/>
                      <a:pt x="39" y="740"/>
                    </a:cubicBezTo>
                    <a:cubicBezTo>
                      <a:pt x="40" y="744"/>
                      <a:pt x="40" y="744"/>
                      <a:pt x="40" y="744"/>
                    </a:cubicBezTo>
                    <a:cubicBezTo>
                      <a:pt x="43" y="741"/>
                      <a:pt x="43" y="741"/>
                      <a:pt x="43" y="741"/>
                    </a:cubicBezTo>
                    <a:lnTo>
                      <a:pt x="41" y="738"/>
                    </a:lnTo>
                    <a:close/>
                    <a:moveTo>
                      <a:pt x="9" y="733"/>
                    </a:moveTo>
                    <a:cubicBezTo>
                      <a:pt x="11" y="734"/>
                      <a:pt x="13" y="734"/>
                      <a:pt x="13" y="734"/>
                    </a:cubicBezTo>
                    <a:cubicBezTo>
                      <a:pt x="11" y="729"/>
                      <a:pt x="11" y="729"/>
                      <a:pt x="11" y="729"/>
                    </a:cubicBezTo>
                    <a:cubicBezTo>
                      <a:pt x="13" y="727"/>
                      <a:pt x="13" y="727"/>
                      <a:pt x="13" y="727"/>
                    </a:cubicBezTo>
                    <a:cubicBezTo>
                      <a:pt x="10" y="719"/>
                      <a:pt x="10" y="719"/>
                      <a:pt x="10" y="719"/>
                    </a:cubicBezTo>
                    <a:cubicBezTo>
                      <a:pt x="9" y="722"/>
                      <a:pt x="9" y="722"/>
                      <a:pt x="9" y="722"/>
                    </a:cubicBezTo>
                    <a:cubicBezTo>
                      <a:pt x="11" y="726"/>
                      <a:pt x="11" y="726"/>
                      <a:pt x="11" y="726"/>
                    </a:cubicBezTo>
                    <a:cubicBezTo>
                      <a:pt x="7" y="727"/>
                      <a:pt x="7" y="727"/>
                      <a:pt x="7" y="727"/>
                    </a:cubicBezTo>
                    <a:cubicBezTo>
                      <a:pt x="7" y="727"/>
                      <a:pt x="7" y="731"/>
                      <a:pt x="9" y="733"/>
                    </a:cubicBezTo>
                    <a:close/>
                    <a:moveTo>
                      <a:pt x="16" y="715"/>
                    </a:moveTo>
                    <a:cubicBezTo>
                      <a:pt x="10" y="711"/>
                      <a:pt x="10" y="711"/>
                      <a:pt x="10" y="711"/>
                    </a:cubicBezTo>
                    <a:cubicBezTo>
                      <a:pt x="9" y="712"/>
                      <a:pt x="9" y="712"/>
                      <a:pt x="9" y="712"/>
                    </a:cubicBezTo>
                    <a:cubicBezTo>
                      <a:pt x="12" y="714"/>
                      <a:pt x="12" y="714"/>
                      <a:pt x="12" y="714"/>
                    </a:cubicBezTo>
                    <a:cubicBezTo>
                      <a:pt x="12" y="718"/>
                      <a:pt x="12" y="718"/>
                      <a:pt x="12" y="718"/>
                    </a:cubicBezTo>
                    <a:cubicBezTo>
                      <a:pt x="14" y="721"/>
                      <a:pt x="14" y="721"/>
                      <a:pt x="14" y="721"/>
                    </a:cubicBezTo>
                    <a:cubicBezTo>
                      <a:pt x="17" y="721"/>
                      <a:pt x="17" y="721"/>
                      <a:pt x="17" y="721"/>
                    </a:cubicBezTo>
                    <a:lnTo>
                      <a:pt x="16" y="715"/>
                    </a:lnTo>
                    <a:close/>
                    <a:moveTo>
                      <a:pt x="24" y="713"/>
                    </a:moveTo>
                    <a:cubicBezTo>
                      <a:pt x="28" y="719"/>
                      <a:pt x="28" y="719"/>
                      <a:pt x="28" y="719"/>
                    </a:cubicBezTo>
                    <a:cubicBezTo>
                      <a:pt x="32" y="717"/>
                      <a:pt x="32" y="717"/>
                      <a:pt x="32" y="717"/>
                    </a:cubicBezTo>
                    <a:cubicBezTo>
                      <a:pt x="34" y="706"/>
                      <a:pt x="34" y="706"/>
                      <a:pt x="34" y="706"/>
                    </a:cubicBezTo>
                    <a:cubicBezTo>
                      <a:pt x="33" y="705"/>
                      <a:pt x="33" y="705"/>
                      <a:pt x="33" y="705"/>
                    </a:cubicBezTo>
                    <a:cubicBezTo>
                      <a:pt x="29" y="710"/>
                      <a:pt x="29" y="710"/>
                      <a:pt x="29" y="710"/>
                    </a:cubicBezTo>
                    <a:cubicBezTo>
                      <a:pt x="29" y="710"/>
                      <a:pt x="28" y="710"/>
                      <a:pt x="26" y="711"/>
                    </a:cubicBezTo>
                    <a:cubicBezTo>
                      <a:pt x="24" y="711"/>
                      <a:pt x="24" y="713"/>
                      <a:pt x="24" y="713"/>
                    </a:cubicBezTo>
                    <a:close/>
                    <a:moveTo>
                      <a:pt x="22" y="703"/>
                    </a:moveTo>
                    <a:cubicBezTo>
                      <a:pt x="13" y="694"/>
                      <a:pt x="13" y="694"/>
                      <a:pt x="13" y="694"/>
                    </a:cubicBezTo>
                    <a:cubicBezTo>
                      <a:pt x="12" y="695"/>
                      <a:pt x="12" y="695"/>
                      <a:pt x="12" y="695"/>
                    </a:cubicBezTo>
                    <a:cubicBezTo>
                      <a:pt x="18" y="703"/>
                      <a:pt x="18" y="703"/>
                      <a:pt x="18" y="703"/>
                    </a:cubicBezTo>
                    <a:cubicBezTo>
                      <a:pt x="17" y="705"/>
                      <a:pt x="17" y="705"/>
                      <a:pt x="17" y="705"/>
                    </a:cubicBezTo>
                    <a:cubicBezTo>
                      <a:pt x="15" y="704"/>
                      <a:pt x="15" y="704"/>
                      <a:pt x="15" y="704"/>
                    </a:cubicBezTo>
                    <a:cubicBezTo>
                      <a:pt x="20" y="711"/>
                      <a:pt x="20" y="711"/>
                      <a:pt x="20" y="711"/>
                    </a:cubicBezTo>
                    <a:cubicBezTo>
                      <a:pt x="23" y="711"/>
                      <a:pt x="25" y="708"/>
                      <a:pt x="25" y="708"/>
                    </a:cubicBezTo>
                    <a:cubicBezTo>
                      <a:pt x="23" y="705"/>
                      <a:pt x="23" y="705"/>
                      <a:pt x="23" y="705"/>
                    </a:cubicBezTo>
                    <a:lnTo>
                      <a:pt x="22" y="703"/>
                    </a:lnTo>
                    <a:close/>
                    <a:moveTo>
                      <a:pt x="9" y="699"/>
                    </a:moveTo>
                    <a:cubicBezTo>
                      <a:pt x="8" y="699"/>
                      <a:pt x="8" y="699"/>
                      <a:pt x="8" y="699"/>
                    </a:cubicBezTo>
                    <a:cubicBezTo>
                      <a:pt x="8" y="699"/>
                      <a:pt x="10" y="703"/>
                      <a:pt x="11" y="704"/>
                    </a:cubicBezTo>
                    <a:cubicBezTo>
                      <a:pt x="12" y="705"/>
                      <a:pt x="14" y="707"/>
                      <a:pt x="14" y="707"/>
                    </a:cubicBezTo>
                    <a:cubicBezTo>
                      <a:pt x="14" y="707"/>
                      <a:pt x="15" y="705"/>
                      <a:pt x="13" y="703"/>
                    </a:cubicBezTo>
                    <a:cubicBezTo>
                      <a:pt x="12" y="701"/>
                      <a:pt x="9" y="699"/>
                      <a:pt x="9" y="699"/>
                    </a:cubicBezTo>
                    <a:close/>
                    <a:moveTo>
                      <a:pt x="10" y="707"/>
                    </a:moveTo>
                    <a:cubicBezTo>
                      <a:pt x="9" y="707"/>
                      <a:pt x="10" y="709"/>
                      <a:pt x="11" y="710"/>
                    </a:cubicBezTo>
                    <a:cubicBezTo>
                      <a:pt x="12" y="710"/>
                      <a:pt x="16" y="712"/>
                      <a:pt x="16" y="712"/>
                    </a:cubicBezTo>
                    <a:cubicBezTo>
                      <a:pt x="16" y="710"/>
                      <a:pt x="16" y="710"/>
                      <a:pt x="16" y="710"/>
                    </a:cubicBezTo>
                    <a:cubicBezTo>
                      <a:pt x="16" y="710"/>
                      <a:pt x="11" y="707"/>
                      <a:pt x="10" y="707"/>
                    </a:cubicBezTo>
                    <a:close/>
                    <a:moveTo>
                      <a:pt x="9" y="693"/>
                    </a:moveTo>
                    <a:cubicBezTo>
                      <a:pt x="7" y="695"/>
                      <a:pt x="7" y="695"/>
                      <a:pt x="7" y="695"/>
                    </a:cubicBezTo>
                    <a:cubicBezTo>
                      <a:pt x="11" y="698"/>
                      <a:pt x="11" y="698"/>
                      <a:pt x="11" y="698"/>
                    </a:cubicBezTo>
                    <a:lnTo>
                      <a:pt x="9" y="693"/>
                    </a:lnTo>
                    <a:close/>
                    <a:moveTo>
                      <a:pt x="10" y="692"/>
                    </a:moveTo>
                    <a:cubicBezTo>
                      <a:pt x="9" y="687"/>
                      <a:pt x="9" y="687"/>
                      <a:pt x="9" y="687"/>
                    </a:cubicBezTo>
                    <a:cubicBezTo>
                      <a:pt x="7" y="689"/>
                      <a:pt x="7" y="689"/>
                      <a:pt x="7" y="689"/>
                    </a:cubicBezTo>
                    <a:lnTo>
                      <a:pt x="10" y="692"/>
                    </a:lnTo>
                    <a:close/>
                    <a:moveTo>
                      <a:pt x="9" y="678"/>
                    </a:moveTo>
                    <a:cubicBezTo>
                      <a:pt x="11" y="676"/>
                      <a:pt x="11" y="676"/>
                      <a:pt x="11" y="676"/>
                    </a:cubicBezTo>
                    <a:cubicBezTo>
                      <a:pt x="12" y="678"/>
                      <a:pt x="12" y="678"/>
                      <a:pt x="12" y="678"/>
                    </a:cubicBezTo>
                    <a:cubicBezTo>
                      <a:pt x="12" y="678"/>
                      <a:pt x="15" y="676"/>
                      <a:pt x="15" y="674"/>
                    </a:cubicBezTo>
                    <a:cubicBezTo>
                      <a:pt x="15" y="671"/>
                      <a:pt x="12" y="670"/>
                      <a:pt x="12" y="670"/>
                    </a:cubicBezTo>
                    <a:cubicBezTo>
                      <a:pt x="10" y="671"/>
                      <a:pt x="10" y="671"/>
                      <a:pt x="10" y="671"/>
                    </a:cubicBezTo>
                    <a:cubicBezTo>
                      <a:pt x="10" y="671"/>
                      <a:pt x="8" y="675"/>
                      <a:pt x="9" y="678"/>
                    </a:cubicBezTo>
                    <a:close/>
                    <a:moveTo>
                      <a:pt x="6" y="680"/>
                    </a:moveTo>
                    <a:cubicBezTo>
                      <a:pt x="7" y="680"/>
                      <a:pt x="7" y="680"/>
                      <a:pt x="7" y="680"/>
                    </a:cubicBezTo>
                    <a:cubicBezTo>
                      <a:pt x="8" y="676"/>
                      <a:pt x="8" y="676"/>
                      <a:pt x="8" y="676"/>
                    </a:cubicBezTo>
                    <a:cubicBezTo>
                      <a:pt x="7" y="676"/>
                      <a:pt x="7" y="676"/>
                      <a:pt x="7" y="676"/>
                    </a:cubicBezTo>
                    <a:lnTo>
                      <a:pt x="6" y="680"/>
                    </a:lnTo>
                    <a:close/>
                    <a:moveTo>
                      <a:pt x="3" y="678"/>
                    </a:moveTo>
                    <a:cubicBezTo>
                      <a:pt x="0" y="678"/>
                      <a:pt x="1" y="681"/>
                      <a:pt x="2" y="681"/>
                    </a:cubicBezTo>
                    <a:cubicBezTo>
                      <a:pt x="4" y="682"/>
                      <a:pt x="7" y="677"/>
                      <a:pt x="3" y="678"/>
                    </a:cubicBezTo>
                    <a:close/>
                    <a:moveTo>
                      <a:pt x="7" y="661"/>
                    </a:moveTo>
                    <a:cubicBezTo>
                      <a:pt x="3" y="661"/>
                      <a:pt x="4" y="663"/>
                      <a:pt x="6" y="663"/>
                    </a:cubicBezTo>
                    <a:cubicBezTo>
                      <a:pt x="9" y="663"/>
                      <a:pt x="10" y="662"/>
                      <a:pt x="7" y="661"/>
                    </a:cubicBezTo>
                    <a:close/>
                    <a:moveTo>
                      <a:pt x="17" y="658"/>
                    </a:moveTo>
                    <a:cubicBezTo>
                      <a:pt x="14" y="657"/>
                      <a:pt x="14" y="657"/>
                      <a:pt x="14" y="657"/>
                    </a:cubicBezTo>
                    <a:cubicBezTo>
                      <a:pt x="11" y="660"/>
                      <a:pt x="11" y="660"/>
                      <a:pt x="11" y="660"/>
                    </a:cubicBezTo>
                    <a:cubicBezTo>
                      <a:pt x="13" y="662"/>
                      <a:pt x="13" y="662"/>
                      <a:pt x="13" y="662"/>
                    </a:cubicBezTo>
                    <a:lnTo>
                      <a:pt x="17" y="658"/>
                    </a:lnTo>
                    <a:close/>
                    <a:moveTo>
                      <a:pt x="18" y="649"/>
                    </a:moveTo>
                    <a:cubicBezTo>
                      <a:pt x="14" y="646"/>
                      <a:pt x="14" y="646"/>
                      <a:pt x="14" y="646"/>
                    </a:cubicBezTo>
                    <a:cubicBezTo>
                      <a:pt x="15" y="650"/>
                      <a:pt x="15" y="650"/>
                      <a:pt x="15" y="650"/>
                    </a:cubicBezTo>
                    <a:lnTo>
                      <a:pt x="18" y="649"/>
                    </a:lnTo>
                    <a:close/>
                    <a:moveTo>
                      <a:pt x="22" y="643"/>
                    </a:moveTo>
                    <a:cubicBezTo>
                      <a:pt x="17" y="645"/>
                      <a:pt x="17" y="645"/>
                      <a:pt x="17" y="645"/>
                    </a:cubicBezTo>
                    <a:cubicBezTo>
                      <a:pt x="22" y="647"/>
                      <a:pt x="22" y="647"/>
                      <a:pt x="22" y="647"/>
                    </a:cubicBezTo>
                    <a:lnTo>
                      <a:pt x="22" y="643"/>
                    </a:lnTo>
                    <a:close/>
                    <a:moveTo>
                      <a:pt x="14" y="639"/>
                    </a:moveTo>
                    <a:cubicBezTo>
                      <a:pt x="14" y="635"/>
                      <a:pt x="11" y="635"/>
                      <a:pt x="12" y="638"/>
                    </a:cubicBezTo>
                    <a:cubicBezTo>
                      <a:pt x="12" y="641"/>
                      <a:pt x="14" y="641"/>
                      <a:pt x="14" y="639"/>
                    </a:cubicBezTo>
                    <a:close/>
                    <a:moveTo>
                      <a:pt x="15" y="632"/>
                    </a:moveTo>
                    <a:cubicBezTo>
                      <a:pt x="24" y="629"/>
                      <a:pt x="24" y="629"/>
                      <a:pt x="24" y="629"/>
                    </a:cubicBezTo>
                    <a:cubicBezTo>
                      <a:pt x="25" y="626"/>
                      <a:pt x="25" y="626"/>
                      <a:pt x="25" y="626"/>
                    </a:cubicBezTo>
                    <a:cubicBezTo>
                      <a:pt x="19" y="626"/>
                      <a:pt x="19" y="626"/>
                      <a:pt x="19" y="626"/>
                    </a:cubicBezTo>
                    <a:cubicBezTo>
                      <a:pt x="15" y="623"/>
                      <a:pt x="15" y="623"/>
                      <a:pt x="15" y="623"/>
                    </a:cubicBezTo>
                    <a:cubicBezTo>
                      <a:pt x="15" y="626"/>
                      <a:pt x="15" y="626"/>
                      <a:pt x="15" y="626"/>
                    </a:cubicBezTo>
                    <a:cubicBezTo>
                      <a:pt x="12" y="627"/>
                      <a:pt x="12" y="627"/>
                      <a:pt x="12" y="627"/>
                    </a:cubicBezTo>
                    <a:cubicBezTo>
                      <a:pt x="16" y="628"/>
                      <a:pt x="16" y="628"/>
                      <a:pt x="16" y="628"/>
                    </a:cubicBezTo>
                    <a:lnTo>
                      <a:pt x="15" y="632"/>
                    </a:lnTo>
                    <a:close/>
                    <a:moveTo>
                      <a:pt x="12" y="630"/>
                    </a:moveTo>
                    <a:cubicBezTo>
                      <a:pt x="13" y="632"/>
                      <a:pt x="13" y="632"/>
                      <a:pt x="13" y="632"/>
                    </a:cubicBezTo>
                    <a:cubicBezTo>
                      <a:pt x="14" y="633"/>
                      <a:pt x="14" y="633"/>
                      <a:pt x="14" y="633"/>
                    </a:cubicBezTo>
                    <a:cubicBezTo>
                      <a:pt x="14" y="629"/>
                      <a:pt x="14" y="629"/>
                      <a:pt x="14" y="629"/>
                    </a:cubicBezTo>
                    <a:lnTo>
                      <a:pt x="12" y="630"/>
                    </a:lnTo>
                    <a:close/>
                    <a:moveTo>
                      <a:pt x="20" y="618"/>
                    </a:moveTo>
                    <a:cubicBezTo>
                      <a:pt x="22" y="619"/>
                      <a:pt x="22" y="623"/>
                      <a:pt x="22" y="623"/>
                    </a:cubicBezTo>
                    <a:cubicBezTo>
                      <a:pt x="25" y="623"/>
                      <a:pt x="25" y="623"/>
                      <a:pt x="25" y="623"/>
                    </a:cubicBezTo>
                    <a:cubicBezTo>
                      <a:pt x="25" y="616"/>
                      <a:pt x="25" y="616"/>
                      <a:pt x="25" y="616"/>
                    </a:cubicBezTo>
                    <a:cubicBezTo>
                      <a:pt x="20" y="615"/>
                      <a:pt x="20" y="615"/>
                      <a:pt x="20" y="615"/>
                    </a:cubicBezTo>
                    <a:cubicBezTo>
                      <a:pt x="20" y="615"/>
                      <a:pt x="18" y="617"/>
                      <a:pt x="20" y="618"/>
                    </a:cubicBezTo>
                    <a:close/>
                    <a:moveTo>
                      <a:pt x="36" y="604"/>
                    </a:moveTo>
                    <a:cubicBezTo>
                      <a:pt x="36" y="601"/>
                      <a:pt x="36" y="601"/>
                      <a:pt x="36" y="601"/>
                    </a:cubicBezTo>
                    <a:cubicBezTo>
                      <a:pt x="34" y="602"/>
                      <a:pt x="34" y="602"/>
                      <a:pt x="34" y="602"/>
                    </a:cubicBezTo>
                    <a:cubicBezTo>
                      <a:pt x="34" y="604"/>
                      <a:pt x="34" y="604"/>
                      <a:pt x="34" y="604"/>
                    </a:cubicBezTo>
                    <a:lnTo>
                      <a:pt x="36" y="604"/>
                    </a:lnTo>
                    <a:close/>
                    <a:moveTo>
                      <a:pt x="45" y="607"/>
                    </a:moveTo>
                    <a:cubicBezTo>
                      <a:pt x="48" y="605"/>
                      <a:pt x="48" y="601"/>
                      <a:pt x="44" y="600"/>
                    </a:cubicBezTo>
                    <a:cubicBezTo>
                      <a:pt x="40" y="598"/>
                      <a:pt x="40" y="603"/>
                      <a:pt x="40" y="603"/>
                    </a:cubicBezTo>
                    <a:cubicBezTo>
                      <a:pt x="39" y="604"/>
                      <a:pt x="39" y="604"/>
                      <a:pt x="39" y="604"/>
                    </a:cubicBezTo>
                    <a:cubicBezTo>
                      <a:pt x="39" y="607"/>
                      <a:pt x="42" y="608"/>
                      <a:pt x="45" y="607"/>
                    </a:cubicBezTo>
                    <a:close/>
                    <a:moveTo>
                      <a:pt x="42" y="598"/>
                    </a:moveTo>
                    <a:cubicBezTo>
                      <a:pt x="45" y="598"/>
                      <a:pt x="45" y="598"/>
                      <a:pt x="45" y="598"/>
                    </a:cubicBezTo>
                    <a:cubicBezTo>
                      <a:pt x="46" y="596"/>
                      <a:pt x="46" y="596"/>
                      <a:pt x="46" y="596"/>
                    </a:cubicBezTo>
                    <a:cubicBezTo>
                      <a:pt x="43" y="593"/>
                      <a:pt x="43" y="593"/>
                      <a:pt x="43" y="593"/>
                    </a:cubicBezTo>
                    <a:cubicBezTo>
                      <a:pt x="41" y="593"/>
                      <a:pt x="41" y="593"/>
                      <a:pt x="41" y="593"/>
                    </a:cubicBezTo>
                    <a:cubicBezTo>
                      <a:pt x="42" y="596"/>
                      <a:pt x="42" y="596"/>
                      <a:pt x="42" y="596"/>
                    </a:cubicBezTo>
                    <a:lnTo>
                      <a:pt x="42" y="598"/>
                    </a:lnTo>
                    <a:close/>
                    <a:moveTo>
                      <a:pt x="53" y="593"/>
                    </a:moveTo>
                    <a:cubicBezTo>
                      <a:pt x="49" y="594"/>
                      <a:pt x="49" y="594"/>
                      <a:pt x="49" y="594"/>
                    </a:cubicBezTo>
                    <a:cubicBezTo>
                      <a:pt x="49" y="603"/>
                      <a:pt x="49" y="603"/>
                      <a:pt x="49" y="603"/>
                    </a:cubicBezTo>
                    <a:cubicBezTo>
                      <a:pt x="57" y="598"/>
                      <a:pt x="57" y="598"/>
                      <a:pt x="57" y="598"/>
                    </a:cubicBezTo>
                    <a:lnTo>
                      <a:pt x="53" y="593"/>
                    </a:lnTo>
                    <a:close/>
                    <a:moveTo>
                      <a:pt x="57" y="593"/>
                    </a:moveTo>
                    <a:cubicBezTo>
                      <a:pt x="60" y="596"/>
                      <a:pt x="60" y="596"/>
                      <a:pt x="60" y="596"/>
                    </a:cubicBezTo>
                    <a:cubicBezTo>
                      <a:pt x="65" y="594"/>
                      <a:pt x="65" y="594"/>
                      <a:pt x="65" y="594"/>
                    </a:cubicBezTo>
                    <a:cubicBezTo>
                      <a:pt x="61" y="592"/>
                      <a:pt x="61" y="592"/>
                      <a:pt x="61" y="592"/>
                    </a:cubicBezTo>
                    <a:lnTo>
                      <a:pt x="57" y="593"/>
                    </a:lnTo>
                    <a:close/>
                    <a:moveTo>
                      <a:pt x="55" y="587"/>
                    </a:moveTo>
                    <a:cubicBezTo>
                      <a:pt x="51" y="591"/>
                      <a:pt x="51" y="591"/>
                      <a:pt x="51" y="591"/>
                    </a:cubicBezTo>
                    <a:cubicBezTo>
                      <a:pt x="58" y="591"/>
                      <a:pt x="58" y="591"/>
                      <a:pt x="58" y="591"/>
                    </a:cubicBezTo>
                    <a:lnTo>
                      <a:pt x="55" y="587"/>
                    </a:lnTo>
                    <a:close/>
                    <a:moveTo>
                      <a:pt x="57" y="586"/>
                    </a:moveTo>
                    <a:cubicBezTo>
                      <a:pt x="59" y="586"/>
                      <a:pt x="61" y="581"/>
                      <a:pt x="58" y="582"/>
                    </a:cubicBezTo>
                    <a:cubicBezTo>
                      <a:pt x="55" y="583"/>
                      <a:pt x="56" y="586"/>
                      <a:pt x="57" y="586"/>
                    </a:cubicBezTo>
                    <a:close/>
                    <a:moveTo>
                      <a:pt x="63" y="580"/>
                    </a:moveTo>
                    <a:cubicBezTo>
                      <a:pt x="59" y="579"/>
                      <a:pt x="59" y="579"/>
                      <a:pt x="59" y="579"/>
                    </a:cubicBezTo>
                    <a:cubicBezTo>
                      <a:pt x="62" y="582"/>
                      <a:pt x="62" y="582"/>
                      <a:pt x="62" y="582"/>
                    </a:cubicBezTo>
                    <a:lnTo>
                      <a:pt x="63" y="580"/>
                    </a:lnTo>
                    <a:close/>
                    <a:moveTo>
                      <a:pt x="63" y="577"/>
                    </a:moveTo>
                    <a:cubicBezTo>
                      <a:pt x="62" y="578"/>
                      <a:pt x="62" y="578"/>
                      <a:pt x="62" y="578"/>
                    </a:cubicBezTo>
                    <a:cubicBezTo>
                      <a:pt x="65" y="580"/>
                      <a:pt x="65" y="580"/>
                      <a:pt x="65" y="580"/>
                    </a:cubicBezTo>
                    <a:lnTo>
                      <a:pt x="63" y="577"/>
                    </a:lnTo>
                    <a:close/>
                    <a:moveTo>
                      <a:pt x="71" y="575"/>
                    </a:moveTo>
                    <a:cubicBezTo>
                      <a:pt x="71" y="571"/>
                      <a:pt x="71" y="571"/>
                      <a:pt x="71" y="571"/>
                    </a:cubicBezTo>
                    <a:cubicBezTo>
                      <a:pt x="69" y="571"/>
                      <a:pt x="69" y="571"/>
                      <a:pt x="69" y="571"/>
                    </a:cubicBezTo>
                    <a:cubicBezTo>
                      <a:pt x="69" y="575"/>
                      <a:pt x="69" y="575"/>
                      <a:pt x="69" y="575"/>
                    </a:cubicBezTo>
                    <a:lnTo>
                      <a:pt x="71" y="575"/>
                    </a:lnTo>
                    <a:close/>
                    <a:moveTo>
                      <a:pt x="80" y="578"/>
                    </a:moveTo>
                    <a:cubicBezTo>
                      <a:pt x="85" y="576"/>
                      <a:pt x="85" y="575"/>
                      <a:pt x="82" y="575"/>
                    </a:cubicBezTo>
                    <a:cubicBezTo>
                      <a:pt x="78" y="573"/>
                      <a:pt x="77" y="576"/>
                      <a:pt x="77" y="577"/>
                    </a:cubicBezTo>
                    <a:cubicBezTo>
                      <a:pt x="77" y="578"/>
                      <a:pt x="80" y="578"/>
                      <a:pt x="80" y="578"/>
                    </a:cubicBezTo>
                    <a:close/>
                    <a:moveTo>
                      <a:pt x="87" y="568"/>
                    </a:moveTo>
                    <a:cubicBezTo>
                      <a:pt x="82" y="567"/>
                      <a:pt x="82" y="567"/>
                      <a:pt x="82" y="567"/>
                    </a:cubicBezTo>
                    <a:cubicBezTo>
                      <a:pt x="80" y="568"/>
                      <a:pt x="80" y="568"/>
                      <a:pt x="80" y="568"/>
                    </a:cubicBezTo>
                    <a:cubicBezTo>
                      <a:pt x="83" y="571"/>
                      <a:pt x="83" y="571"/>
                      <a:pt x="83" y="571"/>
                    </a:cubicBezTo>
                    <a:lnTo>
                      <a:pt x="87" y="568"/>
                    </a:lnTo>
                    <a:close/>
                    <a:moveTo>
                      <a:pt x="110" y="557"/>
                    </a:moveTo>
                    <a:cubicBezTo>
                      <a:pt x="109" y="551"/>
                      <a:pt x="109" y="551"/>
                      <a:pt x="109" y="551"/>
                    </a:cubicBezTo>
                    <a:cubicBezTo>
                      <a:pt x="106" y="551"/>
                      <a:pt x="106" y="551"/>
                      <a:pt x="106" y="551"/>
                    </a:cubicBezTo>
                    <a:cubicBezTo>
                      <a:pt x="107" y="554"/>
                      <a:pt x="107" y="554"/>
                      <a:pt x="107" y="554"/>
                    </a:cubicBezTo>
                    <a:cubicBezTo>
                      <a:pt x="104" y="554"/>
                      <a:pt x="104" y="554"/>
                      <a:pt x="104" y="554"/>
                    </a:cubicBezTo>
                    <a:cubicBezTo>
                      <a:pt x="100" y="558"/>
                      <a:pt x="100" y="558"/>
                      <a:pt x="100" y="558"/>
                    </a:cubicBezTo>
                    <a:cubicBezTo>
                      <a:pt x="105" y="562"/>
                      <a:pt x="105" y="562"/>
                      <a:pt x="105" y="562"/>
                    </a:cubicBezTo>
                    <a:lnTo>
                      <a:pt x="110" y="557"/>
                    </a:lnTo>
                    <a:close/>
                    <a:moveTo>
                      <a:pt x="116" y="555"/>
                    </a:moveTo>
                    <a:cubicBezTo>
                      <a:pt x="116" y="552"/>
                      <a:pt x="116" y="552"/>
                      <a:pt x="116" y="552"/>
                    </a:cubicBezTo>
                    <a:cubicBezTo>
                      <a:pt x="111" y="553"/>
                      <a:pt x="111" y="553"/>
                      <a:pt x="111" y="553"/>
                    </a:cubicBezTo>
                    <a:cubicBezTo>
                      <a:pt x="112" y="557"/>
                      <a:pt x="112" y="557"/>
                      <a:pt x="112" y="557"/>
                    </a:cubicBezTo>
                    <a:lnTo>
                      <a:pt x="116" y="555"/>
                    </a:lnTo>
                    <a:close/>
                    <a:moveTo>
                      <a:pt x="113" y="548"/>
                    </a:moveTo>
                    <a:cubicBezTo>
                      <a:pt x="111" y="552"/>
                      <a:pt x="111" y="552"/>
                      <a:pt x="111" y="552"/>
                    </a:cubicBezTo>
                    <a:cubicBezTo>
                      <a:pt x="115" y="551"/>
                      <a:pt x="115" y="551"/>
                      <a:pt x="115" y="551"/>
                    </a:cubicBezTo>
                    <a:lnTo>
                      <a:pt x="113" y="548"/>
                    </a:lnTo>
                    <a:close/>
                    <a:moveTo>
                      <a:pt x="124" y="545"/>
                    </a:moveTo>
                    <a:cubicBezTo>
                      <a:pt x="117" y="545"/>
                      <a:pt x="121" y="549"/>
                      <a:pt x="123" y="549"/>
                    </a:cubicBezTo>
                    <a:cubicBezTo>
                      <a:pt x="126" y="550"/>
                      <a:pt x="130" y="545"/>
                      <a:pt x="124" y="545"/>
                    </a:cubicBezTo>
                    <a:close/>
                    <a:moveTo>
                      <a:pt x="135" y="547"/>
                    </a:moveTo>
                    <a:cubicBezTo>
                      <a:pt x="133" y="542"/>
                      <a:pt x="133" y="542"/>
                      <a:pt x="133" y="542"/>
                    </a:cubicBezTo>
                    <a:cubicBezTo>
                      <a:pt x="132" y="544"/>
                      <a:pt x="132" y="544"/>
                      <a:pt x="132" y="544"/>
                    </a:cubicBezTo>
                    <a:cubicBezTo>
                      <a:pt x="129" y="541"/>
                      <a:pt x="129" y="541"/>
                      <a:pt x="129" y="541"/>
                    </a:cubicBezTo>
                    <a:cubicBezTo>
                      <a:pt x="127" y="542"/>
                      <a:pt x="127" y="542"/>
                      <a:pt x="127" y="542"/>
                    </a:cubicBezTo>
                    <a:cubicBezTo>
                      <a:pt x="132" y="549"/>
                      <a:pt x="132" y="549"/>
                      <a:pt x="132" y="549"/>
                    </a:cubicBezTo>
                    <a:lnTo>
                      <a:pt x="135" y="547"/>
                    </a:lnTo>
                    <a:close/>
                    <a:moveTo>
                      <a:pt x="118" y="535"/>
                    </a:moveTo>
                    <a:cubicBezTo>
                      <a:pt x="123" y="537"/>
                      <a:pt x="123" y="537"/>
                      <a:pt x="123" y="537"/>
                    </a:cubicBezTo>
                    <a:cubicBezTo>
                      <a:pt x="127" y="536"/>
                      <a:pt x="127" y="536"/>
                      <a:pt x="127" y="536"/>
                    </a:cubicBezTo>
                    <a:cubicBezTo>
                      <a:pt x="127" y="536"/>
                      <a:pt x="127" y="529"/>
                      <a:pt x="123" y="530"/>
                    </a:cubicBezTo>
                    <a:cubicBezTo>
                      <a:pt x="117" y="530"/>
                      <a:pt x="115" y="531"/>
                      <a:pt x="115" y="531"/>
                    </a:cubicBezTo>
                    <a:cubicBezTo>
                      <a:pt x="116" y="535"/>
                      <a:pt x="116" y="535"/>
                      <a:pt x="116" y="535"/>
                    </a:cubicBezTo>
                    <a:lnTo>
                      <a:pt x="118" y="535"/>
                    </a:lnTo>
                    <a:close/>
                    <a:moveTo>
                      <a:pt x="138" y="522"/>
                    </a:moveTo>
                    <a:cubicBezTo>
                      <a:pt x="138" y="522"/>
                      <a:pt x="131" y="524"/>
                      <a:pt x="131" y="528"/>
                    </a:cubicBezTo>
                    <a:cubicBezTo>
                      <a:pt x="131" y="533"/>
                      <a:pt x="138" y="530"/>
                      <a:pt x="145" y="529"/>
                    </a:cubicBezTo>
                    <a:cubicBezTo>
                      <a:pt x="154" y="526"/>
                      <a:pt x="158" y="523"/>
                      <a:pt x="156" y="522"/>
                    </a:cubicBezTo>
                    <a:cubicBezTo>
                      <a:pt x="154" y="521"/>
                      <a:pt x="150" y="521"/>
                      <a:pt x="150" y="521"/>
                    </a:cubicBezTo>
                    <a:cubicBezTo>
                      <a:pt x="150" y="518"/>
                      <a:pt x="150" y="518"/>
                      <a:pt x="150" y="518"/>
                    </a:cubicBezTo>
                    <a:cubicBezTo>
                      <a:pt x="150" y="518"/>
                      <a:pt x="147" y="518"/>
                      <a:pt x="143" y="519"/>
                    </a:cubicBezTo>
                    <a:cubicBezTo>
                      <a:pt x="139" y="519"/>
                      <a:pt x="138" y="522"/>
                      <a:pt x="138" y="522"/>
                    </a:cubicBezTo>
                    <a:close/>
                    <a:moveTo>
                      <a:pt x="139" y="516"/>
                    </a:moveTo>
                    <a:cubicBezTo>
                      <a:pt x="147" y="514"/>
                      <a:pt x="147" y="514"/>
                      <a:pt x="147" y="514"/>
                    </a:cubicBezTo>
                    <a:cubicBezTo>
                      <a:pt x="146" y="508"/>
                      <a:pt x="146" y="508"/>
                      <a:pt x="146" y="508"/>
                    </a:cubicBezTo>
                    <a:cubicBezTo>
                      <a:pt x="146" y="508"/>
                      <a:pt x="142" y="513"/>
                      <a:pt x="139" y="513"/>
                    </a:cubicBezTo>
                    <a:cubicBezTo>
                      <a:pt x="137" y="514"/>
                      <a:pt x="131" y="515"/>
                      <a:pt x="131" y="515"/>
                    </a:cubicBezTo>
                    <a:cubicBezTo>
                      <a:pt x="132" y="516"/>
                      <a:pt x="132" y="516"/>
                      <a:pt x="132" y="516"/>
                    </a:cubicBezTo>
                    <a:lnTo>
                      <a:pt x="139" y="516"/>
                    </a:lnTo>
                    <a:close/>
                    <a:moveTo>
                      <a:pt x="159" y="517"/>
                    </a:moveTo>
                    <a:cubicBezTo>
                      <a:pt x="154" y="518"/>
                      <a:pt x="154" y="518"/>
                      <a:pt x="154" y="518"/>
                    </a:cubicBezTo>
                    <a:cubicBezTo>
                      <a:pt x="153" y="519"/>
                      <a:pt x="153" y="519"/>
                      <a:pt x="153" y="519"/>
                    </a:cubicBezTo>
                    <a:cubicBezTo>
                      <a:pt x="159" y="519"/>
                      <a:pt x="159" y="519"/>
                      <a:pt x="159" y="519"/>
                    </a:cubicBezTo>
                    <a:lnTo>
                      <a:pt x="159" y="517"/>
                    </a:lnTo>
                    <a:close/>
                    <a:moveTo>
                      <a:pt x="162" y="515"/>
                    </a:moveTo>
                    <a:cubicBezTo>
                      <a:pt x="162" y="521"/>
                      <a:pt x="162" y="521"/>
                      <a:pt x="162" y="521"/>
                    </a:cubicBezTo>
                    <a:cubicBezTo>
                      <a:pt x="166" y="519"/>
                      <a:pt x="166" y="519"/>
                      <a:pt x="166" y="519"/>
                    </a:cubicBezTo>
                    <a:lnTo>
                      <a:pt x="162" y="515"/>
                    </a:lnTo>
                    <a:close/>
                    <a:moveTo>
                      <a:pt x="235" y="425"/>
                    </a:moveTo>
                    <a:cubicBezTo>
                      <a:pt x="235" y="425"/>
                      <a:pt x="232" y="424"/>
                      <a:pt x="230" y="425"/>
                    </a:cubicBezTo>
                    <a:cubicBezTo>
                      <a:pt x="227" y="427"/>
                      <a:pt x="229" y="430"/>
                      <a:pt x="229" y="430"/>
                    </a:cubicBezTo>
                    <a:lnTo>
                      <a:pt x="235" y="425"/>
                    </a:lnTo>
                    <a:close/>
                    <a:moveTo>
                      <a:pt x="215" y="439"/>
                    </a:moveTo>
                    <a:cubicBezTo>
                      <a:pt x="216" y="439"/>
                      <a:pt x="214" y="441"/>
                      <a:pt x="214" y="441"/>
                    </a:cubicBezTo>
                    <a:cubicBezTo>
                      <a:pt x="216" y="443"/>
                      <a:pt x="216" y="443"/>
                      <a:pt x="216" y="443"/>
                    </a:cubicBezTo>
                    <a:cubicBezTo>
                      <a:pt x="222" y="439"/>
                      <a:pt x="222" y="439"/>
                      <a:pt x="222" y="439"/>
                    </a:cubicBezTo>
                    <a:cubicBezTo>
                      <a:pt x="222" y="439"/>
                      <a:pt x="220" y="434"/>
                      <a:pt x="214" y="435"/>
                    </a:cubicBezTo>
                    <a:cubicBezTo>
                      <a:pt x="210" y="436"/>
                      <a:pt x="207" y="440"/>
                      <a:pt x="207" y="440"/>
                    </a:cubicBezTo>
                    <a:cubicBezTo>
                      <a:pt x="210" y="442"/>
                      <a:pt x="210" y="442"/>
                      <a:pt x="210" y="442"/>
                    </a:cubicBezTo>
                    <a:cubicBezTo>
                      <a:pt x="210" y="442"/>
                      <a:pt x="214" y="438"/>
                      <a:pt x="215" y="439"/>
                    </a:cubicBezTo>
                    <a:close/>
                    <a:moveTo>
                      <a:pt x="239" y="396"/>
                    </a:moveTo>
                    <a:cubicBezTo>
                      <a:pt x="244" y="390"/>
                      <a:pt x="244" y="390"/>
                      <a:pt x="244" y="390"/>
                    </a:cubicBezTo>
                    <a:cubicBezTo>
                      <a:pt x="242" y="387"/>
                      <a:pt x="242" y="387"/>
                      <a:pt x="242" y="387"/>
                    </a:cubicBezTo>
                    <a:cubicBezTo>
                      <a:pt x="242" y="387"/>
                      <a:pt x="236" y="386"/>
                      <a:pt x="237" y="391"/>
                    </a:cubicBezTo>
                    <a:cubicBezTo>
                      <a:pt x="237" y="396"/>
                      <a:pt x="239" y="396"/>
                      <a:pt x="239" y="396"/>
                    </a:cubicBezTo>
                    <a:close/>
                    <a:moveTo>
                      <a:pt x="242" y="408"/>
                    </a:moveTo>
                    <a:cubicBezTo>
                      <a:pt x="244" y="408"/>
                      <a:pt x="244" y="408"/>
                      <a:pt x="244" y="408"/>
                    </a:cubicBezTo>
                    <a:cubicBezTo>
                      <a:pt x="245" y="406"/>
                      <a:pt x="245" y="406"/>
                      <a:pt x="245" y="406"/>
                    </a:cubicBezTo>
                    <a:cubicBezTo>
                      <a:pt x="244" y="402"/>
                      <a:pt x="244" y="402"/>
                      <a:pt x="244" y="402"/>
                    </a:cubicBezTo>
                    <a:lnTo>
                      <a:pt x="242" y="408"/>
                    </a:lnTo>
                    <a:close/>
                    <a:moveTo>
                      <a:pt x="259" y="367"/>
                    </a:moveTo>
                    <a:cubicBezTo>
                      <a:pt x="259" y="367"/>
                      <a:pt x="254" y="371"/>
                      <a:pt x="253" y="373"/>
                    </a:cubicBezTo>
                    <a:cubicBezTo>
                      <a:pt x="252" y="374"/>
                      <a:pt x="255" y="378"/>
                      <a:pt x="255" y="378"/>
                    </a:cubicBezTo>
                    <a:cubicBezTo>
                      <a:pt x="260" y="373"/>
                      <a:pt x="260" y="373"/>
                      <a:pt x="260" y="373"/>
                    </a:cubicBezTo>
                    <a:cubicBezTo>
                      <a:pt x="265" y="370"/>
                      <a:pt x="265" y="370"/>
                      <a:pt x="265" y="370"/>
                    </a:cubicBezTo>
                    <a:cubicBezTo>
                      <a:pt x="266" y="367"/>
                      <a:pt x="266" y="367"/>
                      <a:pt x="266" y="367"/>
                    </a:cubicBezTo>
                    <a:cubicBezTo>
                      <a:pt x="260" y="370"/>
                      <a:pt x="260" y="370"/>
                      <a:pt x="260" y="370"/>
                    </a:cubicBezTo>
                    <a:lnTo>
                      <a:pt x="259" y="367"/>
                    </a:lnTo>
                    <a:close/>
                    <a:moveTo>
                      <a:pt x="253" y="366"/>
                    </a:moveTo>
                    <a:cubicBezTo>
                      <a:pt x="259" y="363"/>
                      <a:pt x="259" y="363"/>
                      <a:pt x="259" y="363"/>
                    </a:cubicBezTo>
                    <a:cubicBezTo>
                      <a:pt x="260" y="360"/>
                      <a:pt x="260" y="360"/>
                      <a:pt x="260" y="360"/>
                    </a:cubicBezTo>
                    <a:cubicBezTo>
                      <a:pt x="258" y="359"/>
                      <a:pt x="258" y="359"/>
                      <a:pt x="258" y="359"/>
                    </a:cubicBezTo>
                    <a:cubicBezTo>
                      <a:pt x="260" y="357"/>
                      <a:pt x="260" y="357"/>
                      <a:pt x="260" y="357"/>
                    </a:cubicBezTo>
                    <a:cubicBezTo>
                      <a:pt x="259" y="353"/>
                      <a:pt x="259" y="353"/>
                      <a:pt x="259" y="353"/>
                    </a:cubicBezTo>
                    <a:cubicBezTo>
                      <a:pt x="255" y="356"/>
                      <a:pt x="255" y="356"/>
                      <a:pt x="255" y="356"/>
                    </a:cubicBezTo>
                    <a:cubicBezTo>
                      <a:pt x="255" y="358"/>
                      <a:pt x="255" y="358"/>
                      <a:pt x="255" y="358"/>
                    </a:cubicBezTo>
                    <a:cubicBezTo>
                      <a:pt x="252" y="363"/>
                      <a:pt x="252" y="363"/>
                      <a:pt x="252" y="363"/>
                    </a:cubicBezTo>
                    <a:lnTo>
                      <a:pt x="253" y="366"/>
                    </a:lnTo>
                    <a:close/>
                    <a:moveTo>
                      <a:pt x="263" y="349"/>
                    </a:moveTo>
                    <a:cubicBezTo>
                      <a:pt x="262" y="352"/>
                      <a:pt x="262" y="352"/>
                      <a:pt x="262" y="352"/>
                    </a:cubicBezTo>
                    <a:cubicBezTo>
                      <a:pt x="264" y="355"/>
                      <a:pt x="264" y="355"/>
                      <a:pt x="264" y="355"/>
                    </a:cubicBezTo>
                    <a:cubicBezTo>
                      <a:pt x="268" y="350"/>
                      <a:pt x="268" y="350"/>
                      <a:pt x="268" y="350"/>
                    </a:cubicBezTo>
                    <a:lnTo>
                      <a:pt x="263" y="349"/>
                    </a:lnTo>
                    <a:close/>
                    <a:moveTo>
                      <a:pt x="264" y="359"/>
                    </a:moveTo>
                    <a:cubicBezTo>
                      <a:pt x="265" y="357"/>
                      <a:pt x="265" y="357"/>
                      <a:pt x="265" y="357"/>
                    </a:cubicBezTo>
                    <a:cubicBezTo>
                      <a:pt x="262" y="357"/>
                      <a:pt x="262" y="357"/>
                      <a:pt x="262" y="357"/>
                    </a:cubicBezTo>
                    <a:lnTo>
                      <a:pt x="264" y="359"/>
                    </a:lnTo>
                    <a:close/>
                    <a:moveTo>
                      <a:pt x="266" y="343"/>
                    </a:moveTo>
                    <a:cubicBezTo>
                      <a:pt x="269" y="340"/>
                      <a:pt x="269" y="340"/>
                      <a:pt x="269" y="340"/>
                    </a:cubicBezTo>
                    <a:cubicBezTo>
                      <a:pt x="265" y="339"/>
                      <a:pt x="265" y="339"/>
                      <a:pt x="265" y="339"/>
                    </a:cubicBezTo>
                    <a:lnTo>
                      <a:pt x="266" y="343"/>
                    </a:lnTo>
                    <a:close/>
                    <a:moveTo>
                      <a:pt x="261" y="330"/>
                    </a:moveTo>
                    <a:cubicBezTo>
                      <a:pt x="258" y="329"/>
                      <a:pt x="258" y="329"/>
                      <a:pt x="258" y="329"/>
                    </a:cubicBezTo>
                    <a:cubicBezTo>
                      <a:pt x="257" y="333"/>
                      <a:pt x="257" y="333"/>
                      <a:pt x="257" y="333"/>
                    </a:cubicBezTo>
                    <a:cubicBezTo>
                      <a:pt x="260" y="332"/>
                      <a:pt x="260" y="332"/>
                      <a:pt x="260" y="332"/>
                    </a:cubicBezTo>
                    <a:lnTo>
                      <a:pt x="261" y="330"/>
                    </a:lnTo>
                    <a:close/>
                    <a:moveTo>
                      <a:pt x="272" y="351"/>
                    </a:moveTo>
                    <a:cubicBezTo>
                      <a:pt x="269" y="350"/>
                      <a:pt x="269" y="350"/>
                      <a:pt x="269" y="350"/>
                    </a:cubicBezTo>
                    <a:cubicBezTo>
                      <a:pt x="268" y="356"/>
                      <a:pt x="268" y="356"/>
                      <a:pt x="268" y="356"/>
                    </a:cubicBezTo>
                    <a:lnTo>
                      <a:pt x="272" y="351"/>
                    </a:lnTo>
                    <a:close/>
                    <a:moveTo>
                      <a:pt x="280" y="319"/>
                    </a:moveTo>
                    <a:cubicBezTo>
                      <a:pt x="278" y="317"/>
                      <a:pt x="278" y="317"/>
                      <a:pt x="278" y="317"/>
                    </a:cubicBezTo>
                    <a:cubicBezTo>
                      <a:pt x="276" y="320"/>
                      <a:pt x="276" y="320"/>
                      <a:pt x="276" y="320"/>
                    </a:cubicBezTo>
                    <a:lnTo>
                      <a:pt x="280" y="319"/>
                    </a:lnTo>
                    <a:close/>
                    <a:moveTo>
                      <a:pt x="284" y="313"/>
                    </a:moveTo>
                    <a:cubicBezTo>
                      <a:pt x="279" y="312"/>
                      <a:pt x="279" y="312"/>
                      <a:pt x="279" y="312"/>
                    </a:cubicBezTo>
                    <a:cubicBezTo>
                      <a:pt x="276" y="315"/>
                      <a:pt x="276" y="315"/>
                      <a:pt x="276" y="315"/>
                    </a:cubicBezTo>
                    <a:cubicBezTo>
                      <a:pt x="284" y="315"/>
                      <a:pt x="284" y="315"/>
                      <a:pt x="284" y="315"/>
                    </a:cubicBezTo>
                    <a:lnTo>
                      <a:pt x="284" y="313"/>
                    </a:lnTo>
                    <a:close/>
                    <a:moveTo>
                      <a:pt x="301" y="300"/>
                    </a:moveTo>
                    <a:cubicBezTo>
                      <a:pt x="304" y="290"/>
                      <a:pt x="304" y="290"/>
                      <a:pt x="304" y="290"/>
                    </a:cubicBezTo>
                    <a:cubicBezTo>
                      <a:pt x="302" y="289"/>
                      <a:pt x="302" y="289"/>
                      <a:pt x="302" y="289"/>
                    </a:cubicBezTo>
                    <a:cubicBezTo>
                      <a:pt x="301" y="294"/>
                      <a:pt x="301" y="294"/>
                      <a:pt x="301" y="294"/>
                    </a:cubicBezTo>
                    <a:cubicBezTo>
                      <a:pt x="297" y="292"/>
                      <a:pt x="297" y="292"/>
                      <a:pt x="297" y="292"/>
                    </a:cubicBezTo>
                    <a:cubicBezTo>
                      <a:pt x="296" y="297"/>
                      <a:pt x="296" y="297"/>
                      <a:pt x="296" y="297"/>
                    </a:cubicBezTo>
                    <a:cubicBezTo>
                      <a:pt x="300" y="298"/>
                      <a:pt x="300" y="298"/>
                      <a:pt x="300" y="298"/>
                    </a:cubicBezTo>
                    <a:cubicBezTo>
                      <a:pt x="300" y="300"/>
                      <a:pt x="300" y="300"/>
                      <a:pt x="300" y="300"/>
                    </a:cubicBezTo>
                    <a:lnTo>
                      <a:pt x="301" y="300"/>
                    </a:lnTo>
                    <a:close/>
                    <a:moveTo>
                      <a:pt x="305" y="276"/>
                    </a:moveTo>
                    <a:cubicBezTo>
                      <a:pt x="298" y="279"/>
                      <a:pt x="304" y="279"/>
                      <a:pt x="306" y="278"/>
                    </a:cubicBezTo>
                    <a:cubicBezTo>
                      <a:pt x="311" y="276"/>
                      <a:pt x="310" y="273"/>
                      <a:pt x="305" y="276"/>
                    </a:cubicBezTo>
                    <a:close/>
                    <a:moveTo>
                      <a:pt x="262" y="260"/>
                    </a:moveTo>
                    <a:cubicBezTo>
                      <a:pt x="260" y="266"/>
                      <a:pt x="260" y="266"/>
                      <a:pt x="260" y="266"/>
                    </a:cubicBezTo>
                    <a:cubicBezTo>
                      <a:pt x="265" y="263"/>
                      <a:pt x="265" y="263"/>
                      <a:pt x="265" y="263"/>
                    </a:cubicBezTo>
                    <a:lnTo>
                      <a:pt x="262" y="260"/>
                    </a:lnTo>
                    <a:close/>
                    <a:moveTo>
                      <a:pt x="320" y="244"/>
                    </a:moveTo>
                    <a:cubicBezTo>
                      <a:pt x="327" y="242"/>
                      <a:pt x="327" y="242"/>
                      <a:pt x="327" y="242"/>
                    </a:cubicBezTo>
                    <a:cubicBezTo>
                      <a:pt x="327" y="241"/>
                      <a:pt x="327" y="241"/>
                      <a:pt x="327" y="241"/>
                    </a:cubicBezTo>
                    <a:cubicBezTo>
                      <a:pt x="320" y="239"/>
                      <a:pt x="320" y="239"/>
                      <a:pt x="320" y="239"/>
                    </a:cubicBezTo>
                    <a:lnTo>
                      <a:pt x="320" y="244"/>
                    </a:lnTo>
                    <a:close/>
                    <a:moveTo>
                      <a:pt x="323" y="236"/>
                    </a:moveTo>
                    <a:cubicBezTo>
                      <a:pt x="327" y="239"/>
                      <a:pt x="327" y="239"/>
                      <a:pt x="327" y="239"/>
                    </a:cubicBezTo>
                    <a:cubicBezTo>
                      <a:pt x="327" y="238"/>
                      <a:pt x="324" y="234"/>
                      <a:pt x="324" y="234"/>
                    </a:cubicBezTo>
                    <a:lnTo>
                      <a:pt x="323" y="236"/>
                    </a:lnTo>
                    <a:close/>
                    <a:moveTo>
                      <a:pt x="353" y="201"/>
                    </a:moveTo>
                    <a:cubicBezTo>
                      <a:pt x="346" y="195"/>
                      <a:pt x="347" y="207"/>
                      <a:pt x="347" y="207"/>
                    </a:cubicBezTo>
                    <a:cubicBezTo>
                      <a:pt x="344" y="210"/>
                      <a:pt x="344" y="210"/>
                      <a:pt x="344" y="210"/>
                    </a:cubicBezTo>
                    <a:cubicBezTo>
                      <a:pt x="345" y="210"/>
                      <a:pt x="345" y="210"/>
                      <a:pt x="345" y="210"/>
                    </a:cubicBezTo>
                    <a:cubicBezTo>
                      <a:pt x="351" y="208"/>
                      <a:pt x="351" y="208"/>
                      <a:pt x="351" y="208"/>
                    </a:cubicBezTo>
                    <a:cubicBezTo>
                      <a:pt x="351" y="208"/>
                      <a:pt x="358" y="206"/>
                      <a:pt x="353" y="201"/>
                    </a:cubicBezTo>
                    <a:close/>
                    <a:moveTo>
                      <a:pt x="343" y="217"/>
                    </a:moveTo>
                    <a:cubicBezTo>
                      <a:pt x="348" y="213"/>
                      <a:pt x="348" y="213"/>
                      <a:pt x="348" y="213"/>
                    </a:cubicBezTo>
                    <a:cubicBezTo>
                      <a:pt x="343" y="214"/>
                      <a:pt x="343" y="214"/>
                      <a:pt x="343" y="214"/>
                    </a:cubicBezTo>
                    <a:lnTo>
                      <a:pt x="343" y="217"/>
                    </a:lnTo>
                    <a:close/>
                    <a:moveTo>
                      <a:pt x="350" y="229"/>
                    </a:moveTo>
                    <a:cubicBezTo>
                      <a:pt x="348" y="232"/>
                      <a:pt x="348" y="232"/>
                      <a:pt x="348" y="232"/>
                    </a:cubicBezTo>
                    <a:cubicBezTo>
                      <a:pt x="354" y="232"/>
                      <a:pt x="354" y="232"/>
                      <a:pt x="354" y="232"/>
                    </a:cubicBezTo>
                    <a:lnTo>
                      <a:pt x="350" y="229"/>
                    </a:lnTo>
                    <a:close/>
                    <a:moveTo>
                      <a:pt x="265" y="251"/>
                    </a:moveTo>
                    <a:cubicBezTo>
                      <a:pt x="265" y="251"/>
                      <a:pt x="270" y="250"/>
                      <a:pt x="271" y="247"/>
                    </a:cubicBezTo>
                    <a:cubicBezTo>
                      <a:pt x="271" y="245"/>
                      <a:pt x="270" y="242"/>
                      <a:pt x="271" y="242"/>
                    </a:cubicBezTo>
                    <a:cubicBezTo>
                      <a:pt x="272" y="242"/>
                      <a:pt x="275" y="238"/>
                      <a:pt x="275" y="238"/>
                    </a:cubicBezTo>
                    <a:cubicBezTo>
                      <a:pt x="275" y="238"/>
                      <a:pt x="281" y="237"/>
                      <a:pt x="281" y="232"/>
                    </a:cubicBezTo>
                    <a:cubicBezTo>
                      <a:pt x="281" y="226"/>
                      <a:pt x="278" y="227"/>
                      <a:pt x="278" y="227"/>
                    </a:cubicBezTo>
                    <a:cubicBezTo>
                      <a:pt x="274" y="235"/>
                      <a:pt x="274" y="235"/>
                      <a:pt x="274" y="235"/>
                    </a:cubicBezTo>
                    <a:cubicBezTo>
                      <a:pt x="272" y="232"/>
                      <a:pt x="272" y="232"/>
                      <a:pt x="272" y="232"/>
                    </a:cubicBezTo>
                    <a:cubicBezTo>
                      <a:pt x="272" y="232"/>
                      <a:pt x="266" y="239"/>
                      <a:pt x="266" y="242"/>
                    </a:cubicBezTo>
                    <a:cubicBezTo>
                      <a:pt x="265" y="245"/>
                      <a:pt x="266" y="247"/>
                      <a:pt x="266" y="248"/>
                    </a:cubicBezTo>
                    <a:cubicBezTo>
                      <a:pt x="266" y="249"/>
                      <a:pt x="264" y="250"/>
                      <a:pt x="265" y="251"/>
                    </a:cubicBezTo>
                    <a:close/>
                    <a:moveTo>
                      <a:pt x="282" y="233"/>
                    </a:moveTo>
                    <a:cubicBezTo>
                      <a:pt x="282" y="233"/>
                      <a:pt x="287" y="233"/>
                      <a:pt x="289" y="232"/>
                    </a:cubicBezTo>
                    <a:cubicBezTo>
                      <a:pt x="292" y="231"/>
                      <a:pt x="290" y="226"/>
                      <a:pt x="290" y="226"/>
                    </a:cubicBezTo>
                    <a:cubicBezTo>
                      <a:pt x="290" y="226"/>
                      <a:pt x="297" y="222"/>
                      <a:pt x="301" y="221"/>
                    </a:cubicBezTo>
                    <a:cubicBezTo>
                      <a:pt x="303" y="220"/>
                      <a:pt x="298" y="215"/>
                      <a:pt x="296" y="215"/>
                    </a:cubicBezTo>
                    <a:cubicBezTo>
                      <a:pt x="293" y="215"/>
                      <a:pt x="298" y="219"/>
                      <a:pt x="296" y="220"/>
                    </a:cubicBezTo>
                    <a:cubicBezTo>
                      <a:pt x="294" y="221"/>
                      <a:pt x="292" y="215"/>
                      <a:pt x="292" y="215"/>
                    </a:cubicBezTo>
                    <a:cubicBezTo>
                      <a:pt x="288" y="219"/>
                      <a:pt x="288" y="219"/>
                      <a:pt x="288" y="219"/>
                    </a:cubicBezTo>
                    <a:cubicBezTo>
                      <a:pt x="285" y="220"/>
                      <a:pt x="285" y="220"/>
                      <a:pt x="285" y="220"/>
                    </a:cubicBezTo>
                    <a:cubicBezTo>
                      <a:pt x="285" y="223"/>
                      <a:pt x="285" y="223"/>
                      <a:pt x="285" y="223"/>
                    </a:cubicBezTo>
                    <a:cubicBezTo>
                      <a:pt x="282" y="224"/>
                      <a:pt x="282" y="224"/>
                      <a:pt x="282" y="224"/>
                    </a:cubicBezTo>
                    <a:cubicBezTo>
                      <a:pt x="282" y="227"/>
                      <a:pt x="282" y="227"/>
                      <a:pt x="282" y="227"/>
                    </a:cubicBezTo>
                    <a:cubicBezTo>
                      <a:pt x="284" y="229"/>
                      <a:pt x="284" y="229"/>
                      <a:pt x="284" y="229"/>
                    </a:cubicBezTo>
                    <a:lnTo>
                      <a:pt x="282" y="233"/>
                    </a:lnTo>
                    <a:close/>
                    <a:moveTo>
                      <a:pt x="303" y="221"/>
                    </a:moveTo>
                    <a:cubicBezTo>
                      <a:pt x="303" y="223"/>
                      <a:pt x="301" y="226"/>
                      <a:pt x="301" y="226"/>
                    </a:cubicBezTo>
                    <a:cubicBezTo>
                      <a:pt x="310" y="222"/>
                      <a:pt x="310" y="222"/>
                      <a:pt x="310" y="222"/>
                    </a:cubicBezTo>
                    <a:cubicBezTo>
                      <a:pt x="311" y="216"/>
                      <a:pt x="311" y="216"/>
                      <a:pt x="311" y="216"/>
                    </a:cubicBezTo>
                    <a:cubicBezTo>
                      <a:pt x="313" y="220"/>
                      <a:pt x="313" y="220"/>
                      <a:pt x="313" y="220"/>
                    </a:cubicBezTo>
                    <a:cubicBezTo>
                      <a:pt x="322" y="207"/>
                      <a:pt x="322" y="207"/>
                      <a:pt x="322" y="207"/>
                    </a:cubicBezTo>
                    <a:cubicBezTo>
                      <a:pt x="322" y="207"/>
                      <a:pt x="317" y="208"/>
                      <a:pt x="317" y="207"/>
                    </a:cubicBezTo>
                    <a:cubicBezTo>
                      <a:pt x="317" y="213"/>
                      <a:pt x="317" y="213"/>
                      <a:pt x="317" y="213"/>
                    </a:cubicBezTo>
                    <a:cubicBezTo>
                      <a:pt x="312" y="209"/>
                      <a:pt x="312" y="209"/>
                      <a:pt x="312" y="209"/>
                    </a:cubicBezTo>
                    <a:cubicBezTo>
                      <a:pt x="305" y="213"/>
                      <a:pt x="305" y="213"/>
                      <a:pt x="305" y="213"/>
                    </a:cubicBezTo>
                    <a:cubicBezTo>
                      <a:pt x="306" y="217"/>
                      <a:pt x="306" y="217"/>
                      <a:pt x="306" y="217"/>
                    </a:cubicBezTo>
                    <a:cubicBezTo>
                      <a:pt x="303" y="216"/>
                      <a:pt x="303" y="216"/>
                      <a:pt x="303" y="216"/>
                    </a:cubicBezTo>
                    <a:cubicBezTo>
                      <a:pt x="303" y="216"/>
                      <a:pt x="304" y="219"/>
                      <a:pt x="303" y="221"/>
                    </a:cubicBezTo>
                    <a:close/>
                    <a:moveTo>
                      <a:pt x="362" y="187"/>
                    </a:moveTo>
                    <a:cubicBezTo>
                      <a:pt x="362" y="187"/>
                      <a:pt x="366" y="187"/>
                      <a:pt x="367" y="186"/>
                    </a:cubicBezTo>
                    <a:cubicBezTo>
                      <a:pt x="369" y="186"/>
                      <a:pt x="372" y="184"/>
                      <a:pt x="372" y="184"/>
                    </a:cubicBezTo>
                    <a:cubicBezTo>
                      <a:pt x="367" y="178"/>
                      <a:pt x="367" y="178"/>
                      <a:pt x="367" y="178"/>
                    </a:cubicBezTo>
                    <a:lnTo>
                      <a:pt x="362" y="187"/>
                    </a:lnTo>
                    <a:close/>
                    <a:moveTo>
                      <a:pt x="378" y="177"/>
                    </a:moveTo>
                    <a:cubicBezTo>
                      <a:pt x="377" y="175"/>
                      <a:pt x="376" y="174"/>
                      <a:pt x="374" y="174"/>
                    </a:cubicBezTo>
                    <a:cubicBezTo>
                      <a:pt x="371" y="173"/>
                      <a:pt x="369" y="175"/>
                      <a:pt x="369" y="175"/>
                    </a:cubicBezTo>
                    <a:cubicBezTo>
                      <a:pt x="369" y="175"/>
                      <a:pt x="370" y="182"/>
                      <a:pt x="373" y="182"/>
                    </a:cubicBezTo>
                    <a:cubicBezTo>
                      <a:pt x="375" y="183"/>
                      <a:pt x="379" y="178"/>
                      <a:pt x="378" y="177"/>
                    </a:cubicBezTo>
                    <a:close/>
                    <a:moveTo>
                      <a:pt x="352" y="177"/>
                    </a:moveTo>
                    <a:cubicBezTo>
                      <a:pt x="355" y="179"/>
                      <a:pt x="357" y="179"/>
                      <a:pt x="357" y="179"/>
                    </a:cubicBezTo>
                    <a:cubicBezTo>
                      <a:pt x="357" y="174"/>
                      <a:pt x="357" y="174"/>
                      <a:pt x="357" y="174"/>
                    </a:cubicBezTo>
                    <a:cubicBezTo>
                      <a:pt x="350" y="171"/>
                      <a:pt x="350" y="171"/>
                      <a:pt x="350" y="171"/>
                    </a:cubicBezTo>
                    <a:cubicBezTo>
                      <a:pt x="348" y="173"/>
                      <a:pt x="348" y="173"/>
                      <a:pt x="348" y="173"/>
                    </a:cubicBezTo>
                    <a:cubicBezTo>
                      <a:pt x="348" y="173"/>
                      <a:pt x="350" y="177"/>
                      <a:pt x="352" y="177"/>
                    </a:cubicBezTo>
                    <a:close/>
                    <a:moveTo>
                      <a:pt x="348" y="178"/>
                    </a:moveTo>
                    <a:cubicBezTo>
                      <a:pt x="344" y="183"/>
                      <a:pt x="344" y="183"/>
                      <a:pt x="344" y="183"/>
                    </a:cubicBezTo>
                    <a:cubicBezTo>
                      <a:pt x="348" y="188"/>
                      <a:pt x="348" y="188"/>
                      <a:pt x="348" y="188"/>
                    </a:cubicBezTo>
                    <a:cubicBezTo>
                      <a:pt x="344" y="189"/>
                      <a:pt x="344" y="189"/>
                      <a:pt x="344" y="189"/>
                    </a:cubicBezTo>
                    <a:cubicBezTo>
                      <a:pt x="337" y="201"/>
                      <a:pt x="337" y="201"/>
                      <a:pt x="337" y="201"/>
                    </a:cubicBezTo>
                    <a:cubicBezTo>
                      <a:pt x="343" y="185"/>
                      <a:pt x="343" y="185"/>
                      <a:pt x="343" y="185"/>
                    </a:cubicBezTo>
                    <a:cubicBezTo>
                      <a:pt x="341" y="184"/>
                      <a:pt x="341" y="184"/>
                      <a:pt x="341" y="184"/>
                    </a:cubicBezTo>
                    <a:cubicBezTo>
                      <a:pt x="341" y="184"/>
                      <a:pt x="342" y="177"/>
                      <a:pt x="338" y="175"/>
                    </a:cubicBezTo>
                    <a:cubicBezTo>
                      <a:pt x="333" y="173"/>
                      <a:pt x="333" y="185"/>
                      <a:pt x="333" y="185"/>
                    </a:cubicBezTo>
                    <a:cubicBezTo>
                      <a:pt x="330" y="186"/>
                      <a:pt x="330" y="186"/>
                      <a:pt x="330" y="186"/>
                    </a:cubicBezTo>
                    <a:cubicBezTo>
                      <a:pt x="331" y="197"/>
                      <a:pt x="331" y="197"/>
                      <a:pt x="331" y="197"/>
                    </a:cubicBezTo>
                    <a:cubicBezTo>
                      <a:pt x="324" y="202"/>
                      <a:pt x="324" y="202"/>
                      <a:pt x="324" y="202"/>
                    </a:cubicBezTo>
                    <a:cubicBezTo>
                      <a:pt x="325" y="206"/>
                      <a:pt x="325" y="206"/>
                      <a:pt x="325" y="206"/>
                    </a:cubicBezTo>
                    <a:cubicBezTo>
                      <a:pt x="319" y="218"/>
                      <a:pt x="319" y="218"/>
                      <a:pt x="319" y="218"/>
                    </a:cubicBezTo>
                    <a:cubicBezTo>
                      <a:pt x="322" y="218"/>
                      <a:pt x="322" y="218"/>
                      <a:pt x="322" y="218"/>
                    </a:cubicBezTo>
                    <a:cubicBezTo>
                      <a:pt x="331" y="208"/>
                      <a:pt x="331" y="208"/>
                      <a:pt x="331" y="208"/>
                    </a:cubicBezTo>
                    <a:cubicBezTo>
                      <a:pt x="328" y="214"/>
                      <a:pt x="328" y="214"/>
                      <a:pt x="328" y="214"/>
                    </a:cubicBezTo>
                    <a:cubicBezTo>
                      <a:pt x="335" y="215"/>
                      <a:pt x="335" y="215"/>
                      <a:pt x="335" y="215"/>
                    </a:cubicBezTo>
                    <a:cubicBezTo>
                      <a:pt x="336" y="215"/>
                      <a:pt x="337" y="209"/>
                      <a:pt x="337" y="209"/>
                    </a:cubicBezTo>
                    <a:cubicBezTo>
                      <a:pt x="340" y="211"/>
                      <a:pt x="340" y="211"/>
                      <a:pt x="340" y="211"/>
                    </a:cubicBezTo>
                    <a:cubicBezTo>
                      <a:pt x="340" y="211"/>
                      <a:pt x="345" y="202"/>
                      <a:pt x="346" y="200"/>
                    </a:cubicBezTo>
                    <a:cubicBezTo>
                      <a:pt x="347" y="198"/>
                      <a:pt x="354" y="198"/>
                      <a:pt x="354" y="198"/>
                    </a:cubicBezTo>
                    <a:cubicBezTo>
                      <a:pt x="354" y="198"/>
                      <a:pt x="357" y="193"/>
                      <a:pt x="358" y="188"/>
                    </a:cubicBezTo>
                    <a:cubicBezTo>
                      <a:pt x="359" y="184"/>
                      <a:pt x="348" y="178"/>
                      <a:pt x="348" y="178"/>
                    </a:cubicBezTo>
                    <a:close/>
                    <a:moveTo>
                      <a:pt x="330" y="179"/>
                    </a:moveTo>
                    <a:cubicBezTo>
                      <a:pt x="330" y="174"/>
                      <a:pt x="330" y="174"/>
                      <a:pt x="330" y="174"/>
                    </a:cubicBezTo>
                    <a:cubicBezTo>
                      <a:pt x="335" y="174"/>
                      <a:pt x="335" y="174"/>
                      <a:pt x="335" y="174"/>
                    </a:cubicBezTo>
                    <a:cubicBezTo>
                      <a:pt x="343" y="162"/>
                      <a:pt x="343" y="162"/>
                      <a:pt x="343" y="162"/>
                    </a:cubicBezTo>
                    <a:cubicBezTo>
                      <a:pt x="343" y="162"/>
                      <a:pt x="351" y="146"/>
                      <a:pt x="341" y="155"/>
                    </a:cubicBezTo>
                    <a:cubicBezTo>
                      <a:pt x="331" y="162"/>
                      <a:pt x="326" y="174"/>
                      <a:pt x="327" y="177"/>
                    </a:cubicBezTo>
                    <a:cubicBezTo>
                      <a:pt x="328" y="181"/>
                      <a:pt x="330" y="179"/>
                      <a:pt x="330" y="179"/>
                    </a:cubicBezTo>
                    <a:close/>
                    <a:moveTo>
                      <a:pt x="312" y="197"/>
                    </a:moveTo>
                    <a:cubicBezTo>
                      <a:pt x="315" y="194"/>
                      <a:pt x="319" y="192"/>
                      <a:pt x="319" y="192"/>
                    </a:cubicBezTo>
                    <a:cubicBezTo>
                      <a:pt x="313" y="199"/>
                      <a:pt x="313" y="199"/>
                      <a:pt x="313" y="199"/>
                    </a:cubicBezTo>
                    <a:cubicBezTo>
                      <a:pt x="317" y="201"/>
                      <a:pt x="317" y="201"/>
                      <a:pt x="317" y="201"/>
                    </a:cubicBezTo>
                    <a:cubicBezTo>
                      <a:pt x="327" y="191"/>
                      <a:pt x="327" y="191"/>
                      <a:pt x="327" y="191"/>
                    </a:cubicBezTo>
                    <a:cubicBezTo>
                      <a:pt x="325" y="187"/>
                      <a:pt x="325" y="187"/>
                      <a:pt x="325" y="187"/>
                    </a:cubicBezTo>
                    <a:cubicBezTo>
                      <a:pt x="327" y="185"/>
                      <a:pt x="327" y="185"/>
                      <a:pt x="327" y="185"/>
                    </a:cubicBezTo>
                    <a:cubicBezTo>
                      <a:pt x="322" y="171"/>
                      <a:pt x="322" y="171"/>
                      <a:pt x="322" y="171"/>
                    </a:cubicBezTo>
                    <a:cubicBezTo>
                      <a:pt x="315" y="172"/>
                      <a:pt x="315" y="172"/>
                      <a:pt x="315" y="172"/>
                    </a:cubicBezTo>
                    <a:cubicBezTo>
                      <a:pt x="320" y="183"/>
                      <a:pt x="320" y="183"/>
                      <a:pt x="320" y="183"/>
                    </a:cubicBezTo>
                    <a:cubicBezTo>
                      <a:pt x="317" y="183"/>
                      <a:pt x="317" y="183"/>
                      <a:pt x="317" y="183"/>
                    </a:cubicBezTo>
                    <a:cubicBezTo>
                      <a:pt x="317" y="188"/>
                      <a:pt x="317" y="188"/>
                      <a:pt x="317" y="188"/>
                    </a:cubicBezTo>
                    <a:cubicBezTo>
                      <a:pt x="309" y="186"/>
                      <a:pt x="309" y="186"/>
                      <a:pt x="309" y="186"/>
                    </a:cubicBezTo>
                    <a:cubicBezTo>
                      <a:pt x="309" y="186"/>
                      <a:pt x="306" y="191"/>
                      <a:pt x="305" y="194"/>
                    </a:cubicBezTo>
                    <a:cubicBezTo>
                      <a:pt x="303" y="199"/>
                      <a:pt x="308" y="198"/>
                      <a:pt x="312" y="197"/>
                    </a:cubicBezTo>
                    <a:close/>
                    <a:moveTo>
                      <a:pt x="309" y="186"/>
                    </a:moveTo>
                    <a:cubicBezTo>
                      <a:pt x="309" y="186"/>
                      <a:pt x="309" y="186"/>
                      <a:pt x="309" y="186"/>
                    </a:cubicBezTo>
                    <a:moveTo>
                      <a:pt x="313" y="206"/>
                    </a:moveTo>
                    <a:cubicBezTo>
                      <a:pt x="322" y="206"/>
                      <a:pt x="319" y="202"/>
                      <a:pt x="313" y="202"/>
                    </a:cubicBezTo>
                    <a:cubicBezTo>
                      <a:pt x="307" y="202"/>
                      <a:pt x="306" y="206"/>
                      <a:pt x="313" y="206"/>
                    </a:cubicBezTo>
                    <a:close/>
                    <a:moveTo>
                      <a:pt x="361" y="157"/>
                    </a:moveTo>
                    <a:cubicBezTo>
                      <a:pt x="367" y="159"/>
                      <a:pt x="367" y="159"/>
                      <a:pt x="367" y="159"/>
                    </a:cubicBezTo>
                    <a:cubicBezTo>
                      <a:pt x="360" y="165"/>
                      <a:pt x="360" y="165"/>
                      <a:pt x="360" y="165"/>
                    </a:cubicBezTo>
                    <a:cubicBezTo>
                      <a:pt x="362" y="168"/>
                      <a:pt x="362" y="168"/>
                      <a:pt x="362" y="168"/>
                    </a:cubicBezTo>
                    <a:cubicBezTo>
                      <a:pt x="362" y="168"/>
                      <a:pt x="368" y="170"/>
                      <a:pt x="371" y="168"/>
                    </a:cubicBezTo>
                    <a:cubicBezTo>
                      <a:pt x="376" y="157"/>
                      <a:pt x="376" y="157"/>
                      <a:pt x="376" y="157"/>
                    </a:cubicBezTo>
                    <a:cubicBezTo>
                      <a:pt x="387" y="158"/>
                      <a:pt x="387" y="158"/>
                      <a:pt x="387" y="158"/>
                    </a:cubicBezTo>
                    <a:cubicBezTo>
                      <a:pt x="385" y="151"/>
                      <a:pt x="385" y="151"/>
                      <a:pt x="385" y="151"/>
                    </a:cubicBezTo>
                    <a:cubicBezTo>
                      <a:pt x="389" y="144"/>
                      <a:pt x="389" y="144"/>
                      <a:pt x="389" y="144"/>
                    </a:cubicBezTo>
                    <a:cubicBezTo>
                      <a:pt x="389" y="144"/>
                      <a:pt x="391" y="135"/>
                      <a:pt x="384" y="132"/>
                    </a:cubicBezTo>
                    <a:cubicBezTo>
                      <a:pt x="376" y="129"/>
                      <a:pt x="370" y="139"/>
                      <a:pt x="370" y="139"/>
                    </a:cubicBezTo>
                    <a:cubicBezTo>
                      <a:pt x="375" y="145"/>
                      <a:pt x="375" y="145"/>
                      <a:pt x="375" y="145"/>
                    </a:cubicBezTo>
                    <a:cubicBezTo>
                      <a:pt x="371" y="143"/>
                      <a:pt x="371" y="143"/>
                      <a:pt x="371" y="143"/>
                    </a:cubicBezTo>
                    <a:cubicBezTo>
                      <a:pt x="371" y="143"/>
                      <a:pt x="362" y="144"/>
                      <a:pt x="362" y="145"/>
                    </a:cubicBezTo>
                    <a:cubicBezTo>
                      <a:pt x="362" y="150"/>
                      <a:pt x="362" y="150"/>
                      <a:pt x="362" y="150"/>
                    </a:cubicBezTo>
                    <a:cubicBezTo>
                      <a:pt x="367" y="152"/>
                      <a:pt x="367" y="152"/>
                      <a:pt x="367" y="152"/>
                    </a:cubicBezTo>
                    <a:cubicBezTo>
                      <a:pt x="360" y="155"/>
                      <a:pt x="360" y="155"/>
                      <a:pt x="360" y="155"/>
                    </a:cubicBezTo>
                    <a:lnTo>
                      <a:pt x="361" y="157"/>
                    </a:lnTo>
                    <a:close/>
                    <a:moveTo>
                      <a:pt x="401" y="132"/>
                    </a:moveTo>
                    <a:cubicBezTo>
                      <a:pt x="406" y="130"/>
                      <a:pt x="406" y="127"/>
                      <a:pt x="406" y="127"/>
                    </a:cubicBezTo>
                    <a:cubicBezTo>
                      <a:pt x="404" y="127"/>
                      <a:pt x="404" y="127"/>
                      <a:pt x="404" y="127"/>
                    </a:cubicBezTo>
                    <a:cubicBezTo>
                      <a:pt x="404" y="127"/>
                      <a:pt x="405" y="121"/>
                      <a:pt x="407" y="120"/>
                    </a:cubicBezTo>
                    <a:cubicBezTo>
                      <a:pt x="408" y="119"/>
                      <a:pt x="410" y="118"/>
                      <a:pt x="410" y="118"/>
                    </a:cubicBezTo>
                    <a:cubicBezTo>
                      <a:pt x="410" y="118"/>
                      <a:pt x="408" y="111"/>
                      <a:pt x="403" y="112"/>
                    </a:cubicBezTo>
                    <a:cubicBezTo>
                      <a:pt x="399" y="112"/>
                      <a:pt x="401" y="119"/>
                      <a:pt x="401" y="119"/>
                    </a:cubicBezTo>
                    <a:cubicBezTo>
                      <a:pt x="397" y="118"/>
                      <a:pt x="397" y="118"/>
                      <a:pt x="397" y="118"/>
                    </a:cubicBezTo>
                    <a:cubicBezTo>
                      <a:pt x="393" y="121"/>
                      <a:pt x="393" y="121"/>
                      <a:pt x="393" y="121"/>
                    </a:cubicBezTo>
                    <a:cubicBezTo>
                      <a:pt x="394" y="124"/>
                      <a:pt x="394" y="124"/>
                      <a:pt x="394" y="124"/>
                    </a:cubicBezTo>
                    <a:cubicBezTo>
                      <a:pt x="390" y="123"/>
                      <a:pt x="390" y="123"/>
                      <a:pt x="390" y="123"/>
                    </a:cubicBezTo>
                    <a:cubicBezTo>
                      <a:pt x="389" y="126"/>
                      <a:pt x="389" y="126"/>
                      <a:pt x="389" y="126"/>
                    </a:cubicBezTo>
                    <a:cubicBezTo>
                      <a:pt x="390" y="129"/>
                      <a:pt x="390" y="129"/>
                      <a:pt x="390" y="129"/>
                    </a:cubicBezTo>
                    <a:cubicBezTo>
                      <a:pt x="388" y="128"/>
                      <a:pt x="388" y="128"/>
                      <a:pt x="388" y="128"/>
                    </a:cubicBezTo>
                    <a:cubicBezTo>
                      <a:pt x="388" y="132"/>
                      <a:pt x="388" y="132"/>
                      <a:pt x="388" y="132"/>
                    </a:cubicBezTo>
                    <a:cubicBezTo>
                      <a:pt x="388" y="132"/>
                      <a:pt x="395" y="134"/>
                      <a:pt x="401" y="132"/>
                    </a:cubicBezTo>
                    <a:close/>
                    <a:moveTo>
                      <a:pt x="408" y="111"/>
                    </a:moveTo>
                    <a:cubicBezTo>
                      <a:pt x="410" y="112"/>
                      <a:pt x="411" y="112"/>
                      <a:pt x="411" y="112"/>
                    </a:cubicBezTo>
                    <a:cubicBezTo>
                      <a:pt x="412" y="115"/>
                      <a:pt x="412" y="115"/>
                      <a:pt x="412" y="115"/>
                    </a:cubicBezTo>
                    <a:cubicBezTo>
                      <a:pt x="412" y="115"/>
                      <a:pt x="420" y="113"/>
                      <a:pt x="420" y="109"/>
                    </a:cubicBezTo>
                    <a:cubicBezTo>
                      <a:pt x="420" y="106"/>
                      <a:pt x="420" y="106"/>
                      <a:pt x="420" y="106"/>
                    </a:cubicBezTo>
                    <a:cubicBezTo>
                      <a:pt x="420" y="106"/>
                      <a:pt x="426" y="104"/>
                      <a:pt x="424" y="102"/>
                    </a:cubicBezTo>
                    <a:cubicBezTo>
                      <a:pt x="423" y="99"/>
                      <a:pt x="418" y="100"/>
                      <a:pt x="418" y="100"/>
                    </a:cubicBezTo>
                    <a:cubicBezTo>
                      <a:pt x="418" y="100"/>
                      <a:pt x="416" y="96"/>
                      <a:pt x="411" y="97"/>
                    </a:cubicBezTo>
                    <a:cubicBezTo>
                      <a:pt x="408" y="98"/>
                      <a:pt x="403" y="106"/>
                      <a:pt x="403" y="106"/>
                    </a:cubicBezTo>
                    <a:cubicBezTo>
                      <a:pt x="403" y="106"/>
                      <a:pt x="406" y="110"/>
                      <a:pt x="408" y="111"/>
                    </a:cubicBezTo>
                    <a:close/>
                    <a:moveTo>
                      <a:pt x="424" y="106"/>
                    </a:moveTo>
                    <a:cubicBezTo>
                      <a:pt x="421" y="111"/>
                      <a:pt x="421" y="111"/>
                      <a:pt x="421" y="111"/>
                    </a:cubicBezTo>
                    <a:cubicBezTo>
                      <a:pt x="428" y="111"/>
                      <a:pt x="428" y="111"/>
                      <a:pt x="428" y="111"/>
                    </a:cubicBezTo>
                    <a:cubicBezTo>
                      <a:pt x="433" y="100"/>
                      <a:pt x="433" y="100"/>
                      <a:pt x="433" y="100"/>
                    </a:cubicBezTo>
                    <a:cubicBezTo>
                      <a:pt x="429" y="100"/>
                      <a:pt x="429" y="100"/>
                      <a:pt x="429" y="100"/>
                    </a:cubicBezTo>
                    <a:lnTo>
                      <a:pt x="424" y="106"/>
                    </a:lnTo>
                    <a:close/>
                    <a:moveTo>
                      <a:pt x="426" y="97"/>
                    </a:moveTo>
                    <a:cubicBezTo>
                      <a:pt x="433" y="98"/>
                      <a:pt x="434" y="97"/>
                      <a:pt x="433" y="93"/>
                    </a:cubicBezTo>
                    <a:cubicBezTo>
                      <a:pt x="431" y="90"/>
                      <a:pt x="427" y="87"/>
                      <a:pt x="427" y="87"/>
                    </a:cubicBezTo>
                    <a:cubicBezTo>
                      <a:pt x="426" y="91"/>
                      <a:pt x="426" y="91"/>
                      <a:pt x="426" y="91"/>
                    </a:cubicBezTo>
                    <a:cubicBezTo>
                      <a:pt x="422" y="83"/>
                      <a:pt x="422" y="83"/>
                      <a:pt x="422" y="83"/>
                    </a:cubicBezTo>
                    <a:cubicBezTo>
                      <a:pt x="420" y="87"/>
                      <a:pt x="420" y="87"/>
                      <a:pt x="420" y="87"/>
                    </a:cubicBezTo>
                    <a:cubicBezTo>
                      <a:pt x="424" y="94"/>
                      <a:pt x="424" y="94"/>
                      <a:pt x="424" y="94"/>
                    </a:cubicBezTo>
                    <a:cubicBezTo>
                      <a:pt x="424" y="94"/>
                      <a:pt x="422" y="96"/>
                      <a:pt x="426" y="97"/>
                    </a:cubicBezTo>
                    <a:close/>
                    <a:moveTo>
                      <a:pt x="421" y="95"/>
                    </a:moveTo>
                    <a:cubicBezTo>
                      <a:pt x="417" y="91"/>
                      <a:pt x="417" y="91"/>
                      <a:pt x="417" y="91"/>
                    </a:cubicBezTo>
                    <a:cubicBezTo>
                      <a:pt x="417" y="94"/>
                      <a:pt x="417" y="94"/>
                      <a:pt x="417" y="94"/>
                    </a:cubicBezTo>
                    <a:lnTo>
                      <a:pt x="421" y="95"/>
                    </a:lnTo>
                    <a:close/>
                    <a:moveTo>
                      <a:pt x="413" y="95"/>
                    </a:moveTo>
                    <a:cubicBezTo>
                      <a:pt x="415" y="87"/>
                      <a:pt x="415" y="87"/>
                      <a:pt x="415" y="87"/>
                    </a:cubicBezTo>
                    <a:cubicBezTo>
                      <a:pt x="409" y="84"/>
                      <a:pt x="409" y="84"/>
                      <a:pt x="409" y="84"/>
                    </a:cubicBezTo>
                    <a:cubicBezTo>
                      <a:pt x="409" y="95"/>
                      <a:pt x="409" y="95"/>
                      <a:pt x="409" y="95"/>
                    </a:cubicBezTo>
                    <a:lnTo>
                      <a:pt x="413" y="95"/>
                    </a:lnTo>
                    <a:close/>
                    <a:moveTo>
                      <a:pt x="407" y="97"/>
                    </a:moveTo>
                    <a:cubicBezTo>
                      <a:pt x="403" y="94"/>
                      <a:pt x="403" y="94"/>
                      <a:pt x="403" y="94"/>
                    </a:cubicBezTo>
                    <a:cubicBezTo>
                      <a:pt x="403" y="98"/>
                      <a:pt x="403" y="98"/>
                      <a:pt x="403" y="98"/>
                    </a:cubicBezTo>
                    <a:cubicBezTo>
                      <a:pt x="397" y="96"/>
                      <a:pt x="397" y="96"/>
                      <a:pt x="397" y="96"/>
                    </a:cubicBezTo>
                    <a:cubicBezTo>
                      <a:pt x="400" y="103"/>
                      <a:pt x="400" y="103"/>
                      <a:pt x="400" y="103"/>
                    </a:cubicBezTo>
                    <a:lnTo>
                      <a:pt x="407" y="97"/>
                    </a:lnTo>
                    <a:close/>
                    <a:moveTo>
                      <a:pt x="443" y="96"/>
                    </a:moveTo>
                    <a:cubicBezTo>
                      <a:pt x="449" y="97"/>
                      <a:pt x="452" y="90"/>
                      <a:pt x="449" y="84"/>
                    </a:cubicBezTo>
                    <a:cubicBezTo>
                      <a:pt x="446" y="79"/>
                      <a:pt x="441" y="83"/>
                      <a:pt x="440" y="90"/>
                    </a:cubicBezTo>
                    <a:cubicBezTo>
                      <a:pt x="439" y="95"/>
                      <a:pt x="443" y="96"/>
                      <a:pt x="443" y="96"/>
                    </a:cubicBezTo>
                    <a:close/>
                    <a:moveTo>
                      <a:pt x="455" y="99"/>
                    </a:moveTo>
                    <a:cubicBezTo>
                      <a:pt x="451" y="96"/>
                      <a:pt x="451" y="96"/>
                      <a:pt x="451" y="96"/>
                    </a:cubicBezTo>
                    <a:cubicBezTo>
                      <a:pt x="451" y="96"/>
                      <a:pt x="449" y="99"/>
                      <a:pt x="448" y="100"/>
                    </a:cubicBezTo>
                    <a:lnTo>
                      <a:pt x="455" y="99"/>
                    </a:lnTo>
                    <a:close/>
                    <a:moveTo>
                      <a:pt x="445" y="105"/>
                    </a:moveTo>
                    <a:cubicBezTo>
                      <a:pt x="444" y="111"/>
                      <a:pt x="444" y="111"/>
                      <a:pt x="444" y="111"/>
                    </a:cubicBezTo>
                    <a:cubicBezTo>
                      <a:pt x="449" y="109"/>
                      <a:pt x="449" y="109"/>
                      <a:pt x="449" y="109"/>
                    </a:cubicBezTo>
                    <a:cubicBezTo>
                      <a:pt x="448" y="104"/>
                      <a:pt x="448" y="104"/>
                      <a:pt x="448" y="104"/>
                    </a:cubicBezTo>
                    <a:lnTo>
                      <a:pt x="445" y="105"/>
                    </a:lnTo>
                    <a:close/>
                    <a:moveTo>
                      <a:pt x="474" y="58"/>
                    </a:moveTo>
                    <a:cubicBezTo>
                      <a:pt x="479" y="58"/>
                      <a:pt x="479" y="58"/>
                      <a:pt x="479" y="58"/>
                    </a:cubicBezTo>
                    <a:cubicBezTo>
                      <a:pt x="476" y="63"/>
                      <a:pt x="476" y="63"/>
                      <a:pt x="476" y="63"/>
                    </a:cubicBezTo>
                    <a:cubicBezTo>
                      <a:pt x="478" y="65"/>
                      <a:pt x="484" y="64"/>
                      <a:pt x="492" y="60"/>
                    </a:cubicBezTo>
                    <a:cubicBezTo>
                      <a:pt x="500" y="56"/>
                      <a:pt x="497" y="50"/>
                      <a:pt x="497" y="50"/>
                    </a:cubicBezTo>
                    <a:cubicBezTo>
                      <a:pt x="504" y="41"/>
                      <a:pt x="504" y="41"/>
                      <a:pt x="504" y="41"/>
                    </a:cubicBezTo>
                    <a:cubicBezTo>
                      <a:pt x="500" y="36"/>
                      <a:pt x="500" y="36"/>
                      <a:pt x="500" y="36"/>
                    </a:cubicBezTo>
                    <a:cubicBezTo>
                      <a:pt x="492" y="40"/>
                      <a:pt x="492" y="40"/>
                      <a:pt x="492" y="40"/>
                    </a:cubicBezTo>
                    <a:cubicBezTo>
                      <a:pt x="493" y="48"/>
                      <a:pt x="493" y="48"/>
                      <a:pt x="493" y="48"/>
                    </a:cubicBezTo>
                    <a:cubicBezTo>
                      <a:pt x="488" y="44"/>
                      <a:pt x="488" y="44"/>
                      <a:pt x="488" y="44"/>
                    </a:cubicBezTo>
                    <a:cubicBezTo>
                      <a:pt x="486" y="46"/>
                      <a:pt x="486" y="46"/>
                      <a:pt x="486" y="46"/>
                    </a:cubicBezTo>
                    <a:cubicBezTo>
                      <a:pt x="490" y="52"/>
                      <a:pt x="490" y="52"/>
                      <a:pt x="490" y="52"/>
                    </a:cubicBezTo>
                    <a:cubicBezTo>
                      <a:pt x="483" y="48"/>
                      <a:pt x="483" y="48"/>
                      <a:pt x="483" y="48"/>
                    </a:cubicBezTo>
                    <a:cubicBezTo>
                      <a:pt x="478" y="48"/>
                      <a:pt x="478" y="48"/>
                      <a:pt x="478" y="48"/>
                    </a:cubicBezTo>
                    <a:cubicBezTo>
                      <a:pt x="479" y="53"/>
                      <a:pt x="479" y="53"/>
                      <a:pt x="479" y="53"/>
                    </a:cubicBezTo>
                    <a:cubicBezTo>
                      <a:pt x="472" y="55"/>
                      <a:pt x="472" y="55"/>
                      <a:pt x="472" y="55"/>
                    </a:cubicBezTo>
                    <a:lnTo>
                      <a:pt x="474" y="58"/>
                    </a:lnTo>
                    <a:close/>
                    <a:moveTo>
                      <a:pt x="484" y="73"/>
                    </a:moveTo>
                    <a:cubicBezTo>
                      <a:pt x="484" y="76"/>
                      <a:pt x="489" y="76"/>
                      <a:pt x="489" y="76"/>
                    </a:cubicBezTo>
                    <a:cubicBezTo>
                      <a:pt x="489" y="76"/>
                      <a:pt x="498" y="77"/>
                      <a:pt x="497" y="73"/>
                    </a:cubicBezTo>
                    <a:cubicBezTo>
                      <a:pt x="497" y="68"/>
                      <a:pt x="482" y="66"/>
                      <a:pt x="484" y="73"/>
                    </a:cubicBezTo>
                    <a:close/>
                    <a:moveTo>
                      <a:pt x="503" y="55"/>
                    </a:moveTo>
                    <a:cubicBezTo>
                      <a:pt x="501" y="59"/>
                      <a:pt x="501" y="59"/>
                      <a:pt x="501" y="59"/>
                    </a:cubicBezTo>
                    <a:cubicBezTo>
                      <a:pt x="499" y="57"/>
                      <a:pt x="499" y="57"/>
                      <a:pt x="499" y="57"/>
                    </a:cubicBezTo>
                    <a:cubicBezTo>
                      <a:pt x="493" y="66"/>
                      <a:pt x="493" y="66"/>
                      <a:pt x="493" y="66"/>
                    </a:cubicBezTo>
                    <a:cubicBezTo>
                      <a:pt x="499" y="68"/>
                      <a:pt x="499" y="68"/>
                      <a:pt x="499" y="68"/>
                    </a:cubicBezTo>
                    <a:cubicBezTo>
                      <a:pt x="500" y="66"/>
                      <a:pt x="500" y="66"/>
                      <a:pt x="500" y="66"/>
                    </a:cubicBezTo>
                    <a:cubicBezTo>
                      <a:pt x="500" y="72"/>
                      <a:pt x="500" y="72"/>
                      <a:pt x="500" y="72"/>
                    </a:cubicBezTo>
                    <a:cubicBezTo>
                      <a:pt x="504" y="72"/>
                      <a:pt x="504" y="72"/>
                      <a:pt x="504" y="72"/>
                    </a:cubicBezTo>
                    <a:cubicBezTo>
                      <a:pt x="509" y="59"/>
                      <a:pt x="509" y="59"/>
                      <a:pt x="509" y="59"/>
                    </a:cubicBezTo>
                    <a:cubicBezTo>
                      <a:pt x="505" y="48"/>
                      <a:pt x="505" y="48"/>
                      <a:pt x="505" y="48"/>
                    </a:cubicBezTo>
                    <a:cubicBezTo>
                      <a:pt x="501" y="50"/>
                      <a:pt x="501" y="50"/>
                      <a:pt x="501" y="50"/>
                    </a:cubicBezTo>
                    <a:lnTo>
                      <a:pt x="503" y="55"/>
                    </a:lnTo>
                    <a:close/>
                    <a:moveTo>
                      <a:pt x="514" y="56"/>
                    </a:moveTo>
                    <a:cubicBezTo>
                      <a:pt x="517" y="56"/>
                      <a:pt x="521" y="48"/>
                      <a:pt x="516" y="43"/>
                    </a:cubicBezTo>
                    <a:cubicBezTo>
                      <a:pt x="509" y="37"/>
                      <a:pt x="505" y="43"/>
                      <a:pt x="508" y="50"/>
                    </a:cubicBezTo>
                    <a:cubicBezTo>
                      <a:pt x="508" y="50"/>
                      <a:pt x="510" y="56"/>
                      <a:pt x="514" y="56"/>
                    </a:cubicBezTo>
                    <a:close/>
                    <a:moveTo>
                      <a:pt x="513" y="22"/>
                    </a:moveTo>
                    <a:cubicBezTo>
                      <a:pt x="506" y="22"/>
                      <a:pt x="511" y="30"/>
                      <a:pt x="511" y="30"/>
                    </a:cubicBezTo>
                    <a:cubicBezTo>
                      <a:pt x="517" y="29"/>
                      <a:pt x="518" y="22"/>
                      <a:pt x="513" y="22"/>
                    </a:cubicBezTo>
                    <a:close/>
                    <a:moveTo>
                      <a:pt x="528" y="14"/>
                    </a:moveTo>
                    <a:cubicBezTo>
                      <a:pt x="523" y="17"/>
                      <a:pt x="523" y="17"/>
                      <a:pt x="523" y="17"/>
                    </a:cubicBezTo>
                    <a:cubicBezTo>
                      <a:pt x="531" y="19"/>
                      <a:pt x="531" y="19"/>
                      <a:pt x="531" y="19"/>
                    </a:cubicBezTo>
                    <a:lnTo>
                      <a:pt x="528" y="14"/>
                    </a:lnTo>
                    <a:close/>
                    <a:moveTo>
                      <a:pt x="538" y="19"/>
                    </a:moveTo>
                    <a:cubicBezTo>
                      <a:pt x="539" y="19"/>
                      <a:pt x="541" y="17"/>
                      <a:pt x="541" y="17"/>
                    </a:cubicBezTo>
                    <a:cubicBezTo>
                      <a:pt x="541" y="20"/>
                      <a:pt x="541" y="20"/>
                      <a:pt x="541" y="20"/>
                    </a:cubicBezTo>
                    <a:cubicBezTo>
                      <a:pt x="548" y="22"/>
                      <a:pt x="548" y="22"/>
                      <a:pt x="548" y="22"/>
                    </a:cubicBezTo>
                    <a:cubicBezTo>
                      <a:pt x="559" y="16"/>
                      <a:pt x="559" y="16"/>
                      <a:pt x="559" y="16"/>
                    </a:cubicBezTo>
                    <a:cubicBezTo>
                      <a:pt x="559" y="12"/>
                      <a:pt x="559" y="12"/>
                      <a:pt x="559" y="12"/>
                    </a:cubicBezTo>
                    <a:cubicBezTo>
                      <a:pt x="553" y="16"/>
                      <a:pt x="553" y="16"/>
                      <a:pt x="553" y="16"/>
                    </a:cubicBezTo>
                    <a:cubicBezTo>
                      <a:pt x="550" y="14"/>
                      <a:pt x="550" y="14"/>
                      <a:pt x="550" y="14"/>
                    </a:cubicBezTo>
                    <a:cubicBezTo>
                      <a:pt x="555" y="10"/>
                      <a:pt x="555" y="10"/>
                      <a:pt x="555" y="10"/>
                    </a:cubicBezTo>
                    <a:cubicBezTo>
                      <a:pt x="552" y="6"/>
                      <a:pt x="552" y="6"/>
                      <a:pt x="552" y="6"/>
                    </a:cubicBezTo>
                    <a:cubicBezTo>
                      <a:pt x="550" y="10"/>
                      <a:pt x="550" y="10"/>
                      <a:pt x="550" y="10"/>
                    </a:cubicBezTo>
                    <a:cubicBezTo>
                      <a:pt x="548" y="5"/>
                      <a:pt x="548" y="5"/>
                      <a:pt x="548" y="5"/>
                    </a:cubicBezTo>
                    <a:cubicBezTo>
                      <a:pt x="544" y="8"/>
                      <a:pt x="544" y="8"/>
                      <a:pt x="544" y="8"/>
                    </a:cubicBezTo>
                    <a:cubicBezTo>
                      <a:pt x="546" y="12"/>
                      <a:pt x="546" y="12"/>
                      <a:pt x="546" y="12"/>
                    </a:cubicBezTo>
                    <a:cubicBezTo>
                      <a:pt x="537" y="14"/>
                      <a:pt x="537" y="14"/>
                      <a:pt x="537" y="14"/>
                    </a:cubicBezTo>
                    <a:lnTo>
                      <a:pt x="538" y="19"/>
                    </a:lnTo>
                    <a:close/>
                    <a:moveTo>
                      <a:pt x="658" y="62"/>
                    </a:moveTo>
                    <a:cubicBezTo>
                      <a:pt x="659" y="72"/>
                      <a:pt x="659" y="72"/>
                      <a:pt x="659" y="72"/>
                    </a:cubicBezTo>
                    <a:cubicBezTo>
                      <a:pt x="665" y="68"/>
                      <a:pt x="665" y="68"/>
                      <a:pt x="665" y="68"/>
                    </a:cubicBezTo>
                    <a:cubicBezTo>
                      <a:pt x="662" y="60"/>
                      <a:pt x="662" y="60"/>
                      <a:pt x="662" y="60"/>
                    </a:cubicBezTo>
                    <a:lnTo>
                      <a:pt x="658" y="62"/>
                    </a:lnTo>
                    <a:close/>
                  </a:path>
                </a:pathLst>
              </a:custGeom>
              <a:solidFill>
                <a:srgbClr val="FDC795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224" name="Netherlands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4254500" y="3632200"/>
                <a:ext cx="358775" cy="376237"/>
              </a:xfrm>
              <a:custGeom>
                <a:avLst/>
                <a:gdLst/>
                <a:ahLst/>
                <a:cxnLst>
                  <a:cxn ang="0">
                    <a:pos x="154" y="5"/>
                  </a:cxn>
                  <a:cxn ang="0">
                    <a:pos x="131" y="10"/>
                  </a:cxn>
                  <a:cxn ang="0">
                    <a:pos x="96" y="34"/>
                  </a:cxn>
                  <a:cxn ang="0">
                    <a:pos x="105" y="45"/>
                  </a:cxn>
                  <a:cxn ang="0">
                    <a:pos x="104" y="55"/>
                  </a:cxn>
                  <a:cxn ang="0">
                    <a:pos x="101" y="57"/>
                  </a:cxn>
                  <a:cxn ang="0">
                    <a:pos x="83" y="73"/>
                  </a:cxn>
                  <a:cxn ang="0">
                    <a:pos x="99" y="72"/>
                  </a:cxn>
                  <a:cxn ang="0">
                    <a:pos x="109" y="72"/>
                  </a:cxn>
                  <a:cxn ang="0">
                    <a:pos x="76" y="71"/>
                  </a:cxn>
                  <a:cxn ang="0">
                    <a:pos x="82" y="64"/>
                  </a:cxn>
                  <a:cxn ang="0">
                    <a:pos x="84" y="44"/>
                  </a:cxn>
                  <a:cxn ang="0">
                    <a:pos x="67" y="32"/>
                  </a:cxn>
                  <a:cxn ang="0">
                    <a:pos x="47" y="101"/>
                  </a:cxn>
                  <a:cxn ang="0">
                    <a:pos x="33" y="94"/>
                  </a:cxn>
                  <a:cxn ang="0">
                    <a:pos x="61" y="109"/>
                  </a:cxn>
                  <a:cxn ang="0">
                    <a:pos x="48" y="113"/>
                  </a:cxn>
                  <a:cxn ang="0">
                    <a:pos x="40" y="119"/>
                  </a:cxn>
                  <a:cxn ang="0">
                    <a:pos x="32" y="119"/>
                  </a:cxn>
                  <a:cxn ang="0">
                    <a:pos x="40" y="126"/>
                  </a:cxn>
                  <a:cxn ang="0">
                    <a:pos x="19" y="121"/>
                  </a:cxn>
                  <a:cxn ang="0">
                    <a:pos x="10" y="124"/>
                  </a:cxn>
                  <a:cxn ang="0">
                    <a:pos x="26" y="127"/>
                  </a:cxn>
                  <a:cxn ang="0">
                    <a:pos x="33" y="135"/>
                  </a:cxn>
                  <a:cxn ang="0">
                    <a:pos x="23" y="133"/>
                  </a:cxn>
                  <a:cxn ang="0">
                    <a:pos x="2" y="129"/>
                  </a:cxn>
                  <a:cxn ang="0">
                    <a:pos x="7" y="139"/>
                  </a:cxn>
                  <a:cxn ang="0">
                    <a:pos x="22" y="143"/>
                  </a:cxn>
                  <a:cxn ang="0">
                    <a:pos x="46" y="135"/>
                  </a:cxn>
                  <a:cxn ang="0">
                    <a:pos x="54" y="131"/>
                  </a:cxn>
                  <a:cxn ang="0">
                    <a:pos x="67" y="134"/>
                  </a:cxn>
                  <a:cxn ang="0">
                    <a:pos x="76" y="138"/>
                  </a:cxn>
                  <a:cxn ang="0">
                    <a:pos x="92" y="145"/>
                  </a:cxn>
                  <a:cxn ang="0">
                    <a:pos x="99" y="159"/>
                  </a:cxn>
                  <a:cxn ang="0">
                    <a:pos x="93" y="170"/>
                  </a:cxn>
                  <a:cxn ang="0">
                    <a:pos x="110" y="175"/>
                  </a:cxn>
                  <a:cxn ang="0">
                    <a:pos x="106" y="161"/>
                  </a:cxn>
                  <a:cxn ang="0">
                    <a:pos x="118" y="149"/>
                  </a:cxn>
                  <a:cxn ang="0">
                    <a:pos x="119" y="124"/>
                  </a:cxn>
                  <a:cxn ang="0">
                    <a:pos x="120" y="106"/>
                  </a:cxn>
                  <a:cxn ang="0">
                    <a:pos x="131" y="104"/>
                  </a:cxn>
                  <a:cxn ang="0">
                    <a:pos x="150" y="88"/>
                  </a:cxn>
                  <a:cxn ang="0">
                    <a:pos x="147" y="58"/>
                  </a:cxn>
                  <a:cxn ang="0">
                    <a:pos x="166" y="29"/>
                  </a:cxn>
                  <a:cxn ang="0">
                    <a:pos x="76" y="17"/>
                  </a:cxn>
                  <a:cxn ang="0">
                    <a:pos x="70" y="29"/>
                  </a:cxn>
                  <a:cxn ang="0">
                    <a:pos x="27" y="115"/>
                  </a:cxn>
                  <a:cxn ang="0">
                    <a:pos x="31" y="112"/>
                  </a:cxn>
                  <a:cxn ang="0">
                    <a:pos x="22" y="110"/>
                  </a:cxn>
                  <a:cxn ang="0">
                    <a:pos x="24" y="116"/>
                  </a:cxn>
                  <a:cxn ang="0">
                    <a:pos x="18" y="118"/>
                  </a:cxn>
                  <a:cxn ang="0">
                    <a:pos x="32" y="106"/>
                  </a:cxn>
                  <a:cxn ang="0">
                    <a:pos x="45" y="112"/>
                  </a:cxn>
                  <a:cxn ang="0">
                    <a:pos x="27" y="105"/>
                  </a:cxn>
                  <a:cxn ang="0">
                    <a:pos x="82" y="13"/>
                  </a:cxn>
                  <a:cxn ang="0">
                    <a:pos x="99" y="7"/>
                  </a:cxn>
                  <a:cxn ang="0">
                    <a:pos x="98" y="3"/>
                  </a:cxn>
                  <a:cxn ang="0">
                    <a:pos x="90" y="9"/>
                  </a:cxn>
                  <a:cxn ang="0">
                    <a:pos x="109" y="3"/>
                  </a:cxn>
                  <a:cxn ang="0">
                    <a:pos x="135" y="0"/>
                  </a:cxn>
                  <a:cxn ang="0">
                    <a:pos x="136" y="2"/>
                  </a:cxn>
                </a:cxnLst>
                <a:rect l="0" t="0" r="r" b="b"/>
                <a:pathLst>
                  <a:path w="168" h="177">
                    <a:moveTo>
                      <a:pt x="168" y="18"/>
                    </a:moveTo>
                    <a:cubicBezTo>
                      <a:pt x="164" y="17"/>
                      <a:pt x="160" y="15"/>
                      <a:pt x="159" y="14"/>
                    </a:cubicBezTo>
                    <a:cubicBezTo>
                      <a:pt x="155" y="12"/>
                      <a:pt x="155" y="7"/>
                      <a:pt x="154" y="5"/>
                    </a:cubicBezTo>
                    <a:cubicBezTo>
                      <a:pt x="153" y="3"/>
                      <a:pt x="149" y="7"/>
                      <a:pt x="149" y="7"/>
                    </a:cubicBezTo>
                    <a:cubicBezTo>
                      <a:pt x="130" y="8"/>
                      <a:pt x="130" y="8"/>
                      <a:pt x="130" y="8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28" y="10"/>
                      <a:pt x="127" y="8"/>
                    </a:cubicBezTo>
                    <a:cubicBezTo>
                      <a:pt x="125" y="6"/>
                      <a:pt x="108" y="11"/>
                      <a:pt x="102" y="14"/>
                    </a:cubicBezTo>
                    <a:cubicBezTo>
                      <a:pt x="96" y="16"/>
                      <a:pt x="95" y="29"/>
                      <a:pt x="96" y="34"/>
                    </a:cubicBezTo>
                    <a:cubicBezTo>
                      <a:pt x="96" y="40"/>
                      <a:pt x="95" y="39"/>
                      <a:pt x="95" y="39"/>
                    </a:cubicBezTo>
                    <a:cubicBezTo>
                      <a:pt x="95" y="39"/>
                      <a:pt x="96" y="40"/>
                      <a:pt x="99" y="41"/>
                    </a:cubicBezTo>
                    <a:cubicBezTo>
                      <a:pt x="102" y="43"/>
                      <a:pt x="105" y="45"/>
                      <a:pt x="105" y="45"/>
                    </a:cubicBezTo>
                    <a:cubicBezTo>
                      <a:pt x="105" y="45"/>
                      <a:pt x="101" y="47"/>
                      <a:pt x="101" y="48"/>
                    </a:cubicBezTo>
                    <a:cubicBezTo>
                      <a:pt x="101" y="50"/>
                      <a:pt x="104" y="50"/>
                      <a:pt x="104" y="50"/>
                    </a:cubicBezTo>
                    <a:cubicBezTo>
                      <a:pt x="104" y="50"/>
                      <a:pt x="101" y="54"/>
                      <a:pt x="104" y="55"/>
                    </a:cubicBezTo>
                    <a:cubicBezTo>
                      <a:pt x="109" y="56"/>
                      <a:pt x="113" y="57"/>
                      <a:pt x="113" y="57"/>
                    </a:cubicBezTo>
                    <a:cubicBezTo>
                      <a:pt x="112" y="59"/>
                      <a:pt x="112" y="59"/>
                      <a:pt x="112" y="59"/>
                    </a:cubicBezTo>
                    <a:cubicBezTo>
                      <a:pt x="112" y="59"/>
                      <a:pt x="105" y="57"/>
                      <a:pt x="101" y="57"/>
                    </a:cubicBezTo>
                    <a:cubicBezTo>
                      <a:pt x="98" y="57"/>
                      <a:pt x="94" y="62"/>
                      <a:pt x="90" y="64"/>
                    </a:cubicBezTo>
                    <a:cubicBezTo>
                      <a:pt x="87" y="66"/>
                      <a:pt x="79" y="70"/>
                      <a:pt x="79" y="70"/>
                    </a:cubicBezTo>
                    <a:cubicBezTo>
                      <a:pt x="79" y="70"/>
                      <a:pt x="81" y="73"/>
                      <a:pt x="83" y="73"/>
                    </a:cubicBezTo>
                    <a:cubicBezTo>
                      <a:pt x="87" y="73"/>
                      <a:pt x="87" y="73"/>
                      <a:pt x="87" y="73"/>
                    </a:cubicBezTo>
                    <a:cubicBezTo>
                      <a:pt x="87" y="73"/>
                      <a:pt x="94" y="77"/>
                      <a:pt x="96" y="76"/>
                    </a:cubicBezTo>
                    <a:cubicBezTo>
                      <a:pt x="99" y="74"/>
                      <a:pt x="99" y="72"/>
                      <a:pt x="99" y="72"/>
                    </a:cubicBezTo>
                    <a:cubicBezTo>
                      <a:pt x="99" y="72"/>
                      <a:pt x="106" y="69"/>
                      <a:pt x="108" y="66"/>
                    </a:cubicBezTo>
                    <a:cubicBezTo>
                      <a:pt x="109" y="65"/>
                      <a:pt x="111" y="65"/>
                      <a:pt x="112" y="65"/>
                    </a:cubicBezTo>
                    <a:cubicBezTo>
                      <a:pt x="113" y="66"/>
                      <a:pt x="109" y="72"/>
                      <a:pt x="109" y="72"/>
                    </a:cubicBezTo>
                    <a:cubicBezTo>
                      <a:pt x="96" y="78"/>
                      <a:pt x="96" y="78"/>
                      <a:pt x="96" y="78"/>
                    </a:cubicBezTo>
                    <a:cubicBezTo>
                      <a:pt x="86" y="77"/>
                      <a:pt x="86" y="77"/>
                      <a:pt x="86" y="77"/>
                    </a:cubicBezTo>
                    <a:cubicBezTo>
                      <a:pt x="76" y="71"/>
                      <a:pt x="76" y="71"/>
                      <a:pt x="76" y="71"/>
                    </a:cubicBezTo>
                    <a:cubicBezTo>
                      <a:pt x="73" y="69"/>
                      <a:pt x="73" y="69"/>
                      <a:pt x="73" y="69"/>
                    </a:cubicBezTo>
                    <a:cubicBezTo>
                      <a:pt x="80" y="68"/>
                      <a:pt x="80" y="68"/>
                      <a:pt x="80" y="68"/>
                    </a:cubicBezTo>
                    <a:cubicBezTo>
                      <a:pt x="82" y="64"/>
                      <a:pt x="82" y="64"/>
                      <a:pt x="82" y="64"/>
                    </a:cubicBezTo>
                    <a:cubicBezTo>
                      <a:pt x="82" y="64"/>
                      <a:pt x="79" y="55"/>
                      <a:pt x="79" y="53"/>
                    </a:cubicBezTo>
                    <a:cubicBezTo>
                      <a:pt x="78" y="50"/>
                      <a:pt x="85" y="54"/>
                      <a:pt x="88" y="50"/>
                    </a:cubicBezTo>
                    <a:cubicBezTo>
                      <a:pt x="90" y="48"/>
                      <a:pt x="87" y="45"/>
                      <a:pt x="84" y="44"/>
                    </a:cubicBezTo>
                    <a:cubicBezTo>
                      <a:pt x="80" y="43"/>
                      <a:pt x="82" y="33"/>
                      <a:pt x="78" y="33"/>
                    </a:cubicBezTo>
                    <a:cubicBezTo>
                      <a:pt x="74" y="32"/>
                      <a:pt x="77" y="35"/>
                      <a:pt x="73" y="34"/>
                    </a:cubicBezTo>
                    <a:cubicBezTo>
                      <a:pt x="71" y="33"/>
                      <a:pt x="69" y="30"/>
                      <a:pt x="67" y="32"/>
                    </a:cubicBezTo>
                    <a:cubicBezTo>
                      <a:pt x="65" y="33"/>
                      <a:pt x="60" y="63"/>
                      <a:pt x="56" y="70"/>
                    </a:cubicBezTo>
                    <a:cubicBezTo>
                      <a:pt x="53" y="76"/>
                      <a:pt x="37" y="91"/>
                      <a:pt x="37" y="91"/>
                    </a:cubicBezTo>
                    <a:cubicBezTo>
                      <a:pt x="47" y="101"/>
                      <a:pt x="47" y="101"/>
                      <a:pt x="47" y="101"/>
                    </a:cubicBezTo>
                    <a:cubicBezTo>
                      <a:pt x="47" y="104"/>
                      <a:pt x="47" y="104"/>
                      <a:pt x="47" y="104"/>
                    </a:cubicBezTo>
                    <a:cubicBezTo>
                      <a:pt x="47" y="104"/>
                      <a:pt x="40" y="97"/>
                      <a:pt x="39" y="97"/>
                    </a:cubicBezTo>
                    <a:cubicBezTo>
                      <a:pt x="37" y="96"/>
                      <a:pt x="35" y="94"/>
                      <a:pt x="33" y="94"/>
                    </a:cubicBezTo>
                    <a:cubicBezTo>
                      <a:pt x="32" y="94"/>
                      <a:pt x="34" y="101"/>
                      <a:pt x="34" y="101"/>
                    </a:cubicBezTo>
                    <a:cubicBezTo>
                      <a:pt x="34" y="101"/>
                      <a:pt x="50" y="112"/>
                      <a:pt x="51" y="112"/>
                    </a:cubicBezTo>
                    <a:cubicBezTo>
                      <a:pt x="53" y="112"/>
                      <a:pt x="56" y="110"/>
                      <a:pt x="61" y="109"/>
                    </a:cubicBezTo>
                    <a:cubicBezTo>
                      <a:pt x="65" y="109"/>
                      <a:pt x="64" y="112"/>
                      <a:pt x="62" y="112"/>
                    </a:cubicBezTo>
                    <a:cubicBezTo>
                      <a:pt x="60" y="112"/>
                      <a:pt x="52" y="115"/>
                      <a:pt x="52" y="115"/>
                    </a:cubicBezTo>
                    <a:cubicBezTo>
                      <a:pt x="52" y="115"/>
                      <a:pt x="50" y="113"/>
                      <a:pt x="48" y="113"/>
                    </a:cubicBezTo>
                    <a:cubicBezTo>
                      <a:pt x="45" y="113"/>
                      <a:pt x="43" y="116"/>
                      <a:pt x="43" y="116"/>
                    </a:cubicBezTo>
                    <a:cubicBezTo>
                      <a:pt x="36" y="115"/>
                      <a:pt x="36" y="115"/>
                      <a:pt x="36" y="115"/>
                    </a:cubicBezTo>
                    <a:cubicBezTo>
                      <a:pt x="40" y="119"/>
                      <a:pt x="40" y="119"/>
                      <a:pt x="40" y="119"/>
                    </a:cubicBezTo>
                    <a:cubicBezTo>
                      <a:pt x="40" y="119"/>
                      <a:pt x="35" y="117"/>
                      <a:pt x="34" y="117"/>
                    </a:cubicBezTo>
                    <a:cubicBezTo>
                      <a:pt x="32" y="116"/>
                      <a:pt x="29" y="119"/>
                      <a:pt x="29" y="119"/>
                    </a:cubicBezTo>
                    <a:cubicBezTo>
                      <a:pt x="32" y="119"/>
                      <a:pt x="32" y="119"/>
                      <a:pt x="32" y="119"/>
                    </a:cubicBezTo>
                    <a:cubicBezTo>
                      <a:pt x="33" y="120"/>
                      <a:pt x="33" y="120"/>
                      <a:pt x="33" y="120"/>
                    </a:cubicBezTo>
                    <a:cubicBezTo>
                      <a:pt x="40" y="124"/>
                      <a:pt x="40" y="124"/>
                      <a:pt x="40" y="124"/>
                    </a:cubicBezTo>
                    <a:cubicBezTo>
                      <a:pt x="40" y="126"/>
                      <a:pt x="40" y="126"/>
                      <a:pt x="40" y="126"/>
                    </a:cubicBezTo>
                    <a:cubicBezTo>
                      <a:pt x="35" y="126"/>
                      <a:pt x="35" y="126"/>
                      <a:pt x="35" y="126"/>
                    </a:cubicBezTo>
                    <a:cubicBezTo>
                      <a:pt x="35" y="126"/>
                      <a:pt x="31" y="122"/>
                      <a:pt x="27" y="121"/>
                    </a:cubicBezTo>
                    <a:cubicBezTo>
                      <a:pt x="19" y="121"/>
                      <a:pt x="19" y="121"/>
                      <a:pt x="19" y="121"/>
                    </a:cubicBezTo>
                    <a:cubicBezTo>
                      <a:pt x="19" y="121"/>
                      <a:pt x="17" y="120"/>
                      <a:pt x="15" y="118"/>
                    </a:cubicBezTo>
                    <a:cubicBezTo>
                      <a:pt x="14" y="117"/>
                      <a:pt x="7" y="119"/>
                      <a:pt x="7" y="119"/>
                    </a:cubicBezTo>
                    <a:cubicBezTo>
                      <a:pt x="7" y="119"/>
                      <a:pt x="7" y="122"/>
                      <a:pt x="10" y="124"/>
                    </a:cubicBezTo>
                    <a:cubicBezTo>
                      <a:pt x="13" y="126"/>
                      <a:pt x="17" y="125"/>
                      <a:pt x="17" y="125"/>
                    </a:cubicBezTo>
                    <a:cubicBezTo>
                      <a:pt x="17" y="125"/>
                      <a:pt x="17" y="128"/>
                      <a:pt x="19" y="129"/>
                    </a:cubicBezTo>
                    <a:cubicBezTo>
                      <a:pt x="22" y="131"/>
                      <a:pt x="26" y="127"/>
                      <a:pt x="26" y="127"/>
                    </a:cubicBezTo>
                    <a:cubicBezTo>
                      <a:pt x="29" y="127"/>
                      <a:pt x="29" y="127"/>
                      <a:pt x="29" y="127"/>
                    </a:cubicBezTo>
                    <a:cubicBezTo>
                      <a:pt x="29" y="127"/>
                      <a:pt x="35" y="131"/>
                      <a:pt x="38" y="132"/>
                    </a:cubicBezTo>
                    <a:cubicBezTo>
                      <a:pt x="41" y="132"/>
                      <a:pt x="33" y="135"/>
                      <a:pt x="33" y="135"/>
                    </a:cubicBezTo>
                    <a:cubicBezTo>
                      <a:pt x="31" y="134"/>
                      <a:pt x="31" y="134"/>
                      <a:pt x="31" y="134"/>
                    </a:cubicBezTo>
                    <a:cubicBezTo>
                      <a:pt x="31" y="134"/>
                      <a:pt x="30" y="131"/>
                      <a:pt x="28" y="131"/>
                    </a:cubicBezTo>
                    <a:cubicBezTo>
                      <a:pt x="26" y="129"/>
                      <a:pt x="23" y="133"/>
                      <a:pt x="23" y="133"/>
                    </a:cubicBezTo>
                    <a:cubicBezTo>
                      <a:pt x="23" y="133"/>
                      <a:pt x="19" y="133"/>
                      <a:pt x="16" y="132"/>
                    </a:cubicBezTo>
                    <a:cubicBezTo>
                      <a:pt x="14" y="132"/>
                      <a:pt x="11" y="127"/>
                      <a:pt x="8" y="127"/>
                    </a:cubicBezTo>
                    <a:cubicBezTo>
                      <a:pt x="7" y="127"/>
                      <a:pt x="2" y="129"/>
                      <a:pt x="2" y="129"/>
                    </a:cubicBezTo>
                    <a:cubicBezTo>
                      <a:pt x="2" y="129"/>
                      <a:pt x="1" y="133"/>
                      <a:pt x="0" y="134"/>
                    </a:cubicBezTo>
                    <a:cubicBezTo>
                      <a:pt x="0" y="135"/>
                      <a:pt x="1" y="138"/>
                      <a:pt x="1" y="138"/>
                    </a:cubicBezTo>
                    <a:cubicBezTo>
                      <a:pt x="7" y="139"/>
                      <a:pt x="7" y="139"/>
                      <a:pt x="7" y="139"/>
                    </a:cubicBezTo>
                    <a:cubicBezTo>
                      <a:pt x="8" y="135"/>
                      <a:pt x="8" y="135"/>
                      <a:pt x="8" y="135"/>
                    </a:cubicBezTo>
                    <a:cubicBezTo>
                      <a:pt x="18" y="138"/>
                      <a:pt x="18" y="138"/>
                      <a:pt x="18" y="138"/>
                    </a:cubicBezTo>
                    <a:cubicBezTo>
                      <a:pt x="18" y="138"/>
                      <a:pt x="15" y="143"/>
                      <a:pt x="22" y="143"/>
                    </a:cubicBezTo>
                    <a:cubicBezTo>
                      <a:pt x="29" y="144"/>
                      <a:pt x="39" y="134"/>
                      <a:pt x="39" y="134"/>
                    </a:cubicBezTo>
                    <a:cubicBezTo>
                      <a:pt x="43" y="135"/>
                      <a:pt x="43" y="135"/>
                      <a:pt x="43" y="135"/>
                    </a:cubicBezTo>
                    <a:cubicBezTo>
                      <a:pt x="46" y="135"/>
                      <a:pt x="46" y="135"/>
                      <a:pt x="46" y="135"/>
                    </a:cubicBezTo>
                    <a:cubicBezTo>
                      <a:pt x="46" y="135"/>
                      <a:pt x="44" y="129"/>
                      <a:pt x="48" y="128"/>
                    </a:cubicBezTo>
                    <a:cubicBezTo>
                      <a:pt x="51" y="126"/>
                      <a:pt x="51" y="131"/>
                      <a:pt x="51" y="131"/>
                    </a:cubicBezTo>
                    <a:cubicBezTo>
                      <a:pt x="54" y="131"/>
                      <a:pt x="54" y="131"/>
                      <a:pt x="54" y="131"/>
                    </a:cubicBezTo>
                    <a:cubicBezTo>
                      <a:pt x="54" y="131"/>
                      <a:pt x="59" y="127"/>
                      <a:pt x="63" y="127"/>
                    </a:cubicBezTo>
                    <a:cubicBezTo>
                      <a:pt x="66" y="127"/>
                      <a:pt x="62" y="134"/>
                      <a:pt x="62" y="134"/>
                    </a:cubicBezTo>
                    <a:cubicBezTo>
                      <a:pt x="67" y="134"/>
                      <a:pt x="67" y="134"/>
                      <a:pt x="67" y="134"/>
                    </a:cubicBezTo>
                    <a:cubicBezTo>
                      <a:pt x="67" y="134"/>
                      <a:pt x="69" y="128"/>
                      <a:pt x="72" y="129"/>
                    </a:cubicBezTo>
                    <a:cubicBezTo>
                      <a:pt x="74" y="131"/>
                      <a:pt x="71" y="136"/>
                      <a:pt x="71" y="136"/>
                    </a:cubicBezTo>
                    <a:cubicBezTo>
                      <a:pt x="76" y="138"/>
                      <a:pt x="76" y="138"/>
                      <a:pt x="76" y="138"/>
                    </a:cubicBezTo>
                    <a:cubicBezTo>
                      <a:pt x="76" y="138"/>
                      <a:pt x="77" y="143"/>
                      <a:pt x="80" y="143"/>
                    </a:cubicBezTo>
                    <a:cubicBezTo>
                      <a:pt x="83" y="144"/>
                      <a:pt x="86" y="141"/>
                      <a:pt x="89" y="142"/>
                    </a:cubicBezTo>
                    <a:cubicBezTo>
                      <a:pt x="93" y="142"/>
                      <a:pt x="92" y="145"/>
                      <a:pt x="92" y="145"/>
                    </a:cubicBezTo>
                    <a:cubicBezTo>
                      <a:pt x="96" y="150"/>
                      <a:pt x="96" y="150"/>
                      <a:pt x="96" y="150"/>
                    </a:cubicBezTo>
                    <a:cubicBezTo>
                      <a:pt x="96" y="150"/>
                      <a:pt x="99" y="150"/>
                      <a:pt x="102" y="153"/>
                    </a:cubicBezTo>
                    <a:cubicBezTo>
                      <a:pt x="104" y="155"/>
                      <a:pt x="101" y="157"/>
                      <a:pt x="99" y="159"/>
                    </a:cubicBezTo>
                    <a:cubicBezTo>
                      <a:pt x="98" y="160"/>
                      <a:pt x="99" y="163"/>
                      <a:pt x="99" y="163"/>
                    </a:cubicBezTo>
                    <a:cubicBezTo>
                      <a:pt x="98" y="168"/>
                      <a:pt x="98" y="168"/>
                      <a:pt x="98" y="168"/>
                    </a:cubicBezTo>
                    <a:cubicBezTo>
                      <a:pt x="98" y="168"/>
                      <a:pt x="94" y="168"/>
                      <a:pt x="93" y="170"/>
                    </a:cubicBezTo>
                    <a:cubicBezTo>
                      <a:pt x="90" y="173"/>
                      <a:pt x="94" y="174"/>
                      <a:pt x="94" y="174"/>
                    </a:cubicBezTo>
                    <a:cubicBezTo>
                      <a:pt x="94" y="174"/>
                      <a:pt x="98" y="176"/>
                      <a:pt x="102" y="176"/>
                    </a:cubicBezTo>
                    <a:cubicBezTo>
                      <a:pt x="105" y="177"/>
                      <a:pt x="109" y="175"/>
                      <a:pt x="110" y="175"/>
                    </a:cubicBezTo>
                    <a:cubicBezTo>
                      <a:pt x="110" y="174"/>
                      <a:pt x="109" y="173"/>
                      <a:pt x="109" y="173"/>
                    </a:cubicBezTo>
                    <a:cubicBezTo>
                      <a:pt x="111" y="171"/>
                      <a:pt x="112" y="170"/>
                      <a:pt x="114" y="170"/>
                    </a:cubicBezTo>
                    <a:cubicBezTo>
                      <a:pt x="113" y="166"/>
                      <a:pt x="113" y="159"/>
                      <a:pt x="106" y="161"/>
                    </a:cubicBezTo>
                    <a:cubicBezTo>
                      <a:pt x="105" y="159"/>
                      <a:pt x="105" y="156"/>
                      <a:pt x="108" y="155"/>
                    </a:cubicBezTo>
                    <a:cubicBezTo>
                      <a:pt x="109" y="156"/>
                      <a:pt x="109" y="157"/>
                      <a:pt x="110" y="158"/>
                    </a:cubicBezTo>
                    <a:cubicBezTo>
                      <a:pt x="111" y="153"/>
                      <a:pt x="117" y="154"/>
                      <a:pt x="118" y="149"/>
                    </a:cubicBezTo>
                    <a:cubicBezTo>
                      <a:pt x="115" y="150"/>
                      <a:pt x="115" y="150"/>
                      <a:pt x="115" y="150"/>
                    </a:cubicBezTo>
                    <a:cubicBezTo>
                      <a:pt x="113" y="142"/>
                      <a:pt x="121" y="141"/>
                      <a:pt x="121" y="136"/>
                    </a:cubicBezTo>
                    <a:cubicBezTo>
                      <a:pt x="121" y="132"/>
                      <a:pt x="121" y="127"/>
                      <a:pt x="119" y="124"/>
                    </a:cubicBezTo>
                    <a:cubicBezTo>
                      <a:pt x="117" y="121"/>
                      <a:pt x="115" y="117"/>
                      <a:pt x="115" y="113"/>
                    </a:cubicBezTo>
                    <a:cubicBezTo>
                      <a:pt x="115" y="115"/>
                      <a:pt x="112" y="105"/>
                      <a:pt x="112" y="105"/>
                    </a:cubicBezTo>
                    <a:cubicBezTo>
                      <a:pt x="115" y="105"/>
                      <a:pt x="117" y="104"/>
                      <a:pt x="120" y="106"/>
                    </a:cubicBezTo>
                    <a:cubicBezTo>
                      <a:pt x="119" y="105"/>
                      <a:pt x="119" y="103"/>
                      <a:pt x="118" y="102"/>
                    </a:cubicBezTo>
                    <a:cubicBezTo>
                      <a:pt x="122" y="102"/>
                      <a:pt x="128" y="104"/>
                      <a:pt x="131" y="106"/>
                    </a:cubicBezTo>
                    <a:cubicBezTo>
                      <a:pt x="131" y="104"/>
                      <a:pt x="131" y="104"/>
                      <a:pt x="131" y="104"/>
                    </a:cubicBezTo>
                    <a:cubicBezTo>
                      <a:pt x="135" y="105"/>
                      <a:pt x="139" y="98"/>
                      <a:pt x="144" y="102"/>
                    </a:cubicBezTo>
                    <a:cubicBezTo>
                      <a:pt x="146" y="103"/>
                      <a:pt x="150" y="93"/>
                      <a:pt x="142" y="93"/>
                    </a:cubicBezTo>
                    <a:cubicBezTo>
                      <a:pt x="144" y="90"/>
                      <a:pt x="146" y="88"/>
                      <a:pt x="150" y="88"/>
                    </a:cubicBezTo>
                    <a:cubicBezTo>
                      <a:pt x="150" y="88"/>
                      <a:pt x="157" y="81"/>
                      <a:pt x="159" y="80"/>
                    </a:cubicBezTo>
                    <a:cubicBezTo>
                      <a:pt x="154" y="77"/>
                      <a:pt x="161" y="71"/>
                      <a:pt x="155" y="65"/>
                    </a:cubicBezTo>
                    <a:cubicBezTo>
                      <a:pt x="152" y="72"/>
                      <a:pt x="138" y="62"/>
                      <a:pt x="147" y="58"/>
                    </a:cubicBezTo>
                    <a:cubicBezTo>
                      <a:pt x="142" y="49"/>
                      <a:pt x="154" y="56"/>
                      <a:pt x="157" y="55"/>
                    </a:cubicBezTo>
                    <a:cubicBezTo>
                      <a:pt x="162" y="53"/>
                      <a:pt x="159" y="45"/>
                      <a:pt x="162" y="41"/>
                    </a:cubicBezTo>
                    <a:cubicBezTo>
                      <a:pt x="164" y="38"/>
                      <a:pt x="167" y="33"/>
                      <a:pt x="166" y="29"/>
                    </a:cubicBezTo>
                    <a:cubicBezTo>
                      <a:pt x="166" y="26"/>
                      <a:pt x="168" y="22"/>
                      <a:pt x="168" y="18"/>
                    </a:cubicBezTo>
                    <a:close/>
                    <a:moveTo>
                      <a:pt x="77" y="26"/>
                    </a:moveTo>
                    <a:cubicBezTo>
                      <a:pt x="81" y="19"/>
                      <a:pt x="77" y="18"/>
                      <a:pt x="76" y="17"/>
                    </a:cubicBezTo>
                    <a:cubicBezTo>
                      <a:pt x="74" y="16"/>
                      <a:pt x="72" y="18"/>
                      <a:pt x="72" y="18"/>
                    </a:cubicBezTo>
                    <a:cubicBezTo>
                      <a:pt x="68" y="26"/>
                      <a:pt x="68" y="26"/>
                      <a:pt x="68" y="26"/>
                    </a:cubicBezTo>
                    <a:cubicBezTo>
                      <a:pt x="70" y="29"/>
                      <a:pt x="70" y="29"/>
                      <a:pt x="70" y="29"/>
                    </a:cubicBezTo>
                    <a:cubicBezTo>
                      <a:pt x="70" y="29"/>
                      <a:pt x="73" y="30"/>
                      <a:pt x="77" y="26"/>
                    </a:cubicBezTo>
                    <a:close/>
                    <a:moveTo>
                      <a:pt x="22" y="110"/>
                    </a:moveTo>
                    <a:cubicBezTo>
                      <a:pt x="24" y="111"/>
                      <a:pt x="27" y="115"/>
                      <a:pt x="27" y="115"/>
                    </a:cubicBezTo>
                    <a:cubicBezTo>
                      <a:pt x="33" y="115"/>
                      <a:pt x="33" y="115"/>
                      <a:pt x="33" y="115"/>
                    </a:cubicBezTo>
                    <a:cubicBezTo>
                      <a:pt x="33" y="113"/>
                      <a:pt x="33" y="113"/>
                      <a:pt x="33" y="113"/>
                    </a:cubicBezTo>
                    <a:cubicBezTo>
                      <a:pt x="31" y="112"/>
                      <a:pt x="31" y="112"/>
                      <a:pt x="31" y="112"/>
                    </a:cubicBezTo>
                    <a:cubicBezTo>
                      <a:pt x="31" y="112"/>
                      <a:pt x="31" y="108"/>
                      <a:pt x="27" y="108"/>
                    </a:cubicBezTo>
                    <a:cubicBezTo>
                      <a:pt x="22" y="107"/>
                      <a:pt x="18" y="107"/>
                      <a:pt x="18" y="108"/>
                    </a:cubicBezTo>
                    <a:cubicBezTo>
                      <a:pt x="18" y="110"/>
                      <a:pt x="22" y="110"/>
                      <a:pt x="22" y="110"/>
                    </a:cubicBezTo>
                    <a:close/>
                    <a:moveTo>
                      <a:pt x="23" y="119"/>
                    </a:moveTo>
                    <a:cubicBezTo>
                      <a:pt x="27" y="119"/>
                      <a:pt x="27" y="119"/>
                      <a:pt x="27" y="119"/>
                    </a:cubicBezTo>
                    <a:cubicBezTo>
                      <a:pt x="28" y="119"/>
                      <a:pt x="24" y="116"/>
                      <a:pt x="24" y="116"/>
                    </a:cubicBezTo>
                    <a:cubicBezTo>
                      <a:pt x="21" y="117"/>
                      <a:pt x="21" y="117"/>
                      <a:pt x="21" y="117"/>
                    </a:cubicBezTo>
                    <a:cubicBezTo>
                      <a:pt x="19" y="115"/>
                      <a:pt x="19" y="115"/>
                      <a:pt x="19" y="115"/>
                    </a:cubicBezTo>
                    <a:cubicBezTo>
                      <a:pt x="19" y="115"/>
                      <a:pt x="16" y="116"/>
                      <a:pt x="18" y="118"/>
                    </a:cubicBezTo>
                    <a:cubicBezTo>
                      <a:pt x="21" y="120"/>
                      <a:pt x="22" y="119"/>
                      <a:pt x="23" y="119"/>
                    </a:cubicBezTo>
                    <a:close/>
                    <a:moveTo>
                      <a:pt x="27" y="105"/>
                    </a:moveTo>
                    <a:cubicBezTo>
                      <a:pt x="29" y="106"/>
                      <a:pt x="32" y="106"/>
                      <a:pt x="32" y="106"/>
                    </a:cubicBezTo>
                    <a:cubicBezTo>
                      <a:pt x="32" y="106"/>
                      <a:pt x="32" y="108"/>
                      <a:pt x="36" y="110"/>
                    </a:cubicBezTo>
                    <a:cubicBezTo>
                      <a:pt x="39" y="112"/>
                      <a:pt x="40" y="113"/>
                      <a:pt x="43" y="113"/>
                    </a:cubicBezTo>
                    <a:cubicBezTo>
                      <a:pt x="45" y="113"/>
                      <a:pt x="45" y="112"/>
                      <a:pt x="45" y="112"/>
                    </a:cubicBezTo>
                    <a:cubicBezTo>
                      <a:pt x="34" y="103"/>
                      <a:pt x="34" y="103"/>
                      <a:pt x="34" y="103"/>
                    </a:cubicBezTo>
                    <a:cubicBezTo>
                      <a:pt x="27" y="103"/>
                      <a:pt x="27" y="103"/>
                      <a:pt x="27" y="103"/>
                    </a:cubicBezTo>
                    <a:cubicBezTo>
                      <a:pt x="27" y="103"/>
                      <a:pt x="26" y="105"/>
                      <a:pt x="27" y="105"/>
                    </a:cubicBezTo>
                    <a:close/>
                    <a:moveTo>
                      <a:pt x="82" y="13"/>
                    </a:moveTo>
                    <a:cubicBezTo>
                      <a:pt x="87" y="10"/>
                      <a:pt x="86" y="7"/>
                      <a:pt x="81" y="11"/>
                    </a:cubicBezTo>
                    <a:cubicBezTo>
                      <a:pt x="77" y="14"/>
                      <a:pt x="82" y="13"/>
                      <a:pt x="82" y="13"/>
                    </a:cubicBezTo>
                    <a:close/>
                    <a:moveTo>
                      <a:pt x="90" y="9"/>
                    </a:moveTo>
                    <a:cubicBezTo>
                      <a:pt x="93" y="7"/>
                      <a:pt x="93" y="7"/>
                      <a:pt x="93" y="7"/>
                    </a:cubicBezTo>
                    <a:cubicBezTo>
                      <a:pt x="99" y="7"/>
                      <a:pt x="99" y="7"/>
                      <a:pt x="99" y="7"/>
                    </a:cubicBezTo>
                    <a:cubicBezTo>
                      <a:pt x="105" y="2"/>
                      <a:pt x="105" y="2"/>
                      <a:pt x="105" y="2"/>
                    </a:cubicBezTo>
                    <a:cubicBezTo>
                      <a:pt x="103" y="2"/>
                      <a:pt x="103" y="2"/>
                      <a:pt x="103" y="2"/>
                    </a:cubicBezTo>
                    <a:cubicBezTo>
                      <a:pt x="98" y="3"/>
                      <a:pt x="98" y="3"/>
                      <a:pt x="98" y="3"/>
                    </a:cubicBezTo>
                    <a:cubicBezTo>
                      <a:pt x="93" y="3"/>
                      <a:pt x="93" y="3"/>
                      <a:pt x="93" y="3"/>
                    </a:cubicBezTo>
                    <a:cubicBezTo>
                      <a:pt x="93" y="3"/>
                      <a:pt x="89" y="5"/>
                      <a:pt x="88" y="7"/>
                    </a:cubicBezTo>
                    <a:cubicBezTo>
                      <a:pt x="87" y="9"/>
                      <a:pt x="90" y="9"/>
                      <a:pt x="90" y="9"/>
                    </a:cubicBezTo>
                    <a:close/>
                    <a:moveTo>
                      <a:pt x="115" y="5"/>
                    </a:moveTo>
                    <a:cubicBezTo>
                      <a:pt x="118" y="5"/>
                      <a:pt x="126" y="2"/>
                      <a:pt x="118" y="2"/>
                    </a:cubicBezTo>
                    <a:cubicBezTo>
                      <a:pt x="112" y="2"/>
                      <a:pt x="109" y="3"/>
                      <a:pt x="109" y="3"/>
                    </a:cubicBezTo>
                    <a:cubicBezTo>
                      <a:pt x="109" y="6"/>
                      <a:pt x="112" y="5"/>
                      <a:pt x="115" y="5"/>
                    </a:cubicBezTo>
                    <a:close/>
                    <a:moveTo>
                      <a:pt x="136" y="2"/>
                    </a:moveTo>
                    <a:cubicBezTo>
                      <a:pt x="135" y="0"/>
                      <a:pt x="135" y="0"/>
                      <a:pt x="135" y="0"/>
                    </a:cubicBezTo>
                    <a:cubicBezTo>
                      <a:pt x="129" y="1"/>
                      <a:pt x="129" y="1"/>
                      <a:pt x="129" y="1"/>
                    </a:cubicBezTo>
                    <a:cubicBezTo>
                      <a:pt x="129" y="5"/>
                      <a:pt x="129" y="5"/>
                      <a:pt x="129" y="5"/>
                    </a:cubicBezTo>
                    <a:lnTo>
                      <a:pt x="136" y="2"/>
                    </a:lnTo>
                    <a:close/>
                  </a:path>
                </a:pathLst>
              </a:custGeom>
              <a:solidFill>
                <a:schemeClr val="accent2">
                  <a:lumMod val="40000"/>
                  <a:lumOff val="60000"/>
                </a:schemeClr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225" name="Montenegro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710238" y="4976813"/>
                <a:ext cx="187325" cy="233362"/>
              </a:xfrm>
              <a:custGeom>
                <a:avLst/>
                <a:gdLst/>
                <a:ahLst/>
                <a:cxnLst>
                  <a:cxn ang="0">
                    <a:pos x="60" y="0"/>
                  </a:cxn>
                  <a:cxn ang="0">
                    <a:pos x="59" y="9"/>
                  </a:cxn>
                  <a:cxn ang="0">
                    <a:pos x="44" y="9"/>
                  </a:cxn>
                  <a:cxn ang="0">
                    <a:pos x="34" y="2"/>
                  </a:cxn>
                  <a:cxn ang="0">
                    <a:pos x="32" y="13"/>
                  </a:cxn>
                  <a:cxn ang="0">
                    <a:pos x="49" y="36"/>
                  </a:cxn>
                  <a:cxn ang="0">
                    <a:pos x="30" y="32"/>
                  </a:cxn>
                  <a:cxn ang="0">
                    <a:pos x="13" y="43"/>
                  </a:cxn>
                  <a:cxn ang="0">
                    <a:pos x="15" y="70"/>
                  </a:cxn>
                  <a:cxn ang="0">
                    <a:pos x="2" y="78"/>
                  </a:cxn>
                  <a:cxn ang="0">
                    <a:pos x="3" y="108"/>
                  </a:cxn>
                  <a:cxn ang="0">
                    <a:pos x="9" y="108"/>
                  </a:cxn>
                  <a:cxn ang="0">
                    <a:pos x="9" y="127"/>
                  </a:cxn>
                  <a:cxn ang="0">
                    <a:pos x="0" y="133"/>
                  </a:cxn>
                  <a:cxn ang="0">
                    <a:pos x="0" y="144"/>
                  </a:cxn>
                  <a:cxn ang="0">
                    <a:pos x="7" y="148"/>
                  </a:cxn>
                  <a:cxn ang="0">
                    <a:pos x="19" y="136"/>
                  </a:cxn>
                  <a:cxn ang="0">
                    <a:pos x="28" y="138"/>
                  </a:cxn>
                  <a:cxn ang="0">
                    <a:pos x="25" y="159"/>
                  </a:cxn>
                  <a:cxn ang="0">
                    <a:pos x="34" y="165"/>
                  </a:cxn>
                  <a:cxn ang="0">
                    <a:pos x="47" y="163"/>
                  </a:cxn>
                  <a:cxn ang="0">
                    <a:pos x="49" y="170"/>
                  </a:cxn>
                  <a:cxn ang="0">
                    <a:pos x="72" y="189"/>
                  </a:cxn>
                  <a:cxn ang="0">
                    <a:pos x="72" y="199"/>
                  </a:cxn>
                  <a:cxn ang="0">
                    <a:pos x="82" y="205"/>
                  </a:cxn>
                  <a:cxn ang="0">
                    <a:pos x="93" y="208"/>
                  </a:cxn>
                  <a:cxn ang="0">
                    <a:pos x="91" y="193"/>
                  </a:cxn>
                  <a:cxn ang="0">
                    <a:pos x="87" y="174"/>
                  </a:cxn>
                  <a:cxn ang="0">
                    <a:pos x="82" y="172"/>
                  </a:cxn>
                  <a:cxn ang="0">
                    <a:pos x="116" y="106"/>
                  </a:cxn>
                  <a:cxn ang="0">
                    <a:pos x="121" y="108"/>
                  </a:cxn>
                  <a:cxn ang="0">
                    <a:pos x="121" y="121"/>
                  </a:cxn>
                  <a:cxn ang="0">
                    <a:pos x="135" y="129"/>
                  </a:cxn>
                  <a:cxn ang="0">
                    <a:pos x="145" y="122"/>
                  </a:cxn>
                  <a:cxn ang="0">
                    <a:pos x="140" y="116"/>
                  </a:cxn>
                  <a:cxn ang="0">
                    <a:pos x="130" y="96"/>
                  </a:cxn>
                  <a:cxn ang="0">
                    <a:pos x="138" y="90"/>
                  </a:cxn>
                  <a:cxn ang="0">
                    <a:pos x="146" y="90"/>
                  </a:cxn>
                  <a:cxn ang="0">
                    <a:pos x="153" y="92"/>
                  </a:cxn>
                  <a:cxn ang="0">
                    <a:pos x="158" y="83"/>
                  </a:cxn>
                  <a:cxn ang="0">
                    <a:pos x="164" y="78"/>
                  </a:cxn>
                  <a:cxn ang="0">
                    <a:pos x="166" y="66"/>
                  </a:cxn>
                  <a:cxn ang="0">
                    <a:pos x="153" y="63"/>
                  </a:cxn>
                  <a:cxn ang="0">
                    <a:pos x="120" y="47"/>
                  </a:cxn>
                  <a:cxn ang="0">
                    <a:pos x="109" y="43"/>
                  </a:cxn>
                  <a:cxn ang="0">
                    <a:pos x="94" y="30"/>
                  </a:cxn>
                  <a:cxn ang="0">
                    <a:pos x="78" y="19"/>
                  </a:cxn>
                  <a:cxn ang="0">
                    <a:pos x="66" y="10"/>
                  </a:cxn>
                  <a:cxn ang="0">
                    <a:pos x="60" y="0"/>
                  </a:cxn>
                </a:cxnLst>
                <a:rect l="0" t="0" r="r" b="b"/>
                <a:pathLst>
                  <a:path w="166" h="208">
                    <a:moveTo>
                      <a:pt x="60" y="0"/>
                    </a:moveTo>
                    <a:cubicBezTo>
                      <a:pt x="59" y="9"/>
                      <a:pt x="59" y="9"/>
                      <a:pt x="59" y="9"/>
                    </a:cubicBezTo>
                    <a:cubicBezTo>
                      <a:pt x="44" y="9"/>
                      <a:pt x="44" y="9"/>
                      <a:pt x="44" y="9"/>
                    </a:cubicBezTo>
                    <a:cubicBezTo>
                      <a:pt x="34" y="2"/>
                      <a:pt x="34" y="2"/>
                      <a:pt x="34" y="2"/>
                    </a:cubicBezTo>
                    <a:cubicBezTo>
                      <a:pt x="32" y="13"/>
                      <a:pt x="32" y="13"/>
                      <a:pt x="32" y="13"/>
                    </a:cubicBezTo>
                    <a:cubicBezTo>
                      <a:pt x="32" y="13"/>
                      <a:pt x="53" y="30"/>
                      <a:pt x="49" y="36"/>
                    </a:cubicBezTo>
                    <a:cubicBezTo>
                      <a:pt x="44" y="42"/>
                      <a:pt x="36" y="32"/>
                      <a:pt x="30" y="32"/>
                    </a:cubicBezTo>
                    <a:cubicBezTo>
                      <a:pt x="21" y="32"/>
                      <a:pt x="15" y="40"/>
                      <a:pt x="13" y="43"/>
                    </a:cubicBezTo>
                    <a:cubicBezTo>
                      <a:pt x="9" y="49"/>
                      <a:pt x="19" y="66"/>
                      <a:pt x="15" y="70"/>
                    </a:cubicBezTo>
                    <a:cubicBezTo>
                      <a:pt x="11" y="72"/>
                      <a:pt x="6" y="72"/>
                      <a:pt x="2" y="78"/>
                    </a:cubicBezTo>
                    <a:cubicBezTo>
                      <a:pt x="0" y="83"/>
                      <a:pt x="3" y="108"/>
                      <a:pt x="3" y="108"/>
                    </a:cubicBezTo>
                    <a:cubicBezTo>
                      <a:pt x="9" y="108"/>
                      <a:pt x="9" y="108"/>
                      <a:pt x="9" y="108"/>
                    </a:cubicBezTo>
                    <a:cubicBezTo>
                      <a:pt x="9" y="127"/>
                      <a:pt x="9" y="127"/>
                      <a:pt x="9" y="127"/>
                    </a:cubicBezTo>
                    <a:cubicBezTo>
                      <a:pt x="0" y="133"/>
                      <a:pt x="0" y="133"/>
                      <a:pt x="0" y="133"/>
                    </a:cubicBezTo>
                    <a:cubicBezTo>
                      <a:pt x="0" y="144"/>
                      <a:pt x="0" y="144"/>
                      <a:pt x="0" y="144"/>
                    </a:cubicBezTo>
                    <a:cubicBezTo>
                      <a:pt x="7" y="148"/>
                      <a:pt x="7" y="148"/>
                      <a:pt x="7" y="148"/>
                    </a:cubicBezTo>
                    <a:cubicBezTo>
                      <a:pt x="19" y="136"/>
                      <a:pt x="19" y="136"/>
                      <a:pt x="19" y="136"/>
                    </a:cubicBezTo>
                    <a:cubicBezTo>
                      <a:pt x="28" y="138"/>
                      <a:pt x="28" y="138"/>
                      <a:pt x="28" y="138"/>
                    </a:cubicBezTo>
                    <a:cubicBezTo>
                      <a:pt x="25" y="159"/>
                      <a:pt x="25" y="159"/>
                      <a:pt x="25" y="159"/>
                    </a:cubicBezTo>
                    <a:cubicBezTo>
                      <a:pt x="34" y="165"/>
                      <a:pt x="34" y="165"/>
                      <a:pt x="34" y="165"/>
                    </a:cubicBezTo>
                    <a:cubicBezTo>
                      <a:pt x="47" y="163"/>
                      <a:pt x="47" y="163"/>
                      <a:pt x="47" y="163"/>
                    </a:cubicBezTo>
                    <a:cubicBezTo>
                      <a:pt x="49" y="170"/>
                      <a:pt x="49" y="170"/>
                      <a:pt x="49" y="170"/>
                    </a:cubicBezTo>
                    <a:cubicBezTo>
                      <a:pt x="72" y="189"/>
                      <a:pt x="72" y="189"/>
                      <a:pt x="72" y="189"/>
                    </a:cubicBezTo>
                    <a:cubicBezTo>
                      <a:pt x="72" y="199"/>
                      <a:pt x="72" y="199"/>
                      <a:pt x="72" y="199"/>
                    </a:cubicBezTo>
                    <a:cubicBezTo>
                      <a:pt x="82" y="205"/>
                      <a:pt x="82" y="205"/>
                      <a:pt x="82" y="205"/>
                    </a:cubicBezTo>
                    <a:cubicBezTo>
                      <a:pt x="93" y="208"/>
                      <a:pt x="93" y="208"/>
                      <a:pt x="93" y="208"/>
                    </a:cubicBezTo>
                    <a:cubicBezTo>
                      <a:pt x="91" y="193"/>
                      <a:pt x="91" y="193"/>
                      <a:pt x="91" y="193"/>
                    </a:cubicBezTo>
                    <a:cubicBezTo>
                      <a:pt x="87" y="174"/>
                      <a:pt x="87" y="174"/>
                      <a:pt x="87" y="174"/>
                    </a:cubicBezTo>
                    <a:cubicBezTo>
                      <a:pt x="82" y="172"/>
                      <a:pt x="82" y="172"/>
                      <a:pt x="82" y="172"/>
                    </a:cubicBezTo>
                    <a:cubicBezTo>
                      <a:pt x="116" y="106"/>
                      <a:pt x="116" y="106"/>
                      <a:pt x="116" y="106"/>
                    </a:cubicBezTo>
                    <a:cubicBezTo>
                      <a:pt x="121" y="108"/>
                      <a:pt x="121" y="108"/>
                      <a:pt x="121" y="108"/>
                    </a:cubicBezTo>
                    <a:cubicBezTo>
                      <a:pt x="121" y="121"/>
                      <a:pt x="121" y="121"/>
                      <a:pt x="121" y="121"/>
                    </a:cubicBezTo>
                    <a:cubicBezTo>
                      <a:pt x="135" y="129"/>
                      <a:pt x="135" y="129"/>
                      <a:pt x="135" y="129"/>
                    </a:cubicBezTo>
                    <a:cubicBezTo>
                      <a:pt x="145" y="122"/>
                      <a:pt x="145" y="122"/>
                      <a:pt x="145" y="122"/>
                    </a:cubicBezTo>
                    <a:cubicBezTo>
                      <a:pt x="140" y="116"/>
                      <a:pt x="140" y="116"/>
                      <a:pt x="140" y="116"/>
                    </a:cubicBezTo>
                    <a:cubicBezTo>
                      <a:pt x="130" y="96"/>
                      <a:pt x="130" y="96"/>
                      <a:pt x="130" y="96"/>
                    </a:cubicBezTo>
                    <a:cubicBezTo>
                      <a:pt x="138" y="90"/>
                      <a:pt x="138" y="90"/>
                      <a:pt x="138" y="90"/>
                    </a:cubicBezTo>
                    <a:cubicBezTo>
                      <a:pt x="146" y="90"/>
                      <a:pt x="146" y="90"/>
                      <a:pt x="146" y="90"/>
                    </a:cubicBezTo>
                    <a:cubicBezTo>
                      <a:pt x="153" y="92"/>
                      <a:pt x="153" y="92"/>
                      <a:pt x="153" y="92"/>
                    </a:cubicBezTo>
                    <a:cubicBezTo>
                      <a:pt x="158" y="83"/>
                      <a:pt x="158" y="83"/>
                      <a:pt x="158" y="83"/>
                    </a:cubicBezTo>
                    <a:cubicBezTo>
                      <a:pt x="164" y="78"/>
                      <a:pt x="164" y="78"/>
                      <a:pt x="164" y="78"/>
                    </a:cubicBezTo>
                    <a:cubicBezTo>
                      <a:pt x="166" y="66"/>
                      <a:pt x="166" y="66"/>
                      <a:pt x="166" y="66"/>
                    </a:cubicBezTo>
                    <a:cubicBezTo>
                      <a:pt x="153" y="63"/>
                      <a:pt x="153" y="63"/>
                      <a:pt x="153" y="63"/>
                    </a:cubicBezTo>
                    <a:cubicBezTo>
                      <a:pt x="120" y="47"/>
                      <a:pt x="120" y="47"/>
                      <a:pt x="120" y="47"/>
                    </a:cubicBezTo>
                    <a:cubicBezTo>
                      <a:pt x="109" y="43"/>
                      <a:pt x="109" y="43"/>
                      <a:pt x="109" y="43"/>
                    </a:cubicBezTo>
                    <a:cubicBezTo>
                      <a:pt x="94" y="30"/>
                      <a:pt x="94" y="30"/>
                      <a:pt x="94" y="30"/>
                    </a:cubicBezTo>
                    <a:cubicBezTo>
                      <a:pt x="78" y="19"/>
                      <a:pt x="78" y="19"/>
                      <a:pt x="78" y="19"/>
                    </a:cubicBezTo>
                    <a:cubicBezTo>
                      <a:pt x="66" y="10"/>
                      <a:pt x="66" y="10"/>
                      <a:pt x="66" y="10"/>
                    </a:cubicBezTo>
                    <a:lnTo>
                      <a:pt x="60" y="0"/>
                    </a:lnTo>
                    <a:close/>
                  </a:path>
                </a:pathLst>
              </a:custGeom>
              <a:solidFill>
                <a:schemeClr val="bg1"/>
              </a:solidFill>
              <a:ln w="3175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226" name="Macedonia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937250" y="5105400"/>
                <a:ext cx="268287" cy="225425"/>
              </a:xfrm>
              <a:custGeom>
                <a:avLst/>
                <a:gdLst/>
                <a:ahLst/>
                <a:cxnLst>
                  <a:cxn ang="0">
                    <a:pos x="122" y="42"/>
                  </a:cxn>
                  <a:cxn ang="0">
                    <a:pos x="125" y="33"/>
                  </a:cxn>
                  <a:cxn ang="0">
                    <a:pos x="116" y="29"/>
                  </a:cxn>
                  <a:cxn ang="0">
                    <a:pos x="115" y="16"/>
                  </a:cxn>
                  <a:cxn ang="0">
                    <a:pos x="105" y="16"/>
                  </a:cxn>
                  <a:cxn ang="0">
                    <a:pos x="95" y="9"/>
                  </a:cxn>
                  <a:cxn ang="0">
                    <a:pos x="86" y="3"/>
                  </a:cxn>
                  <a:cxn ang="0">
                    <a:pos x="82" y="0"/>
                  </a:cxn>
                  <a:cxn ang="0">
                    <a:pos x="75" y="7"/>
                  </a:cxn>
                  <a:cxn ang="0">
                    <a:pos x="65" y="5"/>
                  </a:cxn>
                  <a:cxn ang="0">
                    <a:pos x="53" y="12"/>
                  </a:cxn>
                  <a:cxn ang="0">
                    <a:pos x="43" y="12"/>
                  </a:cxn>
                  <a:cxn ang="0">
                    <a:pos x="35" y="27"/>
                  </a:cxn>
                  <a:cxn ang="0">
                    <a:pos x="26" y="18"/>
                  </a:cxn>
                  <a:cxn ang="0">
                    <a:pos x="21" y="24"/>
                  </a:cxn>
                  <a:cxn ang="0">
                    <a:pos x="11" y="29"/>
                  </a:cxn>
                  <a:cxn ang="0">
                    <a:pos x="13" y="43"/>
                  </a:cxn>
                  <a:cxn ang="0">
                    <a:pos x="3" y="49"/>
                  </a:cxn>
                  <a:cxn ang="0">
                    <a:pos x="5" y="61"/>
                  </a:cxn>
                  <a:cxn ang="0">
                    <a:pos x="0" y="65"/>
                  </a:cxn>
                  <a:cxn ang="0">
                    <a:pos x="7" y="74"/>
                  </a:cxn>
                  <a:cxn ang="0">
                    <a:pos x="3" y="79"/>
                  </a:cxn>
                  <a:cxn ang="0">
                    <a:pos x="10" y="93"/>
                  </a:cxn>
                  <a:cxn ang="0">
                    <a:pos x="15" y="94"/>
                  </a:cxn>
                  <a:cxn ang="0">
                    <a:pos x="19" y="106"/>
                  </a:cxn>
                  <a:cxn ang="0">
                    <a:pos x="26" y="102"/>
                  </a:cxn>
                  <a:cxn ang="0">
                    <a:pos x="31" y="103"/>
                  </a:cxn>
                  <a:cxn ang="0">
                    <a:pos x="32" y="106"/>
                  </a:cxn>
                  <a:cxn ang="0">
                    <a:pos x="48" y="105"/>
                  </a:cxn>
                  <a:cxn ang="0">
                    <a:pos x="57" y="99"/>
                  </a:cxn>
                  <a:cxn ang="0">
                    <a:pos x="63" y="101"/>
                  </a:cxn>
                  <a:cxn ang="0">
                    <a:pos x="73" y="95"/>
                  </a:cxn>
                  <a:cxn ang="0">
                    <a:pos x="76" y="83"/>
                  </a:cxn>
                  <a:cxn ang="0">
                    <a:pos x="82" y="79"/>
                  </a:cxn>
                  <a:cxn ang="0">
                    <a:pos x="89" y="80"/>
                  </a:cxn>
                  <a:cxn ang="0">
                    <a:pos x="93" y="77"/>
                  </a:cxn>
                  <a:cxn ang="0">
                    <a:pos x="112" y="78"/>
                  </a:cxn>
                  <a:cxn ang="0">
                    <a:pos x="113" y="74"/>
                  </a:cxn>
                  <a:cxn ang="0">
                    <a:pos x="117" y="77"/>
                  </a:cxn>
                  <a:cxn ang="0">
                    <a:pos x="117" y="63"/>
                  </a:cxn>
                  <a:cxn ang="0">
                    <a:pos x="126" y="62"/>
                  </a:cxn>
                  <a:cxn ang="0">
                    <a:pos x="122" y="42"/>
                  </a:cxn>
                </a:cxnLst>
                <a:rect l="0" t="0" r="r" b="b"/>
                <a:pathLst>
                  <a:path w="126" h="106">
                    <a:moveTo>
                      <a:pt x="122" y="42"/>
                    </a:moveTo>
                    <a:cubicBezTo>
                      <a:pt x="125" y="33"/>
                      <a:pt x="125" y="33"/>
                      <a:pt x="125" y="33"/>
                    </a:cubicBezTo>
                    <a:cubicBezTo>
                      <a:pt x="116" y="29"/>
                      <a:pt x="116" y="29"/>
                      <a:pt x="116" y="29"/>
                    </a:cubicBezTo>
                    <a:cubicBezTo>
                      <a:pt x="115" y="16"/>
                      <a:pt x="115" y="16"/>
                      <a:pt x="115" y="16"/>
                    </a:cubicBezTo>
                    <a:cubicBezTo>
                      <a:pt x="105" y="16"/>
                      <a:pt x="105" y="16"/>
                      <a:pt x="105" y="16"/>
                    </a:cubicBezTo>
                    <a:cubicBezTo>
                      <a:pt x="100" y="17"/>
                      <a:pt x="97" y="12"/>
                      <a:pt x="95" y="9"/>
                    </a:cubicBezTo>
                    <a:cubicBezTo>
                      <a:pt x="93" y="7"/>
                      <a:pt x="86" y="3"/>
                      <a:pt x="86" y="3"/>
                    </a:cubicBezTo>
                    <a:cubicBezTo>
                      <a:pt x="82" y="0"/>
                      <a:pt x="82" y="0"/>
                      <a:pt x="82" y="0"/>
                    </a:cubicBezTo>
                    <a:cubicBezTo>
                      <a:pt x="75" y="7"/>
                      <a:pt x="75" y="7"/>
                      <a:pt x="75" y="7"/>
                    </a:cubicBezTo>
                    <a:cubicBezTo>
                      <a:pt x="65" y="5"/>
                      <a:pt x="65" y="5"/>
                      <a:pt x="65" y="5"/>
                    </a:cubicBezTo>
                    <a:cubicBezTo>
                      <a:pt x="65" y="5"/>
                      <a:pt x="58" y="12"/>
                      <a:pt x="53" y="12"/>
                    </a:cubicBezTo>
                    <a:cubicBezTo>
                      <a:pt x="49" y="13"/>
                      <a:pt x="43" y="12"/>
                      <a:pt x="43" y="12"/>
                    </a:cubicBezTo>
                    <a:cubicBezTo>
                      <a:pt x="35" y="27"/>
                      <a:pt x="35" y="27"/>
                      <a:pt x="35" y="27"/>
                    </a:cubicBezTo>
                    <a:cubicBezTo>
                      <a:pt x="26" y="18"/>
                      <a:pt x="26" y="18"/>
                      <a:pt x="26" y="18"/>
                    </a:cubicBezTo>
                    <a:cubicBezTo>
                      <a:pt x="21" y="24"/>
                      <a:pt x="21" y="24"/>
                      <a:pt x="21" y="24"/>
                    </a:cubicBezTo>
                    <a:cubicBezTo>
                      <a:pt x="21" y="24"/>
                      <a:pt x="14" y="24"/>
                      <a:pt x="11" y="29"/>
                    </a:cubicBezTo>
                    <a:cubicBezTo>
                      <a:pt x="9" y="33"/>
                      <a:pt x="13" y="43"/>
                      <a:pt x="13" y="43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5" y="61"/>
                      <a:pt x="5" y="61"/>
                      <a:pt x="5" y="61"/>
                    </a:cubicBezTo>
                    <a:cubicBezTo>
                      <a:pt x="0" y="65"/>
                      <a:pt x="0" y="65"/>
                      <a:pt x="0" y="65"/>
                    </a:cubicBezTo>
                    <a:cubicBezTo>
                      <a:pt x="7" y="74"/>
                      <a:pt x="7" y="74"/>
                      <a:pt x="7" y="74"/>
                    </a:cubicBezTo>
                    <a:cubicBezTo>
                      <a:pt x="3" y="79"/>
                      <a:pt x="3" y="79"/>
                      <a:pt x="3" y="79"/>
                    </a:cubicBezTo>
                    <a:cubicBezTo>
                      <a:pt x="10" y="93"/>
                      <a:pt x="10" y="93"/>
                      <a:pt x="10" y="93"/>
                    </a:cubicBezTo>
                    <a:cubicBezTo>
                      <a:pt x="15" y="94"/>
                      <a:pt x="15" y="94"/>
                      <a:pt x="15" y="94"/>
                    </a:cubicBezTo>
                    <a:cubicBezTo>
                      <a:pt x="19" y="106"/>
                      <a:pt x="19" y="106"/>
                      <a:pt x="19" y="106"/>
                    </a:cubicBezTo>
                    <a:cubicBezTo>
                      <a:pt x="26" y="102"/>
                      <a:pt x="26" y="102"/>
                      <a:pt x="26" y="102"/>
                    </a:cubicBezTo>
                    <a:cubicBezTo>
                      <a:pt x="31" y="103"/>
                      <a:pt x="31" y="103"/>
                      <a:pt x="31" y="103"/>
                    </a:cubicBezTo>
                    <a:cubicBezTo>
                      <a:pt x="32" y="106"/>
                      <a:pt x="32" y="106"/>
                      <a:pt x="32" y="106"/>
                    </a:cubicBezTo>
                    <a:cubicBezTo>
                      <a:pt x="48" y="105"/>
                      <a:pt x="48" y="105"/>
                      <a:pt x="48" y="105"/>
                    </a:cubicBezTo>
                    <a:cubicBezTo>
                      <a:pt x="48" y="105"/>
                      <a:pt x="53" y="99"/>
                      <a:pt x="57" y="99"/>
                    </a:cubicBezTo>
                    <a:cubicBezTo>
                      <a:pt x="59" y="99"/>
                      <a:pt x="63" y="101"/>
                      <a:pt x="63" y="101"/>
                    </a:cubicBezTo>
                    <a:cubicBezTo>
                      <a:pt x="63" y="101"/>
                      <a:pt x="69" y="97"/>
                      <a:pt x="73" y="95"/>
                    </a:cubicBezTo>
                    <a:cubicBezTo>
                      <a:pt x="76" y="92"/>
                      <a:pt x="74" y="88"/>
                      <a:pt x="76" y="83"/>
                    </a:cubicBezTo>
                    <a:cubicBezTo>
                      <a:pt x="78" y="80"/>
                      <a:pt x="82" y="79"/>
                      <a:pt x="82" y="79"/>
                    </a:cubicBezTo>
                    <a:cubicBezTo>
                      <a:pt x="89" y="80"/>
                      <a:pt x="89" y="80"/>
                      <a:pt x="89" y="80"/>
                    </a:cubicBezTo>
                    <a:cubicBezTo>
                      <a:pt x="93" y="77"/>
                      <a:pt x="93" y="77"/>
                      <a:pt x="93" y="77"/>
                    </a:cubicBezTo>
                    <a:cubicBezTo>
                      <a:pt x="112" y="78"/>
                      <a:pt x="112" y="78"/>
                      <a:pt x="112" y="78"/>
                    </a:cubicBezTo>
                    <a:cubicBezTo>
                      <a:pt x="113" y="74"/>
                      <a:pt x="113" y="74"/>
                      <a:pt x="113" y="74"/>
                    </a:cubicBezTo>
                    <a:cubicBezTo>
                      <a:pt x="117" y="77"/>
                      <a:pt x="117" y="77"/>
                      <a:pt x="117" y="77"/>
                    </a:cubicBezTo>
                    <a:cubicBezTo>
                      <a:pt x="117" y="77"/>
                      <a:pt x="116" y="67"/>
                      <a:pt x="117" y="63"/>
                    </a:cubicBezTo>
                    <a:cubicBezTo>
                      <a:pt x="117" y="60"/>
                      <a:pt x="126" y="62"/>
                      <a:pt x="126" y="62"/>
                    </a:cubicBezTo>
                    <a:lnTo>
                      <a:pt x="122" y="42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227" name="Malta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5295900" y="6042026"/>
                <a:ext cx="134893" cy="92074"/>
              </a:xfrm>
              <a:custGeom>
                <a:avLst/>
                <a:gdLst/>
                <a:ahLst/>
                <a:cxnLst>
                  <a:cxn ang="0">
                    <a:pos x="7" y="3"/>
                  </a:cxn>
                  <a:cxn ang="0">
                    <a:pos x="2" y="4"/>
                  </a:cxn>
                  <a:cxn ang="0">
                    <a:pos x="5" y="8"/>
                  </a:cxn>
                  <a:cxn ang="0">
                    <a:pos x="7" y="3"/>
                  </a:cxn>
                  <a:cxn ang="0">
                    <a:pos x="16" y="11"/>
                  </a:cxn>
                  <a:cxn ang="0">
                    <a:pos x="14" y="12"/>
                  </a:cxn>
                  <a:cxn ang="0">
                    <a:pos x="11" y="9"/>
                  </a:cxn>
                  <a:cxn ang="0">
                    <a:pos x="9" y="11"/>
                  </a:cxn>
                  <a:cxn ang="0">
                    <a:pos x="10" y="15"/>
                  </a:cxn>
                  <a:cxn ang="0">
                    <a:pos x="19" y="20"/>
                  </a:cxn>
                  <a:cxn ang="0">
                    <a:pos x="23" y="15"/>
                  </a:cxn>
                  <a:cxn ang="0">
                    <a:pos x="16" y="11"/>
                  </a:cxn>
                </a:cxnLst>
                <a:rect l="0" t="0" r="r" b="b"/>
                <a:pathLst>
                  <a:path w="23" h="20">
                    <a:moveTo>
                      <a:pt x="7" y="3"/>
                    </a:moveTo>
                    <a:cubicBezTo>
                      <a:pt x="0" y="0"/>
                      <a:pt x="2" y="4"/>
                      <a:pt x="2" y="4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9" y="9"/>
                      <a:pt x="15" y="5"/>
                      <a:pt x="7" y="3"/>
                    </a:cubicBezTo>
                    <a:close/>
                    <a:moveTo>
                      <a:pt x="16" y="11"/>
                    </a:moveTo>
                    <a:cubicBezTo>
                      <a:pt x="14" y="12"/>
                      <a:pt x="14" y="12"/>
                      <a:pt x="14" y="12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10" y="15"/>
                      <a:pt x="10" y="15"/>
                      <a:pt x="10" y="15"/>
                    </a:cubicBezTo>
                    <a:cubicBezTo>
                      <a:pt x="10" y="15"/>
                      <a:pt x="15" y="20"/>
                      <a:pt x="19" y="20"/>
                    </a:cubicBezTo>
                    <a:cubicBezTo>
                      <a:pt x="23" y="20"/>
                      <a:pt x="23" y="15"/>
                      <a:pt x="23" y="15"/>
                    </a:cubicBezTo>
                    <a:lnTo>
                      <a:pt x="16" y="11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228" name="Luxembourg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4456113" y="4092575"/>
                <a:ext cx="74612" cy="106362"/>
              </a:xfrm>
              <a:custGeom>
                <a:avLst/>
                <a:gdLst/>
                <a:ahLst/>
                <a:cxnLst>
                  <a:cxn ang="0">
                    <a:pos x="34" y="30"/>
                  </a:cxn>
                  <a:cxn ang="0">
                    <a:pos x="28" y="21"/>
                  </a:cxn>
                  <a:cxn ang="0">
                    <a:pos x="19" y="5"/>
                  </a:cxn>
                  <a:cxn ang="0">
                    <a:pos x="19" y="2"/>
                  </a:cxn>
                  <a:cxn ang="0">
                    <a:pos x="10" y="0"/>
                  </a:cxn>
                  <a:cxn ang="0">
                    <a:pos x="3" y="14"/>
                  </a:cxn>
                  <a:cxn ang="0">
                    <a:pos x="0" y="15"/>
                  </a:cxn>
                  <a:cxn ang="0">
                    <a:pos x="4" y="34"/>
                  </a:cxn>
                  <a:cxn ang="0">
                    <a:pos x="1" y="42"/>
                  </a:cxn>
                  <a:cxn ang="0">
                    <a:pos x="0" y="42"/>
                  </a:cxn>
                  <a:cxn ang="0">
                    <a:pos x="5" y="44"/>
                  </a:cxn>
                  <a:cxn ang="0">
                    <a:pos x="10" y="49"/>
                  </a:cxn>
                  <a:cxn ang="0">
                    <a:pos x="18" y="45"/>
                  </a:cxn>
                  <a:cxn ang="0">
                    <a:pos x="23" y="47"/>
                  </a:cxn>
                  <a:cxn ang="0">
                    <a:pos x="27" y="46"/>
                  </a:cxn>
                  <a:cxn ang="0">
                    <a:pos x="26" y="43"/>
                  </a:cxn>
                  <a:cxn ang="0">
                    <a:pos x="27" y="37"/>
                  </a:cxn>
                  <a:cxn ang="0">
                    <a:pos x="34" y="30"/>
                  </a:cxn>
                </a:cxnLst>
                <a:rect l="0" t="0" r="r" b="b"/>
                <a:pathLst>
                  <a:path w="35" h="50">
                    <a:moveTo>
                      <a:pt x="34" y="30"/>
                    </a:moveTo>
                    <a:cubicBezTo>
                      <a:pt x="35" y="22"/>
                      <a:pt x="29" y="26"/>
                      <a:pt x="28" y="21"/>
                    </a:cubicBezTo>
                    <a:cubicBezTo>
                      <a:pt x="23" y="22"/>
                      <a:pt x="19" y="12"/>
                      <a:pt x="19" y="5"/>
                    </a:cubicBezTo>
                    <a:cubicBezTo>
                      <a:pt x="19" y="2"/>
                      <a:pt x="19" y="2"/>
                      <a:pt x="19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3" y="14"/>
                      <a:pt x="3" y="14"/>
                      <a:pt x="3" y="14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4" y="34"/>
                      <a:pt x="4" y="34"/>
                      <a:pt x="4" y="34"/>
                    </a:cubicBezTo>
                    <a:cubicBezTo>
                      <a:pt x="1" y="42"/>
                      <a:pt x="1" y="42"/>
                      <a:pt x="1" y="42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5" y="44"/>
                      <a:pt x="5" y="44"/>
                      <a:pt x="5" y="44"/>
                    </a:cubicBezTo>
                    <a:cubicBezTo>
                      <a:pt x="5" y="44"/>
                      <a:pt x="5" y="50"/>
                      <a:pt x="10" y="49"/>
                    </a:cubicBezTo>
                    <a:cubicBezTo>
                      <a:pt x="17" y="49"/>
                      <a:pt x="15" y="44"/>
                      <a:pt x="18" y="45"/>
                    </a:cubicBezTo>
                    <a:cubicBezTo>
                      <a:pt x="21" y="45"/>
                      <a:pt x="21" y="47"/>
                      <a:pt x="23" y="47"/>
                    </a:cubicBezTo>
                    <a:cubicBezTo>
                      <a:pt x="24" y="47"/>
                      <a:pt x="25" y="47"/>
                      <a:pt x="27" y="46"/>
                    </a:cubicBezTo>
                    <a:cubicBezTo>
                      <a:pt x="26" y="46"/>
                      <a:pt x="26" y="45"/>
                      <a:pt x="26" y="43"/>
                    </a:cubicBezTo>
                    <a:cubicBezTo>
                      <a:pt x="26" y="41"/>
                      <a:pt x="25" y="38"/>
                      <a:pt x="27" y="37"/>
                    </a:cubicBezTo>
                    <a:cubicBezTo>
                      <a:pt x="28" y="36"/>
                      <a:pt x="33" y="31"/>
                      <a:pt x="34" y="30"/>
                    </a:cubicBez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229" name="Lithonia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737225" y="3146425"/>
                <a:ext cx="473075" cy="357187"/>
              </a:xfrm>
              <a:custGeom>
                <a:avLst/>
                <a:gdLst/>
                <a:ahLst/>
                <a:cxnLst>
                  <a:cxn ang="0">
                    <a:pos x="87" y="142"/>
                  </a:cxn>
                  <a:cxn ang="0">
                    <a:pos x="110" y="154"/>
                  </a:cxn>
                  <a:cxn ang="0">
                    <a:pos x="114" y="168"/>
                  </a:cxn>
                  <a:cxn ang="0">
                    <a:pos x="127" y="163"/>
                  </a:cxn>
                  <a:cxn ang="0">
                    <a:pos x="141" y="163"/>
                  </a:cxn>
                  <a:cxn ang="0">
                    <a:pos x="155" y="158"/>
                  </a:cxn>
                  <a:cxn ang="0">
                    <a:pos x="161" y="146"/>
                  </a:cxn>
                  <a:cxn ang="0">
                    <a:pos x="175" y="136"/>
                  </a:cxn>
                  <a:cxn ang="0">
                    <a:pos x="189" y="142"/>
                  </a:cxn>
                  <a:cxn ang="0">
                    <a:pos x="188" y="129"/>
                  </a:cxn>
                  <a:cxn ang="0">
                    <a:pos x="188" y="96"/>
                  </a:cxn>
                  <a:cxn ang="0">
                    <a:pos x="203" y="74"/>
                  </a:cxn>
                  <a:cxn ang="0">
                    <a:pos x="218" y="65"/>
                  </a:cxn>
                  <a:cxn ang="0">
                    <a:pos x="207" y="58"/>
                  </a:cxn>
                  <a:cxn ang="0">
                    <a:pos x="210" y="42"/>
                  </a:cxn>
                  <a:cxn ang="0">
                    <a:pos x="197" y="33"/>
                  </a:cxn>
                  <a:cxn ang="0">
                    <a:pos x="191" y="29"/>
                  </a:cxn>
                  <a:cxn ang="0">
                    <a:pos x="169" y="15"/>
                  </a:cxn>
                  <a:cxn ang="0">
                    <a:pos x="148" y="14"/>
                  </a:cxn>
                  <a:cxn ang="0">
                    <a:pos x="137" y="0"/>
                  </a:cxn>
                  <a:cxn ang="0">
                    <a:pos x="127" y="12"/>
                  </a:cxn>
                  <a:cxn ang="0">
                    <a:pos x="120" y="12"/>
                  </a:cxn>
                  <a:cxn ang="0">
                    <a:pos x="107" y="10"/>
                  </a:cxn>
                  <a:cxn ang="0">
                    <a:pos x="90" y="15"/>
                  </a:cxn>
                  <a:cxn ang="0">
                    <a:pos x="77" y="13"/>
                  </a:cxn>
                  <a:cxn ang="0">
                    <a:pos x="71" y="18"/>
                  </a:cxn>
                  <a:cxn ang="0">
                    <a:pos x="66" y="13"/>
                  </a:cxn>
                  <a:cxn ang="0">
                    <a:pos x="54" y="15"/>
                  </a:cxn>
                  <a:cxn ang="0">
                    <a:pos x="31" y="21"/>
                  </a:cxn>
                  <a:cxn ang="0">
                    <a:pos x="23" y="24"/>
                  </a:cxn>
                  <a:cxn ang="0">
                    <a:pos x="7" y="40"/>
                  </a:cxn>
                  <a:cxn ang="0">
                    <a:pos x="4" y="40"/>
                  </a:cxn>
                  <a:cxn ang="0">
                    <a:pos x="5" y="62"/>
                  </a:cxn>
                  <a:cxn ang="0">
                    <a:pos x="6" y="72"/>
                  </a:cxn>
                  <a:cxn ang="0">
                    <a:pos x="5" y="94"/>
                  </a:cxn>
                  <a:cxn ang="0">
                    <a:pos x="9" y="86"/>
                  </a:cxn>
                  <a:cxn ang="0">
                    <a:pos x="9" y="71"/>
                  </a:cxn>
                  <a:cxn ang="0">
                    <a:pos x="14" y="87"/>
                  </a:cxn>
                  <a:cxn ang="0">
                    <a:pos x="16" y="92"/>
                  </a:cxn>
                  <a:cxn ang="0">
                    <a:pos x="24" y="100"/>
                  </a:cxn>
                  <a:cxn ang="0">
                    <a:pos x="37" y="102"/>
                  </a:cxn>
                  <a:cxn ang="0">
                    <a:pos x="48" y="107"/>
                  </a:cxn>
                  <a:cxn ang="0">
                    <a:pos x="69" y="103"/>
                  </a:cxn>
                  <a:cxn ang="0">
                    <a:pos x="77" y="120"/>
                  </a:cxn>
                  <a:cxn ang="0">
                    <a:pos x="81" y="146"/>
                  </a:cxn>
                </a:cxnLst>
                <a:rect l="0" t="0" r="r" b="b"/>
                <a:pathLst>
                  <a:path w="222" h="168">
                    <a:moveTo>
                      <a:pt x="83" y="146"/>
                    </a:moveTo>
                    <a:cubicBezTo>
                      <a:pt x="83" y="146"/>
                      <a:pt x="84" y="141"/>
                      <a:pt x="87" y="142"/>
                    </a:cubicBezTo>
                    <a:cubicBezTo>
                      <a:pt x="90" y="143"/>
                      <a:pt x="89" y="147"/>
                      <a:pt x="93" y="148"/>
                    </a:cubicBezTo>
                    <a:cubicBezTo>
                      <a:pt x="97" y="148"/>
                      <a:pt x="105" y="146"/>
                      <a:pt x="110" y="154"/>
                    </a:cubicBezTo>
                    <a:cubicBezTo>
                      <a:pt x="114" y="162"/>
                      <a:pt x="111" y="165"/>
                      <a:pt x="111" y="165"/>
                    </a:cubicBezTo>
                    <a:cubicBezTo>
                      <a:pt x="114" y="168"/>
                      <a:pt x="114" y="168"/>
                      <a:pt x="114" y="168"/>
                    </a:cubicBezTo>
                    <a:cubicBezTo>
                      <a:pt x="126" y="167"/>
                      <a:pt x="126" y="167"/>
                      <a:pt x="126" y="167"/>
                    </a:cubicBezTo>
                    <a:cubicBezTo>
                      <a:pt x="127" y="163"/>
                      <a:pt x="127" y="163"/>
                      <a:pt x="127" y="163"/>
                    </a:cubicBezTo>
                    <a:cubicBezTo>
                      <a:pt x="134" y="165"/>
                      <a:pt x="134" y="165"/>
                      <a:pt x="134" y="165"/>
                    </a:cubicBezTo>
                    <a:cubicBezTo>
                      <a:pt x="141" y="163"/>
                      <a:pt x="141" y="163"/>
                      <a:pt x="141" y="163"/>
                    </a:cubicBezTo>
                    <a:cubicBezTo>
                      <a:pt x="148" y="166"/>
                      <a:pt x="148" y="166"/>
                      <a:pt x="148" y="166"/>
                    </a:cubicBezTo>
                    <a:cubicBezTo>
                      <a:pt x="155" y="158"/>
                      <a:pt x="155" y="158"/>
                      <a:pt x="155" y="158"/>
                    </a:cubicBezTo>
                    <a:cubicBezTo>
                      <a:pt x="155" y="158"/>
                      <a:pt x="159" y="160"/>
                      <a:pt x="163" y="158"/>
                    </a:cubicBezTo>
                    <a:cubicBezTo>
                      <a:pt x="167" y="157"/>
                      <a:pt x="160" y="148"/>
                      <a:pt x="161" y="146"/>
                    </a:cubicBezTo>
                    <a:cubicBezTo>
                      <a:pt x="163" y="143"/>
                      <a:pt x="171" y="146"/>
                      <a:pt x="171" y="146"/>
                    </a:cubicBezTo>
                    <a:cubicBezTo>
                      <a:pt x="175" y="136"/>
                      <a:pt x="175" y="136"/>
                      <a:pt x="175" y="136"/>
                    </a:cubicBezTo>
                    <a:cubicBezTo>
                      <a:pt x="175" y="136"/>
                      <a:pt x="181" y="134"/>
                      <a:pt x="186" y="134"/>
                    </a:cubicBezTo>
                    <a:cubicBezTo>
                      <a:pt x="190" y="133"/>
                      <a:pt x="186" y="139"/>
                      <a:pt x="189" y="142"/>
                    </a:cubicBezTo>
                    <a:cubicBezTo>
                      <a:pt x="192" y="145"/>
                      <a:pt x="199" y="140"/>
                      <a:pt x="197" y="133"/>
                    </a:cubicBezTo>
                    <a:cubicBezTo>
                      <a:pt x="197" y="128"/>
                      <a:pt x="188" y="129"/>
                      <a:pt x="188" y="129"/>
                    </a:cubicBezTo>
                    <a:cubicBezTo>
                      <a:pt x="191" y="113"/>
                      <a:pt x="191" y="113"/>
                      <a:pt x="191" y="113"/>
                    </a:cubicBezTo>
                    <a:cubicBezTo>
                      <a:pt x="191" y="113"/>
                      <a:pt x="188" y="101"/>
                      <a:pt x="188" y="96"/>
                    </a:cubicBezTo>
                    <a:cubicBezTo>
                      <a:pt x="188" y="92"/>
                      <a:pt x="195" y="87"/>
                      <a:pt x="200" y="86"/>
                    </a:cubicBezTo>
                    <a:cubicBezTo>
                      <a:pt x="204" y="84"/>
                      <a:pt x="203" y="74"/>
                      <a:pt x="203" y="74"/>
                    </a:cubicBezTo>
                    <a:cubicBezTo>
                      <a:pt x="218" y="70"/>
                      <a:pt x="218" y="70"/>
                      <a:pt x="218" y="70"/>
                    </a:cubicBezTo>
                    <a:cubicBezTo>
                      <a:pt x="218" y="65"/>
                      <a:pt x="218" y="65"/>
                      <a:pt x="218" y="65"/>
                    </a:cubicBezTo>
                    <a:cubicBezTo>
                      <a:pt x="218" y="65"/>
                      <a:pt x="222" y="60"/>
                      <a:pt x="221" y="56"/>
                    </a:cubicBezTo>
                    <a:cubicBezTo>
                      <a:pt x="220" y="53"/>
                      <a:pt x="207" y="58"/>
                      <a:pt x="207" y="58"/>
                    </a:cubicBezTo>
                    <a:cubicBezTo>
                      <a:pt x="208" y="48"/>
                      <a:pt x="208" y="48"/>
                      <a:pt x="208" y="48"/>
                    </a:cubicBezTo>
                    <a:cubicBezTo>
                      <a:pt x="210" y="42"/>
                      <a:pt x="210" y="42"/>
                      <a:pt x="210" y="42"/>
                    </a:cubicBezTo>
                    <a:cubicBezTo>
                      <a:pt x="210" y="36"/>
                      <a:pt x="210" y="36"/>
                      <a:pt x="210" y="36"/>
                    </a:cubicBezTo>
                    <a:cubicBezTo>
                      <a:pt x="197" y="33"/>
                      <a:pt x="197" y="33"/>
                      <a:pt x="197" y="33"/>
                    </a:cubicBezTo>
                    <a:cubicBezTo>
                      <a:pt x="196" y="29"/>
                      <a:pt x="196" y="29"/>
                      <a:pt x="196" y="29"/>
                    </a:cubicBezTo>
                    <a:cubicBezTo>
                      <a:pt x="191" y="29"/>
                      <a:pt x="191" y="29"/>
                      <a:pt x="191" y="29"/>
                    </a:cubicBezTo>
                    <a:cubicBezTo>
                      <a:pt x="191" y="29"/>
                      <a:pt x="188" y="22"/>
                      <a:pt x="186" y="19"/>
                    </a:cubicBezTo>
                    <a:cubicBezTo>
                      <a:pt x="183" y="16"/>
                      <a:pt x="169" y="15"/>
                      <a:pt x="169" y="15"/>
                    </a:cubicBezTo>
                    <a:cubicBezTo>
                      <a:pt x="169" y="12"/>
                      <a:pt x="169" y="12"/>
                      <a:pt x="169" y="12"/>
                    </a:cubicBezTo>
                    <a:cubicBezTo>
                      <a:pt x="148" y="14"/>
                      <a:pt x="148" y="14"/>
                      <a:pt x="148" y="14"/>
                    </a:cubicBezTo>
                    <a:cubicBezTo>
                      <a:pt x="142" y="2"/>
                      <a:pt x="142" y="2"/>
                      <a:pt x="142" y="2"/>
                    </a:cubicBezTo>
                    <a:cubicBezTo>
                      <a:pt x="137" y="0"/>
                      <a:pt x="137" y="0"/>
                      <a:pt x="137" y="0"/>
                    </a:cubicBezTo>
                    <a:cubicBezTo>
                      <a:pt x="130" y="5"/>
                      <a:pt x="130" y="5"/>
                      <a:pt x="130" y="5"/>
                    </a:cubicBezTo>
                    <a:cubicBezTo>
                      <a:pt x="127" y="12"/>
                      <a:pt x="127" y="12"/>
                      <a:pt x="127" y="12"/>
                    </a:cubicBezTo>
                    <a:cubicBezTo>
                      <a:pt x="124" y="13"/>
                      <a:pt x="124" y="13"/>
                      <a:pt x="124" y="13"/>
                    </a:cubicBezTo>
                    <a:cubicBezTo>
                      <a:pt x="120" y="12"/>
                      <a:pt x="120" y="12"/>
                      <a:pt x="120" y="12"/>
                    </a:cubicBezTo>
                    <a:cubicBezTo>
                      <a:pt x="113" y="15"/>
                      <a:pt x="113" y="15"/>
                      <a:pt x="113" y="15"/>
                    </a:cubicBezTo>
                    <a:cubicBezTo>
                      <a:pt x="107" y="10"/>
                      <a:pt x="107" y="10"/>
                      <a:pt x="107" y="10"/>
                    </a:cubicBezTo>
                    <a:cubicBezTo>
                      <a:pt x="94" y="10"/>
                      <a:pt x="94" y="10"/>
                      <a:pt x="94" y="10"/>
                    </a:cubicBezTo>
                    <a:cubicBezTo>
                      <a:pt x="90" y="15"/>
                      <a:pt x="90" y="15"/>
                      <a:pt x="90" y="15"/>
                    </a:cubicBezTo>
                    <a:cubicBezTo>
                      <a:pt x="83" y="12"/>
                      <a:pt x="83" y="12"/>
                      <a:pt x="83" y="12"/>
                    </a:cubicBezTo>
                    <a:cubicBezTo>
                      <a:pt x="77" y="13"/>
                      <a:pt x="77" y="13"/>
                      <a:pt x="77" y="13"/>
                    </a:cubicBezTo>
                    <a:cubicBezTo>
                      <a:pt x="75" y="18"/>
                      <a:pt x="75" y="18"/>
                      <a:pt x="75" y="18"/>
                    </a:cubicBezTo>
                    <a:cubicBezTo>
                      <a:pt x="71" y="18"/>
                      <a:pt x="71" y="18"/>
                      <a:pt x="71" y="18"/>
                    </a:cubicBezTo>
                    <a:cubicBezTo>
                      <a:pt x="70" y="12"/>
                      <a:pt x="70" y="12"/>
                      <a:pt x="70" y="12"/>
                    </a:cubicBezTo>
                    <a:cubicBezTo>
                      <a:pt x="66" y="13"/>
                      <a:pt x="66" y="13"/>
                      <a:pt x="66" y="13"/>
                    </a:cubicBezTo>
                    <a:cubicBezTo>
                      <a:pt x="58" y="18"/>
                      <a:pt x="58" y="18"/>
                      <a:pt x="58" y="18"/>
                    </a:cubicBezTo>
                    <a:cubicBezTo>
                      <a:pt x="54" y="15"/>
                      <a:pt x="54" y="15"/>
                      <a:pt x="54" y="15"/>
                    </a:cubicBezTo>
                    <a:cubicBezTo>
                      <a:pt x="36" y="16"/>
                      <a:pt x="36" y="16"/>
                      <a:pt x="36" y="16"/>
                    </a:cubicBezTo>
                    <a:cubicBezTo>
                      <a:pt x="31" y="21"/>
                      <a:pt x="31" y="21"/>
                      <a:pt x="31" y="21"/>
                    </a:cubicBezTo>
                    <a:cubicBezTo>
                      <a:pt x="28" y="20"/>
                      <a:pt x="28" y="20"/>
                      <a:pt x="28" y="20"/>
                    </a:cubicBezTo>
                    <a:cubicBezTo>
                      <a:pt x="23" y="24"/>
                      <a:pt x="23" y="24"/>
                      <a:pt x="23" y="24"/>
                    </a:cubicBezTo>
                    <a:cubicBezTo>
                      <a:pt x="23" y="24"/>
                      <a:pt x="20" y="22"/>
                      <a:pt x="16" y="26"/>
                    </a:cubicBezTo>
                    <a:cubicBezTo>
                      <a:pt x="12" y="31"/>
                      <a:pt x="7" y="40"/>
                      <a:pt x="7" y="40"/>
                    </a:cubicBezTo>
                    <a:cubicBezTo>
                      <a:pt x="5" y="42"/>
                      <a:pt x="5" y="42"/>
                      <a:pt x="5" y="42"/>
                    </a:cubicBezTo>
                    <a:cubicBezTo>
                      <a:pt x="4" y="40"/>
                      <a:pt x="4" y="40"/>
                      <a:pt x="4" y="40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0" y="44"/>
                      <a:pt x="4" y="57"/>
                      <a:pt x="5" y="62"/>
                    </a:cubicBezTo>
                    <a:cubicBezTo>
                      <a:pt x="5" y="64"/>
                      <a:pt x="6" y="66"/>
                      <a:pt x="7" y="68"/>
                    </a:cubicBezTo>
                    <a:cubicBezTo>
                      <a:pt x="6" y="72"/>
                      <a:pt x="6" y="72"/>
                      <a:pt x="6" y="72"/>
                    </a:cubicBezTo>
                    <a:cubicBezTo>
                      <a:pt x="7" y="84"/>
                      <a:pt x="7" y="84"/>
                      <a:pt x="7" y="84"/>
                    </a:cubicBezTo>
                    <a:cubicBezTo>
                      <a:pt x="5" y="94"/>
                      <a:pt x="5" y="94"/>
                      <a:pt x="5" y="94"/>
                    </a:cubicBezTo>
                    <a:cubicBezTo>
                      <a:pt x="7" y="93"/>
                      <a:pt x="7" y="93"/>
                      <a:pt x="7" y="93"/>
                    </a:cubicBezTo>
                    <a:cubicBezTo>
                      <a:pt x="9" y="86"/>
                      <a:pt x="9" y="86"/>
                      <a:pt x="9" y="86"/>
                    </a:cubicBezTo>
                    <a:cubicBezTo>
                      <a:pt x="8" y="73"/>
                      <a:pt x="8" y="73"/>
                      <a:pt x="8" y="73"/>
                    </a:cubicBezTo>
                    <a:cubicBezTo>
                      <a:pt x="9" y="71"/>
                      <a:pt x="9" y="71"/>
                      <a:pt x="9" y="71"/>
                    </a:cubicBezTo>
                    <a:cubicBezTo>
                      <a:pt x="10" y="76"/>
                      <a:pt x="12" y="79"/>
                      <a:pt x="12" y="79"/>
                    </a:cubicBezTo>
                    <a:cubicBezTo>
                      <a:pt x="14" y="87"/>
                      <a:pt x="14" y="87"/>
                      <a:pt x="14" y="87"/>
                    </a:cubicBezTo>
                    <a:cubicBezTo>
                      <a:pt x="12" y="92"/>
                      <a:pt x="12" y="92"/>
                      <a:pt x="12" y="92"/>
                    </a:cubicBezTo>
                    <a:cubicBezTo>
                      <a:pt x="16" y="92"/>
                      <a:pt x="16" y="92"/>
                      <a:pt x="16" y="92"/>
                    </a:cubicBezTo>
                    <a:cubicBezTo>
                      <a:pt x="19" y="96"/>
                      <a:pt x="19" y="96"/>
                      <a:pt x="19" y="96"/>
                    </a:cubicBezTo>
                    <a:cubicBezTo>
                      <a:pt x="24" y="100"/>
                      <a:pt x="24" y="100"/>
                      <a:pt x="24" y="100"/>
                    </a:cubicBezTo>
                    <a:cubicBezTo>
                      <a:pt x="30" y="99"/>
                      <a:pt x="30" y="99"/>
                      <a:pt x="30" y="99"/>
                    </a:cubicBezTo>
                    <a:cubicBezTo>
                      <a:pt x="30" y="99"/>
                      <a:pt x="32" y="100"/>
                      <a:pt x="37" y="102"/>
                    </a:cubicBezTo>
                    <a:cubicBezTo>
                      <a:pt x="41" y="105"/>
                      <a:pt x="47" y="103"/>
                      <a:pt x="47" y="103"/>
                    </a:cubicBezTo>
                    <a:cubicBezTo>
                      <a:pt x="48" y="107"/>
                      <a:pt x="48" y="107"/>
                      <a:pt x="48" y="107"/>
                    </a:cubicBezTo>
                    <a:cubicBezTo>
                      <a:pt x="58" y="103"/>
                      <a:pt x="58" y="103"/>
                      <a:pt x="58" y="103"/>
                    </a:cubicBezTo>
                    <a:cubicBezTo>
                      <a:pt x="69" y="103"/>
                      <a:pt x="69" y="103"/>
                      <a:pt x="69" y="103"/>
                    </a:cubicBezTo>
                    <a:cubicBezTo>
                      <a:pt x="69" y="103"/>
                      <a:pt x="78" y="110"/>
                      <a:pt x="81" y="112"/>
                    </a:cubicBezTo>
                    <a:cubicBezTo>
                      <a:pt x="85" y="115"/>
                      <a:pt x="77" y="120"/>
                      <a:pt x="77" y="120"/>
                    </a:cubicBezTo>
                    <a:cubicBezTo>
                      <a:pt x="77" y="120"/>
                      <a:pt x="75" y="125"/>
                      <a:pt x="75" y="131"/>
                    </a:cubicBezTo>
                    <a:cubicBezTo>
                      <a:pt x="74" y="139"/>
                      <a:pt x="81" y="146"/>
                      <a:pt x="81" y="146"/>
                    </a:cubicBezTo>
                    <a:lnTo>
                      <a:pt x="83" y="146"/>
                    </a:lnTo>
                    <a:close/>
                  </a:path>
                </a:pathLst>
              </a:custGeom>
              <a:solidFill>
                <a:schemeClr val="accent2">
                  <a:lumMod val="40000"/>
                  <a:lumOff val="60000"/>
                </a:schemeClr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230" name="Latvia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726113" y="2919413"/>
                <a:ext cx="568325" cy="320675"/>
              </a:xfrm>
              <a:custGeom>
                <a:avLst/>
                <a:gdLst/>
                <a:ahLst/>
                <a:cxnLst>
                  <a:cxn ang="0">
                    <a:pos x="264" y="89"/>
                  </a:cxn>
                  <a:cxn ang="0">
                    <a:pos x="259" y="74"/>
                  </a:cxn>
                  <a:cxn ang="0">
                    <a:pos x="255" y="68"/>
                  </a:cxn>
                  <a:cxn ang="0">
                    <a:pos x="249" y="61"/>
                  </a:cxn>
                  <a:cxn ang="0">
                    <a:pos x="237" y="61"/>
                  </a:cxn>
                  <a:cxn ang="0">
                    <a:pos x="237" y="46"/>
                  </a:cxn>
                  <a:cxn ang="0">
                    <a:pos x="240" y="31"/>
                  </a:cxn>
                  <a:cxn ang="0">
                    <a:pos x="225" y="25"/>
                  </a:cxn>
                  <a:cxn ang="0">
                    <a:pos x="212" y="20"/>
                  </a:cxn>
                  <a:cxn ang="0">
                    <a:pos x="190" y="26"/>
                  </a:cxn>
                  <a:cxn ang="0">
                    <a:pos x="177" y="23"/>
                  </a:cxn>
                  <a:cxn ang="0">
                    <a:pos x="167" y="13"/>
                  </a:cxn>
                  <a:cxn ang="0">
                    <a:pos x="161" y="11"/>
                  </a:cxn>
                  <a:cxn ang="0">
                    <a:pos x="153" y="9"/>
                  </a:cxn>
                  <a:cxn ang="0">
                    <a:pos x="146" y="4"/>
                  </a:cxn>
                  <a:cxn ang="0">
                    <a:pos x="139" y="5"/>
                  </a:cxn>
                  <a:cxn ang="0">
                    <a:pos x="132" y="0"/>
                  </a:cxn>
                  <a:cxn ang="0">
                    <a:pos x="121" y="7"/>
                  </a:cxn>
                  <a:cxn ang="0">
                    <a:pos x="115" y="11"/>
                  </a:cxn>
                  <a:cxn ang="0">
                    <a:pos x="111" y="18"/>
                  </a:cxn>
                  <a:cxn ang="0">
                    <a:pos x="109" y="23"/>
                  </a:cxn>
                  <a:cxn ang="0">
                    <a:pos x="117" y="60"/>
                  </a:cxn>
                  <a:cxn ang="0">
                    <a:pos x="95" y="79"/>
                  </a:cxn>
                  <a:cxn ang="0">
                    <a:pos x="78" y="75"/>
                  </a:cxn>
                  <a:cxn ang="0">
                    <a:pos x="73" y="62"/>
                  </a:cxn>
                  <a:cxn ang="0">
                    <a:pos x="65" y="56"/>
                  </a:cxn>
                  <a:cxn ang="0">
                    <a:pos x="51" y="46"/>
                  </a:cxn>
                  <a:cxn ang="0">
                    <a:pos x="18" y="54"/>
                  </a:cxn>
                  <a:cxn ang="0">
                    <a:pos x="12" y="88"/>
                  </a:cxn>
                  <a:cxn ang="0">
                    <a:pos x="2" y="116"/>
                  </a:cxn>
                  <a:cxn ang="0">
                    <a:pos x="2" y="127"/>
                  </a:cxn>
                  <a:cxn ang="0">
                    <a:pos x="4" y="123"/>
                  </a:cxn>
                  <a:cxn ang="0">
                    <a:pos x="3" y="132"/>
                  </a:cxn>
                  <a:cxn ang="0">
                    <a:pos x="0" y="135"/>
                  </a:cxn>
                  <a:cxn ang="0">
                    <a:pos x="5" y="151"/>
                  </a:cxn>
                  <a:cxn ang="0">
                    <a:pos x="10" y="149"/>
                  </a:cxn>
                  <a:cxn ang="0">
                    <a:pos x="21" y="133"/>
                  </a:cxn>
                  <a:cxn ang="0">
                    <a:pos x="33" y="127"/>
                  </a:cxn>
                  <a:cxn ang="0">
                    <a:pos x="41" y="123"/>
                  </a:cxn>
                  <a:cxn ang="0">
                    <a:pos x="63" y="125"/>
                  </a:cxn>
                  <a:cxn ang="0">
                    <a:pos x="75" y="119"/>
                  </a:cxn>
                  <a:cxn ang="0">
                    <a:pos x="80" y="125"/>
                  </a:cxn>
                  <a:cxn ang="0">
                    <a:pos x="88" y="119"/>
                  </a:cxn>
                  <a:cxn ang="0">
                    <a:pos x="99" y="117"/>
                  </a:cxn>
                  <a:cxn ang="0">
                    <a:pos x="118" y="122"/>
                  </a:cxn>
                  <a:cxn ang="0">
                    <a:pos x="129" y="120"/>
                  </a:cxn>
                  <a:cxn ang="0">
                    <a:pos x="135" y="112"/>
                  </a:cxn>
                  <a:cxn ang="0">
                    <a:pos x="147" y="109"/>
                  </a:cxn>
                  <a:cxn ang="0">
                    <a:pos x="174" y="119"/>
                  </a:cxn>
                  <a:cxn ang="0">
                    <a:pos x="191" y="126"/>
                  </a:cxn>
                  <a:cxn ang="0">
                    <a:pos x="201" y="136"/>
                  </a:cxn>
                  <a:cxn ang="0">
                    <a:pos x="215" y="143"/>
                  </a:cxn>
                  <a:cxn ang="0">
                    <a:pos x="225" y="138"/>
                  </a:cxn>
                  <a:cxn ang="0">
                    <a:pos x="232" y="127"/>
                  </a:cxn>
                  <a:cxn ang="0">
                    <a:pos x="244" y="129"/>
                  </a:cxn>
                  <a:cxn ang="0">
                    <a:pos x="251" y="119"/>
                  </a:cxn>
                  <a:cxn ang="0">
                    <a:pos x="265" y="101"/>
                  </a:cxn>
                </a:cxnLst>
                <a:rect l="0" t="0" r="r" b="b"/>
                <a:pathLst>
                  <a:path w="267" h="151">
                    <a:moveTo>
                      <a:pt x="266" y="90"/>
                    </a:moveTo>
                    <a:cubicBezTo>
                      <a:pt x="264" y="89"/>
                      <a:pt x="264" y="89"/>
                      <a:pt x="264" y="89"/>
                    </a:cubicBezTo>
                    <a:cubicBezTo>
                      <a:pt x="262" y="83"/>
                      <a:pt x="262" y="83"/>
                      <a:pt x="262" y="83"/>
                    </a:cubicBezTo>
                    <a:cubicBezTo>
                      <a:pt x="259" y="74"/>
                      <a:pt x="259" y="74"/>
                      <a:pt x="259" y="74"/>
                    </a:cubicBezTo>
                    <a:cubicBezTo>
                      <a:pt x="256" y="73"/>
                      <a:pt x="256" y="73"/>
                      <a:pt x="256" y="73"/>
                    </a:cubicBezTo>
                    <a:cubicBezTo>
                      <a:pt x="255" y="68"/>
                      <a:pt x="255" y="68"/>
                      <a:pt x="255" y="68"/>
                    </a:cubicBezTo>
                    <a:cubicBezTo>
                      <a:pt x="247" y="66"/>
                      <a:pt x="247" y="66"/>
                      <a:pt x="247" y="66"/>
                    </a:cubicBezTo>
                    <a:cubicBezTo>
                      <a:pt x="249" y="61"/>
                      <a:pt x="249" y="61"/>
                      <a:pt x="249" y="61"/>
                    </a:cubicBezTo>
                    <a:cubicBezTo>
                      <a:pt x="249" y="61"/>
                      <a:pt x="247" y="58"/>
                      <a:pt x="245" y="58"/>
                    </a:cubicBezTo>
                    <a:cubicBezTo>
                      <a:pt x="242" y="58"/>
                      <a:pt x="237" y="61"/>
                      <a:pt x="237" y="61"/>
                    </a:cubicBezTo>
                    <a:cubicBezTo>
                      <a:pt x="239" y="50"/>
                      <a:pt x="239" y="50"/>
                      <a:pt x="239" y="50"/>
                    </a:cubicBezTo>
                    <a:cubicBezTo>
                      <a:pt x="237" y="46"/>
                      <a:pt x="237" y="46"/>
                      <a:pt x="237" y="46"/>
                    </a:cubicBezTo>
                    <a:cubicBezTo>
                      <a:pt x="240" y="42"/>
                      <a:pt x="240" y="42"/>
                      <a:pt x="240" y="42"/>
                    </a:cubicBezTo>
                    <a:cubicBezTo>
                      <a:pt x="240" y="31"/>
                      <a:pt x="240" y="31"/>
                      <a:pt x="240" y="31"/>
                    </a:cubicBezTo>
                    <a:cubicBezTo>
                      <a:pt x="240" y="31"/>
                      <a:pt x="237" y="28"/>
                      <a:pt x="234" y="27"/>
                    </a:cubicBezTo>
                    <a:cubicBezTo>
                      <a:pt x="232" y="26"/>
                      <a:pt x="225" y="25"/>
                      <a:pt x="225" y="25"/>
                    </a:cubicBezTo>
                    <a:cubicBezTo>
                      <a:pt x="223" y="18"/>
                      <a:pt x="223" y="18"/>
                      <a:pt x="223" y="18"/>
                    </a:cubicBezTo>
                    <a:cubicBezTo>
                      <a:pt x="223" y="18"/>
                      <a:pt x="215" y="20"/>
                      <a:pt x="212" y="20"/>
                    </a:cubicBezTo>
                    <a:cubicBezTo>
                      <a:pt x="209" y="21"/>
                      <a:pt x="201" y="18"/>
                      <a:pt x="201" y="18"/>
                    </a:cubicBezTo>
                    <a:cubicBezTo>
                      <a:pt x="190" y="26"/>
                      <a:pt x="190" y="26"/>
                      <a:pt x="190" y="26"/>
                    </a:cubicBezTo>
                    <a:cubicBezTo>
                      <a:pt x="186" y="23"/>
                      <a:pt x="186" y="23"/>
                      <a:pt x="186" y="23"/>
                    </a:cubicBezTo>
                    <a:cubicBezTo>
                      <a:pt x="177" y="23"/>
                      <a:pt x="177" y="23"/>
                      <a:pt x="177" y="23"/>
                    </a:cubicBezTo>
                    <a:cubicBezTo>
                      <a:pt x="175" y="23"/>
                      <a:pt x="176" y="18"/>
                      <a:pt x="174" y="16"/>
                    </a:cubicBezTo>
                    <a:cubicBezTo>
                      <a:pt x="172" y="15"/>
                      <a:pt x="167" y="13"/>
                      <a:pt x="167" y="13"/>
                    </a:cubicBezTo>
                    <a:cubicBezTo>
                      <a:pt x="167" y="9"/>
                      <a:pt x="167" y="9"/>
                      <a:pt x="167" y="9"/>
                    </a:cubicBezTo>
                    <a:cubicBezTo>
                      <a:pt x="167" y="9"/>
                      <a:pt x="163" y="11"/>
                      <a:pt x="161" y="11"/>
                    </a:cubicBezTo>
                    <a:cubicBezTo>
                      <a:pt x="159" y="11"/>
                      <a:pt x="157" y="6"/>
                      <a:pt x="157" y="6"/>
                    </a:cubicBezTo>
                    <a:cubicBezTo>
                      <a:pt x="153" y="9"/>
                      <a:pt x="153" y="9"/>
                      <a:pt x="153" y="9"/>
                    </a:cubicBezTo>
                    <a:cubicBezTo>
                      <a:pt x="150" y="4"/>
                      <a:pt x="150" y="4"/>
                      <a:pt x="150" y="4"/>
                    </a:cubicBezTo>
                    <a:cubicBezTo>
                      <a:pt x="146" y="4"/>
                      <a:pt x="146" y="4"/>
                      <a:pt x="146" y="4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9" y="5"/>
                      <a:pt x="139" y="5"/>
                      <a:pt x="139" y="5"/>
                    </a:cubicBezTo>
                    <a:cubicBezTo>
                      <a:pt x="135" y="0"/>
                      <a:pt x="135" y="0"/>
                      <a:pt x="135" y="0"/>
                    </a:cubicBezTo>
                    <a:cubicBezTo>
                      <a:pt x="132" y="0"/>
                      <a:pt x="132" y="0"/>
                      <a:pt x="132" y="0"/>
                    </a:cubicBezTo>
                    <a:cubicBezTo>
                      <a:pt x="127" y="9"/>
                      <a:pt x="127" y="9"/>
                      <a:pt x="127" y="9"/>
                    </a:cubicBezTo>
                    <a:cubicBezTo>
                      <a:pt x="121" y="7"/>
                      <a:pt x="121" y="7"/>
                      <a:pt x="121" y="7"/>
                    </a:cubicBezTo>
                    <a:cubicBezTo>
                      <a:pt x="118" y="14"/>
                      <a:pt x="118" y="14"/>
                      <a:pt x="118" y="14"/>
                    </a:cubicBezTo>
                    <a:cubicBezTo>
                      <a:pt x="115" y="11"/>
                      <a:pt x="115" y="11"/>
                      <a:pt x="115" y="11"/>
                    </a:cubicBezTo>
                    <a:cubicBezTo>
                      <a:pt x="112" y="14"/>
                      <a:pt x="112" y="14"/>
                      <a:pt x="112" y="14"/>
                    </a:cubicBezTo>
                    <a:cubicBezTo>
                      <a:pt x="111" y="18"/>
                      <a:pt x="111" y="18"/>
                      <a:pt x="111" y="18"/>
                    </a:cubicBezTo>
                    <a:cubicBezTo>
                      <a:pt x="109" y="18"/>
                      <a:pt x="109" y="18"/>
                      <a:pt x="109" y="18"/>
                    </a:cubicBezTo>
                    <a:cubicBezTo>
                      <a:pt x="109" y="23"/>
                      <a:pt x="109" y="23"/>
                      <a:pt x="109" y="23"/>
                    </a:cubicBezTo>
                    <a:cubicBezTo>
                      <a:pt x="114" y="44"/>
                      <a:pt x="114" y="44"/>
                      <a:pt x="114" y="44"/>
                    </a:cubicBezTo>
                    <a:cubicBezTo>
                      <a:pt x="114" y="44"/>
                      <a:pt x="117" y="54"/>
                      <a:pt x="117" y="60"/>
                    </a:cubicBezTo>
                    <a:cubicBezTo>
                      <a:pt x="116" y="64"/>
                      <a:pt x="110" y="67"/>
                      <a:pt x="108" y="68"/>
                    </a:cubicBezTo>
                    <a:cubicBezTo>
                      <a:pt x="106" y="69"/>
                      <a:pt x="103" y="76"/>
                      <a:pt x="95" y="79"/>
                    </a:cubicBezTo>
                    <a:cubicBezTo>
                      <a:pt x="87" y="83"/>
                      <a:pt x="86" y="75"/>
                      <a:pt x="86" y="75"/>
                    </a:cubicBezTo>
                    <a:cubicBezTo>
                      <a:pt x="78" y="75"/>
                      <a:pt x="78" y="75"/>
                      <a:pt x="78" y="75"/>
                    </a:cubicBezTo>
                    <a:cubicBezTo>
                      <a:pt x="76" y="75"/>
                      <a:pt x="76" y="68"/>
                      <a:pt x="76" y="66"/>
                    </a:cubicBezTo>
                    <a:cubicBezTo>
                      <a:pt x="75" y="65"/>
                      <a:pt x="73" y="62"/>
                      <a:pt x="73" y="62"/>
                    </a:cubicBezTo>
                    <a:cubicBezTo>
                      <a:pt x="73" y="59"/>
                      <a:pt x="73" y="59"/>
                      <a:pt x="73" y="59"/>
                    </a:cubicBezTo>
                    <a:cubicBezTo>
                      <a:pt x="65" y="56"/>
                      <a:pt x="65" y="56"/>
                      <a:pt x="65" y="56"/>
                    </a:cubicBezTo>
                    <a:cubicBezTo>
                      <a:pt x="65" y="56"/>
                      <a:pt x="64" y="51"/>
                      <a:pt x="61" y="50"/>
                    </a:cubicBezTo>
                    <a:cubicBezTo>
                      <a:pt x="58" y="49"/>
                      <a:pt x="51" y="46"/>
                      <a:pt x="51" y="46"/>
                    </a:cubicBezTo>
                    <a:cubicBezTo>
                      <a:pt x="48" y="36"/>
                      <a:pt x="48" y="36"/>
                      <a:pt x="48" y="36"/>
                    </a:cubicBezTo>
                    <a:cubicBezTo>
                      <a:pt x="18" y="54"/>
                      <a:pt x="18" y="54"/>
                      <a:pt x="18" y="54"/>
                    </a:cubicBezTo>
                    <a:cubicBezTo>
                      <a:pt x="11" y="75"/>
                      <a:pt x="11" y="75"/>
                      <a:pt x="11" y="75"/>
                    </a:cubicBezTo>
                    <a:cubicBezTo>
                      <a:pt x="12" y="88"/>
                      <a:pt x="12" y="88"/>
                      <a:pt x="12" y="88"/>
                    </a:cubicBezTo>
                    <a:cubicBezTo>
                      <a:pt x="0" y="105"/>
                      <a:pt x="0" y="105"/>
                      <a:pt x="0" y="105"/>
                    </a:cubicBezTo>
                    <a:cubicBezTo>
                      <a:pt x="2" y="116"/>
                      <a:pt x="2" y="116"/>
                      <a:pt x="2" y="116"/>
                    </a:cubicBezTo>
                    <a:cubicBezTo>
                      <a:pt x="1" y="127"/>
                      <a:pt x="1" y="127"/>
                      <a:pt x="1" y="127"/>
                    </a:cubicBezTo>
                    <a:cubicBezTo>
                      <a:pt x="2" y="127"/>
                      <a:pt x="2" y="127"/>
                      <a:pt x="2" y="127"/>
                    </a:cubicBezTo>
                    <a:cubicBezTo>
                      <a:pt x="2" y="123"/>
                      <a:pt x="2" y="123"/>
                      <a:pt x="2" y="123"/>
                    </a:cubicBezTo>
                    <a:cubicBezTo>
                      <a:pt x="4" y="123"/>
                      <a:pt x="4" y="123"/>
                      <a:pt x="4" y="123"/>
                    </a:cubicBezTo>
                    <a:cubicBezTo>
                      <a:pt x="4" y="131"/>
                      <a:pt x="4" y="131"/>
                      <a:pt x="4" y="13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1" y="129"/>
                      <a:pt x="1" y="129"/>
                      <a:pt x="1" y="129"/>
                    </a:cubicBezTo>
                    <a:cubicBezTo>
                      <a:pt x="0" y="135"/>
                      <a:pt x="0" y="135"/>
                      <a:pt x="0" y="135"/>
                    </a:cubicBezTo>
                    <a:cubicBezTo>
                      <a:pt x="2" y="145"/>
                      <a:pt x="2" y="145"/>
                      <a:pt x="2" y="145"/>
                    </a:cubicBezTo>
                    <a:cubicBezTo>
                      <a:pt x="5" y="151"/>
                      <a:pt x="5" y="151"/>
                      <a:pt x="5" y="151"/>
                    </a:cubicBezTo>
                    <a:cubicBezTo>
                      <a:pt x="9" y="147"/>
                      <a:pt x="9" y="147"/>
                      <a:pt x="9" y="147"/>
                    </a:cubicBezTo>
                    <a:cubicBezTo>
                      <a:pt x="10" y="149"/>
                      <a:pt x="10" y="149"/>
                      <a:pt x="10" y="149"/>
                    </a:cubicBezTo>
                    <a:cubicBezTo>
                      <a:pt x="12" y="147"/>
                      <a:pt x="12" y="147"/>
                      <a:pt x="12" y="147"/>
                    </a:cubicBezTo>
                    <a:cubicBezTo>
                      <a:pt x="12" y="147"/>
                      <a:pt x="17" y="138"/>
                      <a:pt x="21" y="133"/>
                    </a:cubicBezTo>
                    <a:cubicBezTo>
                      <a:pt x="25" y="129"/>
                      <a:pt x="28" y="131"/>
                      <a:pt x="28" y="131"/>
                    </a:cubicBezTo>
                    <a:cubicBezTo>
                      <a:pt x="33" y="127"/>
                      <a:pt x="33" y="127"/>
                      <a:pt x="33" y="127"/>
                    </a:cubicBezTo>
                    <a:cubicBezTo>
                      <a:pt x="36" y="128"/>
                      <a:pt x="36" y="128"/>
                      <a:pt x="36" y="128"/>
                    </a:cubicBezTo>
                    <a:cubicBezTo>
                      <a:pt x="41" y="123"/>
                      <a:pt x="41" y="123"/>
                      <a:pt x="41" y="123"/>
                    </a:cubicBezTo>
                    <a:cubicBezTo>
                      <a:pt x="59" y="122"/>
                      <a:pt x="59" y="122"/>
                      <a:pt x="59" y="122"/>
                    </a:cubicBezTo>
                    <a:cubicBezTo>
                      <a:pt x="63" y="125"/>
                      <a:pt x="63" y="125"/>
                      <a:pt x="63" y="125"/>
                    </a:cubicBezTo>
                    <a:cubicBezTo>
                      <a:pt x="71" y="120"/>
                      <a:pt x="71" y="120"/>
                      <a:pt x="71" y="120"/>
                    </a:cubicBezTo>
                    <a:cubicBezTo>
                      <a:pt x="75" y="119"/>
                      <a:pt x="75" y="119"/>
                      <a:pt x="75" y="119"/>
                    </a:cubicBezTo>
                    <a:cubicBezTo>
                      <a:pt x="76" y="125"/>
                      <a:pt x="76" y="125"/>
                      <a:pt x="76" y="125"/>
                    </a:cubicBezTo>
                    <a:cubicBezTo>
                      <a:pt x="80" y="125"/>
                      <a:pt x="80" y="125"/>
                      <a:pt x="80" y="125"/>
                    </a:cubicBezTo>
                    <a:cubicBezTo>
                      <a:pt x="82" y="120"/>
                      <a:pt x="82" y="120"/>
                      <a:pt x="82" y="120"/>
                    </a:cubicBezTo>
                    <a:cubicBezTo>
                      <a:pt x="88" y="119"/>
                      <a:pt x="88" y="119"/>
                      <a:pt x="88" y="119"/>
                    </a:cubicBezTo>
                    <a:cubicBezTo>
                      <a:pt x="95" y="122"/>
                      <a:pt x="95" y="122"/>
                      <a:pt x="95" y="122"/>
                    </a:cubicBezTo>
                    <a:cubicBezTo>
                      <a:pt x="99" y="117"/>
                      <a:pt x="99" y="117"/>
                      <a:pt x="99" y="117"/>
                    </a:cubicBezTo>
                    <a:cubicBezTo>
                      <a:pt x="112" y="117"/>
                      <a:pt x="112" y="117"/>
                      <a:pt x="112" y="117"/>
                    </a:cubicBezTo>
                    <a:cubicBezTo>
                      <a:pt x="118" y="122"/>
                      <a:pt x="118" y="122"/>
                      <a:pt x="118" y="122"/>
                    </a:cubicBezTo>
                    <a:cubicBezTo>
                      <a:pt x="125" y="119"/>
                      <a:pt x="125" y="119"/>
                      <a:pt x="125" y="119"/>
                    </a:cubicBezTo>
                    <a:cubicBezTo>
                      <a:pt x="129" y="120"/>
                      <a:pt x="129" y="120"/>
                      <a:pt x="129" y="120"/>
                    </a:cubicBezTo>
                    <a:cubicBezTo>
                      <a:pt x="132" y="119"/>
                      <a:pt x="132" y="119"/>
                      <a:pt x="132" y="119"/>
                    </a:cubicBezTo>
                    <a:cubicBezTo>
                      <a:pt x="135" y="112"/>
                      <a:pt x="135" y="112"/>
                      <a:pt x="135" y="112"/>
                    </a:cubicBezTo>
                    <a:cubicBezTo>
                      <a:pt x="142" y="107"/>
                      <a:pt x="142" y="107"/>
                      <a:pt x="142" y="107"/>
                    </a:cubicBezTo>
                    <a:cubicBezTo>
                      <a:pt x="147" y="109"/>
                      <a:pt x="147" y="109"/>
                      <a:pt x="147" y="109"/>
                    </a:cubicBezTo>
                    <a:cubicBezTo>
                      <a:pt x="153" y="121"/>
                      <a:pt x="153" y="121"/>
                      <a:pt x="153" y="121"/>
                    </a:cubicBezTo>
                    <a:cubicBezTo>
                      <a:pt x="174" y="119"/>
                      <a:pt x="174" y="119"/>
                      <a:pt x="174" y="119"/>
                    </a:cubicBezTo>
                    <a:cubicBezTo>
                      <a:pt x="174" y="122"/>
                      <a:pt x="174" y="122"/>
                      <a:pt x="174" y="122"/>
                    </a:cubicBezTo>
                    <a:cubicBezTo>
                      <a:pt x="174" y="122"/>
                      <a:pt x="188" y="123"/>
                      <a:pt x="191" y="126"/>
                    </a:cubicBezTo>
                    <a:cubicBezTo>
                      <a:pt x="193" y="129"/>
                      <a:pt x="196" y="136"/>
                      <a:pt x="196" y="136"/>
                    </a:cubicBezTo>
                    <a:cubicBezTo>
                      <a:pt x="201" y="136"/>
                      <a:pt x="201" y="136"/>
                      <a:pt x="201" y="136"/>
                    </a:cubicBezTo>
                    <a:cubicBezTo>
                      <a:pt x="202" y="140"/>
                      <a:pt x="202" y="140"/>
                      <a:pt x="202" y="140"/>
                    </a:cubicBezTo>
                    <a:cubicBezTo>
                      <a:pt x="215" y="143"/>
                      <a:pt x="215" y="143"/>
                      <a:pt x="215" y="143"/>
                    </a:cubicBezTo>
                    <a:cubicBezTo>
                      <a:pt x="219" y="140"/>
                      <a:pt x="219" y="140"/>
                      <a:pt x="219" y="140"/>
                    </a:cubicBezTo>
                    <a:cubicBezTo>
                      <a:pt x="219" y="140"/>
                      <a:pt x="223" y="141"/>
                      <a:pt x="225" y="138"/>
                    </a:cubicBezTo>
                    <a:cubicBezTo>
                      <a:pt x="228" y="136"/>
                      <a:pt x="228" y="129"/>
                      <a:pt x="228" y="129"/>
                    </a:cubicBezTo>
                    <a:cubicBezTo>
                      <a:pt x="232" y="127"/>
                      <a:pt x="232" y="127"/>
                      <a:pt x="232" y="127"/>
                    </a:cubicBezTo>
                    <a:cubicBezTo>
                      <a:pt x="232" y="127"/>
                      <a:pt x="237" y="130"/>
                      <a:pt x="239" y="130"/>
                    </a:cubicBezTo>
                    <a:cubicBezTo>
                      <a:pt x="241" y="130"/>
                      <a:pt x="244" y="129"/>
                      <a:pt x="244" y="129"/>
                    </a:cubicBezTo>
                    <a:cubicBezTo>
                      <a:pt x="244" y="129"/>
                      <a:pt x="248" y="130"/>
                      <a:pt x="251" y="128"/>
                    </a:cubicBezTo>
                    <a:cubicBezTo>
                      <a:pt x="254" y="125"/>
                      <a:pt x="251" y="119"/>
                      <a:pt x="251" y="119"/>
                    </a:cubicBezTo>
                    <a:cubicBezTo>
                      <a:pt x="260" y="105"/>
                      <a:pt x="260" y="105"/>
                      <a:pt x="260" y="105"/>
                    </a:cubicBezTo>
                    <a:cubicBezTo>
                      <a:pt x="260" y="105"/>
                      <a:pt x="262" y="105"/>
                      <a:pt x="265" y="101"/>
                    </a:cubicBezTo>
                    <a:cubicBezTo>
                      <a:pt x="267" y="97"/>
                      <a:pt x="266" y="90"/>
                      <a:pt x="266" y="90"/>
                    </a:cubicBez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231" name="Kosovo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858622" y="5005434"/>
                <a:ext cx="199550" cy="204741"/>
              </a:xfrm>
              <a:custGeom>
                <a:avLst/>
                <a:gdLst/>
                <a:ahLst/>
                <a:cxnLst>
                  <a:cxn ang="0">
                    <a:pos x="63" y="40"/>
                  </a:cxn>
                  <a:cxn ang="0">
                    <a:pos x="65" y="36"/>
                  </a:cxn>
                  <a:cxn ang="0">
                    <a:pos x="68" y="29"/>
                  </a:cxn>
                  <a:cxn ang="0">
                    <a:pos x="66" y="24"/>
                  </a:cxn>
                  <a:cxn ang="0">
                    <a:pos x="61" y="22"/>
                  </a:cxn>
                  <a:cxn ang="0">
                    <a:pos x="59" y="21"/>
                  </a:cxn>
                  <a:cxn ang="0">
                    <a:pos x="54" y="19"/>
                  </a:cxn>
                  <a:cxn ang="0">
                    <a:pos x="51" y="16"/>
                  </a:cxn>
                  <a:cxn ang="0">
                    <a:pos x="47" y="15"/>
                  </a:cxn>
                  <a:cxn ang="0">
                    <a:pos x="44" y="11"/>
                  </a:cxn>
                  <a:cxn ang="0">
                    <a:pos x="39" y="9"/>
                  </a:cxn>
                  <a:cxn ang="0">
                    <a:pos x="37" y="8"/>
                  </a:cxn>
                  <a:cxn ang="0">
                    <a:pos x="34" y="7"/>
                  </a:cxn>
                  <a:cxn ang="0">
                    <a:pos x="32" y="6"/>
                  </a:cxn>
                  <a:cxn ang="0">
                    <a:pos x="33" y="2"/>
                  </a:cxn>
                  <a:cxn ang="0">
                    <a:pos x="31" y="1"/>
                  </a:cxn>
                  <a:cxn ang="0">
                    <a:pos x="27" y="4"/>
                  </a:cxn>
                  <a:cxn ang="0">
                    <a:pos x="24" y="9"/>
                  </a:cxn>
                  <a:cxn ang="0">
                    <a:pos x="25" y="15"/>
                  </a:cxn>
                  <a:cxn ang="0">
                    <a:pos x="22" y="20"/>
                  </a:cxn>
                  <a:cxn ang="0">
                    <a:pos x="18" y="24"/>
                  </a:cxn>
                  <a:cxn ang="0">
                    <a:pos x="10" y="24"/>
                  </a:cxn>
                  <a:cxn ang="0">
                    <a:pos x="6" y="25"/>
                  </a:cxn>
                  <a:cxn ang="0">
                    <a:pos x="0" y="27"/>
                  </a:cxn>
                  <a:cxn ang="0">
                    <a:pos x="5" y="37"/>
                  </a:cxn>
                  <a:cxn ang="0">
                    <a:pos x="12" y="38"/>
                  </a:cxn>
                  <a:cxn ang="0">
                    <a:pos x="26" y="48"/>
                  </a:cxn>
                  <a:cxn ang="0">
                    <a:pos x="29" y="69"/>
                  </a:cxn>
                  <a:cxn ang="0">
                    <a:pos x="35" y="55"/>
                  </a:cxn>
                  <a:cxn ang="0">
                    <a:pos x="46" y="47"/>
                  </a:cxn>
                  <a:cxn ang="0">
                    <a:pos x="58" y="43"/>
                  </a:cxn>
                  <a:cxn ang="0">
                    <a:pos x="63" y="42"/>
                  </a:cxn>
                </a:cxnLst>
                <a:rect l="0" t="0" r="r" b="b"/>
                <a:pathLst>
                  <a:path w="68" h="69">
                    <a:moveTo>
                      <a:pt x="63" y="42"/>
                    </a:moveTo>
                    <a:cubicBezTo>
                      <a:pt x="63" y="41"/>
                      <a:pt x="63" y="40"/>
                      <a:pt x="63" y="40"/>
                    </a:cubicBezTo>
                    <a:cubicBezTo>
                      <a:pt x="63" y="40"/>
                      <a:pt x="64" y="39"/>
                      <a:pt x="64" y="38"/>
                    </a:cubicBezTo>
                    <a:cubicBezTo>
                      <a:pt x="64" y="38"/>
                      <a:pt x="65" y="36"/>
                      <a:pt x="65" y="36"/>
                    </a:cubicBezTo>
                    <a:cubicBezTo>
                      <a:pt x="67" y="32"/>
                      <a:pt x="67" y="32"/>
                      <a:pt x="67" y="32"/>
                    </a:cubicBezTo>
                    <a:cubicBezTo>
                      <a:pt x="67" y="32"/>
                      <a:pt x="68" y="30"/>
                      <a:pt x="68" y="29"/>
                    </a:cubicBezTo>
                    <a:cubicBezTo>
                      <a:pt x="68" y="29"/>
                      <a:pt x="67" y="27"/>
                      <a:pt x="67" y="27"/>
                    </a:cubicBezTo>
                    <a:cubicBezTo>
                      <a:pt x="67" y="27"/>
                      <a:pt x="66" y="24"/>
                      <a:pt x="66" y="24"/>
                    </a:cubicBezTo>
                    <a:cubicBezTo>
                      <a:pt x="65" y="23"/>
                      <a:pt x="63" y="23"/>
                      <a:pt x="63" y="23"/>
                    </a:cubicBezTo>
                    <a:cubicBezTo>
                      <a:pt x="61" y="22"/>
                      <a:pt x="61" y="22"/>
                      <a:pt x="61" y="22"/>
                    </a:cubicBezTo>
                    <a:cubicBezTo>
                      <a:pt x="60" y="21"/>
                      <a:pt x="60" y="21"/>
                      <a:pt x="60" y="21"/>
                    </a:cubicBezTo>
                    <a:cubicBezTo>
                      <a:pt x="59" y="21"/>
                      <a:pt x="59" y="21"/>
                      <a:pt x="59" y="21"/>
                    </a:cubicBezTo>
                    <a:cubicBezTo>
                      <a:pt x="56" y="20"/>
                      <a:pt x="56" y="20"/>
                      <a:pt x="56" y="20"/>
                    </a:cubicBezTo>
                    <a:cubicBezTo>
                      <a:pt x="54" y="19"/>
                      <a:pt x="54" y="19"/>
                      <a:pt x="54" y="19"/>
                    </a:cubicBezTo>
                    <a:cubicBezTo>
                      <a:pt x="52" y="18"/>
                      <a:pt x="52" y="18"/>
                      <a:pt x="52" y="18"/>
                    </a:cubicBezTo>
                    <a:cubicBezTo>
                      <a:pt x="52" y="18"/>
                      <a:pt x="51" y="16"/>
                      <a:pt x="51" y="16"/>
                    </a:cubicBezTo>
                    <a:cubicBezTo>
                      <a:pt x="51" y="16"/>
                      <a:pt x="50" y="16"/>
                      <a:pt x="49" y="16"/>
                    </a:cubicBezTo>
                    <a:cubicBezTo>
                      <a:pt x="48" y="16"/>
                      <a:pt x="47" y="15"/>
                      <a:pt x="47" y="15"/>
                    </a:cubicBezTo>
                    <a:cubicBezTo>
                      <a:pt x="47" y="15"/>
                      <a:pt x="47" y="12"/>
                      <a:pt x="47" y="12"/>
                    </a:cubicBezTo>
                    <a:cubicBezTo>
                      <a:pt x="46" y="11"/>
                      <a:pt x="44" y="11"/>
                      <a:pt x="44" y="11"/>
                    </a:cubicBezTo>
                    <a:cubicBezTo>
                      <a:pt x="44" y="11"/>
                      <a:pt x="44" y="9"/>
                      <a:pt x="43" y="9"/>
                    </a:cubicBezTo>
                    <a:cubicBezTo>
                      <a:pt x="42" y="9"/>
                      <a:pt x="40" y="10"/>
                      <a:pt x="39" y="9"/>
                    </a:cubicBezTo>
                    <a:cubicBezTo>
                      <a:pt x="39" y="9"/>
                      <a:pt x="39" y="9"/>
                      <a:pt x="39" y="9"/>
                    </a:cubicBezTo>
                    <a:cubicBezTo>
                      <a:pt x="38" y="8"/>
                      <a:pt x="38" y="8"/>
                      <a:pt x="37" y="8"/>
                    </a:cubicBezTo>
                    <a:cubicBezTo>
                      <a:pt x="37" y="8"/>
                      <a:pt x="37" y="7"/>
                      <a:pt x="37" y="7"/>
                    </a:cubicBezTo>
                    <a:cubicBezTo>
                      <a:pt x="34" y="7"/>
                      <a:pt x="34" y="7"/>
                      <a:pt x="34" y="7"/>
                    </a:cubicBezTo>
                    <a:cubicBezTo>
                      <a:pt x="33" y="7"/>
                      <a:pt x="33" y="7"/>
                      <a:pt x="33" y="7"/>
                    </a:cubicBezTo>
                    <a:cubicBezTo>
                      <a:pt x="33" y="7"/>
                      <a:pt x="32" y="6"/>
                      <a:pt x="32" y="6"/>
                    </a:cubicBezTo>
                    <a:cubicBezTo>
                      <a:pt x="32" y="6"/>
                      <a:pt x="33" y="5"/>
                      <a:pt x="34" y="4"/>
                    </a:cubicBezTo>
                    <a:cubicBezTo>
                      <a:pt x="34" y="3"/>
                      <a:pt x="33" y="2"/>
                      <a:pt x="33" y="2"/>
                    </a:cubicBezTo>
                    <a:cubicBezTo>
                      <a:pt x="33" y="2"/>
                      <a:pt x="33" y="0"/>
                      <a:pt x="32" y="0"/>
                    </a:cubicBezTo>
                    <a:cubicBezTo>
                      <a:pt x="31" y="0"/>
                      <a:pt x="31" y="2"/>
                      <a:pt x="31" y="1"/>
                    </a:cubicBezTo>
                    <a:cubicBezTo>
                      <a:pt x="31" y="1"/>
                      <a:pt x="30" y="4"/>
                      <a:pt x="30" y="4"/>
                    </a:cubicBezTo>
                    <a:cubicBezTo>
                      <a:pt x="29" y="4"/>
                      <a:pt x="28" y="3"/>
                      <a:pt x="27" y="4"/>
                    </a:cubicBezTo>
                    <a:cubicBezTo>
                      <a:pt x="26" y="4"/>
                      <a:pt x="25" y="5"/>
                      <a:pt x="25" y="5"/>
                    </a:cubicBezTo>
                    <a:cubicBezTo>
                      <a:pt x="25" y="5"/>
                      <a:pt x="24" y="8"/>
                      <a:pt x="24" y="9"/>
                    </a:cubicBezTo>
                    <a:cubicBezTo>
                      <a:pt x="25" y="9"/>
                      <a:pt x="25" y="10"/>
                      <a:pt x="26" y="11"/>
                    </a:cubicBezTo>
                    <a:cubicBezTo>
                      <a:pt x="26" y="11"/>
                      <a:pt x="25" y="15"/>
                      <a:pt x="25" y="15"/>
                    </a:cubicBezTo>
                    <a:cubicBezTo>
                      <a:pt x="25" y="15"/>
                      <a:pt x="23" y="17"/>
                      <a:pt x="22" y="18"/>
                    </a:cubicBezTo>
                    <a:cubicBezTo>
                      <a:pt x="21" y="19"/>
                      <a:pt x="22" y="20"/>
                      <a:pt x="22" y="20"/>
                    </a:cubicBezTo>
                    <a:cubicBezTo>
                      <a:pt x="21" y="21"/>
                      <a:pt x="21" y="22"/>
                      <a:pt x="20" y="23"/>
                    </a:cubicBezTo>
                    <a:cubicBezTo>
                      <a:pt x="20" y="23"/>
                      <a:pt x="18" y="24"/>
                      <a:pt x="18" y="24"/>
                    </a:cubicBezTo>
                    <a:cubicBezTo>
                      <a:pt x="14" y="24"/>
                      <a:pt x="14" y="24"/>
                      <a:pt x="14" y="24"/>
                    </a:cubicBezTo>
                    <a:cubicBezTo>
                      <a:pt x="10" y="24"/>
                      <a:pt x="10" y="24"/>
                      <a:pt x="10" y="24"/>
                    </a:cubicBezTo>
                    <a:cubicBezTo>
                      <a:pt x="9" y="26"/>
                      <a:pt x="9" y="26"/>
                      <a:pt x="9" y="26"/>
                    </a:cubicBezTo>
                    <a:cubicBezTo>
                      <a:pt x="6" y="25"/>
                      <a:pt x="6" y="25"/>
                      <a:pt x="6" y="25"/>
                    </a:cubicBezTo>
                    <a:cubicBezTo>
                      <a:pt x="3" y="25"/>
                      <a:pt x="3" y="25"/>
                      <a:pt x="3" y="25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4" y="35"/>
                      <a:pt x="4" y="35"/>
                      <a:pt x="4" y="35"/>
                    </a:cubicBezTo>
                    <a:cubicBezTo>
                      <a:pt x="5" y="37"/>
                      <a:pt x="5" y="37"/>
                      <a:pt x="5" y="37"/>
                    </a:cubicBezTo>
                    <a:cubicBezTo>
                      <a:pt x="9" y="35"/>
                      <a:pt x="9" y="35"/>
                      <a:pt x="9" y="35"/>
                    </a:cubicBezTo>
                    <a:cubicBezTo>
                      <a:pt x="9" y="35"/>
                      <a:pt x="11" y="36"/>
                      <a:pt x="12" y="38"/>
                    </a:cubicBezTo>
                    <a:cubicBezTo>
                      <a:pt x="14" y="40"/>
                      <a:pt x="15" y="45"/>
                      <a:pt x="15" y="45"/>
                    </a:cubicBezTo>
                    <a:cubicBezTo>
                      <a:pt x="15" y="45"/>
                      <a:pt x="23" y="46"/>
                      <a:pt x="26" y="48"/>
                    </a:cubicBezTo>
                    <a:cubicBezTo>
                      <a:pt x="28" y="52"/>
                      <a:pt x="31" y="59"/>
                      <a:pt x="31" y="59"/>
                    </a:cubicBezTo>
                    <a:cubicBezTo>
                      <a:pt x="29" y="69"/>
                      <a:pt x="29" y="69"/>
                      <a:pt x="29" y="69"/>
                    </a:cubicBezTo>
                    <a:cubicBezTo>
                      <a:pt x="36" y="65"/>
                      <a:pt x="36" y="65"/>
                      <a:pt x="36" y="65"/>
                    </a:cubicBezTo>
                    <a:cubicBezTo>
                      <a:pt x="36" y="65"/>
                      <a:pt x="33" y="58"/>
                      <a:pt x="35" y="55"/>
                    </a:cubicBezTo>
                    <a:cubicBezTo>
                      <a:pt x="37" y="51"/>
                      <a:pt x="42" y="51"/>
                      <a:pt x="42" y="51"/>
                    </a:cubicBezTo>
                    <a:cubicBezTo>
                      <a:pt x="46" y="47"/>
                      <a:pt x="46" y="47"/>
                      <a:pt x="46" y="47"/>
                    </a:cubicBezTo>
                    <a:cubicBezTo>
                      <a:pt x="52" y="54"/>
                      <a:pt x="52" y="54"/>
                      <a:pt x="52" y="54"/>
                    </a:cubicBezTo>
                    <a:cubicBezTo>
                      <a:pt x="58" y="43"/>
                      <a:pt x="58" y="43"/>
                      <a:pt x="58" y="43"/>
                    </a:cubicBezTo>
                    <a:cubicBezTo>
                      <a:pt x="58" y="43"/>
                      <a:pt x="60" y="43"/>
                      <a:pt x="61" y="43"/>
                    </a:cubicBezTo>
                    <a:cubicBezTo>
                      <a:pt x="62" y="42"/>
                      <a:pt x="63" y="42"/>
                      <a:pt x="63" y="4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232" name="Italy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4491038" y="4529138"/>
                <a:ext cx="1255712" cy="1443037"/>
              </a:xfrm>
              <a:custGeom>
                <a:avLst/>
                <a:gdLst/>
                <a:ahLst/>
                <a:cxnLst>
                  <a:cxn ang="0">
                    <a:pos x="173" y="282"/>
                  </a:cxn>
                  <a:cxn ang="0">
                    <a:pos x="150" y="269"/>
                  </a:cxn>
                  <a:cxn ang="0">
                    <a:pos x="126" y="392"/>
                  </a:cxn>
                  <a:cxn ang="0">
                    <a:pos x="63" y="407"/>
                  </a:cxn>
                  <a:cxn ang="0">
                    <a:pos x="70" y="460"/>
                  </a:cxn>
                  <a:cxn ang="0">
                    <a:pos x="73" y="519"/>
                  </a:cxn>
                  <a:cxn ang="0">
                    <a:pos x="104" y="525"/>
                  </a:cxn>
                  <a:cxn ang="0">
                    <a:pos x="140" y="458"/>
                  </a:cxn>
                  <a:cxn ang="0">
                    <a:pos x="70" y="394"/>
                  </a:cxn>
                  <a:cxn ang="0">
                    <a:pos x="271" y="599"/>
                  </a:cxn>
                  <a:cxn ang="0">
                    <a:pos x="263" y="595"/>
                  </a:cxn>
                  <a:cxn ang="0">
                    <a:pos x="549" y="402"/>
                  </a:cxn>
                  <a:cxn ang="0">
                    <a:pos x="489" y="378"/>
                  </a:cxn>
                  <a:cxn ang="0">
                    <a:pos x="432" y="333"/>
                  </a:cxn>
                  <a:cxn ang="0">
                    <a:pos x="363" y="300"/>
                  </a:cxn>
                  <a:cxn ang="0">
                    <a:pos x="327" y="230"/>
                  </a:cxn>
                  <a:cxn ang="0">
                    <a:pos x="278" y="141"/>
                  </a:cxn>
                  <a:cxn ang="0">
                    <a:pos x="286" y="106"/>
                  </a:cxn>
                  <a:cxn ang="0">
                    <a:pos x="329" y="91"/>
                  </a:cxn>
                  <a:cxn ang="0">
                    <a:pos x="319" y="59"/>
                  </a:cxn>
                  <a:cxn ang="0">
                    <a:pos x="290" y="34"/>
                  </a:cxn>
                  <a:cxn ang="0">
                    <a:pos x="262" y="2"/>
                  </a:cxn>
                  <a:cxn ang="0">
                    <a:pos x="206" y="26"/>
                  </a:cxn>
                  <a:cxn ang="0">
                    <a:pos x="172" y="38"/>
                  </a:cxn>
                  <a:cxn ang="0">
                    <a:pos x="163" y="60"/>
                  </a:cxn>
                  <a:cxn ang="0">
                    <a:pos x="128" y="41"/>
                  </a:cxn>
                  <a:cxn ang="0">
                    <a:pos x="115" y="79"/>
                  </a:cxn>
                  <a:cxn ang="0">
                    <a:pos x="93" y="60"/>
                  </a:cxn>
                  <a:cxn ang="0">
                    <a:pos x="72" y="54"/>
                  </a:cxn>
                  <a:cxn ang="0">
                    <a:pos x="33" y="75"/>
                  </a:cxn>
                  <a:cxn ang="0">
                    <a:pos x="10" y="126"/>
                  </a:cxn>
                  <a:cxn ang="0">
                    <a:pos x="14" y="178"/>
                  </a:cxn>
                  <a:cxn ang="0">
                    <a:pos x="76" y="195"/>
                  </a:cxn>
                  <a:cxn ang="0">
                    <a:pos x="168" y="211"/>
                  </a:cxn>
                  <a:cxn ang="0">
                    <a:pos x="201" y="286"/>
                  </a:cxn>
                  <a:cxn ang="0">
                    <a:pos x="246" y="333"/>
                  </a:cxn>
                  <a:cxn ang="0">
                    <a:pos x="303" y="375"/>
                  </a:cxn>
                  <a:cxn ang="0">
                    <a:pos x="359" y="410"/>
                  </a:cxn>
                  <a:cxn ang="0">
                    <a:pos x="375" y="423"/>
                  </a:cxn>
                  <a:cxn ang="0">
                    <a:pos x="404" y="437"/>
                  </a:cxn>
                  <a:cxn ang="0">
                    <a:pos x="449" y="464"/>
                  </a:cxn>
                  <a:cxn ang="0">
                    <a:pos x="457" y="544"/>
                  </a:cxn>
                  <a:cxn ang="0">
                    <a:pos x="475" y="588"/>
                  </a:cxn>
                  <a:cxn ang="0">
                    <a:pos x="522" y="501"/>
                  </a:cxn>
                  <a:cxn ang="0">
                    <a:pos x="492" y="456"/>
                  </a:cxn>
                  <a:cxn ang="0">
                    <a:pos x="523" y="425"/>
                  </a:cxn>
                  <a:cxn ang="0">
                    <a:pos x="589" y="436"/>
                  </a:cxn>
                  <a:cxn ang="0">
                    <a:pos x="280" y="207"/>
                  </a:cxn>
                  <a:cxn ang="0">
                    <a:pos x="421" y="580"/>
                  </a:cxn>
                  <a:cxn ang="0">
                    <a:pos x="384" y="589"/>
                  </a:cxn>
                  <a:cxn ang="0">
                    <a:pos x="327" y="579"/>
                  </a:cxn>
                  <a:cxn ang="0">
                    <a:pos x="294" y="583"/>
                  </a:cxn>
                  <a:cxn ang="0">
                    <a:pos x="295" y="622"/>
                  </a:cxn>
                  <a:cxn ang="0">
                    <a:pos x="384" y="656"/>
                  </a:cxn>
                  <a:cxn ang="0">
                    <a:pos x="427" y="662"/>
                  </a:cxn>
                  <a:cxn ang="0">
                    <a:pos x="427" y="634"/>
                  </a:cxn>
                  <a:cxn ang="0">
                    <a:pos x="446" y="568"/>
                  </a:cxn>
                </a:cxnLst>
                <a:rect l="0" t="0" r="r" b="b"/>
                <a:pathLst>
                  <a:path w="589" h="678">
                    <a:moveTo>
                      <a:pt x="173" y="282"/>
                    </a:moveTo>
                    <a:cubicBezTo>
                      <a:pt x="161" y="283"/>
                      <a:pt x="161" y="283"/>
                      <a:pt x="161" y="283"/>
                    </a:cubicBezTo>
                    <a:cubicBezTo>
                      <a:pt x="162" y="289"/>
                      <a:pt x="162" y="289"/>
                      <a:pt x="162" y="289"/>
                    </a:cubicBezTo>
                    <a:cubicBezTo>
                      <a:pt x="172" y="285"/>
                      <a:pt x="172" y="285"/>
                      <a:pt x="172" y="285"/>
                    </a:cubicBezTo>
                    <a:cubicBezTo>
                      <a:pt x="178" y="288"/>
                      <a:pt x="178" y="288"/>
                      <a:pt x="178" y="288"/>
                    </a:cubicBezTo>
                    <a:cubicBezTo>
                      <a:pt x="179" y="281"/>
                      <a:pt x="179" y="281"/>
                      <a:pt x="179" y="281"/>
                    </a:cubicBezTo>
                    <a:cubicBezTo>
                      <a:pt x="177" y="279"/>
                      <a:pt x="177" y="279"/>
                      <a:pt x="177" y="279"/>
                    </a:cubicBezTo>
                    <a:lnTo>
                      <a:pt x="173" y="282"/>
                    </a:lnTo>
                    <a:close/>
                    <a:moveTo>
                      <a:pt x="201" y="310"/>
                    </a:moveTo>
                    <a:cubicBezTo>
                      <a:pt x="196" y="311"/>
                      <a:pt x="200" y="315"/>
                      <a:pt x="200" y="315"/>
                    </a:cubicBezTo>
                    <a:cubicBezTo>
                      <a:pt x="203" y="315"/>
                      <a:pt x="205" y="310"/>
                      <a:pt x="201" y="310"/>
                    </a:cubicBezTo>
                    <a:close/>
                    <a:moveTo>
                      <a:pt x="158" y="294"/>
                    </a:moveTo>
                    <a:cubicBezTo>
                      <a:pt x="154" y="297"/>
                      <a:pt x="159" y="300"/>
                      <a:pt x="159" y="300"/>
                    </a:cubicBezTo>
                    <a:cubicBezTo>
                      <a:pt x="164" y="299"/>
                      <a:pt x="163" y="291"/>
                      <a:pt x="158" y="294"/>
                    </a:cubicBezTo>
                    <a:close/>
                    <a:moveTo>
                      <a:pt x="151" y="265"/>
                    </a:moveTo>
                    <a:cubicBezTo>
                      <a:pt x="147" y="265"/>
                      <a:pt x="150" y="269"/>
                      <a:pt x="150" y="269"/>
                    </a:cubicBezTo>
                    <a:cubicBezTo>
                      <a:pt x="154" y="268"/>
                      <a:pt x="154" y="264"/>
                      <a:pt x="151" y="265"/>
                    </a:cubicBezTo>
                    <a:close/>
                    <a:moveTo>
                      <a:pt x="142" y="408"/>
                    </a:moveTo>
                    <a:cubicBezTo>
                      <a:pt x="136" y="402"/>
                      <a:pt x="136" y="402"/>
                      <a:pt x="136" y="402"/>
                    </a:cubicBezTo>
                    <a:cubicBezTo>
                      <a:pt x="138" y="396"/>
                      <a:pt x="138" y="396"/>
                      <a:pt x="138" y="396"/>
                    </a:cubicBezTo>
                    <a:cubicBezTo>
                      <a:pt x="134" y="395"/>
                      <a:pt x="134" y="395"/>
                      <a:pt x="134" y="395"/>
                    </a:cubicBezTo>
                    <a:cubicBezTo>
                      <a:pt x="134" y="392"/>
                      <a:pt x="134" y="392"/>
                      <a:pt x="134" y="392"/>
                    </a:cubicBezTo>
                    <a:cubicBezTo>
                      <a:pt x="132" y="389"/>
                      <a:pt x="132" y="389"/>
                      <a:pt x="132" y="389"/>
                    </a:cubicBezTo>
                    <a:cubicBezTo>
                      <a:pt x="126" y="392"/>
                      <a:pt x="126" y="392"/>
                      <a:pt x="126" y="392"/>
                    </a:cubicBezTo>
                    <a:cubicBezTo>
                      <a:pt x="126" y="392"/>
                      <a:pt x="125" y="389"/>
                      <a:pt x="121" y="386"/>
                    </a:cubicBezTo>
                    <a:cubicBezTo>
                      <a:pt x="118" y="383"/>
                      <a:pt x="113" y="382"/>
                      <a:pt x="113" y="382"/>
                    </a:cubicBezTo>
                    <a:cubicBezTo>
                      <a:pt x="113" y="390"/>
                      <a:pt x="113" y="390"/>
                      <a:pt x="113" y="390"/>
                    </a:cubicBezTo>
                    <a:cubicBezTo>
                      <a:pt x="106" y="389"/>
                      <a:pt x="106" y="389"/>
                      <a:pt x="106" y="389"/>
                    </a:cubicBezTo>
                    <a:cubicBezTo>
                      <a:pt x="106" y="389"/>
                      <a:pt x="91" y="407"/>
                      <a:pt x="80" y="408"/>
                    </a:cubicBezTo>
                    <a:cubicBezTo>
                      <a:pt x="67" y="410"/>
                      <a:pt x="65" y="400"/>
                      <a:pt x="65" y="400"/>
                    </a:cubicBezTo>
                    <a:cubicBezTo>
                      <a:pt x="59" y="401"/>
                      <a:pt x="59" y="401"/>
                      <a:pt x="59" y="401"/>
                    </a:cubicBezTo>
                    <a:cubicBezTo>
                      <a:pt x="63" y="407"/>
                      <a:pt x="63" y="407"/>
                      <a:pt x="63" y="407"/>
                    </a:cubicBezTo>
                    <a:cubicBezTo>
                      <a:pt x="60" y="415"/>
                      <a:pt x="60" y="415"/>
                      <a:pt x="60" y="415"/>
                    </a:cubicBezTo>
                    <a:cubicBezTo>
                      <a:pt x="60" y="415"/>
                      <a:pt x="58" y="421"/>
                      <a:pt x="59" y="425"/>
                    </a:cubicBezTo>
                    <a:cubicBezTo>
                      <a:pt x="61" y="429"/>
                      <a:pt x="67" y="426"/>
                      <a:pt x="67" y="426"/>
                    </a:cubicBezTo>
                    <a:cubicBezTo>
                      <a:pt x="73" y="431"/>
                      <a:pt x="73" y="431"/>
                      <a:pt x="73" y="431"/>
                    </a:cubicBezTo>
                    <a:cubicBezTo>
                      <a:pt x="72" y="440"/>
                      <a:pt x="72" y="440"/>
                      <a:pt x="72" y="440"/>
                    </a:cubicBezTo>
                    <a:cubicBezTo>
                      <a:pt x="76" y="443"/>
                      <a:pt x="76" y="443"/>
                      <a:pt x="76" y="443"/>
                    </a:cubicBezTo>
                    <a:cubicBezTo>
                      <a:pt x="75" y="458"/>
                      <a:pt x="75" y="458"/>
                      <a:pt x="75" y="458"/>
                    </a:cubicBezTo>
                    <a:cubicBezTo>
                      <a:pt x="70" y="460"/>
                      <a:pt x="70" y="460"/>
                      <a:pt x="70" y="460"/>
                    </a:cubicBezTo>
                    <a:cubicBezTo>
                      <a:pt x="73" y="472"/>
                      <a:pt x="73" y="472"/>
                      <a:pt x="73" y="472"/>
                    </a:cubicBezTo>
                    <a:cubicBezTo>
                      <a:pt x="73" y="472"/>
                      <a:pt x="77" y="471"/>
                      <a:pt x="80" y="473"/>
                    </a:cubicBezTo>
                    <a:cubicBezTo>
                      <a:pt x="82" y="475"/>
                      <a:pt x="77" y="483"/>
                      <a:pt x="77" y="483"/>
                    </a:cubicBezTo>
                    <a:cubicBezTo>
                      <a:pt x="74" y="478"/>
                      <a:pt x="74" y="478"/>
                      <a:pt x="74" y="478"/>
                    </a:cubicBezTo>
                    <a:cubicBezTo>
                      <a:pt x="69" y="504"/>
                      <a:pt x="69" y="504"/>
                      <a:pt x="69" y="504"/>
                    </a:cubicBezTo>
                    <a:cubicBezTo>
                      <a:pt x="73" y="509"/>
                      <a:pt x="73" y="509"/>
                      <a:pt x="73" y="509"/>
                    </a:cubicBezTo>
                    <a:cubicBezTo>
                      <a:pt x="69" y="515"/>
                      <a:pt x="69" y="515"/>
                      <a:pt x="69" y="515"/>
                    </a:cubicBezTo>
                    <a:cubicBezTo>
                      <a:pt x="69" y="515"/>
                      <a:pt x="73" y="518"/>
                      <a:pt x="73" y="519"/>
                    </a:cubicBezTo>
                    <a:cubicBezTo>
                      <a:pt x="73" y="521"/>
                      <a:pt x="68" y="520"/>
                      <a:pt x="68" y="520"/>
                    </a:cubicBezTo>
                    <a:cubicBezTo>
                      <a:pt x="66" y="523"/>
                      <a:pt x="66" y="523"/>
                      <a:pt x="66" y="523"/>
                    </a:cubicBezTo>
                    <a:cubicBezTo>
                      <a:pt x="71" y="531"/>
                      <a:pt x="71" y="531"/>
                      <a:pt x="71" y="531"/>
                    </a:cubicBezTo>
                    <a:cubicBezTo>
                      <a:pt x="71" y="531"/>
                      <a:pt x="74" y="525"/>
                      <a:pt x="76" y="525"/>
                    </a:cubicBezTo>
                    <a:cubicBezTo>
                      <a:pt x="79" y="525"/>
                      <a:pt x="81" y="536"/>
                      <a:pt x="81" y="536"/>
                    </a:cubicBezTo>
                    <a:cubicBezTo>
                      <a:pt x="81" y="536"/>
                      <a:pt x="85" y="534"/>
                      <a:pt x="87" y="534"/>
                    </a:cubicBezTo>
                    <a:cubicBezTo>
                      <a:pt x="89" y="534"/>
                      <a:pt x="93" y="535"/>
                      <a:pt x="93" y="535"/>
                    </a:cubicBezTo>
                    <a:cubicBezTo>
                      <a:pt x="104" y="525"/>
                      <a:pt x="104" y="525"/>
                      <a:pt x="104" y="525"/>
                    </a:cubicBezTo>
                    <a:cubicBezTo>
                      <a:pt x="103" y="521"/>
                      <a:pt x="103" y="521"/>
                      <a:pt x="103" y="521"/>
                    </a:cubicBezTo>
                    <a:cubicBezTo>
                      <a:pt x="103" y="521"/>
                      <a:pt x="105" y="517"/>
                      <a:pt x="113" y="516"/>
                    </a:cubicBezTo>
                    <a:cubicBezTo>
                      <a:pt x="119" y="516"/>
                      <a:pt x="123" y="520"/>
                      <a:pt x="123" y="520"/>
                    </a:cubicBezTo>
                    <a:cubicBezTo>
                      <a:pt x="131" y="523"/>
                      <a:pt x="131" y="523"/>
                      <a:pt x="131" y="523"/>
                    </a:cubicBezTo>
                    <a:cubicBezTo>
                      <a:pt x="134" y="511"/>
                      <a:pt x="134" y="511"/>
                      <a:pt x="134" y="511"/>
                    </a:cubicBezTo>
                    <a:cubicBezTo>
                      <a:pt x="137" y="508"/>
                      <a:pt x="137" y="508"/>
                      <a:pt x="137" y="508"/>
                    </a:cubicBezTo>
                    <a:cubicBezTo>
                      <a:pt x="134" y="501"/>
                      <a:pt x="134" y="501"/>
                      <a:pt x="134" y="501"/>
                    </a:cubicBezTo>
                    <a:cubicBezTo>
                      <a:pt x="140" y="458"/>
                      <a:pt x="140" y="458"/>
                      <a:pt x="140" y="458"/>
                    </a:cubicBezTo>
                    <a:cubicBezTo>
                      <a:pt x="140" y="458"/>
                      <a:pt x="136" y="452"/>
                      <a:pt x="137" y="446"/>
                    </a:cubicBezTo>
                    <a:cubicBezTo>
                      <a:pt x="137" y="440"/>
                      <a:pt x="148" y="430"/>
                      <a:pt x="148" y="430"/>
                    </a:cubicBezTo>
                    <a:cubicBezTo>
                      <a:pt x="138" y="412"/>
                      <a:pt x="138" y="412"/>
                      <a:pt x="138" y="412"/>
                    </a:cubicBezTo>
                    <a:lnTo>
                      <a:pt x="142" y="408"/>
                    </a:lnTo>
                    <a:close/>
                    <a:moveTo>
                      <a:pt x="63" y="515"/>
                    </a:moveTo>
                    <a:cubicBezTo>
                      <a:pt x="55" y="516"/>
                      <a:pt x="63" y="520"/>
                      <a:pt x="63" y="520"/>
                    </a:cubicBezTo>
                    <a:cubicBezTo>
                      <a:pt x="70" y="520"/>
                      <a:pt x="71" y="514"/>
                      <a:pt x="63" y="515"/>
                    </a:cubicBezTo>
                    <a:close/>
                    <a:moveTo>
                      <a:pt x="70" y="394"/>
                    </a:moveTo>
                    <a:cubicBezTo>
                      <a:pt x="75" y="390"/>
                      <a:pt x="71" y="383"/>
                      <a:pt x="68" y="390"/>
                    </a:cubicBezTo>
                    <a:cubicBezTo>
                      <a:pt x="65" y="396"/>
                      <a:pt x="70" y="394"/>
                      <a:pt x="70" y="394"/>
                    </a:cubicBezTo>
                    <a:close/>
                    <a:moveTo>
                      <a:pt x="261" y="671"/>
                    </a:moveTo>
                    <a:cubicBezTo>
                      <a:pt x="255" y="666"/>
                      <a:pt x="256" y="671"/>
                      <a:pt x="256" y="671"/>
                    </a:cubicBezTo>
                    <a:cubicBezTo>
                      <a:pt x="256" y="675"/>
                      <a:pt x="256" y="675"/>
                      <a:pt x="256" y="675"/>
                    </a:cubicBezTo>
                    <a:cubicBezTo>
                      <a:pt x="264" y="678"/>
                      <a:pt x="266" y="675"/>
                      <a:pt x="261" y="671"/>
                    </a:cubicBezTo>
                    <a:close/>
                    <a:moveTo>
                      <a:pt x="277" y="598"/>
                    </a:moveTo>
                    <a:cubicBezTo>
                      <a:pt x="271" y="597"/>
                      <a:pt x="271" y="599"/>
                      <a:pt x="271" y="599"/>
                    </a:cubicBezTo>
                    <a:cubicBezTo>
                      <a:pt x="274" y="600"/>
                      <a:pt x="274" y="600"/>
                      <a:pt x="274" y="600"/>
                    </a:cubicBezTo>
                    <a:cubicBezTo>
                      <a:pt x="277" y="601"/>
                      <a:pt x="281" y="598"/>
                      <a:pt x="277" y="598"/>
                    </a:cubicBezTo>
                    <a:close/>
                    <a:moveTo>
                      <a:pt x="413" y="564"/>
                    </a:moveTo>
                    <a:cubicBezTo>
                      <a:pt x="415" y="564"/>
                      <a:pt x="418" y="562"/>
                      <a:pt x="413" y="562"/>
                    </a:cubicBezTo>
                    <a:cubicBezTo>
                      <a:pt x="409" y="562"/>
                      <a:pt x="413" y="564"/>
                      <a:pt x="413" y="564"/>
                    </a:cubicBezTo>
                    <a:close/>
                    <a:moveTo>
                      <a:pt x="263" y="595"/>
                    </a:moveTo>
                    <a:cubicBezTo>
                      <a:pt x="261" y="595"/>
                      <a:pt x="261" y="598"/>
                      <a:pt x="261" y="598"/>
                    </a:cubicBezTo>
                    <a:cubicBezTo>
                      <a:pt x="264" y="599"/>
                      <a:pt x="265" y="596"/>
                      <a:pt x="263" y="595"/>
                    </a:cubicBezTo>
                    <a:close/>
                    <a:moveTo>
                      <a:pt x="589" y="436"/>
                    </a:moveTo>
                    <a:cubicBezTo>
                      <a:pt x="585" y="435"/>
                      <a:pt x="585" y="435"/>
                      <a:pt x="585" y="435"/>
                    </a:cubicBezTo>
                    <a:cubicBezTo>
                      <a:pt x="581" y="427"/>
                      <a:pt x="581" y="427"/>
                      <a:pt x="581" y="427"/>
                    </a:cubicBezTo>
                    <a:cubicBezTo>
                      <a:pt x="573" y="416"/>
                      <a:pt x="573" y="416"/>
                      <a:pt x="573" y="416"/>
                    </a:cubicBezTo>
                    <a:cubicBezTo>
                      <a:pt x="567" y="417"/>
                      <a:pt x="567" y="417"/>
                      <a:pt x="567" y="417"/>
                    </a:cubicBezTo>
                    <a:cubicBezTo>
                      <a:pt x="560" y="410"/>
                      <a:pt x="560" y="410"/>
                      <a:pt x="560" y="410"/>
                    </a:cubicBezTo>
                    <a:cubicBezTo>
                      <a:pt x="560" y="410"/>
                      <a:pt x="562" y="407"/>
                      <a:pt x="558" y="405"/>
                    </a:cubicBezTo>
                    <a:cubicBezTo>
                      <a:pt x="552" y="402"/>
                      <a:pt x="549" y="402"/>
                      <a:pt x="549" y="402"/>
                    </a:cubicBezTo>
                    <a:cubicBezTo>
                      <a:pt x="543" y="398"/>
                      <a:pt x="543" y="398"/>
                      <a:pt x="543" y="398"/>
                    </a:cubicBezTo>
                    <a:cubicBezTo>
                      <a:pt x="540" y="399"/>
                      <a:pt x="540" y="399"/>
                      <a:pt x="540" y="399"/>
                    </a:cubicBezTo>
                    <a:cubicBezTo>
                      <a:pt x="528" y="394"/>
                      <a:pt x="528" y="394"/>
                      <a:pt x="528" y="394"/>
                    </a:cubicBezTo>
                    <a:cubicBezTo>
                      <a:pt x="525" y="390"/>
                      <a:pt x="525" y="390"/>
                      <a:pt x="525" y="390"/>
                    </a:cubicBezTo>
                    <a:cubicBezTo>
                      <a:pt x="516" y="386"/>
                      <a:pt x="516" y="386"/>
                      <a:pt x="516" y="386"/>
                    </a:cubicBezTo>
                    <a:cubicBezTo>
                      <a:pt x="513" y="383"/>
                      <a:pt x="513" y="383"/>
                      <a:pt x="513" y="383"/>
                    </a:cubicBezTo>
                    <a:cubicBezTo>
                      <a:pt x="492" y="377"/>
                      <a:pt x="492" y="377"/>
                      <a:pt x="492" y="377"/>
                    </a:cubicBezTo>
                    <a:cubicBezTo>
                      <a:pt x="489" y="378"/>
                      <a:pt x="489" y="378"/>
                      <a:pt x="489" y="378"/>
                    </a:cubicBezTo>
                    <a:cubicBezTo>
                      <a:pt x="472" y="369"/>
                      <a:pt x="472" y="369"/>
                      <a:pt x="472" y="369"/>
                    </a:cubicBezTo>
                    <a:cubicBezTo>
                      <a:pt x="467" y="369"/>
                      <a:pt x="467" y="369"/>
                      <a:pt x="467" y="369"/>
                    </a:cubicBezTo>
                    <a:cubicBezTo>
                      <a:pt x="467" y="369"/>
                      <a:pt x="450" y="361"/>
                      <a:pt x="448" y="357"/>
                    </a:cubicBezTo>
                    <a:cubicBezTo>
                      <a:pt x="447" y="352"/>
                      <a:pt x="451" y="349"/>
                      <a:pt x="454" y="347"/>
                    </a:cubicBezTo>
                    <a:cubicBezTo>
                      <a:pt x="458" y="345"/>
                      <a:pt x="462" y="341"/>
                      <a:pt x="462" y="341"/>
                    </a:cubicBezTo>
                    <a:cubicBezTo>
                      <a:pt x="461" y="334"/>
                      <a:pt x="461" y="334"/>
                      <a:pt x="461" y="334"/>
                    </a:cubicBezTo>
                    <a:cubicBezTo>
                      <a:pt x="461" y="334"/>
                      <a:pt x="457" y="330"/>
                      <a:pt x="452" y="330"/>
                    </a:cubicBezTo>
                    <a:cubicBezTo>
                      <a:pt x="448" y="329"/>
                      <a:pt x="437" y="332"/>
                      <a:pt x="432" y="333"/>
                    </a:cubicBezTo>
                    <a:cubicBezTo>
                      <a:pt x="407" y="333"/>
                      <a:pt x="407" y="333"/>
                      <a:pt x="407" y="333"/>
                    </a:cubicBezTo>
                    <a:cubicBezTo>
                      <a:pt x="405" y="331"/>
                      <a:pt x="405" y="331"/>
                      <a:pt x="405" y="331"/>
                    </a:cubicBezTo>
                    <a:cubicBezTo>
                      <a:pt x="390" y="323"/>
                      <a:pt x="390" y="323"/>
                      <a:pt x="390" y="323"/>
                    </a:cubicBezTo>
                    <a:cubicBezTo>
                      <a:pt x="388" y="318"/>
                      <a:pt x="388" y="318"/>
                      <a:pt x="388" y="318"/>
                    </a:cubicBezTo>
                    <a:cubicBezTo>
                      <a:pt x="380" y="316"/>
                      <a:pt x="380" y="316"/>
                      <a:pt x="380" y="316"/>
                    </a:cubicBezTo>
                    <a:cubicBezTo>
                      <a:pt x="371" y="306"/>
                      <a:pt x="371" y="306"/>
                      <a:pt x="371" y="306"/>
                    </a:cubicBezTo>
                    <a:cubicBezTo>
                      <a:pt x="366" y="304"/>
                      <a:pt x="366" y="304"/>
                      <a:pt x="366" y="304"/>
                    </a:cubicBezTo>
                    <a:cubicBezTo>
                      <a:pt x="363" y="300"/>
                      <a:pt x="363" y="300"/>
                      <a:pt x="363" y="300"/>
                    </a:cubicBezTo>
                    <a:cubicBezTo>
                      <a:pt x="356" y="296"/>
                      <a:pt x="356" y="296"/>
                      <a:pt x="356" y="296"/>
                    </a:cubicBezTo>
                    <a:cubicBezTo>
                      <a:pt x="350" y="285"/>
                      <a:pt x="350" y="285"/>
                      <a:pt x="350" y="285"/>
                    </a:cubicBezTo>
                    <a:cubicBezTo>
                      <a:pt x="350" y="278"/>
                      <a:pt x="350" y="278"/>
                      <a:pt x="350" y="278"/>
                    </a:cubicBezTo>
                    <a:cubicBezTo>
                      <a:pt x="346" y="273"/>
                      <a:pt x="346" y="273"/>
                      <a:pt x="346" y="273"/>
                    </a:cubicBezTo>
                    <a:cubicBezTo>
                      <a:pt x="346" y="273"/>
                      <a:pt x="346" y="262"/>
                      <a:pt x="343" y="257"/>
                    </a:cubicBezTo>
                    <a:cubicBezTo>
                      <a:pt x="341" y="252"/>
                      <a:pt x="332" y="235"/>
                      <a:pt x="332" y="235"/>
                    </a:cubicBezTo>
                    <a:cubicBezTo>
                      <a:pt x="333" y="233"/>
                      <a:pt x="333" y="233"/>
                      <a:pt x="333" y="233"/>
                    </a:cubicBezTo>
                    <a:cubicBezTo>
                      <a:pt x="327" y="230"/>
                      <a:pt x="327" y="230"/>
                      <a:pt x="327" y="230"/>
                    </a:cubicBezTo>
                    <a:cubicBezTo>
                      <a:pt x="318" y="227"/>
                      <a:pt x="318" y="227"/>
                      <a:pt x="318" y="227"/>
                    </a:cubicBezTo>
                    <a:cubicBezTo>
                      <a:pt x="297" y="209"/>
                      <a:pt x="297" y="209"/>
                      <a:pt x="297" y="209"/>
                    </a:cubicBezTo>
                    <a:cubicBezTo>
                      <a:pt x="287" y="206"/>
                      <a:pt x="287" y="206"/>
                      <a:pt x="287" y="206"/>
                    </a:cubicBezTo>
                    <a:cubicBezTo>
                      <a:pt x="271" y="189"/>
                      <a:pt x="271" y="189"/>
                      <a:pt x="271" y="189"/>
                    </a:cubicBezTo>
                    <a:cubicBezTo>
                      <a:pt x="268" y="164"/>
                      <a:pt x="268" y="164"/>
                      <a:pt x="268" y="164"/>
                    </a:cubicBezTo>
                    <a:cubicBezTo>
                      <a:pt x="265" y="160"/>
                      <a:pt x="265" y="160"/>
                      <a:pt x="265" y="160"/>
                    </a:cubicBezTo>
                    <a:cubicBezTo>
                      <a:pt x="270" y="148"/>
                      <a:pt x="270" y="148"/>
                      <a:pt x="270" y="148"/>
                    </a:cubicBezTo>
                    <a:cubicBezTo>
                      <a:pt x="270" y="148"/>
                      <a:pt x="277" y="146"/>
                      <a:pt x="278" y="141"/>
                    </a:cubicBezTo>
                    <a:cubicBezTo>
                      <a:pt x="279" y="136"/>
                      <a:pt x="269" y="134"/>
                      <a:pt x="269" y="134"/>
                    </a:cubicBezTo>
                    <a:cubicBezTo>
                      <a:pt x="269" y="134"/>
                      <a:pt x="269" y="129"/>
                      <a:pt x="267" y="127"/>
                    </a:cubicBezTo>
                    <a:cubicBezTo>
                      <a:pt x="266" y="124"/>
                      <a:pt x="261" y="121"/>
                      <a:pt x="261" y="121"/>
                    </a:cubicBezTo>
                    <a:cubicBezTo>
                      <a:pt x="261" y="121"/>
                      <a:pt x="265" y="118"/>
                      <a:pt x="266" y="117"/>
                    </a:cubicBezTo>
                    <a:cubicBezTo>
                      <a:pt x="268" y="116"/>
                      <a:pt x="267" y="111"/>
                      <a:pt x="267" y="111"/>
                    </a:cubicBezTo>
                    <a:cubicBezTo>
                      <a:pt x="271" y="109"/>
                      <a:pt x="271" y="109"/>
                      <a:pt x="271" y="109"/>
                    </a:cubicBezTo>
                    <a:cubicBezTo>
                      <a:pt x="271" y="111"/>
                      <a:pt x="271" y="111"/>
                      <a:pt x="271" y="111"/>
                    </a:cubicBezTo>
                    <a:cubicBezTo>
                      <a:pt x="271" y="111"/>
                      <a:pt x="281" y="109"/>
                      <a:pt x="286" y="106"/>
                    </a:cubicBezTo>
                    <a:cubicBezTo>
                      <a:pt x="293" y="102"/>
                      <a:pt x="296" y="97"/>
                      <a:pt x="296" y="97"/>
                    </a:cubicBezTo>
                    <a:cubicBezTo>
                      <a:pt x="303" y="97"/>
                      <a:pt x="303" y="97"/>
                      <a:pt x="303" y="97"/>
                    </a:cubicBezTo>
                    <a:cubicBezTo>
                      <a:pt x="306" y="94"/>
                      <a:pt x="306" y="94"/>
                      <a:pt x="306" y="94"/>
                    </a:cubicBezTo>
                    <a:cubicBezTo>
                      <a:pt x="302" y="93"/>
                      <a:pt x="302" y="93"/>
                      <a:pt x="302" y="93"/>
                    </a:cubicBezTo>
                    <a:cubicBezTo>
                      <a:pt x="305" y="89"/>
                      <a:pt x="305" y="89"/>
                      <a:pt x="305" y="89"/>
                    </a:cubicBezTo>
                    <a:cubicBezTo>
                      <a:pt x="323" y="93"/>
                      <a:pt x="323" y="93"/>
                      <a:pt x="323" y="93"/>
                    </a:cubicBezTo>
                    <a:cubicBezTo>
                      <a:pt x="322" y="90"/>
                      <a:pt x="322" y="90"/>
                      <a:pt x="322" y="90"/>
                    </a:cubicBezTo>
                    <a:cubicBezTo>
                      <a:pt x="322" y="90"/>
                      <a:pt x="326" y="90"/>
                      <a:pt x="329" y="91"/>
                    </a:cubicBezTo>
                    <a:cubicBezTo>
                      <a:pt x="332" y="91"/>
                      <a:pt x="334" y="99"/>
                      <a:pt x="334" y="99"/>
                    </a:cubicBezTo>
                    <a:cubicBezTo>
                      <a:pt x="334" y="99"/>
                      <a:pt x="339" y="96"/>
                      <a:pt x="339" y="92"/>
                    </a:cubicBezTo>
                    <a:cubicBezTo>
                      <a:pt x="339" y="86"/>
                      <a:pt x="327" y="86"/>
                      <a:pt x="327" y="86"/>
                    </a:cubicBezTo>
                    <a:cubicBezTo>
                      <a:pt x="327" y="86"/>
                      <a:pt x="331" y="75"/>
                      <a:pt x="330" y="73"/>
                    </a:cubicBezTo>
                    <a:cubicBezTo>
                      <a:pt x="329" y="70"/>
                      <a:pt x="321" y="76"/>
                      <a:pt x="321" y="76"/>
                    </a:cubicBezTo>
                    <a:cubicBezTo>
                      <a:pt x="320" y="70"/>
                      <a:pt x="320" y="70"/>
                      <a:pt x="320" y="70"/>
                    </a:cubicBezTo>
                    <a:cubicBezTo>
                      <a:pt x="320" y="70"/>
                      <a:pt x="330" y="65"/>
                      <a:pt x="330" y="61"/>
                    </a:cubicBezTo>
                    <a:cubicBezTo>
                      <a:pt x="329" y="55"/>
                      <a:pt x="319" y="59"/>
                      <a:pt x="319" y="59"/>
                    </a:cubicBezTo>
                    <a:cubicBezTo>
                      <a:pt x="316" y="53"/>
                      <a:pt x="316" y="53"/>
                      <a:pt x="316" y="53"/>
                    </a:cubicBezTo>
                    <a:cubicBezTo>
                      <a:pt x="326" y="44"/>
                      <a:pt x="326" y="44"/>
                      <a:pt x="326" y="44"/>
                    </a:cubicBezTo>
                    <a:cubicBezTo>
                      <a:pt x="331" y="44"/>
                      <a:pt x="331" y="44"/>
                      <a:pt x="331" y="44"/>
                    </a:cubicBezTo>
                    <a:cubicBezTo>
                      <a:pt x="332" y="43"/>
                      <a:pt x="331" y="39"/>
                      <a:pt x="330" y="38"/>
                    </a:cubicBezTo>
                    <a:cubicBezTo>
                      <a:pt x="315" y="35"/>
                      <a:pt x="315" y="35"/>
                      <a:pt x="315" y="35"/>
                    </a:cubicBezTo>
                    <a:cubicBezTo>
                      <a:pt x="309" y="37"/>
                      <a:pt x="309" y="37"/>
                      <a:pt x="309" y="37"/>
                    </a:cubicBezTo>
                    <a:cubicBezTo>
                      <a:pt x="306" y="34"/>
                      <a:pt x="306" y="34"/>
                      <a:pt x="306" y="34"/>
                    </a:cubicBezTo>
                    <a:cubicBezTo>
                      <a:pt x="290" y="34"/>
                      <a:pt x="290" y="34"/>
                      <a:pt x="290" y="34"/>
                    </a:cubicBezTo>
                    <a:cubicBezTo>
                      <a:pt x="288" y="31"/>
                      <a:pt x="288" y="31"/>
                      <a:pt x="288" y="31"/>
                    </a:cubicBezTo>
                    <a:cubicBezTo>
                      <a:pt x="271" y="30"/>
                      <a:pt x="271" y="30"/>
                      <a:pt x="271" y="30"/>
                    </a:cubicBezTo>
                    <a:cubicBezTo>
                      <a:pt x="268" y="22"/>
                      <a:pt x="268" y="22"/>
                      <a:pt x="268" y="22"/>
                    </a:cubicBezTo>
                    <a:cubicBezTo>
                      <a:pt x="265" y="21"/>
                      <a:pt x="265" y="21"/>
                      <a:pt x="265" y="21"/>
                    </a:cubicBezTo>
                    <a:cubicBezTo>
                      <a:pt x="265" y="21"/>
                      <a:pt x="266" y="17"/>
                      <a:pt x="264" y="16"/>
                    </a:cubicBezTo>
                    <a:cubicBezTo>
                      <a:pt x="262" y="15"/>
                      <a:pt x="260" y="17"/>
                      <a:pt x="260" y="17"/>
                    </a:cubicBezTo>
                    <a:cubicBezTo>
                      <a:pt x="257" y="8"/>
                      <a:pt x="257" y="8"/>
                      <a:pt x="257" y="8"/>
                    </a:cubicBezTo>
                    <a:cubicBezTo>
                      <a:pt x="257" y="8"/>
                      <a:pt x="264" y="4"/>
                      <a:pt x="262" y="2"/>
                    </a:cubicBezTo>
                    <a:cubicBezTo>
                      <a:pt x="260" y="0"/>
                      <a:pt x="254" y="6"/>
                      <a:pt x="254" y="6"/>
                    </a:cubicBezTo>
                    <a:cubicBezTo>
                      <a:pt x="250" y="4"/>
                      <a:pt x="250" y="4"/>
                      <a:pt x="250" y="4"/>
                    </a:cubicBezTo>
                    <a:cubicBezTo>
                      <a:pt x="241" y="13"/>
                      <a:pt x="241" y="13"/>
                      <a:pt x="241" y="13"/>
                    </a:cubicBezTo>
                    <a:cubicBezTo>
                      <a:pt x="227" y="7"/>
                      <a:pt x="227" y="7"/>
                      <a:pt x="227" y="7"/>
                    </a:cubicBezTo>
                    <a:cubicBezTo>
                      <a:pt x="224" y="12"/>
                      <a:pt x="224" y="12"/>
                      <a:pt x="224" y="12"/>
                    </a:cubicBezTo>
                    <a:cubicBezTo>
                      <a:pt x="224" y="12"/>
                      <a:pt x="222" y="11"/>
                      <a:pt x="213" y="12"/>
                    </a:cubicBezTo>
                    <a:cubicBezTo>
                      <a:pt x="204" y="13"/>
                      <a:pt x="210" y="21"/>
                      <a:pt x="210" y="21"/>
                    </a:cubicBezTo>
                    <a:cubicBezTo>
                      <a:pt x="206" y="26"/>
                      <a:pt x="206" y="26"/>
                      <a:pt x="206" y="26"/>
                    </a:cubicBezTo>
                    <a:cubicBezTo>
                      <a:pt x="194" y="23"/>
                      <a:pt x="194" y="23"/>
                      <a:pt x="194" y="23"/>
                    </a:cubicBezTo>
                    <a:cubicBezTo>
                      <a:pt x="194" y="23"/>
                      <a:pt x="194" y="19"/>
                      <a:pt x="190" y="17"/>
                    </a:cubicBezTo>
                    <a:cubicBezTo>
                      <a:pt x="187" y="16"/>
                      <a:pt x="185" y="20"/>
                      <a:pt x="185" y="20"/>
                    </a:cubicBezTo>
                    <a:cubicBezTo>
                      <a:pt x="182" y="20"/>
                      <a:pt x="182" y="20"/>
                      <a:pt x="182" y="20"/>
                    </a:cubicBezTo>
                    <a:cubicBezTo>
                      <a:pt x="179" y="34"/>
                      <a:pt x="179" y="34"/>
                      <a:pt x="179" y="34"/>
                    </a:cubicBezTo>
                    <a:cubicBezTo>
                      <a:pt x="182" y="34"/>
                      <a:pt x="182" y="34"/>
                      <a:pt x="182" y="34"/>
                    </a:cubicBezTo>
                    <a:cubicBezTo>
                      <a:pt x="182" y="41"/>
                      <a:pt x="182" y="41"/>
                      <a:pt x="182" y="41"/>
                    </a:cubicBezTo>
                    <a:cubicBezTo>
                      <a:pt x="172" y="38"/>
                      <a:pt x="172" y="38"/>
                      <a:pt x="172" y="38"/>
                    </a:cubicBezTo>
                    <a:cubicBezTo>
                      <a:pt x="171" y="32"/>
                      <a:pt x="171" y="32"/>
                      <a:pt x="171" y="32"/>
                    </a:cubicBezTo>
                    <a:cubicBezTo>
                      <a:pt x="171" y="32"/>
                      <a:pt x="169" y="31"/>
                      <a:pt x="163" y="37"/>
                    </a:cubicBezTo>
                    <a:cubicBezTo>
                      <a:pt x="157" y="43"/>
                      <a:pt x="163" y="47"/>
                      <a:pt x="163" y="47"/>
                    </a:cubicBezTo>
                    <a:cubicBezTo>
                      <a:pt x="166" y="47"/>
                      <a:pt x="166" y="47"/>
                      <a:pt x="166" y="47"/>
                    </a:cubicBezTo>
                    <a:cubicBezTo>
                      <a:pt x="168" y="48"/>
                      <a:pt x="168" y="48"/>
                      <a:pt x="168" y="48"/>
                    </a:cubicBezTo>
                    <a:cubicBezTo>
                      <a:pt x="165" y="53"/>
                      <a:pt x="165" y="53"/>
                      <a:pt x="165" y="53"/>
                    </a:cubicBezTo>
                    <a:cubicBezTo>
                      <a:pt x="165" y="60"/>
                      <a:pt x="165" y="60"/>
                      <a:pt x="165" y="60"/>
                    </a:cubicBezTo>
                    <a:cubicBezTo>
                      <a:pt x="163" y="60"/>
                      <a:pt x="163" y="60"/>
                      <a:pt x="163" y="60"/>
                    </a:cubicBezTo>
                    <a:cubicBezTo>
                      <a:pt x="162" y="58"/>
                      <a:pt x="162" y="58"/>
                      <a:pt x="162" y="58"/>
                    </a:cubicBezTo>
                    <a:cubicBezTo>
                      <a:pt x="159" y="54"/>
                      <a:pt x="159" y="54"/>
                      <a:pt x="159" y="54"/>
                    </a:cubicBezTo>
                    <a:cubicBezTo>
                      <a:pt x="157" y="50"/>
                      <a:pt x="157" y="50"/>
                      <a:pt x="157" y="50"/>
                    </a:cubicBezTo>
                    <a:cubicBezTo>
                      <a:pt x="148" y="52"/>
                      <a:pt x="148" y="52"/>
                      <a:pt x="148" y="52"/>
                    </a:cubicBezTo>
                    <a:cubicBezTo>
                      <a:pt x="148" y="52"/>
                      <a:pt x="145" y="57"/>
                      <a:pt x="139" y="54"/>
                    </a:cubicBezTo>
                    <a:cubicBezTo>
                      <a:pt x="134" y="51"/>
                      <a:pt x="135" y="41"/>
                      <a:pt x="135" y="41"/>
                    </a:cubicBezTo>
                    <a:cubicBezTo>
                      <a:pt x="132" y="43"/>
                      <a:pt x="132" y="43"/>
                      <a:pt x="132" y="43"/>
                    </a:cubicBezTo>
                    <a:cubicBezTo>
                      <a:pt x="128" y="41"/>
                      <a:pt x="128" y="41"/>
                      <a:pt x="128" y="41"/>
                    </a:cubicBezTo>
                    <a:cubicBezTo>
                      <a:pt x="125" y="46"/>
                      <a:pt x="125" y="46"/>
                      <a:pt x="125" y="46"/>
                    </a:cubicBezTo>
                    <a:cubicBezTo>
                      <a:pt x="128" y="48"/>
                      <a:pt x="128" y="48"/>
                      <a:pt x="128" y="48"/>
                    </a:cubicBezTo>
                    <a:cubicBezTo>
                      <a:pt x="128" y="48"/>
                      <a:pt x="128" y="51"/>
                      <a:pt x="125" y="57"/>
                    </a:cubicBezTo>
                    <a:cubicBezTo>
                      <a:pt x="123" y="62"/>
                      <a:pt x="117" y="66"/>
                      <a:pt x="117" y="66"/>
                    </a:cubicBezTo>
                    <a:cubicBezTo>
                      <a:pt x="116" y="69"/>
                      <a:pt x="116" y="69"/>
                      <a:pt x="116" y="69"/>
                    </a:cubicBezTo>
                    <a:cubicBezTo>
                      <a:pt x="112" y="73"/>
                      <a:pt x="112" y="73"/>
                      <a:pt x="112" y="73"/>
                    </a:cubicBezTo>
                    <a:cubicBezTo>
                      <a:pt x="113" y="77"/>
                      <a:pt x="113" y="77"/>
                      <a:pt x="113" y="77"/>
                    </a:cubicBezTo>
                    <a:cubicBezTo>
                      <a:pt x="115" y="79"/>
                      <a:pt x="115" y="79"/>
                      <a:pt x="115" y="79"/>
                    </a:cubicBezTo>
                    <a:cubicBezTo>
                      <a:pt x="114" y="84"/>
                      <a:pt x="114" y="84"/>
                      <a:pt x="114" y="84"/>
                    </a:cubicBezTo>
                    <a:cubicBezTo>
                      <a:pt x="110" y="83"/>
                      <a:pt x="110" y="83"/>
                      <a:pt x="110" y="83"/>
                    </a:cubicBezTo>
                    <a:cubicBezTo>
                      <a:pt x="106" y="74"/>
                      <a:pt x="106" y="74"/>
                      <a:pt x="106" y="74"/>
                    </a:cubicBezTo>
                    <a:cubicBezTo>
                      <a:pt x="104" y="71"/>
                      <a:pt x="104" y="71"/>
                      <a:pt x="104" y="71"/>
                    </a:cubicBezTo>
                    <a:cubicBezTo>
                      <a:pt x="107" y="69"/>
                      <a:pt x="107" y="69"/>
                      <a:pt x="107" y="69"/>
                    </a:cubicBezTo>
                    <a:cubicBezTo>
                      <a:pt x="104" y="66"/>
                      <a:pt x="104" y="66"/>
                      <a:pt x="104" y="66"/>
                    </a:cubicBezTo>
                    <a:cubicBezTo>
                      <a:pt x="104" y="66"/>
                      <a:pt x="99" y="67"/>
                      <a:pt x="96" y="65"/>
                    </a:cubicBezTo>
                    <a:cubicBezTo>
                      <a:pt x="92" y="63"/>
                      <a:pt x="93" y="61"/>
                      <a:pt x="93" y="60"/>
                    </a:cubicBezTo>
                    <a:cubicBezTo>
                      <a:pt x="93" y="59"/>
                      <a:pt x="89" y="58"/>
                      <a:pt x="87" y="54"/>
                    </a:cubicBezTo>
                    <a:cubicBezTo>
                      <a:pt x="85" y="51"/>
                      <a:pt x="91" y="45"/>
                      <a:pt x="91" y="45"/>
                    </a:cubicBezTo>
                    <a:cubicBezTo>
                      <a:pt x="87" y="43"/>
                      <a:pt x="87" y="43"/>
                      <a:pt x="87" y="43"/>
                    </a:cubicBezTo>
                    <a:cubicBezTo>
                      <a:pt x="80" y="45"/>
                      <a:pt x="80" y="45"/>
                      <a:pt x="80" y="45"/>
                    </a:cubicBezTo>
                    <a:cubicBezTo>
                      <a:pt x="82" y="48"/>
                      <a:pt x="82" y="48"/>
                      <a:pt x="82" y="48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4" y="51"/>
                      <a:pt x="74" y="51"/>
                      <a:pt x="74" y="51"/>
                    </a:cubicBezTo>
                    <a:cubicBezTo>
                      <a:pt x="72" y="54"/>
                      <a:pt x="72" y="54"/>
                      <a:pt x="72" y="54"/>
                    </a:cubicBezTo>
                    <a:cubicBezTo>
                      <a:pt x="75" y="62"/>
                      <a:pt x="75" y="62"/>
                      <a:pt x="75" y="62"/>
                    </a:cubicBezTo>
                    <a:cubicBezTo>
                      <a:pt x="75" y="62"/>
                      <a:pt x="72" y="65"/>
                      <a:pt x="69" y="66"/>
                    </a:cubicBezTo>
                    <a:cubicBezTo>
                      <a:pt x="67" y="67"/>
                      <a:pt x="68" y="70"/>
                      <a:pt x="67" y="71"/>
                    </a:cubicBezTo>
                    <a:cubicBezTo>
                      <a:pt x="66" y="73"/>
                      <a:pt x="63" y="73"/>
                      <a:pt x="61" y="73"/>
                    </a:cubicBezTo>
                    <a:cubicBezTo>
                      <a:pt x="60" y="73"/>
                      <a:pt x="61" y="77"/>
                      <a:pt x="57" y="77"/>
                    </a:cubicBezTo>
                    <a:cubicBezTo>
                      <a:pt x="54" y="77"/>
                      <a:pt x="47" y="71"/>
                      <a:pt x="46" y="71"/>
                    </a:cubicBezTo>
                    <a:cubicBezTo>
                      <a:pt x="43" y="71"/>
                      <a:pt x="42" y="76"/>
                      <a:pt x="39" y="76"/>
                    </a:cubicBezTo>
                    <a:cubicBezTo>
                      <a:pt x="36" y="77"/>
                      <a:pt x="35" y="76"/>
                      <a:pt x="33" y="75"/>
                    </a:cubicBezTo>
                    <a:cubicBezTo>
                      <a:pt x="32" y="75"/>
                      <a:pt x="32" y="78"/>
                      <a:pt x="27" y="79"/>
                    </a:cubicBezTo>
                    <a:cubicBezTo>
                      <a:pt x="25" y="79"/>
                      <a:pt x="23" y="78"/>
                      <a:pt x="23" y="77"/>
                    </a:cubicBezTo>
                    <a:cubicBezTo>
                      <a:pt x="21" y="80"/>
                      <a:pt x="15" y="79"/>
                      <a:pt x="11" y="84"/>
                    </a:cubicBezTo>
                    <a:cubicBezTo>
                      <a:pt x="8" y="91"/>
                      <a:pt x="19" y="92"/>
                      <a:pt x="19" y="92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9" y="106"/>
                      <a:pt x="21" y="104"/>
                      <a:pt x="24" y="106"/>
                    </a:cubicBezTo>
                    <a:cubicBezTo>
                      <a:pt x="26" y="108"/>
                      <a:pt x="26" y="109"/>
                      <a:pt x="24" y="116"/>
                    </a:cubicBezTo>
                    <a:cubicBezTo>
                      <a:pt x="23" y="123"/>
                      <a:pt x="10" y="126"/>
                      <a:pt x="10" y="126"/>
                    </a:cubicBezTo>
                    <a:cubicBezTo>
                      <a:pt x="6" y="125"/>
                      <a:pt x="6" y="125"/>
                      <a:pt x="6" y="125"/>
                    </a:cubicBezTo>
                    <a:cubicBezTo>
                      <a:pt x="6" y="125"/>
                      <a:pt x="1" y="126"/>
                      <a:pt x="1" y="131"/>
                    </a:cubicBezTo>
                    <a:cubicBezTo>
                      <a:pt x="0" y="138"/>
                      <a:pt x="5" y="132"/>
                      <a:pt x="5" y="132"/>
                    </a:cubicBezTo>
                    <a:cubicBezTo>
                      <a:pt x="5" y="132"/>
                      <a:pt x="5" y="133"/>
                      <a:pt x="8" y="141"/>
                    </a:cubicBezTo>
                    <a:cubicBezTo>
                      <a:pt x="10" y="147"/>
                      <a:pt x="17" y="143"/>
                      <a:pt x="17" y="143"/>
                    </a:cubicBezTo>
                    <a:cubicBezTo>
                      <a:pt x="18" y="155"/>
                      <a:pt x="18" y="155"/>
                      <a:pt x="18" y="155"/>
                    </a:cubicBezTo>
                    <a:cubicBezTo>
                      <a:pt x="18" y="155"/>
                      <a:pt x="17" y="158"/>
                      <a:pt x="14" y="159"/>
                    </a:cubicBezTo>
                    <a:cubicBezTo>
                      <a:pt x="11" y="161"/>
                      <a:pt x="8" y="170"/>
                      <a:pt x="14" y="178"/>
                    </a:cubicBezTo>
                    <a:cubicBezTo>
                      <a:pt x="18" y="187"/>
                      <a:pt x="23" y="190"/>
                      <a:pt x="30" y="192"/>
                    </a:cubicBezTo>
                    <a:cubicBezTo>
                      <a:pt x="35" y="194"/>
                      <a:pt x="43" y="190"/>
                      <a:pt x="46" y="190"/>
                    </a:cubicBezTo>
                    <a:cubicBezTo>
                      <a:pt x="47" y="190"/>
                      <a:pt x="49" y="192"/>
                      <a:pt x="47" y="200"/>
                    </a:cubicBezTo>
                    <a:cubicBezTo>
                      <a:pt x="43" y="208"/>
                      <a:pt x="36" y="209"/>
                      <a:pt x="36" y="209"/>
                    </a:cubicBezTo>
                    <a:cubicBezTo>
                      <a:pt x="40" y="218"/>
                      <a:pt x="40" y="218"/>
                      <a:pt x="40" y="218"/>
                    </a:cubicBezTo>
                    <a:cubicBezTo>
                      <a:pt x="40" y="218"/>
                      <a:pt x="51" y="218"/>
                      <a:pt x="57" y="216"/>
                    </a:cubicBezTo>
                    <a:cubicBezTo>
                      <a:pt x="63" y="213"/>
                      <a:pt x="71" y="208"/>
                      <a:pt x="71" y="208"/>
                    </a:cubicBezTo>
                    <a:cubicBezTo>
                      <a:pt x="71" y="208"/>
                      <a:pt x="73" y="200"/>
                      <a:pt x="76" y="195"/>
                    </a:cubicBezTo>
                    <a:cubicBezTo>
                      <a:pt x="79" y="191"/>
                      <a:pt x="89" y="180"/>
                      <a:pt x="97" y="177"/>
                    </a:cubicBezTo>
                    <a:cubicBezTo>
                      <a:pt x="104" y="175"/>
                      <a:pt x="116" y="180"/>
                      <a:pt x="116" y="180"/>
                    </a:cubicBezTo>
                    <a:cubicBezTo>
                      <a:pt x="118" y="184"/>
                      <a:pt x="118" y="184"/>
                      <a:pt x="118" y="184"/>
                    </a:cubicBezTo>
                    <a:cubicBezTo>
                      <a:pt x="122" y="183"/>
                      <a:pt x="122" y="183"/>
                      <a:pt x="122" y="183"/>
                    </a:cubicBezTo>
                    <a:cubicBezTo>
                      <a:pt x="133" y="189"/>
                      <a:pt x="133" y="189"/>
                      <a:pt x="133" y="189"/>
                    </a:cubicBezTo>
                    <a:cubicBezTo>
                      <a:pt x="149" y="199"/>
                      <a:pt x="149" y="199"/>
                      <a:pt x="149" y="199"/>
                    </a:cubicBezTo>
                    <a:cubicBezTo>
                      <a:pt x="152" y="197"/>
                      <a:pt x="152" y="197"/>
                      <a:pt x="152" y="197"/>
                    </a:cubicBezTo>
                    <a:cubicBezTo>
                      <a:pt x="168" y="211"/>
                      <a:pt x="168" y="211"/>
                      <a:pt x="168" y="211"/>
                    </a:cubicBezTo>
                    <a:cubicBezTo>
                      <a:pt x="168" y="217"/>
                      <a:pt x="168" y="217"/>
                      <a:pt x="168" y="217"/>
                    </a:cubicBezTo>
                    <a:cubicBezTo>
                      <a:pt x="171" y="238"/>
                      <a:pt x="171" y="238"/>
                      <a:pt x="171" y="238"/>
                    </a:cubicBezTo>
                    <a:cubicBezTo>
                      <a:pt x="171" y="238"/>
                      <a:pt x="179" y="248"/>
                      <a:pt x="182" y="257"/>
                    </a:cubicBezTo>
                    <a:cubicBezTo>
                      <a:pt x="186" y="267"/>
                      <a:pt x="179" y="271"/>
                      <a:pt x="179" y="271"/>
                    </a:cubicBezTo>
                    <a:cubicBezTo>
                      <a:pt x="182" y="275"/>
                      <a:pt x="182" y="275"/>
                      <a:pt x="182" y="275"/>
                    </a:cubicBezTo>
                    <a:cubicBezTo>
                      <a:pt x="182" y="275"/>
                      <a:pt x="188" y="273"/>
                      <a:pt x="192" y="275"/>
                    </a:cubicBezTo>
                    <a:cubicBezTo>
                      <a:pt x="198" y="278"/>
                      <a:pt x="192" y="284"/>
                      <a:pt x="192" y="284"/>
                    </a:cubicBezTo>
                    <a:cubicBezTo>
                      <a:pt x="201" y="286"/>
                      <a:pt x="201" y="286"/>
                      <a:pt x="201" y="286"/>
                    </a:cubicBezTo>
                    <a:cubicBezTo>
                      <a:pt x="212" y="298"/>
                      <a:pt x="212" y="298"/>
                      <a:pt x="212" y="298"/>
                    </a:cubicBezTo>
                    <a:cubicBezTo>
                      <a:pt x="217" y="303"/>
                      <a:pt x="217" y="303"/>
                      <a:pt x="217" y="303"/>
                    </a:cubicBezTo>
                    <a:cubicBezTo>
                      <a:pt x="217" y="303"/>
                      <a:pt x="214" y="303"/>
                      <a:pt x="211" y="306"/>
                    </a:cubicBezTo>
                    <a:cubicBezTo>
                      <a:pt x="208" y="310"/>
                      <a:pt x="215" y="312"/>
                      <a:pt x="215" y="312"/>
                    </a:cubicBezTo>
                    <a:cubicBezTo>
                      <a:pt x="216" y="306"/>
                      <a:pt x="216" y="306"/>
                      <a:pt x="216" y="306"/>
                    </a:cubicBezTo>
                    <a:cubicBezTo>
                      <a:pt x="220" y="306"/>
                      <a:pt x="220" y="306"/>
                      <a:pt x="220" y="306"/>
                    </a:cubicBezTo>
                    <a:cubicBezTo>
                      <a:pt x="220" y="306"/>
                      <a:pt x="227" y="310"/>
                      <a:pt x="233" y="314"/>
                    </a:cubicBezTo>
                    <a:cubicBezTo>
                      <a:pt x="240" y="318"/>
                      <a:pt x="246" y="333"/>
                      <a:pt x="246" y="333"/>
                    </a:cubicBezTo>
                    <a:cubicBezTo>
                      <a:pt x="250" y="332"/>
                      <a:pt x="250" y="332"/>
                      <a:pt x="250" y="332"/>
                    </a:cubicBezTo>
                    <a:cubicBezTo>
                      <a:pt x="252" y="334"/>
                      <a:pt x="252" y="334"/>
                      <a:pt x="252" y="334"/>
                    </a:cubicBezTo>
                    <a:cubicBezTo>
                      <a:pt x="252" y="334"/>
                      <a:pt x="257" y="335"/>
                      <a:pt x="263" y="341"/>
                    </a:cubicBezTo>
                    <a:cubicBezTo>
                      <a:pt x="267" y="345"/>
                      <a:pt x="266" y="351"/>
                      <a:pt x="266" y="351"/>
                    </a:cubicBezTo>
                    <a:cubicBezTo>
                      <a:pt x="266" y="351"/>
                      <a:pt x="273" y="353"/>
                      <a:pt x="277" y="356"/>
                    </a:cubicBezTo>
                    <a:cubicBezTo>
                      <a:pt x="280" y="359"/>
                      <a:pt x="286" y="369"/>
                      <a:pt x="286" y="369"/>
                    </a:cubicBezTo>
                    <a:cubicBezTo>
                      <a:pt x="290" y="369"/>
                      <a:pt x="290" y="369"/>
                      <a:pt x="290" y="369"/>
                    </a:cubicBezTo>
                    <a:cubicBezTo>
                      <a:pt x="290" y="369"/>
                      <a:pt x="300" y="373"/>
                      <a:pt x="303" y="375"/>
                    </a:cubicBezTo>
                    <a:cubicBezTo>
                      <a:pt x="305" y="376"/>
                      <a:pt x="309" y="383"/>
                      <a:pt x="309" y="383"/>
                    </a:cubicBezTo>
                    <a:cubicBezTo>
                      <a:pt x="310" y="384"/>
                      <a:pt x="310" y="384"/>
                      <a:pt x="310" y="384"/>
                    </a:cubicBezTo>
                    <a:cubicBezTo>
                      <a:pt x="310" y="384"/>
                      <a:pt x="314" y="380"/>
                      <a:pt x="319" y="378"/>
                    </a:cubicBezTo>
                    <a:cubicBezTo>
                      <a:pt x="325" y="377"/>
                      <a:pt x="335" y="383"/>
                      <a:pt x="335" y="383"/>
                    </a:cubicBezTo>
                    <a:cubicBezTo>
                      <a:pt x="335" y="383"/>
                      <a:pt x="338" y="377"/>
                      <a:pt x="346" y="384"/>
                    </a:cubicBezTo>
                    <a:cubicBezTo>
                      <a:pt x="353" y="391"/>
                      <a:pt x="354" y="398"/>
                      <a:pt x="354" y="398"/>
                    </a:cubicBezTo>
                    <a:cubicBezTo>
                      <a:pt x="354" y="398"/>
                      <a:pt x="359" y="400"/>
                      <a:pt x="360" y="402"/>
                    </a:cubicBezTo>
                    <a:cubicBezTo>
                      <a:pt x="361" y="405"/>
                      <a:pt x="359" y="410"/>
                      <a:pt x="359" y="410"/>
                    </a:cubicBezTo>
                    <a:cubicBezTo>
                      <a:pt x="361" y="411"/>
                      <a:pt x="361" y="411"/>
                      <a:pt x="361" y="411"/>
                    </a:cubicBezTo>
                    <a:cubicBezTo>
                      <a:pt x="362" y="408"/>
                      <a:pt x="362" y="408"/>
                      <a:pt x="362" y="408"/>
                    </a:cubicBezTo>
                    <a:cubicBezTo>
                      <a:pt x="367" y="410"/>
                      <a:pt x="367" y="410"/>
                      <a:pt x="367" y="410"/>
                    </a:cubicBezTo>
                    <a:cubicBezTo>
                      <a:pt x="371" y="406"/>
                      <a:pt x="371" y="406"/>
                      <a:pt x="371" y="406"/>
                    </a:cubicBezTo>
                    <a:cubicBezTo>
                      <a:pt x="378" y="413"/>
                      <a:pt x="378" y="413"/>
                      <a:pt x="378" y="413"/>
                    </a:cubicBezTo>
                    <a:cubicBezTo>
                      <a:pt x="381" y="414"/>
                      <a:pt x="381" y="414"/>
                      <a:pt x="381" y="414"/>
                    </a:cubicBezTo>
                    <a:cubicBezTo>
                      <a:pt x="372" y="422"/>
                      <a:pt x="372" y="422"/>
                      <a:pt x="372" y="422"/>
                    </a:cubicBezTo>
                    <a:cubicBezTo>
                      <a:pt x="375" y="423"/>
                      <a:pt x="375" y="423"/>
                      <a:pt x="375" y="423"/>
                    </a:cubicBezTo>
                    <a:cubicBezTo>
                      <a:pt x="381" y="420"/>
                      <a:pt x="381" y="420"/>
                      <a:pt x="381" y="420"/>
                    </a:cubicBezTo>
                    <a:cubicBezTo>
                      <a:pt x="384" y="421"/>
                      <a:pt x="384" y="421"/>
                      <a:pt x="384" y="421"/>
                    </a:cubicBezTo>
                    <a:cubicBezTo>
                      <a:pt x="388" y="419"/>
                      <a:pt x="388" y="419"/>
                      <a:pt x="388" y="419"/>
                    </a:cubicBezTo>
                    <a:cubicBezTo>
                      <a:pt x="391" y="420"/>
                      <a:pt x="391" y="420"/>
                      <a:pt x="391" y="420"/>
                    </a:cubicBezTo>
                    <a:cubicBezTo>
                      <a:pt x="395" y="416"/>
                      <a:pt x="395" y="416"/>
                      <a:pt x="395" y="416"/>
                    </a:cubicBezTo>
                    <a:cubicBezTo>
                      <a:pt x="395" y="416"/>
                      <a:pt x="400" y="420"/>
                      <a:pt x="404" y="424"/>
                    </a:cubicBezTo>
                    <a:cubicBezTo>
                      <a:pt x="408" y="428"/>
                      <a:pt x="408" y="437"/>
                      <a:pt x="408" y="437"/>
                    </a:cubicBezTo>
                    <a:cubicBezTo>
                      <a:pt x="404" y="437"/>
                      <a:pt x="404" y="437"/>
                      <a:pt x="404" y="437"/>
                    </a:cubicBezTo>
                    <a:cubicBezTo>
                      <a:pt x="404" y="444"/>
                      <a:pt x="404" y="444"/>
                      <a:pt x="404" y="444"/>
                    </a:cubicBezTo>
                    <a:cubicBezTo>
                      <a:pt x="413" y="448"/>
                      <a:pt x="413" y="448"/>
                      <a:pt x="413" y="448"/>
                    </a:cubicBezTo>
                    <a:cubicBezTo>
                      <a:pt x="413" y="448"/>
                      <a:pt x="416" y="448"/>
                      <a:pt x="419" y="449"/>
                    </a:cubicBezTo>
                    <a:cubicBezTo>
                      <a:pt x="423" y="451"/>
                      <a:pt x="425" y="456"/>
                      <a:pt x="425" y="456"/>
                    </a:cubicBezTo>
                    <a:cubicBezTo>
                      <a:pt x="429" y="459"/>
                      <a:pt x="429" y="459"/>
                      <a:pt x="429" y="459"/>
                    </a:cubicBezTo>
                    <a:cubicBezTo>
                      <a:pt x="429" y="459"/>
                      <a:pt x="435" y="452"/>
                      <a:pt x="440" y="452"/>
                    </a:cubicBezTo>
                    <a:cubicBezTo>
                      <a:pt x="444" y="451"/>
                      <a:pt x="445" y="459"/>
                      <a:pt x="445" y="459"/>
                    </a:cubicBezTo>
                    <a:cubicBezTo>
                      <a:pt x="449" y="464"/>
                      <a:pt x="449" y="464"/>
                      <a:pt x="449" y="464"/>
                    </a:cubicBezTo>
                    <a:cubicBezTo>
                      <a:pt x="449" y="464"/>
                      <a:pt x="452" y="478"/>
                      <a:pt x="456" y="484"/>
                    </a:cubicBezTo>
                    <a:cubicBezTo>
                      <a:pt x="459" y="489"/>
                      <a:pt x="462" y="490"/>
                      <a:pt x="465" y="498"/>
                    </a:cubicBezTo>
                    <a:cubicBezTo>
                      <a:pt x="468" y="505"/>
                      <a:pt x="469" y="518"/>
                      <a:pt x="469" y="518"/>
                    </a:cubicBezTo>
                    <a:cubicBezTo>
                      <a:pt x="473" y="523"/>
                      <a:pt x="473" y="523"/>
                      <a:pt x="473" y="523"/>
                    </a:cubicBezTo>
                    <a:cubicBezTo>
                      <a:pt x="473" y="523"/>
                      <a:pt x="475" y="523"/>
                      <a:pt x="476" y="527"/>
                    </a:cubicBezTo>
                    <a:cubicBezTo>
                      <a:pt x="477" y="532"/>
                      <a:pt x="473" y="537"/>
                      <a:pt x="473" y="537"/>
                    </a:cubicBezTo>
                    <a:cubicBezTo>
                      <a:pt x="465" y="537"/>
                      <a:pt x="465" y="537"/>
                      <a:pt x="465" y="537"/>
                    </a:cubicBezTo>
                    <a:cubicBezTo>
                      <a:pt x="465" y="537"/>
                      <a:pt x="458" y="542"/>
                      <a:pt x="457" y="544"/>
                    </a:cubicBezTo>
                    <a:cubicBezTo>
                      <a:pt x="454" y="548"/>
                      <a:pt x="461" y="550"/>
                      <a:pt x="462" y="552"/>
                    </a:cubicBezTo>
                    <a:cubicBezTo>
                      <a:pt x="464" y="554"/>
                      <a:pt x="461" y="555"/>
                      <a:pt x="459" y="559"/>
                    </a:cubicBezTo>
                    <a:cubicBezTo>
                      <a:pt x="456" y="564"/>
                      <a:pt x="457" y="568"/>
                      <a:pt x="457" y="568"/>
                    </a:cubicBezTo>
                    <a:cubicBezTo>
                      <a:pt x="448" y="573"/>
                      <a:pt x="448" y="573"/>
                      <a:pt x="448" y="573"/>
                    </a:cubicBezTo>
                    <a:cubicBezTo>
                      <a:pt x="450" y="579"/>
                      <a:pt x="450" y="579"/>
                      <a:pt x="450" y="579"/>
                    </a:cubicBezTo>
                    <a:cubicBezTo>
                      <a:pt x="450" y="579"/>
                      <a:pt x="449" y="586"/>
                      <a:pt x="452" y="590"/>
                    </a:cubicBezTo>
                    <a:cubicBezTo>
                      <a:pt x="457" y="595"/>
                      <a:pt x="464" y="590"/>
                      <a:pt x="464" y="590"/>
                    </a:cubicBezTo>
                    <a:cubicBezTo>
                      <a:pt x="464" y="590"/>
                      <a:pt x="470" y="590"/>
                      <a:pt x="475" y="588"/>
                    </a:cubicBezTo>
                    <a:cubicBezTo>
                      <a:pt x="479" y="587"/>
                      <a:pt x="478" y="571"/>
                      <a:pt x="482" y="567"/>
                    </a:cubicBezTo>
                    <a:cubicBezTo>
                      <a:pt x="486" y="563"/>
                      <a:pt x="494" y="558"/>
                      <a:pt x="497" y="556"/>
                    </a:cubicBezTo>
                    <a:cubicBezTo>
                      <a:pt x="500" y="553"/>
                      <a:pt x="495" y="541"/>
                      <a:pt x="495" y="535"/>
                    </a:cubicBezTo>
                    <a:cubicBezTo>
                      <a:pt x="494" y="528"/>
                      <a:pt x="508" y="523"/>
                      <a:pt x="511" y="522"/>
                    </a:cubicBezTo>
                    <a:cubicBezTo>
                      <a:pt x="515" y="521"/>
                      <a:pt x="519" y="522"/>
                      <a:pt x="523" y="521"/>
                    </a:cubicBezTo>
                    <a:cubicBezTo>
                      <a:pt x="526" y="520"/>
                      <a:pt x="526" y="514"/>
                      <a:pt x="526" y="514"/>
                    </a:cubicBezTo>
                    <a:cubicBezTo>
                      <a:pt x="521" y="507"/>
                      <a:pt x="521" y="507"/>
                      <a:pt x="521" y="507"/>
                    </a:cubicBezTo>
                    <a:cubicBezTo>
                      <a:pt x="522" y="501"/>
                      <a:pt x="522" y="501"/>
                      <a:pt x="522" y="501"/>
                    </a:cubicBezTo>
                    <a:cubicBezTo>
                      <a:pt x="519" y="498"/>
                      <a:pt x="519" y="498"/>
                      <a:pt x="519" y="498"/>
                    </a:cubicBezTo>
                    <a:cubicBezTo>
                      <a:pt x="521" y="490"/>
                      <a:pt x="521" y="490"/>
                      <a:pt x="521" y="490"/>
                    </a:cubicBezTo>
                    <a:cubicBezTo>
                      <a:pt x="512" y="483"/>
                      <a:pt x="512" y="483"/>
                      <a:pt x="512" y="483"/>
                    </a:cubicBezTo>
                    <a:cubicBezTo>
                      <a:pt x="509" y="483"/>
                      <a:pt x="509" y="483"/>
                      <a:pt x="509" y="483"/>
                    </a:cubicBezTo>
                    <a:cubicBezTo>
                      <a:pt x="502" y="475"/>
                      <a:pt x="502" y="475"/>
                      <a:pt x="502" y="475"/>
                    </a:cubicBezTo>
                    <a:cubicBezTo>
                      <a:pt x="502" y="475"/>
                      <a:pt x="496" y="477"/>
                      <a:pt x="489" y="476"/>
                    </a:cubicBezTo>
                    <a:cubicBezTo>
                      <a:pt x="482" y="475"/>
                      <a:pt x="486" y="464"/>
                      <a:pt x="486" y="464"/>
                    </a:cubicBezTo>
                    <a:cubicBezTo>
                      <a:pt x="486" y="464"/>
                      <a:pt x="491" y="458"/>
                      <a:pt x="492" y="456"/>
                    </a:cubicBezTo>
                    <a:cubicBezTo>
                      <a:pt x="494" y="453"/>
                      <a:pt x="491" y="449"/>
                      <a:pt x="491" y="449"/>
                    </a:cubicBezTo>
                    <a:cubicBezTo>
                      <a:pt x="495" y="444"/>
                      <a:pt x="495" y="444"/>
                      <a:pt x="495" y="444"/>
                    </a:cubicBezTo>
                    <a:cubicBezTo>
                      <a:pt x="498" y="436"/>
                      <a:pt x="498" y="436"/>
                      <a:pt x="498" y="436"/>
                    </a:cubicBezTo>
                    <a:cubicBezTo>
                      <a:pt x="498" y="436"/>
                      <a:pt x="503" y="424"/>
                      <a:pt x="507" y="422"/>
                    </a:cubicBezTo>
                    <a:cubicBezTo>
                      <a:pt x="509" y="420"/>
                      <a:pt x="516" y="417"/>
                      <a:pt x="516" y="417"/>
                    </a:cubicBezTo>
                    <a:cubicBezTo>
                      <a:pt x="518" y="421"/>
                      <a:pt x="518" y="421"/>
                      <a:pt x="518" y="421"/>
                    </a:cubicBezTo>
                    <a:cubicBezTo>
                      <a:pt x="523" y="422"/>
                      <a:pt x="523" y="422"/>
                      <a:pt x="523" y="422"/>
                    </a:cubicBezTo>
                    <a:cubicBezTo>
                      <a:pt x="523" y="425"/>
                      <a:pt x="523" y="425"/>
                      <a:pt x="523" y="425"/>
                    </a:cubicBezTo>
                    <a:cubicBezTo>
                      <a:pt x="523" y="425"/>
                      <a:pt x="533" y="430"/>
                      <a:pt x="538" y="430"/>
                    </a:cubicBezTo>
                    <a:cubicBezTo>
                      <a:pt x="542" y="431"/>
                      <a:pt x="545" y="428"/>
                      <a:pt x="545" y="428"/>
                    </a:cubicBezTo>
                    <a:cubicBezTo>
                      <a:pt x="545" y="428"/>
                      <a:pt x="550" y="429"/>
                      <a:pt x="556" y="432"/>
                    </a:cubicBezTo>
                    <a:cubicBezTo>
                      <a:pt x="562" y="437"/>
                      <a:pt x="562" y="446"/>
                      <a:pt x="562" y="451"/>
                    </a:cubicBezTo>
                    <a:cubicBezTo>
                      <a:pt x="563" y="455"/>
                      <a:pt x="575" y="456"/>
                      <a:pt x="575" y="456"/>
                    </a:cubicBezTo>
                    <a:cubicBezTo>
                      <a:pt x="575" y="456"/>
                      <a:pt x="580" y="460"/>
                      <a:pt x="583" y="458"/>
                    </a:cubicBezTo>
                    <a:cubicBezTo>
                      <a:pt x="587" y="456"/>
                      <a:pt x="582" y="446"/>
                      <a:pt x="582" y="446"/>
                    </a:cubicBezTo>
                    <a:lnTo>
                      <a:pt x="589" y="436"/>
                    </a:lnTo>
                    <a:close/>
                    <a:moveTo>
                      <a:pt x="280" y="207"/>
                    </a:moveTo>
                    <a:cubicBezTo>
                      <a:pt x="279" y="208"/>
                      <a:pt x="278" y="213"/>
                      <a:pt x="278" y="213"/>
                    </a:cubicBezTo>
                    <a:cubicBezTo>
                      <a:pt x="278" y="213"/>
                      <a:pt x="274" y="216"/>
                      <a:pt x="273" y="215"/>
                    </a:cubicBezTo>
                    <a:cubicBezTo>
                      <a:pt x="271" y="214"/>
                      <a:pt x="271" y="214"/>
                      <a:pt x="271" y="214"/>
                    </a:cubicBezTo>
                    <a:cubicBezTo>
                      <a:pt x="271" y="210"/>
                      <a:pt x="271" y="210"/>
                      <a:pt x="271" y="210"/>
                    </a:cubicBezTo>
                    <a:cubicBezTo>
                      <a:pt x="275" y="209"/>
                      <a:pt x="275" y="209"/>
                      <a:pt x="275" y="209"/>
                    </a:cubicBezTo>
                    <a:cubicBezTo>
                      <a:pt x="275" y="209"/>
                      <a:pt x="275" y="207"/>
                      <a:pt x="278" y="206"/>
                    </a:cubicBezTo>
                    <a:cubicBezTo>
                      <a:pt x="281" y="205"/>
                      <a:pt x="280" y="206"/>
                      <a:pt x="280" y="207"/>
                    </a:cubicBezTo>
                    <a:close/>
                    <a:moveTo>
                      <a:pt x="412" y="554"/>
                    </a:moveTo>
                    <a:cubicBezTo>
                      <a:pt x="409" y="551"/>
                      <a:pt x="409" y="556"/>
                      <a:pt x="409" y="556"/>
                    </a:cubicBezTo>
                    <a:cubicBezTo>
                      <a:pt x="412" y="559"/>
                      <a:pt x="416" y="557"/>
                      <a:pt x="412" y="554"/>
                    </a:cubicBezTo>
                    <a:close/>
                    <a:moveTo>
                      <a:pt x="446" y="568"/>
                    </a:moveTo>
                    <a:cubicBezTo>
                      <a:pt x="445" y="567"/>
                      <a:pt x="445" y="567"/>
                      <a:pt x="445" y="567"/>
                    </a:cubicBezTo>
                    <a:cubicBezTo>
                      <a:pt x="445" y="567"/>
                      <a:pt x="434" y="574"/>
                      <a:pt x="432" y="574"/>
                    </a:cubicBezTo>
                    <a:cubicBezTo>
                      <a:pt x="430" y="574"/>
                      <a:pt x="427" y="572"/>
                      <a:pt x="427" y="572"/>
                    </a:cubicBezTo>
                    <a:cubicBezTo>
                      <a:pt x="427" y="572"/>
                      <a:pt x="423" y="579"/>
                      <a:pt x="421" y="580"/>
                    </a:cubicBezTo>
                    <a:cubicBezTo>
                      <a:pt x="419" y="580"/>
                      <a:pt x="418" y="579"/>
                      <a:pt x="418" y="579"/>
                    </a:cubicBezTo>
                    <a:cubicBezTo>
                      <a:pt x="414" y="578"/>
                      <a:pt x="414" y="578"/>
                      <a:pt x="414" y="578"/>
                    </a:cubicBezTo>
                    <a:cubicBezTo>
                      <a:pt x="411" y="577"/>
                      <a:pt x="411" y="577"/>
                      <a:pt x="411" y="577"/>
                    </a:cubicBezTo>
                    <a:cubicBezTo>
                      <a:pt x="411" y="577"/>
                      <a:pt x="409" y="580"/>
                      <a:pt x="408" y="580"/>
                    </a:cubicBezTo>
                    <a:cubicBezTo>
                      <a:pt x="405" y="579"/>
                      <a:pt x="403" y="578"/>
                      <a:pt x="403" y="578"/>
                    </a:cubicBezTo>
                    <a:cubicBezTo>
                      <a:pt x="403" y="578"/>
                      <a:pt x="397" y="583"/>
                      <a:pt x="395" y="585"/>
                    </a:cubicBezTo>
                    <a:cubicBezTo>
                      <a:pt x="393" y="586"/>
                      <a:pt x="388" y="586"/>
                      <a:pt x="388" y="586"/>
                    </a:cubicBezTo>
                    <a:cubicBezTo>
                      <a:pt x="384" y="589"/>
                      <a:pt x="384" y="589"/>
                      <a:pt x="384" y="589"/>
                    </a:cubicBezTo>
                    <a:cubicBezTo>
                      <a:pt x="370" y="590"/>
                      <a:pt x="370" y="590"/>
                      <a:pt x="370" y="590"/>
                    </a:cubicBezTo>
                    <a:cubicBezTo>
                      <a:pt x="370" y="590"/>
                      <a:pt x="368" y="588"/>
                      <a:pt x="365" y="588"/>
                    </a:cubicBezTo>
                    <a:cubicBezTo>
                      <a:pt x="362" y="588"/>
                      <a:pt x="355" y="594"/>
                      <a:pt x="352" y="594"/>
                    </a:cubicBezTo>
                    <a:cubicBezTo>
                      <a:pt x="348" y="594"/>
                      <a:pt x="341" y="589"/>
                      <a:pt x="341" y="589"/>
                    </a:cubicBezTo>
                    <a:cubicBezTo>
                      <a:pt x="339" y="585"/>
                      <a:pt x="339" y="585"/>
                      <a:pt x="339" y="585"/>
                    </a:cubicBezTo>
                    <a:cubicBezTo>
                      <a:pt x="339" y="585"/>
                      <a:pt x="332" y="587"/>
                      <a:pt x="331" y="586"/>
                    </a:cubicBezTo>
                    <a:cubicBezTo>
                      <a:pt x="330" y="584"/>
                      <a:pt x="331" y="581"/>
                      <a:pt x="331" y="581"/>
                    </a:cubicBezTo>
                    <a:cubicBezTo>
                      <a:pt x="327" y="579"/>
                      <a:pt x="327" y="579"/>
                      <a:pt x="327" y="579"/>
                    </a:cubicBezTo>
                    <a:cubicBezTo>
                      <a:pt x="316" y="581"/>
                      <a:pt x="316" y="581"/>
                      <a:pt x="316" y="581"/>
                    </a:cubicBezTo>
                    <a:cubicBezTo>
                      <a:pt x="314" y="583"/>
                      <a:pt x="314" y="583"/>
                      <a:pt x="314" y="583"/>
                    </a:cubicBezTo>
                    <a:cubicBezTo>
                      <a:pt x="315" y="587"/>
                      <a:pt x="315" y="587"/>
                      <a:pt x="315" y="587"/>
                    </a:cubicBezTo>
                    <a:cubicBezTo>
                      <a:pt x="306" y="591"/>
                      <a:pt x="306" y="591"/>
                      <a:pt x="306" y="591"/>
                    </a:cubicBezTo>
                    <a:cubicBezTo>
                      <a:pt x="301" y="588"/>
                      <a:pt x="301" y="588"/>
                      <a:pt x="301" y="588"/>
                    </a:cubicBezTo>
                    <a:cubicBezTo>
                      <a:pt x="301" y="588"/>
                      <a:pt x="301" y="585"/>
                      <a:pt x="299" y="583"/>
                    </a:cubicBezTo>
                    <a:cubicBezTo>
                      <a:pt x="296" y="581"/>
                      <a:pt x="294" y="581"/>
                      <a:pt x="294" y="581"/>
                    </a:cubicBezTo>
                    <a:cubicBezTo>
                      <a:pt x="294" y="583"/>
                      <a:pt x="294" y="583"/>
                      <a:pt x="294" y="583"/>
                    </a:cubicBezTo>
                    <a:cubicBezTo>
                      <a:pt x="294" y="583"/>
                      <a:pt x="297" y="584"/>
                      <a:pt x="297" y="585"/>
                    </a:cubicBezTo>
                    <a:cubicBezTo>
                      <a:pt x="296" y="586"/>
                      <a:pt x="288" y="588"/>
                      <a:pt x="288" y="588"/>
                    </a:cubicBezTo>
                    <a:cubicBezTo>
                      <a:pt x="284" y="595"/>
                      <a:pt x="284" y="595"/>
                      <a:pt x="284" y="595"/>
                    </a:cubicBezTo>
                    <a:cubicBezTo>
                      <a:pt x="285" y="602"/>
                      <a:pt x="285" y="602"/>
                      <a:pt x="285" y="602"/>
                    </a:cubicBezTo>
                    <a:cubicBezTo>
                      <a:pt x="282" y="606"/>
                      <a:pt x="282" y="606"/>
                      <a:pt x="282" y="606"/>
                    </a:cubicBezTo>
                    <a:cubicBezTo>
                      <a:pt x="285" y="616"/>
                      <a:pt x="285" y="616"/>
                      <a:pt x="285" y="616"/>
                    </a:cubicBezTo>
                    <a:cubicBezTo>
                      <a:pt x="292" y="615"/>
                      <a:pt x="292" y="615"/>
                      <a:pt x="292" y="615"/>
                    </a:cubicBezTo>
                    <a:cubicBezTo>
                      <a:pt x="295" y="622"/>
                      <a:pt x="295" y="622"/>
                      <a:pt x="295" y="622"/>
                    </a:cubicBezTo>
                    <a:cubicBezTo>
                      <a:pt x="295" y="622"/>
                      <a:pt x="303" y="620"/>
                      <a:pt x="310" y="622"/>
                    </a:cubicBezTo>
                    <a:cubicBezTo>
                      <a:pt x="312" y="624"/>
                      <a:pt x="313" y="625"/>
                      <a:pt x="315" y="626"/>
                    </a:cubicBezTo>
                    <a:cubicBezTo>
                      <a:pt x="319" y="627"/>
                      <a:pt x="321" y="626"/>
                      <a:pt x="321" y="626"/>
                    </a:cubicBezTo>
                    <a:cubicBezTo>
                      <a:pt x="321" y="626"/>
                      <a:pt x="333" y="638"/>
                      <a:pt x="335" y="638"/>
                    </a:cubicBezTo>
                    <a:cubicBezTo>
                      <a:pt x="337" y="638"/>
                      <a:pt x="341" y="637"/>
                      <a:pt x="343" y="640"/>
                    </a:cubicBezTo>
                    <a:cubicBezTo>
                      <a:pt x="344" y="641"/>
                      <a:pt x="346" y="644"/>
                      <a:pt x="350" y="646"/>
                    </a:cubicBezTo>
                    <a:cubicBezTo>
                      <a:pt x="354" y="649"/>
                      <a:pt x="362" y="650"/>
                      <a:pt x="366" y="650"/>
                    </a:cubicBezTo>
                    <a:cubicBezTo>
                      <a:pt x="370" y="650"/>
                      <a:pt x="381" y="650"/>
                      <a:pt x="384" y="656"/>
                    </a:cubicBezTo>
                    <a:cubicBezTo>
                      <a:pt x="388" y="660"/>
                      <a:pt x="391" y="667"/>
                      <a:pt x="392" y="668"/>
                    </a:cubicBezTo>
                    <a:cubicBezTo>
                      <a:pt x="394" y="669"/>
                      <a:pt x="398" y="667"/>
                      <a:pt x="401" y="669"/>
                    </a:cubicBezTo>
                    <a:cubicBezTo>
                      <a:pt x="403" y="672"/>
                      <a:pt x="404" y="673"/>
                      <a:pt x="404" y="673"/>
                    </a:cubicBezTo>
                    <a:cubicBezTo>
                      <a:pt x="404" y="673"/>
                      <a:pt x="411" y="672"/>
                      <a:pt x="414" y="672"/>
                    </a:cubicBezTo>
                    <a:cubicBezTo>
                      <a:pt x="416" y="672"/>
                      <a:pt x="419" y="674"/>
                      <a:pt x="419" y="674"/>
                    </a:cubicBezTo>
                    <a:cubicBezTo>
                      <a:pt x="420" y="673"/>
                      <a:pt x="420" y="673"/>
                      <a:pt x="420" y="673"/>
                    </a:cubicBezTo>
                    <a:cubicBezTo>
                      <a:pt x="420" y="673"/>
                      <a:pt x="426" y="677"/>
                      <a:pt x="427" y="675"/>
                    </a:cubicBezTo>
                    <a:cubicBezTo>
                      <a:pt x="428" y="673"/>
                      <a:pt x="425" y="669"/>
                      <a:pt x="427" y="662"/>
                    </a:cubicBezTo>
                    <a:cubicBezTo>
                      <a:pt x="430" y="654"/>
                      <a:pt x="436" y="652"/>
                      <a:pt x="436" y="652"/>
                    </a:cubicBezTo>
                    <a:cubicBezTo>
                      <a:pt x="436" y="649"/>
                      <a:pt x="436" y="649"/>
                      <a:pt x="436" y="649"/>
                    </a:cubicBezTo>
                    <a:cubicBezTo>
                      <a:pt x="434" y="649"/>
                      <a:pt x="434" y="649"/>
                      <a:pt x="434" y="649"/>
                    </a:cubicBezTo>
                    <a:cubicBezTo>
                      <a:pt x="434" y="646"/>
                      <a:pt x="434" y="646"/>
                      <a:pt x="434" y="646"/>
                    </a:cubicBezTo>
                    <a:cubicBezTo>
                      <a:pt x="429" y="640"/>
                      <a:pt x="429" y="640"/>
                      <a:pt x="429" y="640"/>
                    </a:cubicBezTo>
                    <a:cubicBezTo>
                      <a:pt x="431" y="638"/>
                      <a:pt x="431" y="638"/>
                      <a:pt x="431" y="638"/>
                    </a:cubicBezTo>
                    <a:cubicBezTo>
                      <a:pt x="429" y="633"/>
                      <a:pt x="429" y="633"/>
                      <a:pt x="429" y="633"/>
                    </a:cubicBezTo>
                    <a:cubicBezTo>
                      <a:pt x="427" y="634"/>
                      <a:pt x="427" y="634"/>
                      <a:pt x="427" y="634"/>
                    </a:cubicBezTo>
                    <a:cubicBezTo>
                      <a:pt x="427" y="634"/>
                      <a:pt x="423" y="631"/>
                      <a:pt x="423" y="626"/>
                    </a:cubicBezTo>
                    <a:cubicBezTo>
                      <a:pt x="423" y="620"/>
                      <a:pt x="425" y="618"/>
                      <a:pt x="425" y="618"/>
                    </a:cubicBezTo>
                    <a:cubicBezTo>
                      <a:pt x="428" y="603"/>
                      <a:pt x="428" y="603"/>
                      <a:pt x="428" y="603"/>
                    </a:cubicBezTo>
                    <a:cubicBezTo>
                      <a:pt x="428" y="603"/>
                      <a:pt x="436" y="590"/>
                      <a:pt x="440" y="585"/>
                    </a:cubicBezTo>
                    <a:cubicBezTo>
                      <a:pt x="444" y="580"/>
                      <a:pt x="445" y="575"/>
                      <a:pt x="445" y="575"/>
                    </a:cubicBezTo>
                    <a:cubicBezTo>
                      <a:pt x="445" y="573"/>
                      <a:pt x="445" y="573"/>
                      <a:pt x="445" y="573"/>
                    </a:cubicBezTo>
                    <a:cubicBezTo>
                      <a:pt x="448" y="569"/>
                      <a:pt x="448" y="569"/>
                      <a:pt x="448" y="569"/>
                    </a:cubicBezTo>
                    <a:lnTo>
                      <a:pt x="446" y="568"/>
                    </a:lnTo>
                    <a:close/>
                    <a:moveTo>
                      <a:pt x="405" y="550"/>
                    </a:moveTo>
                    <a:cubicBezTo>
                      <a:pt x="401" y="550"/>
                      <a:pt x="404" y="553"/>
                      <a:pt x="404" y="553"/>
                    </a:cubicBezTo>
                    <a:cubicBezTo>
                      <a:pt x="407" y="554"/>
                      <a:pt x="410" y="550"/>
                      <a:pt x="405" y="550"/>
                    </a:cubicBez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233" name="Ireland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3089275" y="3200400"/>
                <a:ext cx="434975" cy="493712"/>
              </a:xfrm>
              <a:custGeom>
                <a:avLst/>
                <a:gdLst/>
                <a:ahLst/>
                <a:cxnLst>
                  <a:cxn ang="0">
                    <a:pos x="55" y="68"/>
                  </a:cxn>
                  <a:cxn ang="0">
                    <a:pos x="52" y="60"/>
                  </a:cxn>
                  <a:cxn ang="0">
                    <a:pos x="57" y="74"/>
                  </a:cxn>
                  <a:cxn ang="0">
                    <a:pos x="45" y="85"/>
                  </a:cxn>
                  <a:cxn ang="0">
                    <a:pos x="56" y="117"/>
                  </a:cxn>
                  <a:cxn ang="0">
                    <a:pos x="49" y="119"/>
                  </a:cxn>
                  <a:cxn ang="0">
                    <a:pos x="201" y="95"/>
                  </a:cxn>
                  <a:cxn ang="0">
                    <a:pos x="183" y="84"/>
                  </a:cxn>
                  <a:cxn ang="0">
                    <a:pos x="159" y="82"/>
                  </a:cxn>
                  <a:cxn ang="0">
                    <a:pos x="142" y="53"/>
                  </a:cxn>
                  <a:cxn ang="0">
                    <a:pos x="149" y="43"/>
                  </a:cxn>
                  <a:cxn ang="0">
                    <a:pos x="170" y="36"/>
                  </a:cxn>
                  <a:cxn ang="0">
                    <a:pos x="186" y="20"/>
                  </a:cxn>
                  <a:cxn ang="0">
                    <a:pos x="184" y="9"/>
                  </a:cxn>
                  <a:cxn ang="0">
                    <a:pos x="174" y="22"/>
                  </a:cxn>
                  <a:cxn ang="0">
                    <a:pos x="172" y="17"/>
                  </a:cxn>
                  <a:cxn ang="0">
                    <a:pos x="168" y="13"/>
                  </a:cxn>
                  <a:cxn ang="0">
                    <a:pos x="161" y="13"/>
                  </a:cxn>
                  <a:cxn ang="0">
                    <a:pos x="145" y="8"/>
                  </a:cxn>
                  <a:cxn ang="0">
                    <a:pos x="131" y="26"/>
                  </a:cxn>
                  <a:cxn ang="0">
                    <a:pos x="126" y="44"/>
                  </a:cxn>
                  <a:cxn ang="0">
                    <a:pos x="125" y="52"/>
                  </a:cxn>
                  <a:cxn ang="0">
                    <a:pos x="103" y="56"/>
                  </a:cxn>
                  <a:cxn ang="0">
                    <a:pos x="84" y="51"/>
                  </a:cxn>
                  <a:cxn ang="0">
                    <a:pos x="67" y="47"/>
                  </a:cxn>
                  <a:cxn ang="0">
                    <a:pos x="63" y="57"/>
                  </a:cxn>
                  <a:cxn ang="0">
                    <a:pos x="64" y="70"/>
                  </a:cxn>
                  <a:cxn ang="0">
                    <a:pos x="58" y="79"/>
                  </a:cxn>
                  <a:cxn ang="0">
                    <a:pos x="44" y="90"/>
                  </a:cxn>
                  <a:cxn ang="0">
                    <a:pos x="55" y="104"/>
                  </a:cxn>
                  <a:cxn ang="0">
                    <a:pos x="62" y="107"/>
                  </a:cxn>
                  <a:cxn ang="0">
                    <a:pos x="84" y="121"/>
                  </a:cxn>
                  <a:cxn ang="0">
                    <a:pos x="60" y="135"/>
                  </a:cxn>
                  <a:cxn ang="0">
                    <a:pos x="47" y="150"/>
                  </a:cxn>
                  <a:cxn ang="0">
                    <a:pos x="71" y="152"/>
                  </a:cxn>
                  <a:cxn ang="0">
                    <a:pos x="75" y="159"/>
                  </a:cxn>
                  <a:cxn ang="0">
                    <a:pos x="34" y="164"/>
                  </a:cxn>
                  <a:cxn ang="0">
                    <a:pos x="21" y="172"/>
                  </a:cxn>
                  <a:cxn ang="0">
                    <a:pos x="19" y="181"/>
                  </a:cxn>
                  <a:cxn ang="0">
                    <a:pos x="2" y="199"/>
                  </a:cxn>
                  <a:cxn ang="0">
                    <a:pos x="14" y="210"/>
                  </a:cxn>
                  <a:cxn ang="0">
                    <a:pos x="33" y="211"/>
                  </a:cxn>
                  <a:cxn ang="0">
                    <a:pos x="22" y="224"/>
                  </a:cxn>
                  <a:cxn ang="0">
                    <a:pos x="35" y="230"/>
                  </a:cxn>
                  <a:cxn ang="0">
                    <a:pos x="61" y="230"/>
                  </a:cxn>
                  <a:cxn ang="0">
                    <a:pos x="87" y="215"/>
                  </a:cxn>
                  <a:cxn ang="0">
                    <a:pos x="112" y="218"/>
                  </a:cxn>
                  <a:cxn ang="0">
                    <a:pos x="141" y="204"/>
                  </a:cxn>
                  <a:cxn ang="0">
                    <a:pos x="150" y="210"/>
                  </a:cxn>
                  <a:cxn ang="0">
                    <a:pos x="164" y="201"/>
                  </a:cxn>
                  <a:cxn ang="0">
                    <a:pos x="184" y="177"/>
                  </a:cxn>
                  <a:cxn ang="0">
                    <a:pos x="195" y="135"/>
                  </a:cxn>
                  <a:cxn ang="0">
                    <a:pos x="204" y="102"/>
                  </a:cxn>
                </a:cxnLst>
                <a:rect l="0" t="0" r="r" b="b"/>
                <a:pathLst>
                  <a:path w="204" h="232">
                    <a:moveTo>
                      <a:pt x="134" y="14"/>
                    </a:moveTo>
                    <a:cubicBezTo>
                      <a:pt x="131" y="17"/>
                      <a:pt x="131" y="17"/>
                      <a:pt x="131" y="17"/>
                    </a:cubicBezTo>
                    <a:cubicBezTo>
                      <a:pt x="135" y="19"/>
                      <a:pt x="135" y="19"/>
                      <a:pt x="135" y="19"/>
                    </a:cubicBezTo>
                    <a:lnTo>
                      <a:pt x="134" y="14"/>
                    </a:lnTo>
                    <a:close/>
                    <a:moveTo>
                      <a:pt x="55" y="68"/>
                    </a:moveTo>
                    <a:cubicBezTo>
                      <a:pt x="55" y="70"/>
                      <a:pt x="57" y="71"/>
                      <a:pt x="57" y="71"/>
                    </a:cubicBezTo>
                    <a:cubicBezTo>
                      <a:pt x="60" y="67"/>
                      <a:pt x="60" y="67"/>
                      <a:pt x="60" y="67"/>
                    </a:cubicBezTo>
                    <a:cubicBezTo>
                      <a:pt x="60" y="60"/>
                      <a:pt x="60" y="60"/>
                      <a:pt x="60" y="60"/>
                    </a:cubicBezTo>
                    <a:cubicBezTo>
                      <a:pt x="56" y="62"/>
                      <a:pt x="56" y="62"/>
                      <a:pt x="56" y="62"/>
                    </a:cubicBezTo>
                    <a:cubicBezTo>
                      <a:pt x="52" y="60"/>
                      <a:pt x="52" y="60"/>
                      <a:pt x="52" y="60"/>
                    </a:cubicBezTo>
                    <a:cubicBezTo>
                      <a:pt x="49" y="61"/>
                      <a:pt x="49" y="61"/>
                      <a:pt x="49" y="61"/>
                    </a:cubicBezTo>
                    <a:cubicBezTo>
                      <a:pt x="49" y="61"/>
                      <a:pt x="51" y="64"/>
                      <a:pt x="52" y="64"/>
                    </a:cubicBezTo>
                    <a:cubicBezTo>
                      <a:pt x="53" y="64"/>
                      <a:pt x="55" y="66"/>
                      <a:pt x="55" y="68"/>
                    </a:cubicBezTo>
                    <a:close/>
                    <a:moveTo>
                      <a:pt x="57" y="77"/>
                    </a:moveTo>
                    <a:cubicBezTo>
                      <a:pt x="57" y="74"/>
                      <a:pt x="57" y="74"/>
                      <a:pt x="57" y="74"/>
                    </a:cubicBezTo>
                    <a:cubicBezTo>
                      <a:pt x="53" y="76"/>
                      <a:pt x="53" y="76"/>
                      <a:pt x="53" y="76"/>
                    </a:cubicBezTo>
                    <a:lnTo>
                      <a:pt x="57" y="77"/>
                    </a:lnTo>
                    <a:close/>
                    <a:moveTo>
                      <a:pt x="42" y="84"/>
                    </a:moveTo>
                    <a:cubicBezTo>
                      <a:pt x="42" y="86"/>
                      <a:pt x="42" y="86"/>
                      <a:pt x="42" y="86"/>
                    </a:cubicBezTo>
                    <a:cubicBezTo>
                      <a:pt x="45" y="85"/>
                      <a:pt x="45" y="85"/>
                      <a:pt x="45" y="85"/>
                    </a:cubicBezTo>
                    <a:lnTo>
                      <a:pt x="42" y="84"/>
                    </a:lnTo>
                    <a:close/>
                    <a:moveTo>
                      <a:pt x="56" y="117"/>
                    </a:moveTo>
                    <a:cubicBezTo>
                      <a:pt x="57" y="112"/>
                      <a:pt x="57" y="112"/>
                      <a:pt x="57" y="112"/>
                    </a:cubicBezTo>
                    <a:cubicBezTo>
                      <a:pt x="55" y="112"/>
                      <a:pt x="55" y="112"/>
                      <a:pt x="55" y="112"/>
                    </a:cubicBezTo>
                    <a:lnTo>
                      <a:pt x="56" y="117"/>
                    </a:lnTo>
                    <a:close/>
                    <a:moveTo>
                      <a:pt x="49" y="119"/>
                    </a:moveTo>
                    <a:cubicBezTo>
                      <a:pt x="55" y="123"/>
                      <a:pt x="55" y="123"/>
                      <a:pt x="55" y="123"/>
                    </a:cubicBezTo>
                    <a:cubicBezTo>
                      <a:pt x="55" y="122"/>
                      <a:pt x="55" y="122"/>
                      <a:pt x="55" y="122"/>
                    </a:cubicBezTo>
                    <a:cubicBezTo>
                      <a:pt x="51" y="119"/>
                      <a:pt x="51" y="119"/>
                      <a:pt x="51" y="119"/>
                    </a:cubicBezTo>
                    <a:lnTo>
                      <a:pt x="49" y="119"/>
                    </a:lnTo>
                    <a:close/>
                    <a:moveTo>
                      <a:pt x="55" y="126"/>
                    </a:moveTo>
                    <a:cubicBezTo>
                      <a:pt x="58" y="126"/>
                      <a:pt x="58" y="126"/>
                      <a:pt x="58" y="126"/>
                    </a:cubicBezTo>
                    <a:cubicBezTo>
                      <a:pt x="56" y="124"/>
                      <a:pt x="56" y="124"/>
                      <a:pt x="56" y="124"/>
                    </a:cubicBezTo>
                    <a:lnTo>
                      <a:pt x="55" y="126"/>
                    </a:lnTo>
                    <a:close/>
                    <a:moveTo>
                      <a:pt x="201" y="95"/>
                    </a:moveTo>
                    <a:cubicBezTo>
                      <a:pt x="199" y="91"/>
                      <a:pt x="199" y="91"/>
                      <a:pt x="199" y="91"/>
                    </a:cubicBezTo>
                    <a:cubicBezTo>
                      <a:pt x="197" y="95"/>
                      <a:pt x="197" y="95"/>
                      <a:pt x="197" y="95"/>
                    </a:cubicBezTo>
                    <a:cubicBezTo>
                      <a:pt x="197" y="95"/>
                      <a:pt x="192" y="94"/>
                      <a:pt x="186" y="94"/>
                    </a:cubicBezTo>
                    <a:cubicBezTo>
                      <a:pt x="181" y="94"/>
                      <a:pt x="188" y="85"/>
                      <a:pt x="188" y="85"/>
                    </a:cubicBezTo>
                    <a:cubicBezTo>
                      <a:pt x="183" y="84"/>
                      <a:pt x="183" y="84"/>
                      <a:pt x="183" y="84"/>
                    </a:cubicBezTo>
                    <a:cubicBezTo>
                      <a:pt x="183" y="76"/>
                      <a:pt x="183" y="76"/>
                      <a:pt x="183" y="76"/>
                    </a:cubicBezTo>
                    <a:cubicBezTo>
                      <a:pt x="183" y="76"/>
                      <a:pt x="182" y="68"/>
                      <a:pt x="177" y="67"/>
                    </a:cubicBezTo>
                    <a:cubicBezTo>
                      <a:pt x="172" y="66"/>
                      <a:pt x="169" y="73"/>
                      <a:pt x="169" y="73"/>
                    </a:cubicBezTo>
                    <a:cubicBezTo>
                      <a:pt x="170" y="77"/>
                      <a:pt x="170" y="77"/>
                      <a:pt x="170" y="77"/>
                    </a:cubicBezTo>
                    <a:cubicBezTo>
                      <a:pt x="170" y="77"/>
                      <a:pt x="167" y="83"/>
                      <a:pt x="159" y="82"/>
                    </a:cubicBezTo>
                    <a:cubicBezTo>
                      <a:pt x="152" y="82"/>
                      <a:pt x="150" y="75"/>
                      <a:pt x="150" y="75"/>
                    </a:cubicBezTo>
                    <a:cubicBezTo>
                      <a:pt x="143" y="74"/>
                      <a:pt x="143" y="74"/>
                      <a:pt x="143" y="74"/>
                    </a:cubicBezTo>
                    <a:cubicBezTo>
                      <a:pt x="144" y="68"/>
                      <a:pt x="144" y="68"/>
                      <a:pt x="144" y="68"/>
                    </a:cubicBezTo>
                    <a:cubicBezTo>
                      <a:pt x="144" y="68"/>
                      <a:pt x="137" y="57"/>
                      <a:pt x="137" y="54"/>
                    </a:cubicBezTo>
                    <a:cubicBezTo>
                      <a:pt x="137" y="51"/>
                      <a:pt x="142" y="53"/>
                      <a:pt x="142" y="53"/>
                    </a:cubicBezTo>
                    <a:cubicBezTo>
                      <a:pt x="144" y="48"/>
                      <a:pt x="144" y="48"/>
                      <a:pt x="144" y="48"/>
                    </a:cubicBezTo>
                    <a:cubicBezTo>
                      <a:pt x="150" y="51"/>
                      <a:pt x="150" y="51"/>
                      <a:pt x="150" y="51"/>
                    </a:cubicBezTo>
                    <a:cubicBezTo>
                      <a:pt x="154" y="48"/>
                      <a:pt x="154" y="48"/>
                      <a:pt x="154" y="48"/>
                    </a:cubicBezTo>
                    <a:cubicBezTo>
                      <a:pt x="157" y="47"/>
                      <a:pt x="157" y="47"/>
                      <a:pt x="157" y="47"/>
                    </a:cubicBezTo>
                    <a:cubicBezTo>
                      <a:pt x="157" y="47"/>
                      <a:pt x="149" y="45"/>
                      <a:pt x="149" y="43"/>
                    </a:cubicBezTo>
                    <a:cubicBezTo>
                      <a:pt x="149" y="40"/>
                      <a:pt x="153" y="39"/>
                      <a:pt x="154" y="39"/>
                    </a:cubicBezTo>
                    <a:cubicBezTo>
                      <a:pt x="156" y="39"/>
                      <a:pt x="157" y="43"/>
                      <a:pt x="157" y="43"/>
                    </a:cubicBezTo>
                    <a:cubicBezTo>
                      <a:pt x="157" y="43"/>
                      <a:pt x="159" y="41"/>
                      <a:pt x="161" y="41"/>
                    </a:cubicBezTo>
                    <a:cubicBezTo>
                      <a:pt x="165" y="41"/>
                      <a:pt x="164" y="43"/>
                      <a:pt x="164" y="43"/>
                    </a:cubicBezTo>
                    <a:cubicBezTo>
                      <a:pt x="170" y="36"/>
                      <a:pt x="170" y="36"/>
                      <a:pt x="170" y="36"/>
                    </a:cubicBezTo>
                    <a:cubicBezTo>
                      <a:pt x="171" y="30"/>
                      <a:pt x="171" y="30"/>
                      <a:pt x="171" y="30"/>
                    </a:cubicBezTo>
                    <a:cubicBezTo>
                      <a:pt x="173" y="30"/>
                      <a:pt x="173" y="30"/>
                      <a:pt x="173" y="30"/>
                    </a:cubicBezTo>
                    <a:cubicBezTo>
                      <a:pt x="176" y="23"/>
                      <a:pt x="176" y="23"/>
                      <a:pt x="176" y="23"/>
                    </a:cubicBezTo>
                    <a:cubicBezTo>
                      <a:pt x="182" y="24"/>
                      <a:pt x="182" y="24"/>
                      <a:pt x="182" y="24"/>
                    </a:cubicBezTo>
                    <a:cubicBezTo>
                      <a:pt x="186" y="20"/>
                      <a:pt x="186" y="20"/>
                      <a:pt x="186" y="20"/>
                    </a:cubicBezTo>
                    <a:cubicBezTo>
                      <a:pt x="186" y="20"/>
                      <a:pt x="194" y="17"/>
                      <a:pt x="194" y="15"/>
                    </a:cubicBezTo>
                    <a:cubicBezTo>
                      <a:pt x="195" y="13"/>
                      <a:pt x="189" y="9"/>
                      <a:pt x="189" y="9"/>
                    </a:cubicBezTo>
                    <a:cubicBezTo>
                      <a:pt x="189" y="6"/>
                      <a:pt x="189" y="6"/>
                      <a:pt x="189" y="6"/>
                    </a:cubicBezTo>
                    <a:cubicBezTo>
                      <a:pt x="189" y="6"/>
                      <a:pt x="183" y="0"/>
                      <a:pt x="182" y="1"/>
                    </a:cubicBezTo>
                    <a:cubicBezTo>
                      <a:pt x="181" y="3"/>
                      <a:pt x="185" y="9"/>
                      <a:pt x="184" y="9"/>
                    </a:cubicBezTo>
                    <a:cubicBezTo>
                      <a:pt x="184" y="10"/>
                      <a:pt x="182" y="7"/>
                      <a:pt x="182" y="7"/>
                    </a:cubicBezTo>
                    <a:cubicBezTo>
                      <a:pt x="175" y="6"/>
                      <a:pt x="175" y="6"/>
                      <a:pt x="175" y="6"/>
                    </a:cubicBezTo>
                    <a:cubicBezTo>
                      <a:pt x="173" y="11"/>
                      <a:pt x="173" y="11"/>
                      <a:pt x="173" y="11"/>
                    </a:cubicBezTo>
                    <a:cubicBezTo>
                      <a:pt x="174" y="13"/>
                      <a:pt x="174" y="13"/>
                      <a:pt x="174" y="13"/>
                    </a:cubicBezTo>
                    <a:cubicBezTo>
                      <a:pt x="174" y="22"/>
                      <a:pt x="174" y="22"/>
                      <a:pt x="174" y="22"/>
                    </a:cubicBezTo>
                    <a:cubicBezTo>
                      <a:pt x="166" y="26"/>
                      <a:pt x="166" y="26"/>
                      <a:pt x="166" y="26"/>
                    </a:cubicBezTo>
                    <a:cubicBezTo>
                      <a:pt x="165" y="26"/>
                      <a:pt x="165" y="26"/>
                      <a:pt x="165" y="26"/>
                    </a:cubicBezTo>
                    <a:cubicBezTo>
                      <a:pt x="168" y="22"/>
                      <a:pt x="168" y="22"/>
                      <a:pt x="168" y="22"/>
                    </a:cubicBezTo>
                    <a:cubicBezTo>
                      <a:pt x="167" y="21"/>
                      <a:pt x="167" y="21"/>
                      <a:pt x="167" y="21"/>
                    </a:cubicBezTo>
                    <a:cubicBezTo>
                      <a:pt x="167" y="21"/>
                      <a:pt x="171" y="21"/>
                      <a:pt x="172" y="17"/>
                    </a:cubicBezTo>
                    <a:cubicBezTo>
                      <a:pt x="172" y="15"/>
                      <a:pt x="170" y="12"/>
                      <a:pt x="170" y="11"/>
                    </a:cubicBezTo>
                    <a:cubicBezTo>
                      <a:pt x="170" y="9"/>
                      <a:pt x="171" y="7"/>
                      <a:pt x="171" y="7"/>
                    </a:cubicBezTo>
                    <a:cubicBezTo>
                      <a:pt x="166" y="7"/>
                      <a:pt x="166" y="7"/>
                      <a:pt x="166" y="7"/>
                    </a:cubicBezTo>
                    <a:cubicBezTo>
                      <a:pt x="166" y="10"/>
                      <a:pt x="166" y="10"/>
                      <a:pt x="166" y="10"/>
                    </a:cubicBezTo>
                    <a:cubicBezTo>
                      <a:pt x="166" y="10"/>
                      <a:pt x="169" y="11"/>
                      <a:pt x="168" y="13"/>
                    </a:cubicBezTo>
                    <a:cubicBezTo>
                      <a:pt x="168" y="15"/>
                      <a:pt x="166" y="16"/>
                      <a:pt x="166" y="16"/>
                    </a:cubicBezTo>
                    <a:cubicBezTo>
                      <a:pt x="166" y="16"/>
                      <a:pt x="166" y="13"/>
                      <a:pt x="165" y="12"/>
                    </a:cubicBezTo>
                    <a:cubicBezTo>
                      <a:pt x="164" y="11"/>
                      <a:pt x="164" y="7"/>
                      <a:pt x="164" y="7"/>
                    </a:cubicBezTo>
                    <a:cubicBezTo>
                      <a:pt x="161" y="7"/>
                      <a:pt x="161" y="7"/>
                      <a:pt x="161" y="7"/>
                    </a:cubicBezTo>
                    <a:cubicBezTo>
                      <a:pt x="161" y="7"/>
                      <a:pt x="162" y="13"/>
                      <a:pt x="161" y="13"/>
                    </a:cubicBezTo>
                    <a:cubicBezTo>
                      <a:pt x="160" y="14"/>
                      <a:pt x="159" y="11"/>
                      <a:pt x="159" y="11"/>
                    </a:cubicBezTo>
                    <a:cubicBezTo>
                      <a:pt x="157" y="9"/>
                      <a:pt x="157" y="9"/>
                      <a:pt x="157" y="9"/>
                    </a:cubicBezTo>
                    <a:cubicBezTo>
                      <a:pt x="157" y="7"/>
                      <a:pt x="157" y="7"/>
                      <a:pt x="157" y="7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5" y="8"/>
                      <a:pt x="145" y="8"/>
                      <a:pt x="145" y="8"/>
                    </a:cubicBezTo>
                    <a:cubicBezTo>
                      <a:pt x="145" y="8"/>
                      <a:pt x="143" y="13"/>
                      <a:pt x="142" y="14"/>
                    </a:cubicBezTo>
                    <a:cubicBezTo>
                      <a:pt x="140" y="15"/>
                      <a:pt x="138" y="15"/>
                      <a:pt x="138" y="15"/>
                    </a:cubicBezTo>
                    <a:cubicBezTo>
                      <a:pt x="136" y="21"/>
                      <a:pt x="136" y="21"/>
                      <a:pt x="136" y="21"/>
                    </a:cubicBezTo>
                    <a:cubicBezTo>
                      <a:pt x="138" y="25"/>
                      <a:pt x="138" y="25"/>
                      <a:pt x="138" y="25"/>
                    </a:cubicBezTo>
                    <a:cubicBezTo>
                      <a:pt x="131" y="26"/>
                      <a:pt x="131" y="26"/>
                      <a:pt x="131" y="26"/>
                    </a:cubicBezTo>
                    <a:cubicBezTo>
                      <a:pt x="132" y="29"/>
                      <a:pt x="132" y="29"/>
                      <a:pt x="132" y="29"/>
                    </a:cubicBezTo>
                    <a:cubicBezTo>
                      <a:pt x="132" y="29"/>
                      <a:pt x="124" y="27"/>
                      <a:pt x="121" y="30"/>
                    </a:cubicBezTo>
                    <a:cubicBezTo>
                      <a:pt x="118" y="32"/>
                      <a:pt x="118" y="40"/>
                      <a:pt x="124" y="40"/>
                    </a:cubicBezTo>
                    <a:cubicBezTo>
                      <a:pt x="131" y="40"/>
                      <a:pt x="129" y="42"/>
                      <a:pt x="129" y="42"/>
                    </a:cubicBezTo>
                    <a:cubicBezTo>
                      <a:pt x="126" y="44"/>
                      <a:pt x="126" y="44"/>
                      <a:pt x="126" y="44"/>
                    </a:cubicBezTo>
                    <a:cubicBezTo>
                      <a:pt x="129" y="45"/>
                      <a:pt x="129" y="45"/>
                      <a:pt x="129" y="45"/>
                    </a:cubicBezTo>
                    <a:cubicBezTo>
                      <a:pt x="134" y="42"/>
                      <a:pt x="134" y="42"/>
                      <a:pt x="134" y="42"/>
                    </a:cubicBezTo>
                    <a:cubicBezTo>
                      <a:pt x="139" y="43"/>
                      <a:pt x="139" y="43"/>
                      <a:pt x="139" y="43"/>
                    </a:cubicBezTo>
                    <a:cubicBezTo>
                      <a:pt x="132" y="51"/>
                      <a:pt x="132" y="51"/>
                      <a:pt x="132" y="51"/>
                    </a:cubicBezTo>
                    <a:cubicBezTo>
                      <a:pt x="125" y="52"/>
                      <a:pt x="125" y="52"/>
                      <a:pt x="125" y="52"/>
                    </a:cubicBezTo>
                    <a:cubicBezTo>
                      <a:pt x="117" y="56"/>
                      <a:pt x="117" y="56"/>
                      <a:pt x="117" y="56"/>
                    </a:cubicBezTo>
                    <a:cubicBezTo>
                      <a:pt x="117" y="56"/>
                      <a:pt x="119" y="62"/>
                      <a:pt x="118" y="63"/>
                    </a:cubicBezTo>
                    <a:cubicBezTo>
                      <a:pt x="117" y="64"/>
                      <a:pt x="115" y="66"/>
                      <a:pt x="115" y="66"/>
                    </a:cubicBezTo>
                    <a:cubicBezTo>
                      <a:pt x="115" y="63"/>
                      <a:pt x="115" y="63"/>
                      <a:pt x="115" y="63"/>
                    </a:cubicBezTo>
                    <a:cubicBezTo>
                      <a:pt x="115" y="63"/>
                      <a:pt x="105" y="56"/>
                      <a:pt x="103" y="56"/>
                    </a:cubicBezTo>
                    <a:cubicBezTo>
                      <a:pt x="100" y="56"/>
                      <a:pt x="95" y="61"/>
                      <a:pt x="95" y="61"/>
                    </a:cubicBezTo>
                    <a:cubicBezTo>
                      <a:pt x="93" y="59"/>
                      <a:pt x="93" y="59"/>
                      <a:pt x="93" y="59"/>
                    </a:cubicBezTo>
                    <a:cubicBezTo>
                      <a:pt x="93" y="55"/>
                      <a:pt x="93" y="55"/>
                      <a:pt x="93" y="55"/>
                    </a:cubicBezTo>
                    <a:cubicBezTo>
                      <a:pt x="91" y="52"/>
                      <a:pt x="91" y="52"/>
                      <a:pt x="91" y="52"/>
                    </a:cubicBezTo>
                    <a:cubicBezTo>
                      <a:pt x="91" y="52"/>
                      <a:pt x="86" y="51"/>
                      <a:pt x="84" y="51"/>
                    </a:cubicBezTo>
                    <a:cubicBezTo>
                      <a:pt x="80" y="49"/>
                      <a:pt x="75" y="44"/>
                      <a:pt x="73" y="45"/>
                    </a:cubicBezTo>
                    <a:cubicBezTo>
                      <a:pt x="72" y="45"/>
                      <a:pt x="70" y="46"/>
                      <a:pt x="70" y="46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67" y="52"/>
                      <a:pt x="67" y="52"/>
                      <a:pt x="67" y="52"/>
                    </a:cubicBezTo>
                    <a:cubicBezTo>
                      <a:pt x="67" y="47"/>
                      <a:pt x="67" y="47"/>
                      <a:pt x="67" y="47"/>
                    </a:cubicBezTo>
                    <a:cubicBezTo>
                      <a:pt x="62" y="46"/>
                      <a:pt x="62" y="46"/>
                      <a:pt x="62" y="46"/>
                    </a:cubicBezTo>
                    <a:cubicBezTo>
                      <a:pt x="57" y="56"/>
                      <a:pt x="57" y="56"/>
                      <a:pt x="57" y="56"/>
                    </a:cubicBezTo>
                    <a:cubicBezTo>
                      <a:pt x="58" y="56"/>
                      <a:pt x="58" y="56"/>
                      <a:pt x="58" y="56"/>
                    </a:cubicBezTo>
                    <a:cubicBezTo>
                      <a:pt x="62" y="51"/>
                      <a:pt x="62" y="51"/>
                      <a:pt x="62" y="51"/>
                    </a:cubicBezTo>
                    <a:cubicBezTo>
                      <a:pt x="63" y="57"/>
                      <a:pt x="63" y="57"/>
                      <a:pt x="63" y="57"/>
                    </a:cubicBezTo>
                    <a:cubicBezTo>
                      <a:pt x="61" y="57"/>
                      <a:pt x="61" y="57"/>
                      <a:pt x="61" y="57"/>
                    </a:cubicBezTo>
                    <a:cubicBezTo>
                      <a:pt x="62" y="59"/>
                      <a:pt x="62" y="59"/>
                      <a:pt x="62" y="59"/>
                    </a:cubicBezTo>
                    <a:cubicBezTo>
                      <a:pt x="67" y="58"/>
                      <a:pt x="67" y="58"/>
                      <a:pt x="67" y="58"/>
                    </a:cubicBezTo>
                    <a:cubicBezTo>
                      <a:pt x="64" y="63"/>
                      <a:pt x="64" y="63"/>
                      <a:pt x="64" y="63"/>
                    </a:cubicBezTo>
                    <a:cubicBezTo>
                      <a:pt x="64" y="70"/>
                      <a:pt x="64" y="70"/>
                      <a:pt x="64" y="70"/>
                    </a:cubicBezTo>
                    <a:cubicBezTo>
                      <a:pt x="62" y="68"/>
                      <a:pt x="62" y="68"/>
                      <a:pt x="62" y="68"/>
                    </a:cubicBezTo>
                    <a:cubicBezTo>
                      <a:pt x="62" y="68"/>
                      <a:pt x="55" y="73"/>
                      <a:pt x="60" y="73"/>
                    </a:cubicBezTo>
                    <a:cubicBezTo>
                      <a:pt x="64" y="74"/>
                      <a:pt x="73" y="74"/>
                      <a:pt x="73" y="74"/>
                    </a:cubicBezTo>
                    <a:cubicBezTo>
                      <a:pt x="70" y="80"/>
                      <a:pt x="70" y="80"/>
                      <a:pt x="70" y="80"/>
                    </a:cubicBezTo>
                    <a:cubicBezTo>
                      <a:pt x="58" y="79"/>
                      <a:pt x="58" y="79"/>
                      <a:pt x="58" y="79"/>
                    </a:cubicBezTo>
                    <a:cubicBezTo>
                      <a:pt x="56" y="87"/>
                      <a:pt x="56" y="87"/>
                      <a:pt x="56" y="87"/>
                    </a:cubicBezTo>
                    <a:cubicBezTo>
                      <a:pt x="62" y="93"/>
                      <a:pt x="62" y="93"/>
                      <a:pt x="62" y="93"/>
                    </a:cubicBezTo>
                    <a:cubicBezTo>
                      <a:pt x="51" y="88"/>
                      <a:pt x="51" y="88"/>
                      <a:pt x="51" y="88"/>
                    </a:cubicBezTo>
                    <a:cubicBezTo>
                      <a:pt x="51" y="91"/>
                      <a:pt x="51" y="91"/>
                      <a:pt x="51" y="91"/>
                    </a:cubicBezTo>
                    <a:cubicBezTo>
                      <a:pt x="44" y="90"/>
                      <a:pt x="44" y="90"/>
                      <a:pt x="44" y="90"/>
                    </a:cubicBezTo>
                    <a:cubicBezTo>
                      <a:pt x="44" y="90"/>
                      <a:pt x="47" y="93"/>
                      <a:pt x="46" y="95"/>
                    </a:cubicBezTo>
                    <a:cubicBezTo>
                      <a:pt x="44" y="99"/>
                      <a:pt x="42" y="98"/>
                      <a:pt x="42" y="98"/>
                    </a:cubicBezTo>
                    <a:cubicBezTo>
                      <a:pt x="49" y="104"/>
                      <a:pt x="49" y="104"/>
                      <a:pt x="49" y="104"/>
                    </a:cubicBezTo>
                    <a:cubicBezTo>
                      <a:pt x="52" y="102"/>
                      <a:pt x="52" y="102"/>
                      <a:pt x="52" y="102"/>
                    </a:cubicBezTo>
                    <a:cubicBezTo>
                      <a:pt x="55" y="104"/>
                      <a:pt x="55" y="104"/>
                      <a:pt x="55" y="104"/>
                    </a:cubicBezTo>
                    <a:cubicBezTo>
                      <a:pt x="49" y="106"/>
                      <a:pt x="49" y="106"/>
                      <a:pt x="49" y="106"/>
                    </a:cubicBezTo>
                    <a:cubicBezTo>
                      <a:pt x="55" y="110"/>
                      <a:pt x="55" y="110"/>
                      <a:pt x="55" y="110"/>
                    </a:cubicBezTo>
                    <a:cubicBezTo>
                      <a:pt x="59" y="106"/>
                      <a:pt x="59" y="106"/>
                      <a:pt x="59" y="106"/>
                    </a:cubicBezTo>
                    <a:cubicBezTo>
                      <a:pt x="60" y="108"/>
                      <a:pt x="60" y="108"/>
                      <a:pt x="60" y="108"/>
                    </a:cubicBezTo>
                    <a:cubicBezTo>
                      <a:pt x="62" y="107"/>
                      <a:pt x="62" y="107"/>
                      <a:pt x="62" y="107"/>
                    </a:cubicBezTo>
                    <a:cubicBezTo>
                      <a:pt x="63" y="111"/>
                      <a:pt x="63" y="111"/>
                      <a:pt x="63" y="111"/>
                    </a:cubicBezTo>
                    <a:cubicBezTo>
                      <a:pt x="59" y="111"/>
                      <a:pt x="59" y="111"/>
                      <a:pt x="59" y="111"/>
                    </a:cubicBezTo>
                    <a:cubicBezTo>
                      <a:pt x="59" y="116"/>
                      <a:pt x="59" y="116"/>
                      <a:pt x="59" y="116"/>
                    </a:cubicBezTo>
                    <a:cubicBezTo>
                      <a:pt x="59" y="116"/>
                      <a:pt x="64" y="119"/>
                      <a:pt x="69" y="119"/>
                    </a:cubicBezTo>
                    <a:cubicBezTo>
                      <a:pt x="74" y="119"/>
                      <a:pt x="84" y="121"/>
                      <a:pt x="84" y="121"/>
                    </a:cubicBezTo>
                    <a:cubicBezTo>
                      <a:pt x="83" y="127"/>
                      <a:pt x="83" y="127"/>
                      <a:pt x="83" y="127"/>
                    </a:cubicBezTo>
                    <a:cubicBezTo>
                      <a:pt x="83" y="127"/>
                      <a:pt x="78" y="129"/>
                      <a:pt x="76" y="129"/>
                    </a:cubicBezTo>
                    <a:cubicBezTo>
                      <a:pt x="74" y="129"/>
                      <a:pt x="70" y="124"/>
                      <a:pt x="70" y="124"/>
                    </a:cubicBezTo>
                    <a:cubicBezTo>
                      <a:pt x="70" y="124"/>
                      <a:pt x="67" y="129"/>
                      <a:pt x="64" y="131"/>
                    </a:cubicBezTo>
                    <a:cubicBezTo>
                      <a:pt x="62" y="132"/>
                      <a:pt x="60" y="135"/>
                      <a:pt x="60" y="135"/>
                    </a:cubicBezTo>
                    <a:cubicBezTo>
                      <a:pt x="64" y="139"/>
                      <a:pt x="64" y="139"/>
                      <a:pt x="64" y="139"/>
                    </a:cubicBezTo>
                    <a:cubicBezTo>
                      <a:pt x="64" y="139"/>
                      <a:pt x="61" y="140"/>
                      <a:pt x="58" y="142"/>
                    </a:cubicBezTo>
                    <a:cubicBezTo>
                      <a:pt x="56" y="145"/>
                      <a:pt x="54" y="148"/>
                      <a:pt x="54" y="148"/>
                    </a:cubicBezTo>
                    <a:cubicBezTo>
                      <a:pt x="50" y="147"/>
                      <a:pt x="50" y="147"/>
                      <a:pt x="50" y="147"/>
                    </a:cubicBezTo>
                    <a:cubicBezTo>
                      <a:pt x="47" y="150"/>
                      <a:pt x="47" y="150"/>
                      <a:pt x="47" y="150"/>
                    </a:cubicBezTo>
                    <a:cubicBezTo>
                      <a:pt x="35" y="155"/>
                      <a:pt x="35" y="155"/>
                      <a:pt x="35" y="155"/>
                    </a:cubicBezTo>
                    <a:cubicBezTo>
                      <a:pt x="47" y="155"/>
                      <a:pt x="47" y="155"/>
                      <a:pt x="47" y="155"/>
                    </a:cubicBezTo>
                    <a:cubicBezTo>
                      <a:pt x="49" y="153"/>
                      <a:pt x="49" y="153"/>
                      <a:pt x="49" y="153"/>
                    </a:cubicBezTo>
                    <a:cubicBezTo>
                      <a:pt x="49" y="153"/>
                      <a:pt x="53" y="159"/>
                      <a:pt x="60" y="157"/>
                    </a:cubicBezTo>
                    <a:cubicBezTo>
                      <a:pt x="67" y="156"/>
                      <a:pt x="71" y="152"/>
                      <a:pt x="71" y="152"/>
                    </a:cubicBezTo>
                    <a:cubicBezTo>
                      <a:pt x="73" y="151"/>
                      <a:pt x="73" y="151"/>
                      <a:pt x="73" y="151"/>
                    </a:cubicBezTo>
                    <a:cubicBezTo>
                      <a:pt x="73" y="157"/>
                      <a:pt x="73" y="157"/>
                      <a:pt x="73" y="157"/>
                    </a:cubicBezTo>
                    <a:cubicBezTo>
                      <a:pt x="79" y="158"/>
                      <a:pt x="79" y="158"/>
                      <a:pt x="79" y="158"/>
                    </a:cubicBezTo>
                    <a:cubicBezTo>
                      <a:pt x="82" y="161"/>
                      <a:pt x="82" y="161"/>
                      <a:pt x="82" y="161"/>
                    </a:cubicBezTo>
                    <a:cubicBezTo>
                      <a:pt x="75" y="159"/>
                      <a:pt x="75" y="159"/>
                      <a:pt x="75" y="159"/>
                    </a:cubicBezTo>
                    <a:cubicBezTo>
                      <a:pt x="67" y="159"/>
                      <a:pt x="67" y="159"/>
                      <a:pt x="67" y="159"/>
                    </a:cubicBezTo>
                    <a:cubicBezTo>
                      <a:pt x="55" y="161"/>
                      <a:pt x="55" y="161"/>
                      <a:pt x="55" y="161"/>
                    </a:cubicBezTo>
                    <a:cubicBezTo>
                      <a:pt x="46" y="157"/>
                      <a:pt x="46" y="157"/>
                      <a:pt x="46" y="157"/>
                    </a:cubicBezTo>
                    <a:cubicBezTo>
                      <a:pt x="39" y="163"/>
                      <a:pt x="39" y="163"/>
                      <a:pt x="39" y="163"/>
                    </a:cubicBezTo>
                    <a:cubicBezTo>
                      <a:pt x="34" y="164"/>
                      <a:pt x="34" y="164"/>
                      <a:pt x="34" y="164"/>
                    </a:cubicBezTo>
                    <a:cubicBezTo>
                      <a:pt x="31" y="173"/>
                      <a:pt x="31" y="173"/>
                      <a:pt x="31" y="173"/>
                    </a:cubicBezTo>
                    <a:cubicBezTo>
                      <a:pt x="35" y="175"/>
                      <a:pt x="35" y="175"/>
                      <a:pt x="35" y="175"/>
                    </a:cubicBezTo>
                    <a:cubicBezTo>
                      <a:pt x="26" y="173"/>
                      <a:pt x="26" y="173"/>
                      <a:pt x="26" y="173"/>
                    </a:cubicBezTo>
                    <a:cubicBezTo>
                      <a:pt x="26" y="169"/>
                      <a:pt x="26" y="169"/>
                      <a:pt x="26" y="169"/>
                    </a:cubicBezTo>
                    <a:cubicBezTo>
                      <a:pt x="21" y="172"/>
                      <a:pt x="21" y="172"/>
                      <a:pt x="21" y="172"/>
                    </a:cubicBezTo>
                    <a:cubicBezTo>
                      <a:pt x="19" y="171"/>
                      <a:pt x="19" y="171"/>
                      <a:pt x="19" y="171"/>
                    </a:cubicBezTo>
                    <a:cubicBezTo>
                      <a:pt x="19" y="169"/>
                      <a:pt x="19" y="169"/>
                      <a:pt x="19" y="169"/>
                    </a:cubicBezTo>
                    <a:cubicBezTo>
                      <a:pt x="19" y="169"/>
                      <a:pt x="14" y="169"/>
                      <a:pt x="9" y="171"/>
                    </a:cubicBezTo>
                    <a:cubicBezTo>
                      <a:pt x="5" y="173"/>
                      <a:pt x="0" y="175"/>
                      <a:pt x="4" y="178"/>
                    </a:cubicBezTo>
                    <a:cubicBezTo>
                      <a:pt x="9" y="179"/>
                      <a:pt x="17" y="181"/>
                      <a:pt x="19" y="181"/>
                    </a:cubicBezTo>
                    <a:cubicBezTo>
                      <a:pt x="21" y="181"/>
                      <a:pt x="30" y="180"/>
                      <a:pt x="29" y="182"/>
                    </a:cubicBezTo>
                    <a:cubicBezTo>
                      <a:pt x="28" y="184"/>
                      <a:pt x="22" y="188"/>
                      <a:pt x="16" y="188"/>
                    </a:cubicBezTo>
                    <a:cubicBezTo>
                      <a:pt x="10" y="188"/>
                      <a:pt x="10" y="190"/>
                      <a:pt x="9" y="192"/>
                    </a:cubicBezTo>
                    <a:cubicBezTo>
                      <a:pt x="7" y="193"/>
                      <a:pt x="2" y="193"/>
                      <a:pt x="2" y="193"/>
                    </a:cubicBezTo>
                    <a:cubicBezTo>
                      <a:pt x="2" y="199"/>
                      <a:pt x="2" y="199"/>
                      <a:pt x="2" y="199"/>
                    </a:cubicBezTo>
                    <a:cubicBezTo>
                      <a:pt x="2" y="199"/>
                      <a:pt x="8" y="196"/>
                      <a:pt x="8" y="198"/>
                    </a:cubicBezTo>
                    <a:cubicBezTo>
                      <a:pt x="8" y="200"/>
                      <a:pt x="10" y="204"/>
                      <a:pt x="10" y="204"/>
                    </a:cubicBezTo>
                    <a:cubicBezTo>
                      <a:pt x="30" y="202"/>
                      <a:pt x="30" y="202"/>
                      <a:pt x="30" y="202"/>
                    </a:cubicBezTo>
                    <a:cubicBezTo>
                      <a:pt x="16" y="206"/>
                      <a:pt x="16" y="206"/>
                      <a:pt x="16" y="206"/>
                    </a:cubicBezTo>
                    <a:cubicBezTo>
                      <a:pt x="14" y="210"/>
                      <a:pt x="14" y="210"/>
                      <a:pt x="14" y="210"/>
                    </a:cubicBezTo>
                    <a:cubicBezTo>
                      <a:pt x="9" y="210"/>
                      <a:pt x="9" y="210"/>
                      <a:pt x="9" y="210"/>
                    </a:cubicBezTo>
                    <a:cubicBezTo>
                      <a:pt x="7" y="214"/>
                      <a:pt x="7" y="214"/>
                      <a:pt x="7" y="214"/>
                    </a:cubicBezTo>
                    <a:cubicBezTo>
                      <a:pt x="22" y="212"/>
                      <a:pt x="22" y="212"/>
                      <a:pt x="22" y="212"/>
                    </a:cubicBezTo>
                    <a:cubicBezTo>
                      <a:pt x="26" y="213"/>
                      <a:pt x="26" y="213"/>
                      <a:pt x="26" y="213"/>
                    </a:cubicBezTo>
                    <a:cubicBezTo>
                      <a:pt x="33" y="211"/>
                      <a:pt x="33" y="211"/>
                      <a:pt x="33" y="211"/>
                    </a:cubicBezTo>
                    <a:cubicBezTo>
                      <a:pt x="35" y="214"/>
                      <a:pt x="35" y="214"/>
                      <a:pt x="35" y="214"/>
                    </a:cubicBezTo>
                    <a:cubicBezTo>
                      <a:pt x="35" y="214"/>
                      <a:pt x="29" y="215"/>
                      <a:pt x="26" y="216"/>
                    </a:cubicBezTo>
                    <a:cubicBezTo>
                      <a:pt x="23" y="216"/>
                      <a:pt x="18" y="220"/>
                      <a:pt x="18" y="220"/>
                    </a:cubicBezTo>
                    <a:cubicBezTo>
                      <a:pt x="28" y="219"/>
                      <a:pt x="28" y="219"/>
                      <a:pt x="28" y="219"/>
                    </a:cubicBezTo>
                    <a:cubicBezTo>
                      <a:pt x="28" y="219"/>
                      <a:pt x="23" y="224"/>
                      <a:pt x="22" y="224"/>
                    </a:cubicBezTo>
                    <a:cubicBezTo>
                      <a:pt x="20" y="224"/>
                      <a:pt x="16" y="225"/>
                      <a:pt x="16" y="225"/>
                    </a:cubicBezTo>
                    <a:cubicBezTo>
                      <a:pt x="18" y="226"/>
                      <a:pt x="18" y="226"/>
                      <a:pt x="18" y="226"/>
                    </a:cubicBezTo>
                    <a:cubicBezTo>
                      <a:pt x="34" y="225"/>
                      <a:pt x="34" y="225"/>
                      <a:pt x="34" y="225"/>
                    </a:cubicBezTo>
                    <a:cubicBezTo>
                      <a:pt x="37" y="226"/>
                      <a:pt x="37" y="226"/>
                      <a:pt x="37" y="226"/>
                    </a:cubicBezTo>
                    <a:cubicBezTo>
                      <a:pt x="35" y="230"/>
                      <a:pt x="35" y="230"/>
                      <a:pt x="35" y="230"/>
                    </a:cubicBezTo>
                    <a:cubicBezTo>
                      <a:pt x="35" y="230"/>
                      <a:pt x="40" y="232"/>
                      <a:pt x="42" y="231"/>
                    </a:cubicBezTo>
                    <a:cubicBezTo>
                      <a:pt x="44" y="229"/>
                      <a:pt x="46" y="228"/>
                      <a:pt x="46" y="228"/>
                    </a:cubicBezTo>
                    <a:cubicBezTo>
                      <a:pt x="53" y="231"/>
                      <a:pt x="53" y="231"/>
                      <a:pt x="53" y="231"/>
                    </a:cubicBezTo>
                    <a:cubicBezTo>
                      <a:pt x="57" y="228"/>
                      <a:pt x="57" y="228"/>
                      <a:pt x="57" y="228"/>
                    </a:cubicBezTo>
                    <a:cubicBezTo>
                      <a:pt x="61" y="230"/>
                      <a:pt x="61" y="230"/>
                      <a:pt x="61" y="230"/>
                    </a:cubicBezTo>
                    <a:cubicBezTo>
                      <a:pt x="66" y="227"/>
                      <a:pt x="66" y="227"/>
                      <a:pt x="66" y="227"/>
                    </a:cubicBezTo>
                    <a:cubicBezTo>
                      <a:pt x="69" y="228"/>
                      <a:pt x="69" y="228"/>
                      <a:pt x="69" y="228"/>
                    </a:cubicBezTo>
                    <a:cubicBezTo>
                      <a:pt x="69" y="228"/>
                      <a:pt x="83" y="228"/>
                      <a:pt x="82" y="222"/>
                    </a:cubicBezTo>
                    <a:cubicBezTo>
                      <a:pt x="82" y="213"/>
                      <a:pt x="82" y="213"/>
                      <a:pt x="82" y="213"/>
                    </a:cubicBezTo>
                    <a:cubicBezTo>
                      <a:pt x="82" y="213"/>
                      <a:pt x="85" y="212"/>
                      <a:pt x="87" y="215"/>
                    </a:cubicBezTo>
                    <a:cubicBezTo>
                      <a:pt x="90" y="219"/>
                      <a:pt x="85" y="218"/>
                      <a:pt x="85" y="220"/>
                    </a:cubicBezTo>
                    <a:cubicBezTo>
                      <a:pt x="85" y="222"/>
                      <a:pt x="87" y="224"/>
                      <a:pt x="91" y="222"/>
                    </a:cubicBezTo>
                    <a:cubicBezTo>
                      <a:pt x="96" y="222"/>
                      <a:pt x="103" y="218"/>
                      <a:pt x="103" y="218"/>
                    </a:cubicBezTo>
                    <a:cubicBezTo>
                      <a:pt x="103" y="214"/>
                      <a:pt x="103" y="214"/>
                      <a:pt x="103" y="214"/>
                    </a:cubicBezTo>
                    <a:cubicBezTo>
                      <a:pt x="103" y="214"/>
                      <a:pt x="109" y="220"/>
                      <a:pt x="112" y="218"/>
                    </a:cubicBezTo>
                    <a:cubicBezTo>
                      <a:pt x="117" y="216"/>
                      <a:pt x="116" y="210"/>
                      <a:pt x="116" y="210"/>
                    </a:cubicBezTo>
                    <a:cubicBezTo>
                      <a:pt x="119" y="211"/>
                      <a:pt x="119" y="211"/>
                      <a:pt x="119" y="211"/>
                    </a:cubicBezTo>
                    <a:cubicBezTo>
                      <a:pt x="125" y="208"/>
                      <a:pt x="125" y="208"/>
                      <a:pt x="125" y="208"/>
                    </a:cubicBezTo>
                    <a:cubicBezTo>
                      <a:pt x="139" y="212"/>
                      <a:pt x="139" y="212"/>
                      <a:pt x="139" y="212"/>
                    </a:cubicBezTo>
                    <a:cubicBezTo>
                      <a:pt x="141" y="204"/>
                      <a:pt x="141" y="204"/>
                      <a:pt x="141" y="204"/>
                    </a:cubicBezTo>
                    <a:cubicBezTo>
                      <a:pt x="144" y="206"/>
                      <a:pt x="144" y="206"/>
                      <a:pt x="144" y="206"/>
                    </a:cubicBezTo>
                    <a:cubicBezTo>
                      <a:pt x="143" y="213"/>
                      <a:pt x="143" y="213"/>
                      <a:pt x="143" y="213"/>
                    </a:cubicBezTo>
                    <a:cubicBezTo>
                      <a:pt x="148" y="212"/>
                      <a:pt x="148" y="212"/>
                      <a:pt x="148" y="212"/>
                    </a:cubicBezTo>
                    <a:cubicBezTo>
                      <a:pt x="150" y="206"/>
                      <a:pt x="150" y="206"/>
                      <a:pt x="150" y="206"/>
                    </a:cubicBezTo>
                    <a:cubicBezTo>
                      <a:pt x="150" y="210"/>
                      <a:pt x="150" y="210"/>
                      <a:pt x="150" y="210"/>
                    </a:cubicBezTo>
                    <a:cubicBezTo>
                      <a:pt x="150" y="210"/>
                      <a:pt x="153" y="214"/>
                      <a:pt x="157" y="214"/>
                    </a:cubicBezTo>
                    <a:cubicBezTo>
                      <a:pt x="161" y="214"/>
                      <a:pt x="169" y="213"/>
                      <a:pt x="169" y="213"/>
                    </a:cubicBezTo>
                    <a:cubicBezTo>
                      <a:pt x="168" y="208"/>
                      <a:pt x="168" y="208"/>
                      <a:pt x="168" y="208"/>
                    </a:cubicBezTo>
                    <a:cubicBezTo>
                      <a:pt x="162" y="202"/>
                      <a:pt x="162" y="202"/>
                      <a:pt x="162" y="202"/>
                    </a:cubicBezTo>
                    <a:cubicBezTo>
                      <a:pt x="164" y="201"/>
                      <a:pt x="164" y="201"/>
                      <a:pt x="164" y="201"/>
                    </a:cubicBezTo>
                    <a:cubicBezTo>
                      <a:pt x="169" y="203"/>
                      <a:pt x="169" y="203"/>
                      <a:pt x="169" y="203"/>
                    </a:cubicBezTo>
                    <a:cubicBezTo>
                      <a:pt x="169" y="201"/>
                      <a:pt x="169" y="201"/>
                      <a:pt x="169" y="201"/>
                    </a:cubicBezTo>
                    <a:cubicBezTo>
                      <a:pt x="178" y="193"/>
                      <a:pt x="178" y="193"/>
                      <a:pt x="178" y="193"/>
                    </a:cubicBezTo>
                    <a:cubicBezTo>
                      <a:pt x="178" y="187"/>
                      <a:pt x="178" y="187"/>
                      <a:pt x="178" y="187"/>
                    </a:cubicBezTo>
                    <a:cubicBezTo>
                      <a:pt x="178" y="187"/>
                      <a:pt x="182" y="178"/>
                      <a:pt x="184" y="177"/>
                    </a:cubicBezTo>
                    <a:cubicBezTo>
                      <a:pt x="187" y="175"/>
                      <a:pt x="192" y="170"/>
                      <a:pt x="193" y="161"/>
                    </a:cubicBezTo>
                    <a:cubicBezTo>
                      <a:pt x="193" y="149"/>
                      <a:pt x="193" y="149"/>
                      <a:pt x="193" y="149"/>
                    </a:cubicBezTo>
                    <a:cubicBezTo>
                      <a:pt x="193" y="149"/>
                      <a:pt x="186" y="145"/>
                      <a:pt x="188" y="142"/>
                    </a:cubicBezTo>
                    <a:cubicBezTo>
                      <a:pt x="191" y="140"/>
                      <a:pt x="194" y="141"/>
                      <a:pt x="194" y="141"/>
                    </a:cubicBezTo>
                    <a:cubicBezTo>
                      <a:pt x="194" y="141"/>
                      <a:pt x="194" y="137"/>
                      <a:pt x="195" y="135"/>
                    </a:cubicBezTo>
                    <a:cubicBezTo>
                      <a:pt x="197" y="134"/>
                      <a:pt x="200" y="132"/>
                      <a:pt x="199" y="130"/>
                    </a:cubicBezTo>
                    <a:cubicBezTo>
                      <a:pt x="197" y="127"/>
                      <a:pt x="194" y="119"/>
                      <a:pt x="194" y="119"/>
                    </a:cubicBezTo>
                    <a:cubicBezTo>
                      <a:pt x="194" y="119"/>
                      <a:pt x="197" y="117"/>
                      <a:pt x="197" y="112"/>
                    </a:cubicBezTo>
                    <a:cubicBezTo>
                      <a:pt x="197" y="107"/>
                      <a:pt x="190" y="104"/>
                      <a:pt x="193" y="102"/>
                    </a:cubicBezTo>
                    <a:cubicBezTo>
                      <a:pt x="197" y="99"/>
                      <a:pt x="203" y="103"/>
                      <a:pt x="204" y="102"/>
                    </a:cubicBezTo>
                    <a:cubicBezTo>
                      <a:pt x="204" y="101"/>
                      <a:pt x="201" y="95"/>
                      <a:pt x="201" y="95"/>
                    </a:cubicBez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234" name="Iceland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2936875" y="1406525"/>
                <a:ext cx="608012" cy="500062"/>
              </a:xfrm>
              <a:custGeom>
                <a:avLst/>
                <a:gdLst/>
                <a:ahLst/>
                <a:cxnLst>
                  <a:cxn ang="0">
                    <a:pos x="273" y="136"/>
                  </a:cxn>
                  <a:cxn ang="0">
                    <a:pos x="262" y="113"/>
                  </a:cxn>
                  <a:cxn ang="0">
                    <a:pos x="268" y="98"/>
                  </a:cxn>
                  <a:cxn ang="0">
                    <a:pos x="252" y="81"/>
                  </a:cxn>
                  <a:cxn ang="0">
                    <a:pos x="229" y="89"/>
                  </a:cxn>
                  <a:cxn ang="0">
                    <a:pos x="206" y="89"/>
                  </a:cxn>
                  <a:cxn ang="0">
                    <a:pos x="189" y="71"/>
                  </a:cxn>
                  <a:cxn ang="0">
                    <a:pos x="178" y="102"/>
                  </a:cxn>
                  <a:cxn ang="0">
                    <a:pos x="177" y="75"/>
                  </a:cxn>
                  <a:cxn ang="0">
                    <a:pos x="170" y="63"/>
                  </a:cxn>
                  <a:cxn ang="0">
                    <a:pos x="144" y="81"/>
                  </a:cxn>
                  <a:cxn ang="0">
                    <a:pos x="141" y="52"/>
                  </a:cxn>
                  <a:cxn ang="0">
                    <a:pos x="133" y="54"/>
                  </a:cxn>
                  <a:cxn ang="0">
                    <a:pos x="115" y="81"/>
                  </a:cxn>
                  <a:cxn ang="0">
                    <a:pos x="110" y="75"/>
                  </a:cxn>
                  <a:cxn ang="0">
                    <a:pos x="95" y="81"/>
                  </a:cxn>
                  <a:cxn ang="0">
                    <a:pos x="90" y="75"/>
                  </a:cxn>
                  <a:cxn ang="0">
                    <a:pos x="92" y="54"/>
                  </a:cxn>
                  <a:cxn ang="0">
                    <a:pos x="109" y="44"/>
                  </a:cxn>
                  <a:cxn ang="0">
                    <a:pos x="104" y="23"/>
                  </a:cxn>
                  <a:cxn ang="0">
                    <a:pos x="97" y="10"/>
                  </a:cxn>
                  <a:cxn ang="0">
                    <a:pos x="81" y="5"/>
                  </a:cxn>
                  <a:cxn ang="0">
                    <a:pos x="88" y="13"/>
                  </a:cxn>
                  <a:cxn ang="0">
                    <a:pos x="87" y="29"/>
                  </a:cxn>
                  <a:cxn ang="0">
                    <a:pos x="79" y="32"/>
                  </a:cxn>
                  <a:cxn ang="0">
                    <a:pos x="73" y="27"/>
                  </a:cxn>
                  <a:cxn ang="0">
                    <a:pos x="71" y="13"/>
                  </a:cxn>
                  <a:cxn ang="0">
                    <a:pos x="53" y="22"/>
                  </a:cxn>
                  <a:cxn ang="0">
                    <a:pos x="57" y="38"/>
                  </a:cxn>
                  <a:cxn ang="0">
                    <a:pos x="38" y="23"/>
                  </a:cxn>
                  <a:cxn ang="0">
                    <a:pos x="30" y="36"/>
                  </a:cxn>
                  <a:cxn ang="0">
                    <a:pos x="30" y="49"/>
                  </a:cxn>
                  <a:cxn ang="0">
                    <a:pos x="60" y="50"/>
                  </a:cxn>
                  <a:cxn ang="0">
                    <a:pos x="72" y="64"/>
                  </a:cxn>
                  <a:cxn ang="0">
                    <a:pos x="72" y="75"/>
                  </a:cxn>
                  <a:cxn ang="0">
                    <a:pos x="69" y="87"/>
                  </a:cxn>
                  <a:cxn ang="0">
                    <a:pos x="45" y="87"/>
                  </a:cxn>
                  <a:cxn ang="0">
                    <a:pos x="31" y="83"/>
                  </a:cxn>
                  <a:cxn ang="0">
                    <a:pos x="4" y="84"/>
                  </a:cxn>
                  <a:cxn ang="0">
                    <a:pos x="34" y="97"/>
                  </a:cxn>
                  <a:cxn ang="0">
                    <a:pos x="36" y="117"/>
                  </a:cxn>
                  <a:cxn ang="0">
                    <a:pos x="48" y="121"/>
                  </a:cxn>
                  <a:cxn ang="0">
                    <a:pos x="36" y="132"/>
                  </a:cxn>
                  <a:cxn ang="0">
                    <a:pos x="36" y="141"/>
                  </a:cxn>
                  <a:cxn ang="0">
                    <a:pos x="14" y="149"/>
                  </a:cxn>
                  <a:cxn ang="0">
                    <a:pos x="0" y="154"/>
                  </a:cxn>
                  <a:cxn ang="0">
                    <a:pos x="28" y="168"/>
                  </a:cxn>
                  <a:cxn ang="0">
                    <a:pos x="45" y="177"/>
                  </a:cxn>
                  <a:cxn ang="0">
                    <a:pos x="55" y="194"/>
                  </a:cxn>
                  <a:cxn ang="0">
                    <a:pos x="79" y="224"/>
                  </a:cxn>
                  <a:cxn ang="0">
                    <a:pos x="123" y="221"/>
                  </a:cxn>
                  <a:cxn ang="0">
                    <a:pos x="155" y="227"/>
                  </a:cxn>
                  <a:cxn ang="0">
                    <a:pos x="195" y="217"/>
                  </a:cxn>
                  <a:cxn ang="0">
                    <a:pos x="212" y="218"/>
                  </a:cxn>
                  <a:cxn ang="0">
                    <a:pos x="240" y="207"/>
                  </a:cxn>
                  <a:cxn ang="0">
                    <a:pos x="243" y="194"/>
                  </a:cxn>
                  <a:cxn ang="0">
                    <a:pos x="258" y="190"/>
                  </a:cxn>
                  <a:cxn ang="0">
                    <a:pos x="263" y="183"/>
                  </a:cxn>
                  <a:cxn ang="0">
                    <a:pos x="272" y="183"/>
                  </a:cxn>
                  <a:cxn ang="0">
                    <a:pos x="278" y="173"/>
                  </a:cxn>
                  <a:cxn ang="0">
                    <a:pos x="284" y="155"/>
                  </a:cxn>
                  <a:cxn ang="0">
                    <a:pos x="50" y="205"/>
                  </a:cxn>
                </a:cxnLst>
                <a:rect l="0" t="0" r="r" b="b"/>
                <a:pathLst>
                  <a:path w="285" h="235">
                    <a:moveTo>
                      <a:pt x="284" y="155"/>
                    </a:moveTo>
                    <a:cubicBezTo>
                      <a:pt x="280" y="156"/>
                      <a:pt x="280" y="156"/>
                      <a:pt x="280" y="156"/>
                    </a:cubicBezTo>
                    <a:cubicBezTo>
                      <a:pt x="280" y="153"/>
                      <a:pt x="280" y="153"/>
                      <a:pt x="280" y="153"/>
                    </a:cubicBezTo>
                    <a:cubicBezTo>
                      <a:pt x="279" y="153"/>
                      <a:pt x="279" y="153"/>
                      <a:pt x="279" y="153"/>
                    </a:cubicBezTo>
                    <a:cubicBezTo>
                      <a:pt x="281" y="150"/>
                      <a:pt x="281" y="150"/>
                      <a:pt x="281" y="150"/>
                    </a:cubicBezTo>
                    <a:cubicBezTo>
                      <a:pt x="280" y="149"/>
                      <a:pt x="280" y="149"/>
                      <a:pt x="280" y="149"/>
                    </a:cubicBezTo>
                    <a:cubicBezTo>
                      <a:pt x="280" y="149"/>
                      <a:pt x="275" y="147"/>
                      <a:pt x="272" y="143"/>
                    </a:cubicBezTo>
                    <a:cubicBezTo>
                      <a:pt x="270" y="139"/>
                      <a:pt x="273" y="136"/>
                      <a:pt x="273" y="136"/>
                    </a:cubicBezTo>
                    <a:cubicBezTo>
                      <a:pt x="260" y="133"/>
                      <a:pt x="260" y="133"/>
                      <a:pt x="260" y="133"/>
                    </a:cubicBezTo>
                    <a:cubicBezTo>
                      <a:pt x="261" y="130"/>
                      <a:pt x="261" y="130"/>
                      <a:pt x="261" y="130"/>
                    </a:cubicBezTo>
                    <a:cubicBezTo>
                      <a:pt x="259" y="130"/>
                      <a:pt x="259" y="130"/>
                      <a:pt x="259" y="130"/>
                    </a:cubicBezTo>
                    <a:cubicBezTo>
                      <a:pt x="259" y="130"/>
                      <a:pt x="260" y="128"/>
                      <a:pt x="262" y="128"/>
                    </a:cubicBezTo>
                    <a:cubicBezTo>
                      <a:pt x="264" y="127"/>
                      <a:pt x="265" y="127"/>
                      <a:pt x="269" y="124"/>
                    </a:cubicBezTo>
                    <a:cubicBezTo>
                      <a:pt x="273" y="122"/>
                      <a:pt x="272" y="116"/>
                      <a:pt x="271" y="115"/>
                    </a:cubicBezTo>
                    <a:cubicBezTo>
                      <a:pt x="270" y="113"/>
                      <a:pt x="268" y="115"/>
                      <a:pt x="265" y="115"/>
                    </a:cubicBezTo>
                    <a:cubicBezTo>
                      <a:pt x="264" y="115"/>
                      <a:pt x="262" y="113"/>
                      <a:pt x="262" y="113"/>
                    </a:cubicBezTo>
                    <a:cubicBezTo>
                      <a:pt x="262" y="113"/>
                      <a:pt x="263" y="112"/>
                      <a:pt x="263" y="110"/>
                    </a:cubicBezTo>
                    <a:cubicBezTo>
                      <a:pt x="263" y="108"/>
                      <a:pt x="260" y="107"/>
                      <a:pt x="260" y="107"/>
                    </a:cubicBezTo>
                    <a:cubicBezTo>
                      <a:pt x="260" y="107"/>
                      <a:pt x="269" y="106"/>
                      <a:pt x="270" y="105"/>
                    </a:cubicBezTo>
                    <a:cubicBezTo>
                      <a:pt x="271" y="102"/>
                      <a:pt x="271" y="99"/>
                      <a:pt x="271" y="99"/>
                    </a:cubicBezTo>
                    <a:cubicBezTo>
                      <a:pt x="284" y="97"/>
                      <a:pt x="284" y="97"/>
                      <a:pt x="284" y="97"/>
                    </a:cubicBezTo>
                    <a:cubicBezTo>
                      <a:pt x="284" y="97"/>
                      <a:pt x="280" y="96"/>
                      <a:pt x="278" y="96"/>
                    </a:cubicBezTo>
                    <a:cubicBezTo>
                      <a:pt x="277" y="95"/>
                      <a:pt x="279" y="94"/>
                      <a:pt x="276" y="93"/>
                    </a:cubicBezTo>
                    <a:cubicBezTo>
                      <a:pt x="274" y="92"/>
                      <a:pt x="270" y="97"/>
                      <a:pt x="268" y="98"/>
                    </a:cubicBezTo>
                    <a:cubicBezTo>
                      <a:pt x="264" y="99"/>
                      <a:pt x="265" y="96"/>
                      <a:pt x="262" y="97"/>
                    </a:cubicBezTo>
                    <a:cubicBezTo>
                      <a:pt x="258" y="97"/>
                      <a:pt x="259" y="101"/>
                      <a:pt x="258" y="102"/>
                    </a:cubicBezTo>
                    <a:cubicBezTo>
                      <a:pt x="257" y="102"/>
                      <a:pt x="256" y="99"/>
                      <a:pt x="256" y="97"/>
                    </a:cubicBezTo>
                    <a:cubicBezTo>
                      <a:pt x="255" y="96"/>
                      <a:pt x="253" y="95"/>
                      <a:pt x="253" y="95"/>
                    </a:cubicBezTo>
                    <a:cubicBezTo>
                      <a:pt x="254" y="93"/>
                      <a:pt x="254" y="93"/>
                      <a:pt x="254" y="93"/>
                    </a:cubicBezTo>
                    <a:cubicBezTo>
                      <a:pt x="252" y="92"/>
                      <a:pt x="252" y="92"/>
                      <a:pt x="252" y="92"/>
                    </a:cubicBezTo>
                    <a:cubicBezTo>
                      <a:pt x="252" y="92"/>
                      <a:pt x="255" y="90"/>
                      <a:pt x="256" y="86"/>
                    </a:cubicBezTo>
                    <a:cubicBezTo>
                      <a:pt x="258" y="84"/>
                      <a:pt x="252" y="81"/>
                      <a:pt x="252" y="81"/>
                    </a:cubicBezTo>
                    <a:cubicBezTo>
                      <a:pt x="252" y="81"/>
                      <a:pt x="255" y="79"/>
                      <a:pt x="253" y="74"/>
                    </a:cubicBezTo>
                    <a:cubicBezTo>
                      <a:pt x="251" y="69"/>
                      <a:pt x="245" y="74"/>
                      <a:pt x="245" y="74"/>
                    </a:cubicBezTo>
                    <a:cubicBezTo>
                      <a:pt x="245" y="74"/>
                      <a:pt x="242" y="69"/>
                      <a:pt x="240" y="69"/>
                    </a:cubicBezTo>
                    <a:cubicBezTo>
                      <a:pt x="238" y="69"/>
                      <a:pt x="238" y="75"/>
                      <a:pt x="238" y="77"/>
                    </a:cubicBezTo>
                    <a:cubicBezTo>
                      <a:pt x="238" y="79"/>
                      <a:pt x="236" y="80"/>
                      <a:pt x="236" y="80"/>
                    </a:cubicBezTo>
                    <a:cubicBezTo>
                      <a:pt x="236" y="80"/>
                      <a:pt x="236" y="86"/>
                      <a:pt x="235" y="89"/>
                    </a:cubicBezTo>
                    <a:cubicBezTo>
                      <a:pt x="232" y="90"/>
                      <a:pt x="230" y="90"/>
                      <a:pt x="230" y="90"/>
                    </a:cubicBezTo>
                    <a:cubicBezTo>
                      <a:pt x="229" y="89"/>
                      <a:pt x="229" y="89"/>
                      <a:pt x="229" y="89"/>
                    </a:cubicBezTo>
                    <a:cubicBezTo>
                      <a:pt x="226" y="89"/>
                      <a:pt x="226" y="89"/>
                      <a:pt x="226" y="89"/>
                    </a:cubicBezTo>
                    <a:cubicBezTo>
                      <a:pt x="226" y="89"/>
                      <a:pt x="224" y="90"/>
                      <a:pt x="223" y="91"/>
                    </a:cubicBezTo>
                    <a:cubicBezTo>
                      <a:pt x="222" y="91"/>
                      <a:pt x="219" y="89"/>
                      <a:pt x="219" y="89"/>
                    </a:cubicBezTo>
                    <a:cubicBezTo>
                      <a:pt x="220" y="84"/>
                      <a:pt x="220" y="84"/>
                      <a:pt x="220" y="84"/>
                    </a:cubicBezTo>
                    <a:cubicBezTo>
                      <a:pt x="220" y="84"/>
                      <a:pt x="217" y="81"/>
                      <a:pt x="214" y="82"/>
                    </a:cubicBezTo>
                    <a:cubicBezTo>
                      <a:pt x="210" y="82"/>
                      <a:pt x="210" y="84"/>
                      <a:pt x="210" y="86"/>
                    </a:cubicBezTo>
                    <a:cubicBezTo>
                      <a:pt x="209" y="87"/>
                      <a:pt x="206" y="87"/>
                      <a:pt x="206" y="87"/>
                    </a:cubicBezTo>
                    <a:cubicBezTo>
                      <a:pt x="206" y="89"/>
                      <a:pt x="206" y="89"/>
                      <a:pt x="206" y="89"/>
                    </a:cubicBezTo>
                    <a:cubicBezTo>
                      <a:pt x="203" y="93"/>
                      <a:pt x="203" y="93"/>
                      <a:pt x="203" y="93"/>
                    </a:cubicBezTo>
                    <a:cubicBezTo>
                      <a:pt x="203" y="93"/>
                      <a:pt x="202" y="91"/>
                      <a:pt x="199" y="90"/>
                    </a:cubicBezTo>
                    <a:cubicBezTo>
                      <a:pt x="198" y="89"/>
                      <a:pt x="197" y="90"/>
                      <a:pt x="197" y="90"/>
                    </a:cubicBezTo>
                    <a:cubicBezTo>
                      <a:pt x="196" y="80"/>
                      <a:pt x="196" y="80"/>
                      <a:pt x="196" y="80"/>
                    </a:cubicBezTo>
                    <a:cubicBezTo>
                      <a:pt x="195" y="79"/>
                      <a:pt x="195" y="79"/>
                      <a:pt x="195" y="79"/>
                    </a:cubicBezTo>
                    <a:cubicBezTo>
                      <a:pt x="195" y="76"/>
                      <a:pt x="195" y="76"/>
                      <a:pt x="195" y="76"/>
                    </a:cubicBezTo>
                    <a:cubicBezTo>
                      <a:pt x="191" y="74"/>
                      <a:pt x="191" y="74"/>
                      <a:pt x="191" y="74"/>
                    </a:cubicBezTo>
                    <a:cubicBezTo>
                      <a:pt x="189" y="71"/>
                      <a:pt x="189" y="71"/>
                      <a:pt x="189" y="71"/>
                    </a:cubicBezTo>
                    <a:cubicBezTo>
                      <a:pt x="189" y="71"/>
                      <a:pt x="184" y="71"/>
                      <a:pt x="183" y="78"/>
                    </a:cubicBezTo>
                    <a:cubicBezTo>
                      <a:pt x="181" y="84"/>
                      <a:pt x="183" y="85"/>
                      <a:pt x="183" y="85"/>
                    </a:cubicBezTo>
                    <a:cubicBezTo>
                      <a:pt x="181" y="86"/>
                      <a:pt x="181" y="86"/>
                      <a:pt x="181" y="86"/>
                    </a:cubicBezTo>
                    <a:cubicBezTo>
                      <a:pt x="181" y="87"/>
                      <a:pt x="181" y="87"/>
                      <a:pt x="181" y="87"/>
                    </a:cubicBezTo>
                    <a:cubicBezTo>
                      <a:pt x="183" y="87"/>
                      <a:pt x="183" y="87"/>
                      <a:pt x="183" y="87"/>
                    </a:cubicBezTo>
                    <a:cubicBezTo>
                      <a:pt x="182" y="93"/>
                      <a:pt x="182" y="93"/>
                      <a:pt x="182" y="93"/>
                    </a:cubicBezTo>
                    <a:cubicBezTo>
                      <a:pt x="178" y="99"/>
                      <a:pt x="178" y="99"/>
                      <a:pt x="178" y="99"/>
                    </a:cubicBezTo>
                    <a:cubicBezTo>
                      <a:pt x="178" y="102"/>
                      <a:pt x="178" y="102"/>
                      <a:pt x="178" y="102"/>
                    </a:cubicBezTo>
                    <a:cubicBezTo>
                      <a:pt x="176" y="105"/>
                      <a:pt x="176" y="105"/>
                      <a:pt x="176" y="105"/>
                    </a:cubicBezTo>
                    <a:cubicBezTo>
                      <a:pt x="177" y="102"/>
                      <a:pt x="177" y="102"/>
                      <a:pt x="177" y="102"/>
                    </a:cubicBezTo>
                    <a:cubicBezTo>
                      <a:pt x="177" y="98"/>
                      <a:pt x="177" y="98"/>
                      <a:pt x="177" y="98"/>
                    </a:cubicBezTo>
                    <a:cubicBezTo>
                      <a:pt x="177" y="98"/>
                      <a:pt x="177" y="96"/>
                      <a:pt x="178" y="95"/>
                    </a:cubicBezTo>
                    <a:cubicBezTo>
                      <a:pt x="179" y="94"/>
                      <a:pt x="179" y="92"/>
                      <a:pt x="179" y="92"/>
                    </a:cubicBezTo>
                    <a:cubicBezTo>
                      <a:pt x="178" y="83"/>
                      <a:pt x="178" y="83"/>
                      <a:pt x="178" y="83"/>
                    </a:cubicBezTo>
                    <a:cubicBezTo>
                      <a:pt x="178" y="83"/>
                      <a:pt x="175" y="81"/>
                      <a:pt x="175" y="80"/>
                    </a:cubicBezTo>
                    <a:cubicBezTo>
                      <a:pt x="175" y="78"/>
                      <a:pt x="177" y="77"/>
                      <a:pt x="177" y="75"/>
                    </a:cubicBezTo>
                    <a:cubicBezTo>
                      <a:pt x="178" y="74"/>
                      <a:pt x="177" y="71"/>
                      <a:pt x="177" y="71"/>
                    </a:cubicBezTo>
                    <a:cubicBezTo>
                      <a:pt x="178" y="69"/>
                      <a:pt x="178" y="69"/>
                      <a:pt x="178" y="69"/>
                    </a:cubicBezTo>
                    <a:cubicBezTo>
                      <a:pt x="177" y="67"/>
                      <a:pt x="177" y="67"/>
                      <a:pt x="177" y="67"/>
                    </a:cubicBezTo>
                    <a:cubicBezTo>
                      <a:pt x="175" y="67"/>
                      <a:pt x="175" y="67"/>
                      <a:pt x="175" y="67"/>
                    </a:cubicBezTo>
                    <a:cubicBezTo>
                      <a:pt x="176" y="65"/>
                      <a:pt x="176" y="65"/>
                      <a:pt x="176" y="65"/>
                    </a:cubicBezTo>
                    <a:cubicBezTo>
                      <a:pt x="175" y="64"/>
                      <a:pt x="175" y="64"/>
                      <a:pt x="175" y="64"/>
                    </a:cubicBezTo>
                    <a:cubicBezTo>
                      <a:pt x="172" y="66"/>
                      <a:pt x="172" y="66"/>
                      <a:pt x="172" y="66"/>
                    </a:cubicBezTo>
                    <a:cubicBezTo>
                      <a:pt x="172" y="66"/>
                      <a:pt x="173" y="63"/>
                      <a:pt x="170" y="63"/>
                    </a:cubicBezTo>
                    <a:cubicBezTo>
                      <a:pt x="167" y="62"/>
                      <a:pt x="166" y="66"/>
                      <a:pt x="164" y="66"/>
                    </a:cubicBezTo>
                    <a:cubicBezTo>
                      <a:pt x="162" y="67"/>
                      <a:pt x="161" y="65"/>
                      <a:pt x="159" y="64"/>
                    </a:cubicBezTo>
                    <a:cubicBezTo>
                      <a:pt x="156" y="64"/>
                      <a:pt x="155" y="67"/>
                      <a:pt x="155" y="68"/>
                    </a:cubicBezTo>
                    <a:cubicBezTo>
                      <a:pt x="154" y="69"/>
                      <a:pt x="153" y="68"/>
                      <a:pt x="150" y="70"/>
                    </a:cubicBezTo>
                    <a:cubicBezTo>
                      <a:pt x="149" y="73"/>
                      <a:pt x="151" y="76"/>
                      <a:pt x="150" y="79"/>
                    </a:cubicBezTo>
                    <a:cubicBezTo>
                      <a:pt x="149" y="82"/>
                      <a:pt x="145" y="83"/>
                      <a:pt x="145" y="83"/>
                    </a:cubicBezTo>
                    <a:cubicBezTo>
                      <a:pt x="145" y="81"/>
                      <a:pt x="145" y="81"/>
                      <a:pt x="145" y="81"/>
                    </a:cubicBezTo>
                    <a:cubicBezTo>
                      <a:pt x="144" y="81"/>
                      <a:pt x="144" y="81"/>
                      <a:pt x="144" y="81"/>
                    </a:cubicBezTo>
                    <a:cubicBezTo>
                      <a:pt x="142" y="82"/>
                      <a:pt x="142" y="82"/>
                      <a:pt x="142" y="82"/>
                    </a:cubicBezTo>
                    <a:cubicBezTo>
                      <a:pt x="141" y="80"/>
                      <a:pt x="141" y="80"/>
                      <a:pt x="141" y="80"/>
                    </a:cubicBezTo>
                    <a:cubicBezTo>
                      <a:pt x="141" y="80"/>
                      <a:pt x="143" y="75"/>
                      <a:pt x="143" y="73"/>
                    </a:cubicBezTo>
                    <a:cubicBezTo>
                      <a:pt x="144" y="71"/>
                      <a:pt x="141" y="69"/>
                      <a:pt x="141" y="69"/>
                    </a:cubicBezTo>
                    <a:cubicBezTo>
                      <a:pt x="141" y="69"/>
                      <a:pt x="141" y="66"/>
                      <a:pt x="142" y="64"/>
                    </a:cubicBezTo>
                    <a:cubicBezTo>
                      <a:pt x="142" y="59"/>
                      <a:pt x="142" y="59"/>
                      <a:pt x="142" y="59"/>
                    </a:cubicBezTo>
                    <a:cubicBezTo>
                      <a:pt x="142" y="59"/>
                      <a:pt x="143" y="57"/>
                      <a:pt x="143" y="54"/>
                    </a:cubicBezTo>
                    <a:cubicBezTo>
                      <a:pt x="143" y="53"/>
                      <a:pt x="141" y="52"/>
                      <a:pt x="141" y="52"/>
                    </a:cubicBezTo>
                    <a:cubicBezTo>
                      <a:pt x="141" y="51"/>
                      <a:pt x="141" y="51"/>
                      <a:pt x="141" y="51"/>
                    </a:cubicBezTo>
                    <a:cubicBezTo>
                      <a:pt x="139" y="53"/>
                      <a:pt x="139" y="53"/>
                      <a:pt x="139" y="53"/>
                    </a:cubicBezTo>
                    <a:cubicBezTo>
                      <a:pt x="138" y="52"/>
                      <a:pt x="138" y="52"/>
                      <a:pt x="138" y="52"/>
                    </a:cubicBezTo>
                    <a:cubicBezTo>
                      <a:pt x="135" y="52"/>
                      <a:pt x="135" y="52"/>
                      <a:pt x="135" y="52"/>
                    </a:cubicBezTo>
                    <a:cubicBezTo>
                      <a:pt x="134" y="53"/>
                      <a:pt x="134" y="53"/>
                      <a:pt x="134" y="53"/>
                    </a:cubicBezTo>
                    <a:cubicBezTo>
                      <a:pt x="134" y="52"/>
                      <a:pt x="134" y="52"/>
                      <a:pt x="134" y="52"/>
                    </a:cubicBezTo>
                    <a:cubicBezTo>
                      <a:pt x="133" y="52"/>
                      <a:pt x="133" y="52"/>
                      <a:pt x="133" y="52"/>
                    </a:cubicBezTo>
                    <a:cubicBezTo>
                      <a:pt x="133" y="54"/>
                      <a:pt x="133" y="54"/>
                      <a:pt x="133" y="54"/>
                    </a:cubicBezTo>
                    <a:cubicBezTo>
                      <a:pt x="131" y="57"/>
                      <a:pt x="131" y="57"/>
                      <a:pt x="131" y="57"/>
                    </a:cubicBezTo>
                    <a:cubicBezTo>
                      <a:pt x="131" y="59"/>
                      <a:pt x="131" y="59"/>
                      <a:pt x="131" y="59"/>
                    </a:cubicBezTo>
                    <a:cubicBezTo>
                      <a:pt x="131" y="59"/>
                      <a:pt x="130" y="63"/>
                      <a:pt x="128" y="66"/>
                    </a:cubicBezTo>
                    <a:cubicBezTo>
                      <a:pt x="126" y="70"/>
                      <a:pt x="126" y="76"/>
                      <a:pt x="126" y="76"/>
                    </a:cubicBezTo>
                    <a:cubicBezTo>
                      <a:pt x="123" y="79"/>
                      <a:pt x="123" y="79"/>
                      <a:pt x="123" y="79"/>
                    </a:cubicBezTo>
                    <a:cubicBezTo>
                      <a:pt x="122" y="79"/>
                      <a:pt x="122" y="79"/>
                      <a:pt x="122" y="79"/>
                    </a:cubicBezTo>
                    <a:cubicBezTo>
                      <a:pt x="118" y="81"/>
                      <a:pt x="118" y="81"/>
                      <a:pt x="118" y="81"/>
                    </a:cubicBezTo>
                    <a:cubicBezTo>
                      <a:pt x="115" y="81"/>
                      <a:pt x="115" y="81"/>
                      <a:pt x="115" y="81"/>
                    </a:cubicBezTo>
                    <a:cubicBezTo>
                      <a:pt x="115" y="82"/>
                      <a:pt x="115" y="82"/>
                      <a:pt x="115" y="82"/>
                    </a:cubicBezTo>
                    <a:cubicBezTo>
                      <a:pt x="115" y="82"/>
                      <a:pt x="114" y="85"/>
                      <a:pt x="112" y="85"/>
                    </a:cubicBezTo>
                    <a:cubicBezTo>
                      <a:pt x="110" y="84"/>
                      <a:pt x="113" y="79"/>
                      <a:pt x="113" y="79"/>
                    </a:cubicBezTo>
                    <a:cubicBezTo>
                      <a:pt x="111" y="79"/>
                      <a:pt x="111" y="79"/>
                      <a:pt x="111" y="79"/>
                    </a:cubicBezTo>
                    <a:cubicBezTo>
                      <a:pt x="115" y="74"/>
                      <a:pt x="115" y="74"/>
                      <a:pt x="115" y="74"/>
                    </a:cubicBezTo>
                    <a:cubicBezTo>
                      <a:pt x="113" y="71"/>
                      <a:pt x="113" y="71"/>
                      <a:pt x="113" y="71"/>
                    </a:cubicBezTo>
                    <a:cubicBezTo>
                      <a:pt x="110" y="73"/>
                      <a:pt x="110" y="73"/>
                      <a:pt x="110" y="73"/>
                    </a:cubicBezTo>
                    <a:cubicBezTo>
                      <a:pt x="110" y="75"/>
                      <a:pt x="110" y="75"/>
                      <a:pt x="110" y="75"/>
                    </a:cubicBezTo>
                    <a:cubicBezTo>
                      <a:pt x="106" y="75"/>
                      <a:pt x="106" y="75"/>
                      <a:pt x="106" y="75"/>
                    </a:cubicBezTo>
                    <a:cubicBezTo>
                      <a:pt x="104" y="75"/>
                      <a:pt x="102" y="77"/>
                      <a:pt x="102" y="77"/>
                    </a:cubicBezTo>
                    <a:cubicBezTo>
                      <a:pt x="102" y="77"/>
                      <a:pt x="101" y="78"/>
                      <a:pt x="100" y="80"/>
                    </a:cubicBezTo>
                    <a:cubicBezTo>
                      <a:pt x="99" y="82"/>
                      <a:pt x="98" y="89"/>
                      <a:pt x="98" y="89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3"/>
                      <a:pt x="97" y="83"/>
                      <a:pt x="97" y="83"/>
                    </a:cubicBezTo>
                    <a:cubicBezTo>
                      <a:pt x="98" y="80"/>
                      <a:pt x="98" y="80"/>
                      <a:pt x="98" y="80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4" y="86"/>
                      <a:pt x="94" y="86"/>
                      <a:pt x="94" y="86"/>
                    </a:cubicBezTo>
                    <a:cubicBezTo>
                      <a:pt x="94" y="86"/>
                      <a:pt x="92" y="89"/>
                      <a:pt x="91" y="90"/>
                    </a:cubicBezTo>
                    <a:cubicBezTo>
                      <a:pt x="90" y="91"/>
                      <a:pt x="90" y="95"/>
                      <a:pt x="90" y="95"/>
                    </a:cubicBezTo>
                    <a:cubicBezTo>
                      <a:pt x="88" y="97"/>
                      <a:pt x="88" y="97"/>
                      <a:pt x="88" y="97"/>
                    </a:cubicBezTo>
                    <a:cubicBezTo>
                      <a:pt x="88" y="97"/>
                      <a:pt x="88" y="92"/>
                      <a:pt x="89" y="89"/>
                    </a:cubicBezTo>
                    <a:cubicBezTo>
                      <a:pt x="89" y="85"/>
                      <a:pt x="93" y="82"/>
                      <a:pt x="93" y="82"/>
                    </a:cubicBezTo>
                    <a:cubicBezTo>
                      <a:pt x="94" y="76"/>
                      <a:pt x="94" y="76"/>
                      <a:pt x="94" y="76"/>
                    </a:cubicBezTo>
                    <a:cubicBezTo>
                      <a:pt x="90" y="75"/>
                      <a:pt x="90" y="75"/>
                      <a:pt x="90" y="75"/>
                    </a:cubicBezTo>
                    <a:cubicBezTo>
                      <a:pt x="94" y="74"/>
                      <a:pt x="94" y="74"/>
                      <a:pt x="94" y="74"/>
                    </a:cubicBezTo>
                    <a:cubicBezTo>
                      <a:pt x="96" y="69"/>
                      <a:pt x="96" y="69"/>
                      <a:pt x="96" y="69"/>
                    </a:cubicBezTo>
                    <a:cubicBezTo>
                      <a:pt x="92" y="68"/>
                      <a:pt x="92" y="68"/>
                      <a:pt x="92" y="68"/>
                    </a:cubicBezTo>
                    <a:cubicBezTo>
                      <a:pt x="95" y="67"/>
                      <a:pt x="95" y="67"/>
                      <a:pt x="95" y="67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6" y="65"/>
                      <a:pt x="92" y="64"/>
                      <a:pt x="91" y="62"/>
                    </a:cubicBezTo>
                    <a:cubicBezTo>
                      <a:pt x="90" y="60"/>
                      <a:pt x="91" y="60"/>
                      <a:pt x="92" y="59"/>
                    </a:cubicBezTo>
                    <a:cubicBezTo>
                      <a:pt x="92" y="54"/>
                      <a:pt x="92" y="54"/>
                      <a:pt x="92" y="54"/>
                    </a:cubicBezTo>
                    <a:cubicBezTo>
                      <a:pt x="93" y="54"/>
                      <a:pt x="93" y="54"/>
                      <a:pt x="93" y="54"/>
                    </a:cubicBezTo>
                    <a:cubicBezTo>
                      <a:pt x="93" y="54"/>
                      <a:pt x="93" y="59"/>
                      <a:pt x="94" y="60"/>
                    </a:cubicBezTo>
                    <a:cubicBezTo>
                      <a:pt x="94" y="62"/>
                      <a:pt x="97" y="62"/>
                      <a:pt x="98" y="62"/>
                    </a:cubicBezTo>
                    <a:cubicBezTo>
                      <a:pt x="100" y="62"/>
                      <a:pt x="99" y="59"/>
                      <a:pt x="99" y="59"/>
                    </a:cubicBezTo>
                    <a:cubicBezTo>
                      <a:pt x="99" y="59"/>
                      <a:pt x="101" y="60"/>
                      <a:pt x="107" y="54"/>
                    </a:cubicBezTo>
                    <a:cubicBezTo>
                      <a:pt x="112" y="49"/>
                      <a:pt x="101" y="47"/>
                      <a:pt x="102" y="46"/>
                    </a:cubicBezTo>
                    <a:cubicBezTo>
                      <a:pt x="102" y="44"/>
                      <a:pt x="109" y="46"/>
                      <a:pt x="109" y="46"/>
                    </a:cubicBezTo>
                    <a:cubicBezTo>
                      <a:pt x="109" y="44"/>
                      <a:pt x="109" y="44"/>
                      <a:pt x="109" y="44"/>
                    </a:cubicBezTo>
                    <a:cubicBezTo>
                      <a:pt x="107" y="42"/>
                      <a:pt x="107" y="42"/>
                      <a:pt x="107" y="42"/>
                    </a:cubicBezTo>
                    <a:cubicBezTo>
                      <a:pt x="108" y="38"/>
                      <a:pt x="108" y="38"/>
                      <a:pt x="108" y="38"/>
                    </a:cubicBezTo>
                    <a:cubicBezTo>
                      <a:pt x="106" y="38"/>
                      <a:pt x="106" y="38"/>
                      <a:pt x="106" y="38"/>
                    </a:cubicBezTo>
                    <a:cubicBezTo>
                      <a:pt x="104" y="42"/>
                      <a:pt x="104" y="42"/>
                      <a:pt x="104" y="42"/>
                    </a:cubicBezTo>
                    <a:cubicBezTo>
                      <a:pt x="104" y="38"/>
                      <a:pt x="104" y="38"/>
                      <a:pt x="104" y="38"/>
                    </a:cubicBezTo>
                    <a:cubicBezTo>
                      <a:pt x="102" y="37"/>
                      <a:pt x="105" y="35"/>
                      <a:pt x="106" y="33"/>
                    </a:cubicBezTo>
                    <a:cubicBezTo>
                      <a:pt x="107" y="30"/>
                      <a:pt x="104" y="30"/>
                      <a:pt x="102" y="28"/>
                    </a:cubicBezTo>
                    <a:cubicBezTo>
                      <a:pt x="101" y="26"/>
                      <a:pt x="104" y="23"/>
                      <a:pt x="104" y="23"/>
                    </a:cubicBezTo>
                    <a:cubicBezTo>
                      <a:pt x="100" y="22"/>
                      <a:pt x="100" y="22"/>
                      <a:pt x="100" y="22"/>
                    </a:cubicBezTo>
                    <a:cubicBezTo>
                      <a:pt x="100" y="19"/>
                      <a:pt x="100" y="19"/>
                      <a:pt x="100" y="19"/>
                    </a:cubicBezTo>
                    <a:cubicBezTo>
                      <a:pt x="98" y="19"/>
                      <a:pt x="98" y="19"/>
                      <a:pt x="98" y="19"/>
                    </a:cubicBezTo>
                    <a:cubicBezTo>
                      <a:pt x="98" y="19"/>
                      <a:pt x="99" y="17"/>
                      <a:pt x="100" y="16"/>
                    </a:cubicBezTo>
                    <a:cubicBezTo>
                      <a:pt x="102" y="14"/>
                      <a:pt x="98" y="12"/>
                      <a:pt x="98" y="12"/>
                    </a:cubicBezTo>
                    <a:cubicBezTo>
                      <a:pt x="100" y="7"/>
                      <a:pt x="100" y="7"/>
                      <a:pt x="100" y="7"/>
                    </a:cubicBezTo>
                    <a:cubicBezTo>
                      <a:pt x="99" y="5"/>
                      <a:pt x="99" y="5"/>
                      <a:pt x="99" y="5"/>
                    </a:cubicBezTo>
                    <a:cubicBezTo>
                      <a:pt x="97" y="10"/>
                      <a:pt x="97" y="10"/>
                      <a:pt x="97" y="10"/>
                    </a:cubicBezTo>
                    <a:cubicBezTo>
                      <a:pt x="95" y="5"/>
                      <a:pt x="95" y="5"/>
                      <a:pt x="95" y="5"/>
                    </a:cubicBezTo>
                    <a:cubicBezTo>
                      <a:pt x="93" y="6"/>
                      <a:pt x="93" y="6"/>
                      <a:pt x="93" y="6"/>
                    </a:cubicBezTo>
                    <a:cubicBezTo>
                      <a:pt x="89" y="0"/>
                      <a:pt x="89" y="0"/>
                      <a:pt x="89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87" y="3"/>
                      <a:pt x="87" y="3"/>
                      <a:pt x="87" y="3"/>
                    </a:cubicBezTo>
                    <a:cubicBezTo>
                      <a:pt x="83" y="1"/>
                      <a:pt x="83" y="1"/>
                      <a:pt x="83" y="1"/>
                    </a:cubicBezTo>
                    <a:cubicBezTo>
                      <a:pt x="82" y="1"/>
                      <a:pt x="82" y="1"/>
                      <a:pt x="82" y="1"/>
                    </a:cubicBezTo>
                    <a:cubicBezTo>
                      <a:pt x="82" y="1"/>
                      <a:pt x="83" y="5"/>
                      <a:pt x="81" y="5"/>
                    </a:cubicBezTo>
                    <a:cubicBezTo>
                      <a:pt x="80" y="6"/>
                      <a:pt x="79" y="3"/>
                      <a:pt x="79" y="3"/>
                    </a:cubicBezTo>
                    <a:cubicBezTo>
                      <a:pt x="77" y="3"/>
                      <a:pt x="77" y="3"/>
                      <a:pt x="77" y="3"/>
                    </a:cubicBezTo>
                    <a:cubicBezTo>
                      <a:pt x="77" y="3"/>
                      <a:pt x="77" y="6"/>
                      <a:pt x="80" y="8"/>
                    </a:cubicBezTo>
                    <a:cubicBezTo>
                      <a:pt x="83" y="11"/>
                      <a:pt x="87" y="8"/>
                      <a:pt x="87" y="8"/>
                    </a:cubicBezTo>
                    <a:cubicBezTo>
                      <a:pt x="85" y="11"/>
                      <a:pt x="85" y="11"/>
                      <a:pt x="85" y="11"/>
                    </a:cubicBezTo>
                    <a:cubicBezTo>
                      <a:pt x="87" y="11"/>
                      <a:pt x="87" y="11"/>
                      <a:pt x="87" y="11"/>
                    </a:cubicBezTo>
                    <a:cubicBezTo>
                      <a:pt x="91" y="10"/>
                      <a:pt x="91" y="10"/>
                      <a:pt x="91" y="10"/>
                    </a:cubicBezTo>
                    <a:cubicBezTo>
                      <a:pt x="88" y="13"/>
                      <a:pt x="88" y="13"/>
                      <a:pt x="88" y="13"/>
                    </a:cubicBezTo>
                    <a:cubicBezTo>
                      <a:pt x="89" y="15"/>
                      <a:pt x="89" y="15"/>
                      <a:pt x="89" y="15"/>
                    </a:cubicBezTo>
                    <a:cubicBezTo>
                      <a:pt x="92" y="15"/>
                      <a:pt x="92" y="15"/>
                      <a:pt x="92" y="15"/>
                    </a:cubicBezTo>
                    <a:cubicBezTo>
                      <a:pt x="91" y="16"/>
                      <a:pt x="91" y="16"/>
                      <a:pt x="91" y="16"/>
                    </a:cubicBezTo>
                    <a:cubicBezTo>
                      <a:pt x="91" y="16"/>
                      <a:pt x="92" y="19"/>
                      <a:pt x="91" y="18"/>
                    </a:cubicBezTo>
                    <a:cubicBezTo>
                      <a:pt x="89" y="17"/>
                      <a:pt x="87" y="17"/>
                      <a:pt x="85" y="15"/>
                    </a:cubicBezTo>
                    <a:cubicBezTo>
                      <a:pt x="84" y="13"/>
                      <a:pt x="81" y="13"/>
                      <a:pt x="79" y="14"/>
                    </a:cubicBezTo>
                    <a:cubicBezTo>
                      <a:pt x="76" y="16"/>
                      <a:pt x="81" y="22"/>
                      <a:pt x="82" y="23"/>
                    </a:cubicBezTo>
                    <a:cubicBezTo>
                      <a:pt x="83" y="24"/>
                      <a:pt x="87" y="29"/>
                      <a:pt x="87" y="29"/>
                    </a:cubicBezTo>
                    <a:cubicBezTo>
                      <a:pt x="87" y="29"/>
                      <a:pt x="84" y="30"/>
                      <a:pt x="83" y="31"/>
                    </a:cubicBezTo>
                    <a:cubicBezTo>
                      <a:pt x="82" y="32"/>
                      <a:pt x="83" y="34"/>
                      <a:pt x="82" y="37"/>
                    </a:cubicBezTo>
                    <a:cubicBezTo>
                      <a:pt x="82" y="41"/>
                      <a:pt x="78" y="43"/>
                      <a:pt x="78" y="43"/>
                    </a:cubicBezTo>
                    <a:cubicBezTo>
                      <a:pt x="77" y="42"/>
                      <a:pt x="77" y="42"/>
                      <a:pt x="77" y="42"/>
                    </a:cubicBezTo>
                    <a:cubicBezTo>
                      <a:pt x="77" y="42"/>
                      <a:pt x="80" y="38"/>
                      <a:pt x="80" y="34"/>
                    </a:cubicBezTo>
                    <a:cubicBezTo>
                      <a:pt x="80" y="31"/>
                      <a:pt x="75" y="38"/>
                      <a:pt x="75" y="38"/>
                    </a:cubicBezTo>
                    <a:cubicBezTo>
                      <a:pt x="75" y="37"/>
                      <a:pt x="75" y="37"/>
                      <a:pt x="75" y="37"/>
                    </a:cubicBezTo>
                    <a:cubicBezTo>
                      <a:pt x="79" y="32"/>
                      <a:pt x="79" y="32"/>
                      <a:pt x="79" y="32"/>
                    </a:cubicBezTo>
                    <a:cubicBezTo>
                      <a:pt x="78" y="29"/>
                      <a:pt x="78" y="29"/>
                      <a:pt x="78" y="29"/>
                    </a:cubicBezTo>
                    <a:cubicBezTo>
                      <a:pt x="79" y="27"/>
                      <a:pt x="79" y="27"/>
                      <a:pt x="79" y="27"/>
                    </a:cubicBezTo>
                    <a:cubicBezTo>
                      <a:pt x="77" y="27"/>
                      <a:pt x="77" y="27"/>
                      <a:pt x="77" y="27"/>
                    </a:cubicBezTo>
                    <a:cubicBezTo>
                      <a:pt x="72" y="33"/>
                      <a:pt x="72" y="33"/>
                      <a:pt x="72" y="33"/>
                    </a:cubicBezTo>
                    <a:cubicBezTo>
                      <a:pt x="74" y="29"/>
                      <a:pt x="74" y="29"/>
                      <a:pt x="74" y="29"/>
                    </a:cubicBezTo>
                    <a:cubicBezTo>
                      <a:pt x="73" y="29"/>
                      <a:pt x="73" y="29"/>
                      <a:pt x="73" y="29"/>
                    </a:cubicBezTo>
                    <a:cubicBezTo>
                      <a:pt x="71" y="30"/>
                      <a:pt x="71" y="30"/>
                      <a:pt x="71" y="30"/>
                    </a:cubicBezTo>
                    <a:cubicBezTo>
                      <a:pt x="73" y="27"/>
                      <a:pt x="73" y="27"/>
                      <a:pt x="73" y="27"/>
                    </a:cubicBezTo>
                    <a:cubicBezTo>
                      <a:pt x="72" y="26"/>
                      <a:pt x="72" y="26"/>
                      <a:pt x="72" y="26"/>
                    </a:cubicBezTo>
                    <a:cubicBezTo>
                      <a:pt x="68" y="27"/>
                      <a:pt x="68" y="27"/>
                      <a:pt x="68" y="27"/>
                    </a:cubicBezTo>
                    <a:cubicBezTo>
                      <a:pt x="73" y="22"/>
                      <a:pt x="73" y="22"/>
                      <a:pt x="73" y="22"/>
                    </a:cubicBezTo>
                    <a:cubicBezTo>
                      <a:pt x="73" y="20"/>
                      <a:pt x="73" y="20"/>
                      <a:pt x="73" y="20"/>
                    </a:cubicBezTo>
                    <a:cubicBezTo>
                      <a:pt x="73" y="20"/>
                      <a:pt x="69" y="22"/>
                      <a:pt x="68" y="21"/>
                    </a:cubicBezTo>
                    <a:cubicBezTo>
                      <a:pt x="68" y="20"/>
                      <a:pt x="72" y="19"/>
                      <a:pt x="72" y="19"/>
                    </a:cubicBezTo>
                    <a:cubicBezTo>
                      <a:pt x="71" y="16"/>
                      <a:pt x="71" y="16"/>
                      <a:pt x="71" y="16"/>
                    </a:cubicBezTo>
                    <a:cubicBezTo>
                      <a:pt x="71" y="13"/>
                      <a:pt x="71" y="13"/>
                      <a:pt x="71" y="13"/>
                    </a:cubicBezTo>
                    <a:cubicBezTo>
                      <a:pt x="71" y="13"/>
                      <a:pt x="68" y="10"/>
                      <a:pt x="64" y="10"/>
                    </a:cubicBezTo>
                    <a:cubicBezTo>
                      <a:pt x="60" y="11"/>
                      <a:pt x="65" y="14"/>
                      <a:pt x="65" y="14"/>
                    </a:cubicBezTo>
                    <a:cubicBezTo>
                      <a:pt x="65" y="14"/>
                      <a:pt x="63" y="13"/>
                      <a:pt x="61" y="13"/>
                    </a:cubicBezTo>
                    <a:cubicBezTo>
                      <a:pt x="60" y="13"/>
                      <a:pt x="59" y="13"/>
                      <a:pt x="61" y="16"/>
                    </a:cubicBezTo>
                    <a:cubicBezTo>
                      <a:pt x="62" y="20"/>
                      <a:pt x="63" y="21"/>
                      <a:pt x="62" y="21"/>
                    </a:cubicBezTo>
                    <a:cubicBezTo>
                      <a:pt x="61" y="22"/>
                      <a:pt x="60" y="20"/>
                      <a:pt x="59" y="18"/>
                    </a:cubicBezTo>
                    <a:cubicBezTo>
                      <a:pt x="58" y="15"/>
                      <a:pt x="56" y="13"/>
                      <a:pt x="53" y="14"/>
                    </a:cubicBezTo>
                    <a:cubicBezTo>
                      <a:pt x="50" y="16"/>
                      <a:pt x="53" y="21"/>
                      <a:pt x="53" y="22"/>
                    </a:cubicBezTo>
                    <a:cubicBezTo>
                      <a:pt x="55" y="24"/>
                      <a:pt x="52" y="24"/>
                      <a:pt x="52" y="24"/>
                    </a:cubicBezTo>
                    <a:cubicBezTo>
                      <a:pt x="55" y="27"/>
                      <a:pt x="55" y="27"/>
                      <a:pt x="55" y="27"/>
                    </a:cubicBezTo>
                    <a:cubicBezTo>
                      <a:pt x="57" y="27"/>
                      <a:pt x="57" y="27"/>
                      <a:pt x="57" y="27"/>
                    </a:cubicBezTo>
                    <a:cubicBezTo>
                      <a:pt x="58" y="31"/>
                      <a:pt x="58" y="31"/>
                      <a:pt x="58" y="31"/>
                    </a:cubicBezTo>
                    <a:cubicBezTo>
                      <a:pt x="58" y="31"/>
                      <a:pt x="50" y="23"/>
                      <a:pt x="47" y="21"/>
                    </a:cubicBezTo>
                    <a:cubicBezTo>
                      <a:pt x="45" y="20"/>
                      <a:pt x="45" y="29"/>
                      <a:pt x="48" y="32"/>
                    </a:cubicBezTo>
                    <a:cubicBezTo>
                      <a:pt x="51" y="36"/>
                      <a:pt x="58" y="36"/>
                      <a:pt x="58" y="36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48" y="36"/>
                      <a:pt x="48" y="36"/>
                      <a:pt x="48" y="36"/>
                    </a:cubicBezTo>
                    <a:cubicBezTo>
                      <a:pt x="49" y="39"/>
                      <a:pt x="49" y="39"/>
                      <a:pt x="49" y="39"/>
                    </a:cubicBezTo>
                    <a:cubicBezTo>
                      <a:pt x="52" y="42"/>
                      <a:pt x="52" y="42"/>
                      <a:pt x="52" y="42"/>
                    </a:cubicBezTo>
                    <a:cubicBezTo>
                      <a:pt x="48" y="42"/>
                      <a:pt x="48" y="42"/>
                      <a:pt x="48" y="42"/>
                    </a:cubicBezTo>
                    <a:cubicBezTo>
                      <a:pt x="47" y="41"/>
                      <a:pt x="47" y="41"/>
                      <a:pt x="47" y="41"/>
                    </a:cubicBezTo>
                    <a:cubicBezTo>
                      <a:pt x="44" y="42"/>
                      <a:pt x="44" y="42"/>
                      <a:pt x="44" y="42"/>
                    </a:cubicBezTo>
                    <a:cubicBezTo>
                      <a:pt x="44" y="42"/>
                      <a:pt x="45" y="41"/>
                      <a:pt x="46" y="37"/>
                    </a:cubicBezTo>
                    <a:cubicBezTo>
                      <a:pt x="46" y="34"/>
                      <a:pt x="38" y="23"/>
                      <a:pt x="38" y="23"/>
                    </a:cubicBezTo>
                    <a:cubicBezTo>
                      <a:pt x="38" y="23"/>
                      <a:pt x="35" y="26"/>
                      <a:pt x="35" y="29"/>
                    </a:cubicBezTo>
                    <a:cubicBezTo>
                      <a:pt x="35" y="32"/>
                      <a:pt x="38" y="37"/>
                      <a:pt x="38" y="37"/>
                    </a:cubicBezTo>
                    <a:cubicBezTo>
                      <a:pt x="33" y="32"/>
                      <a:pt x="33" y="32"/>
                      <a:pt x="33" y="32"/>
                    </a:cubicBezTo>
                    <a:cubicBezTo>
                      <a:pt x="33" y="38"/>
                      <a:pt x="33" y="38"/>
                      <a:pt x="33" y="38"/>
                    </a:cubicBezTo>
                    <a:cubicBezTo>
                      <a:pt x="34" y="41"/>
                      <a:pt x="36" y="43"/>
                      <a:pt x="36" y="43"/>
                    </a:cubicBezTo>
                    <a:cubicBezTo>
                      <a:pt x="33" y="43"/>
                      <a:pt x="33" y="43"/>
                      <a:pt x="33" y="43"/>
                    </a:cubicBezTo>
                    <a:cubicBezTo>
                      <a:pt x="32" y="43"/>
                      <a:pt x="32" y="39"/>
                      <a:pt x="32" y="38"/>
                    </a:cubicBezTo>
                    <a:cubicBezTo>
                      <a:pt x="32" y="37"/>
                      <a:pt x="30" y="38"/>
                      <a:pt x="30" y="36"/>
                    </a:cubicBezTo>
                    <a:cubicBezTo>
                      <a:pt x="30" y="34"/>
                      <a:pt x="30" y="31"/>
                      <a:pt x="27" y="30"/>
                    </a:cubicBezTo>
                    <a:cubicBezTo>
                      <a:pt x="24" y="29"/>
                      <a:pt x="23" y="33"/>
                      <a:pt x="22" y="34"/>
                    </a:cubicBezTo>
                    <a:cubicBezTo>
                      <a:pt x="20" y="35"/>
                      <a:pt x="18" y="35"/>
                      <a:pt x="17" y="36"/>
                    </a:cubicBezTo>
                    <a:cubicBezTo>
                      <a:pt x="16" y="37"/>
                      <a:pt x="19" y="37"/>
                      <a:pt x="23" y="38"/>
                    </a:cubicBezTo>
                    <a:cubicBezTo>
                      <a:pt x="25" y="38"/>
                      <a:pt x="25" y="41"/>
                      <a:pt x="26" y="42"/>
                    </a:cubicBezTo>
                    <a:cubicBezTo>
                      <a:pt x="29" y="45"/>
                      <a:pt x="29" y="45"/>
                      <a:pt x="29" y="45"/>
                    </a:cubicBezTo>
                    <a:cubicBezTo>
                      <a:pt x="27" y="47"/>
                      <a:pt x="27" y="47"/>
                      <a:pt x="27" y="47"/>
                    </a:cubicBezTo>
                    <a:cubicBezTo>
                      <a:pt x="27" y="47"/>
                      <a:pt x="26" y="48"/>
                      <a:pt x="30" y="49"/>
                    </a:cubicBezTo>
                    <a:cubicBezTo>
                      <a:pt x="33" y="51"/>
                      <a:pt x="36" y="48"/>
                      <a:pt x="41" y="49"/>
                    </a:cubicBezTo>
                    <a:cubicBezTo>
                      <a:pt x="45" y="50"/>
                      <a:pt x="46" y="52"/>
                      <a:pt x="48" y="52"/>
                    </a:cubicBezTo>
                    <a:cubicBezTo>
                      <a:pt x="49" y="52"/>
                      <a:pt x="51" y="48"/>
                      <a:pt x="51" y="48"/>
                    </a:cubicBezTo>
                    <a:cubicBezTo>
                      <a:pt x="51" y="50"/>
                      <a:pt x="51" y="50"/>
                      <a:pt x="51" y="50"/>
                    </a:cubicBezTo>
                    <a:cubicBezTo>
                      <a:pt x="53" y="52"/>
                      <a:pt x="53" y="52"/>
                      <a:pt x="53" y="52"/>
                    </a:cubicBezTo>
                    <a:cubicBezTo>
                      <a:pt x="58" y="49"/>
                      <a:pt x="58" y="49"/>
                      <a:pt x="58" y="49"/>
                    </a:cubicBezTo>
                    <a:cubicBezTo>
                      <a:pt x="58" y="52"/>
                      <a:pt x="58" y="52"/>
                      <a:pt x="58" y="52"/>
                    </a:cubicBezTo>
                    <a:cubicBezTo>
                      <a:pt x="60" y="50"/>
                      <a:pt x="60" y="50"/>
                      <a:pt x="60" y="50"/>
                    </a:cubicBezTo>
                    <a:cubicBezTo>
                      <a:pt x="63" y="51"/>
                      <a:pt x="63" y="51"/>
                      <a:pt x="63" y="51"/>
                    </a:cubicBezTo>
                    <a:cubicBezTo>
                      <a:pt x="61" y="58"/>
                      <a:pt x="61" y="58"/>
                      <a:pt x="61" y="58"/>
                    </a:cubicBezTo>
                    <a:cubicBezTo>
                      <a:pt x="64" y="55"/>
                      <a:pt x="64" y="55"/>
                      <a:pt x="64" y="55"/>
                    </a:cubicBezTo>
                    <a:cubicBezTo>
                      <a:pt x="65" y="57"/>
                      <a:pt x="65" y="57"/>
                      <a:pt x="65" y="57"/>
                    </a:cubicBezTo>
                    <a:cubicBezTo>
                      <a:pt x="67" y="54"/>
                      <a:pt x="67" y="54"/>
                      <a:pt x="67" y="54"/>
                    </a:cubicBezTo>
                    <a:cubicBezTo>
                      <a:pt x="66" y="62"/>
                      <a:pt x="66" y="62"/>
                      <a:pt x="66" y="62"/>
                    </a:cubicBezTo>
                    <a:cubicBezTo>
                      <a:pt x="75" y="62"/>
                      <a:pt x="75" y="62"/>
                      <a:pt x="75" y="62"/>
                    </a:cubicBezTo>
                    <a:cubicBezTo>
                      <a:pt x="72" y="64"/>
                      <a:pt x="72" y="64"/>
                      <a:pt x="72" y="64"/>
                    </a:cubicBezTo>
                    <a:cubicBezTo>
                      <a:pt x="67" y="64"/>
                      <a:pt x="67" y="64"/>
                      <a:pt x="67" y="64"/>
                    </a:cubicBezTo>
                    <a:cubicBezTo>
                      <a:pt x="69" y="69"/>
                      <a:pt x="69" y="69"/>
                      <a:pt x="69" y="69"/>
                    </a:cubicBezTo>
                    <a:cubicBezTo>
                      <a:pt x="74" y="66"/>
                      <a:pt x="74" y="66"/>
                      <a:pt x="74" y="66"/>
                    </a:cubicBezTo>
                    <a:cubicBezTo>
                      <a:pt x="74" y="66"/>
                      <a:pt x="76" y="66"/>
                      <a:pt x="77" y="68"/>
                    </a:cubicBezTo>
                    <a:cubicBezTo>
                      <a:pt x="78" y="70"/>
                      <a:pt x="77" y="71"/>
                      <a:pt x="77" y="71"/>
                    </a:cubicBezTo>
                    <a:cubicBezTo>
                      <a:pt x="82" y="74"/>
                      <a:pt x="82" y="74"/>
                      <a:pt x="82" y="74"/>
                    </a:cubicBezTo>
                    <a:cubicBezTo>
                      <a:pt x="74" y="74"/>
                      <a:pt x="74" y="74"/>
                      <a:pt x="74" y="74"/>
                    </a:cubicBezTo>
                    <a:cubicBezTo>
                      <a:pt x="72" y="75"/>
                      <a:pt x="72" y="75"/>
                      <a:pt x="72" y="75"/>
                    </a:cubicBezTo>
                    <a:cubicBezTo>
                      <a:pt x="72" y="75"/>
                      <a:pt x="64" y="75"/>
                      <a:pt x="58" y="76"/>
                    </a:cubicBezTo>
                    <a:cubicBezTo>
                      <a:pt x="50" y="76"/>
                      <a:pt x="56" y="79"/>
                      <a:pt x="56" y="79"/>
                    </a:cubicBezTo>
                    <a:cubicBezTo>
                      <a:pt x="52" y="80"/>
                      <a:pt x="52" y="80"/>
                      <a:pt x="52" y="80"/>
                    </a:cubicBezTo>
                    <a:cubicBezTo>
                      <a:pt x="57" y="82"/>
                      <a:pt x="57" y="82"/>
                      <a:pt x="57" y="82"/>
                    </a:cubicBezTo>
                    <a:cubicBezTo>
                      <a:pt x="57" y="85"/>
                      <a:pt x="57" y="85"/>
                      <a:pt x="57" y="85"/>
                    </a:cubicBezTo>
                    <a:cubicBezTo>
                      <a:pt x="58" y="86"/>
                      <a:pt x="60" y="85"/>
                      <a:pt x="60" y="85"/>
                    </a:cubicBezTo>
                    <a:cubicBezTo>
                      <a:pt x="60" y="85"/>
                      <a:pt x="61" y="90"/>
                      <a:pt x="62" y="90"/>
                    </a:cubicBezTo>
                    <a:cubicBezTo>
                      <a:pt x="64" y="90"/>
                      <a:pt x="69" y="87"/>
                      <a:pt x="69" y="87"/>
                    </a:cubicBezTo>
                    <a:cubicBezTo>
                      <a:pt x="69" y="87"/>
                      <a:pt x="72" y="86"/>
                      <a:pt x="73" y="89"/>
                    </a:cubicBezTo>
                    <a:cubicBezTo>
                      <a:pt x="74" y="92"/>
                      <a:pt x="66" y="93"/>
                      <a:pt x="66" y="93"/>
                    </a:cubicBezTo>
                    <a:cubicBezTo>
                      <a:pt x="65" y="96"/>
                      <a:pt x="65" y="96"/>
                      <a:pt x="65" y="96"/>
                    </a:cubicBezTo>
                    <a:cubicBezTo>
                      <a:pt x="62" y="96"/>
                      <a:pt x="62" y="96"/>
                      <a:pt x="62" y="96"/>
                    </a:cubicBezTo>
                    <a:cubicBezTo>
                      <a:pt x="60" y="96"/>
                      <a:pt x="59" y="92"/>
                      <a:pt x="59" y="92"/>
                    </a:cubicBezTo>
                    <a:cubicBezTo>
                      <a:pt x="59" y="92"/>
                      <a:pt x="58" y="91"/>
                      <a:pt x="57" y="92"/>
                    </a:cubicBezTo>
                    <a:cubicBezTo>
                      <a:pt x="55" y="92"/>
                      <a:pt x="55" y="89"/>
                      <a:pt x="51" y="86"/>
                    </a:cubicBezTo>
                    <a:cubicBezTo>
                      <a:pt x="48" y="84"/>
                      <a:pt x="45" y="87"/>
                      <a:pt x="45" y="87"/>
                    </a:cubicBezTo>
                    <a:cubicBezTo>
                      <a:pt x="46" y="83"/>
                      <a:pt x="46" y="83"/>
                      <a:pt x="46" y="83"/>
                    </a:cubicBezTo>
                    <a:cubicBezTo>
                      <a:pt x="44" y="81"/>
                      <a:pt x="44" y="81"/>
                      <a:pt x="44" y="81"/>
                    </a:cubicBezTo>
                    <a:cubicBezTo>
                      <a:pt x="40" y="82"/>
                      <a:pt x="40" y="82"/>
                      <a:pt x="40" y="82"/>
                    </a:cubicBezTo>
                    <a:cubicBezTo>
                      <a:pt x="41" y="84"/>
                      <a:pt x="41" y="84"/>
                      <a:pt x="41" y="84"/>
                    </a:cubicBezTo>
                    <a:cubicBezTo>
                      <a:pt x="41" y="84"/>
                      <a:pt x="40" y="85"/>
                      <a:pt x="38" y="85"/>
                    </a:cubicBezTo>
                    <a:cubicBezTo>
                      <a:pt x="36" y="85"/>
                      <a:pt x="36" y="84"/>
                      <a:pt x="35" y="82"/>
                    </a:cubicBezTo>
                    <a:cubicBezTo>
                      <a:pt x="34" y="81"/>
                      <a:pt x="33" y="83"/>
                      <a:pt x="31" y="85"/>
                    </a:cubicBezTo>
                    <a:cubicBezTo>
                      <a:pt x="29" y="87"/>
                      <a:pt x="30" y="83"/>
                      <a:pt x="31" y="83"/>
                    </a:cubicBezTo>
                    <a:cubicBezTo>
                      <a:pt x="32" y="82"/>
                      <a:pt x="32" y="80"/>
                      <a:pt x="30" y="80"/>
                    </a:cubicBezTo>
                    <a:cubicBezTo>
                      <a:pt x="28" y="79"/>
                      <a:pt x="28" y="83"/>
                      <a:pt x="26" y="83"/>
                    </a:cubicBezTo>
                    <a:cubicBezTo>
                      <a:pt x="24" y="83"/>
                      <a:pt x="25" y="81"/>
                      <a:pt x="25" y="81"/>
                    </a:cubicBezTo>
                    <a:cubicBezTo>
                      <a:pt x="23" y="81"/>
                      <a:pt x="23" y="81"/>
                      <a:pt x="23" y="81"/>
                    </a:cubicBezTo>
                    <a:cubicBezTo>
                      <a:pt x="22" y="80"/>
                      <a:pt x="22" y="80"/>
                      <a:pt x="22" y="80"/>
                    </a:cubicBezTo>
                    <a:cubicBezTo>
                      <a:pt x="22" y="80"/>
                      <a:pt x="16" y="81"/>
                      <a:pt x="14" y="81"/>
                    </a:cubicBezTo>
                    <a:cubicBezTo>
                      <a:pt x="12" y="80"/>
                      <a:pt x="13" y="76"/>
                      <a:pt x="9" y="76"/>
                    </a:cubicBezTo>
                    <a:cubicBezTo>
                      <a:pt x="4" y="76"/>
                      <a:pt x="3" y="81"/>
                      <a:pt x="4" y="84"/>
                    </a:cubicBezTo>
                    <a:cubicBezTo>
                      <a:pt x="4" y="89"/>
                      <a:pt x="8" y="90"/>
                      <a:pt x="10" y="90"/>
                    </a:cubicBezTo>
                    <a:cubicBezTo>
                      <a:pt x="12" y="90"/>
                      <a:pt x="11" y="87"/>
                      <a:pt x="13" y="86"/>
                    </a:cubicBezTo>
                    <a:cubicBezTo>
                      <a:pt x="15" y="86"/>
                      <a:pt x="16" y="89"/>
                      <a:pt x="17" y="90"/>
                    </a:cubicBezTo>
                    <a:cubicBezTo>
                      <a:pt x="18" y="90"/>
                      <a:pt x="19" y="89"/>
                      <a:pt x="19" y="89"/>
                    </a:cubicBezTo>
                    <a:cubicBezTo>
                      <a:pt x="27" y="95"/>
                      <a:pt x="27" y="95"/>
                      <a:pt x="27" y="95"/>
                    </a:cubicBezTo>
                    <a:cubicBezTo>
                      <a:pt x="29" y="95"/>
                      <a:pt x="29" y="95"/>
                      <a:pt x="29" y="95"/>
                    </a:cubicBezTo>
                    <a:cubicBezTo>
                      <a:pt x="32" y="98"/>
                      <a:pt x="32" y="98"/>
                      <a:pt x="32" y="98"/>
                    </a:cubicBezTo>
                    <a:cubicBezTo>
                      <a:pt x="33" y="98"/>
                      <a:pt x="33" y="97"/>
                      <a:pt x="34" y="97"/>
                    </a:cubicBezTo>
                    <a:cubicBezTo>
                      <a:pt x="36" y="98"/>
                      <a:pt x="35" y="99"/>
                      <a:pt x="36" y="100"/>
                    </a:cubicBezTo>
                    <a:cubicBezTo>
                      <a:pt x="38" y="101"/>
                      <a:pt x="40" y="99"/>
                      <a:pt x="41" y="100"/>
                    </a:cubicBezTo>
                    <a:cubicBezTo>
                      <a:pt x="43" y="102"/>
                      <a:pt x="41" y="103"/>
                      <a:pt x="41" y="103"/>
                    </a:cubicBezTo>
                    <a:cubicBezTo>
                      <a:pt x="43" y="106"/>
                      <a:pt x="43" y="106"/>
                      <a:pt x="43" y="106"/>
                    </a:cubicBezTo>
                    <a:cubicBezTo>
                      <a:pt x="40" y="108"/>
                      <a:pt x="40" y="108"/>
                      <a:pt x="40" y="108"/>
                    </a:cubicBezTo>
                    <a:cubicBezTo>
                      <a:pt x="41" y="110"/>
                      <a:pt x="41" y="110"/>
                      <a:pt x="41" y="110"/>
                    </a:cubicBezTo>
                    <a:cubicBezTo>
                      <a:pt x="36" y="110"/>
                      <a:pt x="36" y="110"/>
                      <a:pt x="36" y="110"/>
                    </a:cubicBezTo>
                    <a:cubicBezTo>
                      <a:pt x="36" y="117"/>
                      <a:pt x="36" y="117"/>
                      <a:pt x="36" y="117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5" y="122"/>
                      <a:pt x="35" y="122"/>
                      <a:pt x="35" y="122"/>
                    </a:cubicBezTo>
                    <a:cubicBezTo>
                      <a:pt x="36" y="122"/>
                      <a:pt x="36" y="122"/>
                      <a:pt x="36" y="122"/>
                    </a:cubicBezTo>
                    <a:cubicBezTo>
                      <a:pt x="36" y="122"/>
                      <a:pt x="36" y="124"/>
                      <a:pt x="39" y="124"/>
                    </a:cubicBezTo>
                    <a:cubicBezTo>
                      <a:pt x="40" y="124"/>
                      <a:pt x="42" y="122"/>
                      <a:pt x="42" y="122"/>
                    </a:cubicBezTo>
                    <a:cubicBezTo>
                      <a:pt x="43" y="123"/>
                      <a:pt x="43" y="123"/>
                      <a:pt x="43" y="123"/>
                    </a:cubicBezTo>
                    <a:cubicBezTo>
                      <a:pt x="46" y="123"/>
                      <a:pt x="46" y="123"/>
                      <a:pt x="46" y="123"/>
                    </a:cubicBezTo>
                    <a:cubicBezTo>
                      <a:pt x="48" y="121"/>
                      <a:pt x="48" y="121"/>
                      <a:pt x="48" y="121"/>
                    </a:cubicBezTo>
                    <a:cubicBezTo>
                      <a:pt x="49" y="123"/>
                      <a:pt x="49" y="123"/>
                      <a:pt x="49" y="123"/>
                    </a:cubicBezTo>
                    <a:cubicBezTo>
                      <a:pt x="48" y="125"/>
                      <a:pt x="48" y="125"/>
                      <a:pt x="48" y="125"/>
                    </a:cubicBezTo>
                    <a:cubicBezTo>
                      <a:pt x="44" y="125"/>
                      <a:pt x="44" y="125"/>
                      <a:pt x="44" y="125"/>
                    </a:cubicBezTo>
                    <a:cubicBezTo>
                      <a:pt x="42" y="125"/>
                      <a:pt x="38" y="128"/>
                      <a:pt x="38" y="128"/>
                    </a:cubicBezTo>
                    <a:cubicBezTo>
                      <a:pt x="38" y="130"/>
                      <a:pt x="38" y="130"/>
                      <a:pt x="38" y="130"/>
                    </a:cubicBezTo>
                    <a:cubicBezTo>
                      <a:pt x="41" y="130"/>
                      <a:pt x="41" y="130"/>
                      <a:pt x="41" y="130"/>
                    </a:cubicBezTo>
                    <a:cubicBezTo>
                      <a:pt x="41" y="132"/>
                      <a:pt x="41" y="132"/>
                      <a:pt x="41" y="132"/>
                    </a:cubicBezTo>
                    <a:cubicBezTo>
                      <a:pt x="36" y="132"/>
                      <a:pt x="36" y="132"/>
                      <a:pt x="36" y="132"/>
                    </a:cubicBezTo>
                    <a:cubicBezTo>
                      <a:pt x="33" y="134"/>
                      <a:pt x="33" y="134"/>
                      <a:pt x="33" y="134"/>
                    </a:cubicBezTo>
                    <a:cubicBezTo>
                      <a:pt x="36" y="136"/>
                      <a:pt x="36" y="136"/>
                      <a:pt x="36" y="136"/>
                    </a:cubicBezTo>
                    <a:cubicBezTo>
                      <a:pt x="43" y="136"/>
                      <a:pt x="43" y="136"/>
                      <a:pt x="43" y="136"/>
                    </a:cubicBezTo>
                    <a:cubicBezTo>
                      <a:pt x="43" y="136"/>
                      <a:pt x="45" y="133"/>
                      <a:pt x="49" y="136"/>
                    </a:cubicBezTo>
                    <a:cubicBezTo>
                      <a:pt x="52" y="137"/>
                      <a:pt x="50" y="140"/>
                      <a:pt x="50" y="140"/>
                    </a:cubicBezTo>
                    <a:cubicBezTo>
                      <a:pt x="47" y="137"/>
                      <a:pt x="47" y="137"/>
                      <a:pt x="47" y="137"/>
                    </a:cubicBezTo>
                    <a:cubicBezTo>
                      <a:pt x="47" y="137"/>
                      <a:pt x="44" y="138"/>
                      <a:pt x="41" y="138"/>
                    </a:cubicBezTo>
                    <a:cubicBezTo>
                      <a:pt x="38" y="138"/>
                      <a:pt x="36" y="138"/>
                      <a:pt x="36" y="141"/>
                    </a:cubicBezTo>
                    <a:cubicBezTo>
                      <a:pt x="35" y="143"/>
                      <a:pt x="38" y="147"/>
                      <a:pt x="38" y="147"/>
                    </a:cubicBezTo>
                    <a:cubicBezTo>
                      <a:pt x="33" y="148"/>
                      <a:pt x="33" y="148"/>
                      <a:pt x="33" y="148"/>
                    </a:cubicBezTo>
                    <a:cubicBezTo>
                      <a:pt x="31" y="145"/>
                      <a:pt x="31" y="145"/>
                      <a:pt x="31" y="145"/>
                    </a:cubicBezTo>
                    <a:cubicBezTo>
                      <a:pt x="27" y="146"/>
                      <a:pt x="27" y="146"/>
                      <a:pt x="27" y="146"/>
                    </a:cubicBezTo>
                    <a:cubicBezTo>
                      <a:pt x="28" y="149"/>
                      <a:pt x="28" y="149"/>
                      <a:pt x="28" y="149"/>
                    </a:cubicBezTo>
                    <a:cubicBezTo>
                      <a:pt x="23" y="150"/>
                      <a:pt x="23" y="150"/>
                      <a:pt x="23" y="150"/>
                    </a:cubicBezTo>
                    <a:cubicBezTo>
                      <a:pt x="23" y="150"/>
                      <a:pt x="22" y="149"/>
                      <a:pt x="19" y="149"/>
                    </a:cubicBezTo>
                    <a:cubicBezTo>
                      <a:pt x="17" y="148"/>
                      <a:pt x="15" y="149"/>
                      <a:pt x="14" y="149"/>
                    </a:cubicBezTo>
                    <a:cubicBezTo>
                      <a:pt x="12" y="149"/>
                      <a:pt x="10" y="147"/>
                      <a:pt x="10" y="147"/>
                    </a:cubicBezTo>
                    <a:cubicBezTo>
                      <a:pt x="12" y="144"/>
                      <a:pt x="12" y="144"/>
                      <a:pt x="12" y="144"/>
                    </a:cubicBezTo>
                    <a:cubicBezTo>
                      <a:pt x="9" y="140"/>
                      <a:pt x="9" y="140"/>
                      <a:pt x="9" y="140"/>
                    </a:cubicBezTo>
                    <a:cubicBezTo>
                      <a:pt x="4" y="144"/>
                      <a:pt x="4" y="144"/>
                      <a:pt x="4" y="144"/>
                    </a:cubicBezTo>
                    <a:cubicBezTo>
                      <a:pt x="4" y="148"/>
                      <a:pt x="4" y="148"/>
                      <a:pt x="4" y="148"/>
                    </a:cubicBezTo>
                    <a:cubicBezTo>
                      <a:pt x="2" y="149"/>
                      <a:pt x="2" y="149"/>
                      <a:pt x="2" y="149"/>
                    </a:cubicBezTo>
                    <a:cubicBezTo>
                      <a:pt x="2" y="152"/>
                      <a:pt x="2" y="152"/>
                      <a:pt x="2" y="152"/>
                    </a:cubicBezTo>
                    <a:cubicBezTo>
                      <a:pt x="0" y="154"/>
                      <a:pt x="0" y="154"/>
                      <a:pt x="0" y="154"/>
                    </a:cubicBezTo>
                    <a:cubicBezTo>
                      <a:pt x="4" y="157"/>
                      <a:pt x="4" y="157"/>
                      <a:pt x="4" y="157"/>
                    </a:cubicBezTo>
                    <a:cubicBezTo>
                      <a:pt x="7" y="157"/>
                      <a:pt x="7" y="157"/>
                      <a:pt x="7" y="157"/>
                    </a:cubicBezTo>
                    <a:cubicBezTo>
                      <a:pt x="9" y="158"/>
                      <a:pt x="9" y="158"/>
                      <a:pt x="9" y="158"/>
                    </a:cubicBezTo>
                    <a:cubicBezTo>
                      <a:pt x="11" y="157"/>
                      <a:pt x="11" y="157"/>
                      <a:pt x="11" y="157"/>
                    </a:cubicBezTo>
                    <a:cubicBezTo>
                      <a:pt x="11" y="157"/>
                      <a:pt x="12" y="159"/>
                      <a:pt x="13" y="160"/>
                    </a:cubicBezTo>
                    <a:cubicBezTo>
                      <a:pt x="14" y="161"/>
                      <a:pt x="19" y="163"/>
                      <a:pt x="19" y="163"/>
                    </a:cubicBezTo>
                    <a:cubicBezTo>
                      <a:pt x="19" y="163"/>
                      <a:pt x="24" y="163"/>
                      <a:pt x="26" y="164"/>
                    </a:cubicBezTo>
                    <a:cubicBezTo>
                      <a:pt x="28" y="165"/>
                      <a:pt x="28" y="168"/>
                      <a:pt x="28" y="168"/>
                    </a:cubicBezTo>
                    <a:cubicBezTo>
                      <a:pt x="35" y="171"/>
                      <a:pt x="35" y="171"/>
                      <a:pt x="35" y="171"/>
                    </a:cubicBezTo>
                    <a:cubicBezTo>
                      <a:pt x="36" y="170"/>
                      <a:pt x="36" y="170"/>
                      <a:pt x="36" y="170"/>
                    </a:cubicBezTo>
                    <a:cubicBezTo>
                      <a:pt x="41" y="170"/>
                      <a:pt x="41" y="170"/>
                      <a:pt x="41" y="170"/>
                    </a:cubicBezTo>
                    <a:cubicBezTo>
                      <a:pt x="39" y="166"/>
                      <a:pt x="39" y="166"/>
                      <a:pt x="39" y="166"/>
                    </a:cubicBezTo>
                    <a:cubicBezTo>
                      <a:pt x="39" y="166"/>
                      <a:pt x="42" y="165"/>
                      <a:pt x="44" y="166"/>
                    </a:cubicBezTo>
                    <a:cubicBezTo>
                      <a:pt x="46" y="168"/>
                      <a:pt x="41" y="169"/>
                      <a:pt x="41" y="169"/>
                    </a:cubicBezTo>
                    <a:cubicBezTo>
                      <a:pt x="41" y="169"/>
                      <a:pt x="42" y="170"/>
                      <a:pt x="43" y="172"/>
                    </a:cubicBezTo>
                    <a:cubicBezTo>
                      <a:pt x="43" y="174"/>
                      <a:pt x="43" y="175"/>
                      <a:pt x="45" y="177"/>
                    </a:cubicBezTo>
                    <a:cubicBezTo>
                      <a:pt x="47" y="178"/>
                      <a:pt x="47" y="181"/>
                      <a:pt x="47" y="181"/>
                    </a:cubicBezTo>
                    <a:cubicBezTo>
                      <a:pt x="52" y="179"/>
                      <a:pt x="52" y="179"/>
                      <a:pt x="52" y="179"/>
                    </a:cubicBezTo>
                    <a:cubicBezTo>
                      <a:pt x="52" y="179"/>
                      <a:pt x="51" y="183"/>
                      <a:pt x="50" y="183"/>
                    </a:cubicBezTo>
                    <a:cubicBezTo>
                      <a:pt x="49" y="184"/>
                      <a:pt x="49" y="184"/>
                      <a:pt x="49" y="184"/>
                    </a:cubicBezTo>
                    <a:cubicBezTo>
                      <a:pt x="50" y="189"/>
                      <a:pt x="50" y="189"/>
                      <a:pt x="50" y="189"/>
                    </a:cubicBezTo>
                    <a:cubicBezTo>
                      <a:pt x="51" y="189"/>
                      <a:pt x="51" y="189"/>
                      <a:pt x="51" y="189"/>
                    </a:cubicBezTo>
                    <a:cubicBezTo>
                      <a:pt x="51" y="194"/>
                      <a:pt x="51" y="194"/>
                      <a:pt x="51" y="194"/>
                    </a:cubicBezTo>
                    <a:cubicBezTo>
                      <a:pt x="55" y="194"/>
                      <a:pt x="55" y="194"/>
                      <a:pt x="55" y="194"/>
                    </a:cubicBezTo>
                    <a:cubicBezTo>
                      <a:pt x="53" y="196"/>
                      <a:pt x="53" y="196"/>
                      <a:pt x="53" y="196"/>
                    </a:cubicBezTo>
                    <a:cubicBezTo>
                      <a:pt x="53" y="196"/>
                      <a:pt x="55" y="202"/>
                      <a:pt x="56" y="204"/>
                    </a:cubicBezTo>
                    <a:cubicBezTo>
                      <a:pt x="58" y="206"/>
                      <a:pt x="60" y="205"/>
                      <a:pt x="61" y="205"/>
                    </a:cubicBezTo>
                    <a:cubicBezTo>
                      <a:pt x="62" y="205"/>
                      <a:pt x="64" y="208"/>
                      <a:pt x="65" y="208"/>
                    </a:cubicBezTo>
                    <a:cubicBezTo>
                      <a:pt x="66" y="209"/>
                      <a:pt x="67" y="208"/>
                      <a:pt x="67" y="208"/>
                    </a:cubicBezTo>
                    <a:cubicBezTo>
                      <a:pt x="67" y="211"/>
                      <a:pt x="67" y="211"/>
                      <a:pt x="67" y="211"/>
                    </a:cubicBezTo>
                    <a:cubicBezTo>
                      <a:pt x="67" y="211"/>
                      <a:pt x="72" y="216"/>
                      <a:pt x="74" y="218"/>
                    </a:cubicBezTo>
                    <a:cubicBezTo>
                      <a:pt x="76" y="220"/>
                      <a:pt x="79" y="224"/>
                      <a:pt x="79" y="224"/>
                    </a:cubicBezTo>
                    <a:cubicBezTo>
                      <a:pt x="79" y="224"/>
                      <a:pt x="83" y="224"/>
                      <a:pt x="85" y="226"/>
                    </a:cubicBezTo>
                    <a:cubicBezTo>
                      <a:pt x="89" y="229"/>
                      <a:pt x="91" y="229"/>
                      <a:pt x="91" y="229"/>
                    </a:cubicBezTo>
                    <a:cubicBezTo>
                      <a:pt x="91" y="229"/>
                      <a:pt x="99" y="232"/>
                      <a:pt x="106" y="233"/>
                    </a:cubicBezTo>
                    <a:cubicBezTo>
                      <a:pt x="112" y="235"/>
                      <a:pt x="118" y="227"/>
                      <a:pt x="118" y="227"/>
                    </a:cubicBezTo>
                    <a:cubicBezTo>
                      <a:pt x="117" y="226"/>
                      <a:pt x="117" y="226"/>
                      <a:pt x="117" y="226"/>
                    </a:cubicBezTo>
                    <a:cubicBezTo>
                      <a:pt x="123" y="226"/>
                      <a:pt x="123" y="226"/>
                      <a:pt x="123" y="226"/>
                    </a:cubicBezTo>
                    <a:cubicBezTo>
                      <a:pt x="120" y="224"/>
                      <a:pt x="120" y="224"/>
                      <a:pt x="120" y="224"/>
                    </a:cubicBezTo>
                    <a:cubicBezTo>
                      <a:pt x="120" y="224"/>
                      <a:pt x="120" y="221"/>
                      <a:pt x="123" y="221"/>
                    </a:cubicBezTo>
                    <a:cubicBezTo>
                      <a:pt x="127" y="221"/>
                      <a:pt x="126" y="224"/>
                      <a:pt x="126" y="224"/>
                    </a:cubicBezTo>
                    <a:cubicBezTo>
                      <a:pt x="133" y="223"/>
                      <a:pt x="133" y="223"/>
                      <a:pt x="133" y="223"/>
                    </a:cubicBezTo>
                    <a:cubicBezTo>
                      <a:pt x="133" y="225"/>
                      <a:pt x="133" y="225"/>
                      <a:pt x="133" y="225"/>
                    </a:cubicBezTo>
                    <a:cubicBezTo>
                      <a:pt x="142" y="225"/>
                      <a:pt x="142" y="225"/>
                      <a:pt x="142" y="225"/>
                    </a:cubicBezTo>
                    <a:cubicBezTo>
                      <a:pt x="144" y="225"/>
                      <a:pt x="148" y="228"/>
                      <a:pt x="148" y="228"/>
                    </a:cubicBezTo>
                    <a:cubicBezTo>
                      <a:pt x="153" y="224"/>
                      <a:pt x="153" y="224"/>
                      <a:pt x="153" y="224"/>
                    </a:cubicBezTo>
                    <a:cubicBezTo>
                      <a:pt x="153" y="228"/>
                      <a:pt x="153" y="228"/>
                      <a:pt x="153" y="228"/>
                    </a:cubicBezTo>
                    <a:cubicBezTo>
                      <a:pt x="155" y="227"/>
                      <a:pt x="155" y="227"/>
                      <a:pt x="155" y="227"/>
                    </a:cubicBezTo>
                    <a:cubicBezTo>
                      <a:pt x="161" y="226"/>
                      <a:pt x="161" y="226"/>
                      <a:pt x="161" y="226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9"/>
                      <a:pt x="160" y="229"/>
                      <a:pt x="160" y="229"/>
                    </a:cubicBezTo>
                    <a:cubicBezTo>
                      <a:pt x="160" y="229"/>
                      <a:pt x="172" y="222"/>
                      <a:pt x="177" y="220"/>
                    </a:cubicBezTo>
                    <a:cubicBezTo>
                      <a:pt x="181" y="219"/>
                      <a:pt x="193" y="218"/>
                      <a:pt x="193" y="218"/>
                    </a:cubicBezTo>
                    <a:cubicBezTo>
                      <a:pt x="192" y="216"/>
                      <a:pt x="192" y="216"/>
                      <a:pt x="192" y="216"/>
                    </a:cubicBezTo>
                    <a:cubicBezTo>
                      <a:pt x="195" y="216"/>
                      <a:pt x="195" y="216"/>
                      <a:pt x="195" y="216"/>
                    </a:cubicBezTo>
                    <a:cubicBezTo>
                      <a:pt x="195" y="217"/>
                      <a:pt x="195" y="217"/>
                      <a:pt x="195" y="217"/>
                    </a:cubicBezTo>
                    <a:cubicBezTo>
                      <a:pt x="200" y="217"/>
                      <a:pt x="200" y="217"/>
                      <a:pt x="200" y="217"/>
                    </a:cubicBezTo>
                    <a:cubicBezTo>
                      <a:pt x="207" y="220"/>
                      <a:pt x="207" y="220"/>
                      <a:pt x="207" y="220"/>
                    </a:cubicBezTo>
                    <a:cubicBezTo>
                      <a:pt x="207" y="219"/>
                      <a:pt x="207" y="219"/>
                      <a:pt x="207" y="219"/>
                    </a:cubicBezTo>
                    <a:cubicBezTo>
                      <a:pt x="203" y="216"/>
                      <a:pt x="203" y="216"/>
                      <a:pt x="203" y="216"/>
                    </a:cubicBezTo>
                    <a:cubicBezTo>
                      <a:pt x="206" y="211"/>
                      <a:pt x="206" y="211"/>
                      <a:pt x="206" y="211"/>
                    </a:cubicBezTo>
                    <a:cubicBezTo>
                      <a:pt x="206" y="211"/>
                      <a:pt x="207" y="215"/>
                      <a:pt x="209" y="216"/>
                    </a:cubicBezTo>
                    <a:cubicBezTo>
                      <a:pt x="210" y="217"/>
                      <a:pt x="208" y="218"/>
                      <a:pt x="208" y="218"/>
                    </a:cubicBezTo>
                    <a:cubicBezTo>
                      <a:pt x="208" y="218"/>
                      <a:pt x="210" y="217"/>
                      <a:pt x="212" y="218"/>
                    </a:cubicBezTo>
                    <a:cubicBezTo>
                      <a:pt x="213" y="219"/>
                      <a:pt x="212" y="222"/>
                      <a:pt x="212" y="222"/>
                    </a:cubicBezTo>
                    <a:cubicBezTo>
                      <a:pt x="214" y="222"/>
                      <a:pt x="214" y="222"/>
                      <a:pt x="214" y="222"/>
                    </a:cubicBezTo>
                    <a:cubicBezTo>
                      <a:pt x="216" y="221"/>
                      <a:pt x="216" y="219"/>
                      <a:pt x="216" y="219"/>
                    </a:cubicBezTo>
                    <a:cubicBezTo>
                      <a:pt x="216" y="219"/>
                      <a:pt x="221" y="218"/>
                      <a:pt x="223" y="217"/>
                    </a:cubicBezTo>
                    <a:cubicBezTo>
                      <a:pt x="225" y="216"/>
                      <a:pt x="226" y="212"/>
                      <a:pt x="228" y="213"/>
                    </a:cubicBezTo>
                    <a:cubicBezTo>
                      <a:pt x="229" y="213"/>
                      <a:pt x="227" y="216"/>
                      <a:pt x="227" y="216"/>
                    </a:cubicBezTo>
                    <a:cubicBezTo>
                      <a:pt x="230" y="217"/>
                      <a:pt x="230" y="217"/>
                      <a:pt x="230" y="217"/>
                    </a:cubicBezTo>
                    <a:cubicBezTo>
                      <a:pt x="240" y="207"/>
                      <a:pt x="240" y="207"/>
                      <a:pt x="240" y="207"/>
                    </a:cubicBezTo>
                    <a:cubicBezTo>
                      <a:pt x="236" y="208"/>
                      <a:pt x="236" y="208"/>
                      <a:pt x="236" y="208"/>
                    </a:cubicBezTo>
                    <a:cubicBezTo>
                      <a:pt x="236" y="205"/>
                      <a:pt x="236" y="205"/>
                      <a:pt x="236" y="205"/>
                    </a:cubicBezTo>
                    <a:cubicBezTo>
                      <a:pt x="240" y="205"/>
                      <a:pt x="240" y="205"/>
                      <a:pt x="240" y="205"/>
                    </a:cubicBezTo>
                    <a:cubicBezTo>
                      <a:pt x="240" y="202"/>
                      <a:pt x="240" y="202"/>
                      <a:pt x="240" y="202"/>
                    </a:cubicBezTo>
                    <a:cubicBezTo>
                      <a:pt x="243" y="206"/>
                      <a:pt x="243" y="206"/>
                      <a:pt x="243" y="206"/>
                    </a:cubicBezTo>
                    <a:cubicBezTo>
                      <a:pt x="245" y="204"/>
                      <a:pt x="245" y="204"/>
                      <a:pt x="245" y="204"/>
                    </a:cubicBezTo>
                    <a:cubicBezTo>
                      <a:pt x="243" y="201"/>
                      <a:pt x="243" y="201"/>
                      <a:pt x="243" y="201"/>
                    </a:cubicBezTo>
                    <a:cubicBezTo>
                      <a:pt x="243" y="201"/>
                      <a:pt x="242" y="193"/>
                      <a:pt x="243" y="194"/>
                    </a:cubicBezTo>
                    <a:cubicBezTo>
                      <a:pt x="244" y="194"/>
                      <a:pt x="244" y="199"/>
                      <a:pt x="245" y="201"/>
                    </a:cubicBezTo>
                    <a:cubicBezTo>
                      <a:pt x="245" y="204"/>
                      <a:pt x="254" y="202"/>
                      <a:pt x="254" y="202"/>
                    </a:cubicBezTo>
                    <a:cubicBezTo>
                      <a:pt x="254" y="200"/>
                      <a:pt x="254" y="200"/>
                      <a:pt x="254" y="200"/>
                    </a:cubicBezTo>
                    <a:cubicBezTo>
                      <a:pt x="260" y="199"/>
                      <a:pt x="260" y="199"/>
                      <a:pt x="260" y="199"/>
                    </a:cubicBezTo>
                    <a:cubicBezTo>
                      <a:pt x="258" y="195"/>
                      <a:pt x="258" y="195"/>
                      <a:pt x="258" y="195"/>
                    </a:cubicBezTo>
                    <a:cubicBezTo>
                      <a:pt x="262" y="197"/>
                      <a:pt x="262" y="197"/>
                      <a:pt x="262" y="197"/>
                    </a:cubicBezTo>
                    <a:cubicBezTo>
                      <a:pt x="264" y="195"/>
                      <a:pt x="264" y="195"/>
                      <a:pt x="264" y="195"/>
                    </a:cubicBezTo>
                    <a:cubicBezTo>
                      <a:pt x="258" y="190"/>
                      <a:pt x="258" y="190"/>
                      <a:pt x="258" y="190"/>
                    </a:cubicBezTo>
                    <a:cubicBezTo>
                      <a:pt x="259" y="189"/>
                      <a:pt x="261" y="191"/>
                      <a:pt x="262" y="192"/>
                    </a:cubicBezTo>
                    <a:cubicBezTo>
                      <a:pt x="263" y="193"/>
                      <a:pt x="268" y="193"/>
                      <a:pt x="268" y="193"/>
                    </a:cubicBezTo>
                    <a:cubicBezTo>
                      <a:pt x="268" y="191"/>
                      <a:pt x="268" y="191"/>
                      <a:pt x="268" y="191"/>
                    </a:cubicBezTo>
                    <a:cubicBezTo>
                      <a:pt x="268" y="191"/>
                      <a:pt x="265" y="191"/>
                      <a:pt x="264" y="190"/>
                    </a:cubicBezTo>
                    <a:cubicBezTo>
                      <a:pt x="263" y="190"/>
                      <a:pt x="264" y="189"/>
                      <a:pt x="263" y="187"/>
                    </a:cubicBezTo>
                    <a:cubicBezTo>
                      <a:pt x="263" y="186"/>
                      <a:pt x="257" y="181"/>
                      <a:pt x="257" y="181"/>
                    </a:cubicBezTo>
                    <a:cubicBezTo>
                      <a:pt x="262" y="183"/>
                      <a:pt x="262" y="183"/>
                      <a:pt x="262" y="183"/>
                    </a:cubicBezTo>
                    <a:cubicBezTo>
                      <a:pt x="263" y="183"/>
                      <a:pt x="263" y="183"/>
                      <a:pt x="263" y="183"/>
                    </a:cubicBezTo>
                    <a:cubicBezTo>
                      <a:pt x="263" y="183"/>
                      <a:pt x="265" y="189"/>
                      <a:pt x="269" y="190"/>
                    </a:cubicBezTo>
                    <a:cubicBezTo>
                      <a:pt x="273" y="191"/>
                      <a:pt x="273" y="187"/>
                      <a:pt x="273" y="187"/>
                    </a:cubicBezTo>
                    <a:cubicBezTo>
                      <a:pt x="276" y="187"/>
                      <a:pt x="276" y="187"/>
                      <a:pt x="276" y="187"/>
                    </a:cubicBezTo>
                    <a:cubicBezTo>
                      <a:pt x="276" y="184"/>
                      <a:pt x="276" y="184"/>
                      <a:pt x="276" y="184"/>
                    </a:cubicBezTo>
                    <a:cubicBezTo>
                      <a:pt x="278" y="181"/>
                      <a:pt x="278" y="181"/>
                      <a:pt x="278" y="181"/>
                    </a:cubicBezTo>
                    <a:cubicBezTo>
                      <a:pt x="277" y="180"/>
                      <a:pt x="277" y="180"/>
                      <a:pt x="277" y="180"/>
                    </a:cubicBezTo>
                    <a:cubicBezTo>
                      <a:pt x="273" y="184"/>
                      <a:pt x="273" y="184"/>
                      <a:pt x="273" y="184"/>
                    </a:cubicBezTo>
                    <a:cubicBezTo>
                      <a:pt x="272" y="183"/>
                      <a:pt x="272" y="183"/>
                      <a:pt x="272" y="183"/>
                    </a:cubicBezTo>
                    <a:cubicBezTo>
                      <a:pt x="273" y="181"/>
                      <a:pt x="273" y="181"/>
                      <a:pt x="273" y="181"/>
                    </a:cubicBezTo>
                    <a:cubicBezTo>
                      <a:pt x="272" y="180"/>
                      <a:pt x="272" y="180"/>
                      <a:pt x="272" y="180"/>
                    </a:cubicBezTo>
                    <a:cubicBezTo>
                      <a:pt x="276" y="178"/>
                      <a:pt x="276" y="178"/>
                      <a:pt x="276" y="178"/>
                    </a:cubicBezTo>
                    <a:cubicBezTo>
                      <a:pt x="276" y="177"/>
                      <a:pt x="276" y="177"/>
                      <a:pt x="276" y="177"/>
                    </a:cubicBezTo>
                    <a:cubicBezTo>
                      <a:pt x="271" y="177"/>
                      <a:pt x="271" y="177"/>
                      <a:pt x="271" y="177"/>
                    </a:cubicBezTo>
                    <a:cubicBezTo>
                      <a:pt x="269" y="174"/>
                      <a:pt x="269" y="174"/>
                      <a:pt x="269" y="174"/>
                    </a:cubicBezTo>
                    <a:cubicBezTo>
                      <a:pt x="274" y="175"/>
                      <a:pt x="274" y="175"/>
                      <a:pt x="274" y="175"/>
                    </a:cubicBezTo>
                    <a:cubicBezTo>
                      <a:pt x="274" y="175"/>
                      <a:pt x="278" y="176"/>
                      <a:pt x="278" y="173"/>
                    </a:cubicBezTo>
                    <a:cubicBezTo>
                      <a:pt x="279" y="170"/>
                      <a:pt x="269" y="170"/>
                      <a:pt x="269" y="170"/>
                    </a:cubicBezTo>
                    <a:cubicBezTo>
                      <a:pt x="268" y="169"/>
                      <a:pt x="268" y="169"/>
                      <a:pt x="268" y="169"/>
                    </a:cubicBezTo>
                    <a:cubicBezTo>
                      <a:pt x="274" y="169"/>
                      <a:pt x="274" y="169"/>
                      <a:pt x="274" y="169"/>
                    </a:cubicBezTo>
                    <a:cubicBezTo>
                      <a:pt x="276" y="169"/>
                      <a:pt x="275" y="165"/>
                      <a:pt x="275" y="165"/>
                    </a:cubicBezTo>
                    <a:cubicBezTo>
                      <a:pt x="275" y="165"/>
                      <a:pt x="277" y="166"/>
                      <a:pt x="279" y="166"/>
                    </a:cubicBezTo>
                    <a:cubicBezTo>
                      <a:pt x="281" y="166"/>
                      <a:pt x="281" y="162"/>
                      <a:pt x="281" y="162"/>
                    </a:cubicBezTo>
                    <a:cubicBezTo>
                      <a:pt x="284" y="160"/>
                      <a:pt x="284" y="160"/>
                      <a:pt x="284" y="160"/>
                    </a:cubicBezTo>
                    <a:cubicBezTo>
                      <a:pt x="285" y="160"/>
                      <a:pt x="284" y="155"/>
                      <a:pt x="284" y="155"/>
                    </a:cubicBezTo>
                    <a:close/>
                    <a:moveTo>
                      <a:pt x="61" y="51"/>
                    </a:moveTo>
                    <a:cubicBezTo>
                      <a:pt x="60" y="51"/>
                      <a:pt x="60" y="51"/>
                      <a:pt x="60" y="51"/>
                    </a:cubicBezTo>
                    <a:cubicBezTo>
                      <a:pt x="56" y="57"/>
                      <a:pt x="56" y="57"/>
                      <a:pt x="56" y="57"/>
                    </a:cubicBezTo>
                    <a:cubicBezTo>
                      <a:pt x="59" y="59"/>
                      <a:pt x="59" y="59"/>
                      <a:pt x="59" y="59"/>
                    </a:cubicBezTo>
                    <a:lnTo>
                      <a:pt x="61" y="51"/>
                    </a:lnTo>
                    <a:close/>
                    <a:moveTo>
                      <a:pt x="48" y="210"/>
                    </a:moveTo>
                    <a:cubicBezTo>
                      <a:pt x="52" y="208"/>
                      <a:pt x="52" y="208"/>
                      <a:pt x="52" y="208"/>
                    </a:cubicBezTo>
                    <a:cubicBezTo>
                      <a:pt x="50" y="205"/>
                      <a:pt x="50" y="205"/>
                      <a:pt x="50" y="205"/>
                    </a:cubicBezTo>
                    <a:lnTo>
                      <a:pt x="48" y="210"/>
                    </a:lnTo>
                    <a:close/>
                    <a:moveTo>
                      <a:pt x="122" y="222"/>
                    </a:moveTo>
                    <a:cubicBezTo>
                      <a:pt x="122" y="222"/>
                      <a:pt x="121" y="225"/>
                      <a:pt x="124" y="224"/>
                    </a:cubicBezTo>
                    <a:cubicBezTo>
                      <a:pt x="126" y="224"/>
                      <a:pt x="125" y="221"/>
                      <a:pt x="122" y="222"/>
                    </a:cubicBez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235" name="Hungary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429250" y="4264025"/>
                <a:ext cx="639762" cy="427037"/>
              </a:xfrm>
              <a:custGeom>
                <a:avLst/>
                <a:gdLst/>
                <a:ahLst/>
                <a:cxnLst>
                  <a:cxn ang="0">
                    <a:pos x="292" y="23"/>
                  </a:cxn>
                  <a:cxn ang="0">
                    <a:pos x="276" y="15"/>
                  </a:cxn>
                  <a:cxn ang="0">
                    <a:pos x="265" y="10"/>
                  </a:cxn>
                  <a:cxn ang="0">
                    <a:pos x="250" y="9"/>
                  </a:cxn>
                  <a:cxn ang="0">
                    <a:pos x="235" y="5"/>
                  </a:cxn>
                  <a:cxn ang="0">
                    <a:pos x="210" y="5"/>
                  </a:cxn>
                  <a:cxn ang="0">
                    <a:pos x="180" y="25"/>
                  </a:cxn>
                  <a:cxn ang="0">
                    <a:pos x="148" y="31"/>
                  </a:cxn>
                  <a:cxn ang="0">
                    <a:pos x="127" y="46"/>
                  </a:cxn>
                  <a:cxn ang="0">
                    <a:pos x="118" y="60"/>
                  </a:cxn>
                  <a:cxn ang="0">
                    <a:pos x="101" y="68"/>
                  </a:cxn>
                  <a:cxn ang="0">
                    <a:pos x="81" y="71"/>
                  </a:cxn>
                  <a:cxn ang="0">
                    <a:pos x="62" y="68"/>
                  </a:cxn>
                  <a:cxn ang="0">
                    <a:pos x="39" y="59"/>
                  </a:cxn>
                  <a:cxn ang="0">
                    <a:pos x="36" y="67"/>
                  </a:cxn>
                  <a:cxn ang="0">
                    <a:pos x="38" y="76"/>
                  </a:cxn>
                  <a:cxn ang="0">
                    <a:pos x="19" y="75"/>
                  </a:cxn>
                  <a:cxn ang="0">
                    <a:pos x="14" y="84"/>
                  </a:cxn>
                  <a:cxn ang="0">
                    <a:pos x="23" y="90"/>
                  </a:cxn>
                  <a:cxn ang="0">
                    <a:pos x="14" y="107"/>
                  </a:cxn>
                  <a:cxn ang="0">
                    <a:pos x="17" y="116"/>
                  </a:cxn>
                  <a:cxn ang="0">
                    <a:pos x="6" y="126"/>
                  </a:cxn>
                  <a:cxn ang="0">
                    <a:pos x="9" y="135"/>
                  </a:cxn>
                  <a:cxn ang="0">
                    <a:pos x="13" y="143"/>
                  </a:cxn>
                  <a:cxn ang="0">
                    <a:pos x="21" y="152"/>
                  </a:cxn>
                  <a:cxn ang="0">
                    <a:pos x="27" y="160"/>
                  </a:cxn>
                  <a:cxn ang="0">
                    <a:pos x="38" y="166"/>
                  </a:cxn>
                  <a:cxn ang="0">
                    <a:pos x="60" y="189"/>
                  </a:cxn>
                  <a:cxn ang="0">
                    <a:pos x="76" y="198"/>
                  </a:cxn>
                  <a:cxn ang="0">
                    <a:pos x="115" y="199"/>
                  </a:cxn>
                  <a:cxn ang="0">
                    <a:pos x="129" y="188"/>
                  </a:cxn>
                  <a:cxn ang="0">
                    <a:pos x="140" y="179"/>
                  </a:cxn>
                  <a:cxn ang="0">
                    <a:pos x="157" y="173"/>
                  </a:cxn>
                  <a:cxn ang="0">
                    <a:pos x="173" y="168"/>
                  </a:cxn>
                  <a:cxn ang="0">
                    <a:pos x="202" y="163"/>
                  </a:cxn>
                  <a:cxn ang="0">
                    <a:pos x="213" y="162"/>
                  </a:cxn>
                  <a:cxn ang="0">
                    <a:pos x="234" y="152"/>
                  </a:cxn>
                  <a:cxn ang="0">
                    <a:pos x="239" y="140"/>
                  </a:cxn>
                  <a:cxn ang="0">
                    <a:pos x="241" y="127"/>
                  </a:cxn>
                  <a:cxn ang="0">
                    <a:pos x="245" y="114"/>
                  </a:cxn>
                  <a:cxn ang="0">
                    <a:pos x="250" y="98"/>
                  </a:cxn>
                  <a:cxn ang="0">
                    <a:pos x="259" y="76"/>
                  </a:cxn>
                  <a:cxn ang="0">
                    <a:pos x="262" y="66"/>
                  </a:cxn>
                  <a:cxn ang="0">
                    <a:pos x="276" y="46"/>
                  </a:cxn>
                  <a:cxn ang="0">
                    <a:pos x="297" y="31"/>
                  </a:cxn>
                </a:cxnLst>
                <a:rect l="0" t="0" r="r" b="b"/>
                <a:pathLst>
                  <a:path w="300" h="200">
                    <a:moveTo>
                      <a:pt x="294" y="30"/>
                    </a:moveTo>
                    <a:cubicBezTo>
                      <a:pt x="294" y="30"/>
                      <a:pt x="300" y="25"/>
                      <a:pt x="292" y="23"/>
                    </a:cubicBezTo>
                    <a:cubicBezTo>
                      <a:pt x="285" y="21"/>
                      <a:pt x="283" y="25"/>
                      <a:pt x="281" y="21"/>
                    </a:cubicBezTo>
                    <a:cubicBezTo>
                      <a:pt x="279" y="19"/>
                      <a:pt x="279" y="16"/>
                      <a:pt x="276" y="15"/>
                    </a:cubicBezTo>
                    <a:cubicBezTo>
                      <a:pt x="273" y="15"/>
                      <a:pt x="270" y="16"/>
                      <a:pt x="270" y="16"/>
                    </a:cubicBezTo>
                    <a:cubicBezTo>
                      <a:pt x="270" y="16"/>
                      <a:pt x="267" y="11"/>
                      <a:pt x="265" y="10"/>
                    </a:cubicBezTo>
                    <a:cubicBezTo>
                      <a:pt x="263" y="8"/>
                      <a:pt x="259" y="8"/>
                      <a:pt x="259" y="8"/>
                    </a:cubicBezTo>
                    <a:cubicBezTo>
                      <a:pt x="259" y="8"/>
                      <a:pt x="253" y="6"/>
                      <a:pt x="250" y="9"/>
                    </a:cubicBezTo>
                    <a:cubicBezTo>
                      <a:pt x="247" y="11"/>
                      <a:pt x="247" y="15"/>
                      <a:pt x="241" y="14"/>
                    </a:cubicBezTo>
                    <a:cubicBezTo>
                      <a:pt x="236" y="13"/>
                      <a:pt x="235" y="5"/>
                      <a:pt x="235" y="5"/>
                    </a:cubicBezTo>
                    <a:cubicBezTo>
                      <a:pt x="226" y="0"/>
                      <a:pt x="226" y="0"/>
                      <a:pt x="226" y="0"/>
                    </a:cubicBezTo>
                    <a:cubicBezTo>
                      <a:pt x="226" y="0"/>
                      <a:pt x="219" y="9"/>
                      <a:pt x="210" y="5"/>
                    </a:cubicBezTo>
                    <a:cubicBezTo>
                      <a:pt x="201" y="3"/>
                      <a:pt x="193" y="4"/>
                      <a:pt x="188" y="8"/>
                    </a:cubicBezTo>
                    <a:cubicBezTo>
                      <a:pt x="183" y="11"/>
                      <a:pt x="184" y="21"/>
                      <a:pt x="180" y="25"/>
                    </a:cubicBezTo>
                    <a:cubicBezTo>
                      <a:pt x="175" y="29"/>
                      <a:pt x="163" y="36"/>
                      <a:pt x="163" y="36"/>
                    </a:cubicBezTo>
                    <a:cubicBezTo>
                      <a:pt x="163" y="36"/>
                      <a:pt x="152" y="30"/>
                      <a:pt x="148" y="31"/>
                    </a:cubicBezTo>
                    <a:cubicBezTo>
                      <a:pt x="143" y="32"/>
                      <a:pt x="144" y="40"/>
                      <a:pt x="144" y="40"/>
                    </a:cubicBezTo>
                    <a:cubicBezTo>
                      <a:pt x="127" y="46"/>
                      <a:pt x="127" y="46"/>
                      <a:pt x="127" y="46"/>
                    </a:cubicBezTo>
                    <a:cubicBezTo>
                      <a:pt x="127" y="46"/>
                      <a:pt x="118" y="43"/>
                      <a:pt x="115" y="48"/>
                    </a:cubicBezTo>
                    <a:cubicBezTo>
                      <a:pt x="111" y="55"/>
                      <a:pt x="118" y="60"/>
                      <a:pt x="118" y="60"/>
                    </a:cubicBezTo>
                    <a:cubicBezTo>
                      <a:pt x="111" y="67"/>
                      <a:pt x="111" y="67"/>
                      <a:pt x="111" y="67"/>
                    </a:cubicBezTo>
                    <a:cubicBezTo>
                      <a:pt x="101" y="68"/>
                      <a:pt x="101" y="68"/>
                      <a:pt x="101" y="68"/>
                    </a:cubicBezTo>
                    <a:cubicBezTo>
                      <a:pt x="88" y="71"/>
                      <a:pt x="88" y="71"/>
                      <a:pt x="88" y="71"/>
                    </a:cubicBezTo>
                    <a:cubicBezTo>
                      <a:pt x="81" y="71"/>
                      <a:pt x="81" y="71"/>
                      <a:pt x="81" y="71"/>
                    </a:cubicBezTo>
                    <a:cubicBezTo>
                      <a:pt x="81" y="71"/>
                      <a:pt x="75" y="72"/>
                      <a:pt x="71" y="72"/>
                    </a:cubicBezTo>
                    <a:cubicBezTo>
                      <a:pt x="66" y="72"/>
                      <a:pt x="62" y="68"/>
                      <a:pt x="62" y="68"/>
                    </a:cubicBezTo>
                    <a:cubicBezTo>
                      <a:pt x="62" y="68"/>
                      <a:pt x="55" y="60"/>
                      <a:pt x="50" y="59"/>
                    </a:cubicBezTo>
                    <a:cubicBezTo>
                      <a:pt x="47" y="58"/>
                      <a:pt x="43" y="58"/>
                      <a:pt x="39" y="59"/>
                    </a:cubicBezTo>
                    <a:cubicBezTo>
                      <a:pt x="39" y="65"/>
                      <a:pt x="39" y="65"/>
                      <a:pt x="39" y="65"/>
                    </a:cubicBezTo>
                    <a:cubicBezTo>
                      <a:pt x="36" y="67"/>
                      <a:pt x="36" y="67"/>
                      <a:pt x="36" y="67"/>
                    </a:cubicBezTo>
                    <a:cubicBezTo>
                      <a:pt x="38" y="68"/>
                      <a:pt x="38" y="68"/>
                      <a:pt x="38" y="68"/>
                    </a:cubicBezTo>
                    <a:cubicBezTo>
                      <a:pt x="38" y="76"/>
                      <a:pt x="38" y="76"/>
                      <a:pt x="38" y="76"/>
                    </a:cubicBezTo>
                    <a:cubicBezTo>
                      <a:pt x="25" y="80"/>
                      <a:pt x="25" y="80"/>
                      <a:pt x="25" y="80"/>
                    </a:cubicBezTo>
                    <a:cubicBezTo>
                      <a:pt x="25" y="80"/>
                      <a:pt x="21" y="75"/>
                      <a:pt x="19" y="75"/>
                    </a:cubicBezTo>
                    <a:cubicBezTo>
                      <a:pt x="17" y="76"/>
                      <a:pt x="12" y="77"/>
                      <a:pt x="11" y="81"/>
                    </a:cubicBezTo>
                    <a:cubicBezTo>
                      <a:pt x="9" y="86"/>
                      <a:pt x="14" y="84"/>
                      <a:pt x="14" y="84"/>
                    </a:cubicBezTo>
                    <a:cubicBezTo>
                      <a:pt x="19" y="83"/>
                      <a:pt x="19" y="83"/>
                      <a:pt x="19" y="83"/>
                    </a:cubicBezTo>
                    <a:cubicBezTo>
                      <a:pt x="19" y="83"/>
                      <a:pt x="21" y="83"/>
                      <a:pt x="23" y="90"/>
                    </a:cubicBezTo>
                    <a:cubicBezTo>
                      <a:pt x="25" y="96"/>
                      <a:pt x="11" y="99"/>
                      <a:pt x="10" y="102"/>
                    </a:cubicBezTo>
                    <a:cubicBezTo>
                      <a:pt x="10" y="105"/>
                      <a:pt x="14" y="105"/>
                      <a:pt x="14" y="107"/>
                    </a:cubicBezTo>
                    <a:cubicBezTo>
                      <a:pt x="14" y="108"/>
                      <a:pt x="11" y="110"/>
                      <a:pt x="12" y="113"/>
                    </a:cubicBezTo>
                    <a:cubicBezTo>
                      <a:pt x="12" y="115"/>
                      <a:pt x="17" y="116"/>
                      <a:pt x="17" y="116"/>
                    </a:cubicBezTo>
                    <a:cubicBezTo>
                      <a:pt x="16" y="125"/>
                      <a:pt x="16" y="125"/>
                      <a:pt x="16" y="125"/>
                    </a:cubicBezTo>
                    <a:cubicBezTo>
                      <a:pt x="6" y="126"/>
                      <a:pt x="6" y="126"/>
                      <a:pt x="6" y="126"/>
                    </a:cubicBezTo>
                    <a:cubicBezTo>
                      <a:pt x="0" y="132"/>
                      <a:pt x="0" y="132"/>
                      <a:pt x="0" y="132"/>
                    </a:cubicBezTo>
                    <a:cubicBezTo>
                      <a:pt x="4" y="134"/>
                      <a:pt x="8" y="135"/>
                      <a:pt x="9" y="135"/>
                    </a:cubicBezTo>
                    <a:cubicBezTo>
                      <a:pt x="13" y="137"/>
                      <a:pt x="10" y="139"/>
                      <a:pt x="9" y="141"/>
                    </a:cubicBezTo>
                    <a:cubicBezTo>
                      <a:pt x="9" y="144"/>
                      <a:pt x="13" y="143"/>
                      <a:pt x="13" y="143"/>
                    </a:cubicBezTo>
                    <a:cubicBezTo>
                      <a:pt x="13" y="150"/>
                      <a:pt x="13" y="150"/>
                      <a:pt x="13" y="150"/>
                    </a:cubicBezTo>
                    <a:cubicBezTo>
                      <a:pt x="13" y="153"/>
                      <a:pt x="21" y="152"/>
                      <a:pt x="21" y="152"/>
                    </a:cubicBezTo>
                    <a:cubicBezTo>
                      <a:pt x="21" y="157"/>
                      <a:pt x="21" y="157"/>
                      <a:pt x="21" y="157"/>
                    </a:cubicBezTo>
                    <a:cubicBezTo>
                      <a:pt x="27" y="160"/>
                      <a:pt x="27" y="160"/>
                      <a:pt x="27" y="160"/>
                    </a:cubicBezTo>
                    <a:cubicBezTo>
                      <a:pt x="29" y="165"/>
                      <a:pt x="29" y="165"/>
                      <a:pt x="29" y="165"/>
                    </a:cubicBezTo>
                    <a:cubicBezTo>
                      <a:pt x="29" y="165"/>
                      <a:pt x="36" y="163"/>
                      <a:pt x="38" y="166"/>
                    </a:cubicBezTo>
                    <a:cubicBezTo>
                      <a:pt x="40" y="169"/>
                      <a:pt x="42" y="174"/>
                      <a:pt x="42" y="174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0" y="189"/>
                      <a:pt x="67" y="188"/>
                      <a:pt x="71" y="190"/>
                    </a:cubicBezTo>
                    <a:cubicBezTo>
                      <a:pt x="75" y="192"/>
                      <a:pt x="76" y="198"/>
                      <a:pt x="76" y="198"/>
                    </a:cubicBezTo>
                    <a:cubicBezTo>
                      <a:pt x="76" y="198"/>
                      <a:pt x="94" y="200"/>
                      <a:pt x="99" y="200"/>
                    </a:cubicBezTo>
                    <a:cubicBezTo>
                      <a:pt x="104" y="200"/>
                      <a:pt x="115" y="199"/>
                      <a:pt x="115" y="199"/>
                    </a:cubicBezTo>
                    <a:cubicBezTo>
                      <a:pt x="122" y="189"/>
                      <a:pt x="122" y="189"/>
                      <a:pt x="122" y="189"/>
                    </a:cubicBezTo>
                    <a:cubicBezTo>
                      <a:pt x="129" y="188"/>
                      <a:pt x="129" y="188"/>
                      <a:pt x="129" y="188"/>
                    </a:cubicBezTo>
                    <a:cubicBezTo>
                      <a:pt x="139" y="183"/>
                      <a:pt x="139" y="183"/>
                      <a:pt x="139" y="183"/>
                    </a:cubicBezTo>
                    <a:cubicBezTo>
                      <a:pt x="140" y="179"/>
                      <a:pt x="140" y="179"/>
                      <a:pt x="140" y="179"/>
                    </a:cubicBezTo>
                    <a:cubicBezTo>
                      <a:pt x="145" y="181"/>
                      <a:pt x="145" y="181"/>
                      <a:pt x="145" y="181"/>
                    </a:cubicBezTo>
                    <a:cubicBezTo>
                      <a:pt x="145" y="181"/>
                      <a:pt x="154" y="176"/>
                      <a:pt x="157" y="173"/>
                    </a:cubicBezTo>
                    <a:cubicBezTo>
                      <a:pt x="159" y="170"/>
                      <a:pt x="164" y="165"/>
                      <a:pt x="166" y="165"/>
                    </a:cubicBezTo>
                    <a:cubicBezTo>
                      <a:pt x="169" y="165"/>
                      <a:pt x="173" y="168"/>
                      <a:pt x="173" y="168"/>
                    </a:cubicBezTo>
                    <a:cubicBezTo>
                      <a:pt x="173" y="168"/>
                      <a:pt x="175" y="162"/>
                      <a:pt x="184" y="163"/>
                    </a:cubicBezTo>
                    <a:cubicBezTo>
                      <a:pt x="202" y="163"/>
                      <a:pt x="202" y="163"/>
                      <a:pt x="202" y="163"/>
                    </a:cubicBezTo>
                    <a:cubicBezTo>
                      <a:pt x="204" y="160"/>
                      <a:pt x="204" y="160"/>
                      <a:pt x="204" y="160"/>
                    </a:cubicBezTo>
                    <a:cubicBezTo>
                      <a:pt x="204" y="160"/>
                      <a:pt x="209" y="163"/>
                      <a:pt x="213" y="162"/>
                    </a:cubicBezTo>
                    <a:cubicBezTo>
                      <a:pt x="216" y="161"/>
                      <a:pt x="214" y="154"/>
                      <a:pt x="219" y="153"/>
                    </a:cubicBezTo>
                    <a:cubicBezTo>
                      <a:pt x="225" y="152"/>
                      <a:pt x="231" y="156"/>
                      <a:pt x="234" y="152"/>
                    </a:cubicBezTo>
                    <a:cubicBezTo>
                      <a:pt x="237" y="149"/>
                      <a:pt x="235" y="143"/>
                      <a:pt x="235" y="143"/>
                    </a:cubicBezTo>
                    <a:cubicBezTo>
                      <a:pt x="239" y="140"/>
                      <a:pt x="239" y="140"/>
                      <a:pt x="239" y="140"/>
                    </a:cubicBezTo>
                    <a:cubicBezTo>
                      <a:pt x="237" y="127"/>
                      <a:pt x="237" y="127"/>
                      <a:pt x="237" y="127"/>
                    </a:cubicBezTo>
                    <a:cubicBezTo>
                      <a:pt x="241" y="127"/>
                      <a:pt x="241" y="127"/>
                      <a:pt x="241" y="127"/>
                    </a:cubicBezTo>
                    <a:cubicBezTo>
                      <a:pt x="247" y="119"/>
                      <a:pt x="247" y="119"/>
                      <a:pt x="247" y="119"/>
                    </a:cubicBezTo>
                    <a:cubicBezTo>
                      <a:pt x="245" y="114"/>
                      <a:pt x="245" y="114"/>
                      <a:pt x="245" y="114"/>
                    </a:cubicBezTo>
                    <a:cubicBezTo>
                      <a:pt x="251" y="104"/>
                      <a:pt x="251" y="104"/>
                      <a:pt x="251" y="104"/>
                    </a:cubicBezTo>
                    <a:cubicBezTo>
                      <a:pt x="250" y="98"/>
                      <a:pt x="250" y="98"/>
                      <a:pt x="250" y="98"/>
                    </a:cubicBezTo>
                    <a:cubicBezTo>
                      <a:pt x="257" y="87"/>
                      <a:pt x="257" y="87"/>
                      <a:pt x="257" y="87"/>
                    </a:cubicBezTo>
                    <a:cubicBezTo>
                      <a:pt x="259" y="76"/>
                      <a:pt x="259" y="76"/>
                      <a:pt x="259" y="76"/>
                    </a:cubicBezTo>
                    <a:cubicBezTo>
                      <a:pt x="263" y="73"/>
                      <a:pt x="263" y="73"/>
                      <a:pt x="263" y="73"/>
                    </a:cubicBezTo>
                    <a:cubicBezTo>
                      <a:pt x="262" y="66"/>
                      <a:pt x="262" y="66"/>
                      <a:pt x="262" y="66"/>
                    </a:cubicBezTo>
                    <a:cubicBezTo>
                      <a:pt x="273" y="49"/>
                      <a:pt x="273" y="49"/>
                      <a:pt x="273" y="49"/>
                    </a:cubicBezTo>
                    <a:cubicBezTo>
                      <a:pt x="276" y="46"/>
                      <a:pt x="276" y="46"/>
                      <a:pt x="276" y="46"/>
                    </a:cubicBezTo>
                    <a:cubicBezTo>
                      <a:pt x="285" y="46"/>
                      <a:pt x="285" y="46"/>
                      <a:pt x="285" y="46"/>
                    </a:cubicBezTo>
                    <a:cubicBezTo>
                      <a:pt x="297" y="31"/>
                      <a:pt x="297" y="31"/>
                      <a:pt x="297" y="31"/>
                    </a:cubicBezTo>
                    <a:lnTo>
                      <a:pt x="294" y="30"/>
                    </a:ln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236" name="Greece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5875338" y="5122863"/>
                <a:ext cx="1027112" cy="962025"/>
              </a:xfrm>
              <a:custGeom>
                <a:avLst/>
                <a:gdLst/>
                <a:ahLst/>
                <a:cxnLst>
                  <a:cxn ang="0">
                    <a:pos x="168" y="214"/>
                  </a:cxn>
                  <a:cxn ang="0">
                    <a:pos x="269" y="244"/>
                  </a:cxn>
                  <a:cxn ang="0">
                    <a:pos x="168" y="189"/>
                  </a:cxn>
                  <a:cxn ang="0">
                    <a:pos x="156" y="148"/>
                  </a:cxn>
                  <a:cxn ang="0">
                    <a:pos x="161" y="113"/>
                  </a:cxn>
                  <a:cxn ang="0">
                    <a:pos x="194" y="117"/>
                  </a:cxn>
                  <a:cxn ang="0">
                    <a:pos x="236" y="119"/>
                  </a:cxn>
                  <a:cxn ang="0">
                    <a:pos x="228" y="73"/>
                  </a:cxn>
                  <a:cxn ang="0">
                    <a:pos x="279" y="58"/>
                  </a:cxn>
                  <a:cxn ang="0">
                    <a:pos x="317" y="0"/>
                  </a:cxn>
                  <a:cxn ang="0">
                    <a:pos x="230" y="26"/>
                  </a:cxn>
                  <a:cxn ang="0">
                    <a:pos x="177" y="46"/>
                  </a:cxn>
                  <a:cxn ang="0">
                    <a:pos x="111" y="71"/>
                  </a:cxn>
                  <a:cxn ang="0">
                    <a:pos x="55" y="132"/>
                  </a:cxn>
                  <a:cxn ang="0">
                    <a:pos x="29" y="182"/>
                  </a:cxn>
                  <a:cxn ang="0">
                    <a:pos x="59" y="230"/>
                  </a:cxn>
                  <a:cxn ang="0">
                    <a:pos x="113" y="255"/>
                  </a:cxn>
                  <a:cxn ang="0">
                    <a:pos x="171" y="245"/>
                  </a:cxn>
                  <a:cxn ang="0">
                    <a:pos x="116" y="267"/>
                  </a:cxn>
                  <a:cxn ang="0">
                    <a:pos x="144" y="353"/>
                  </a:cxn>
                  <a:cxn ang="0">
                    <a:pos x="205" y="353"/>
                  </a:cxn>
                  <a:cxn ang="0">
                    <a:pos x="216" y="296"/>
                  </a:cxn>
                  <a:cxn ang="0">
                    <a:pos x="253" y="275"/>
                  </a:cxn>
                  <a:cxn ang="0">
                    <a:pos x="285" y="129"/>
                  </a:cxn>
                  <a:cxn ang="0">
                    <a:pos x="337" y="172"/>
                  </a:cxn>
                  <a:cxn ang="0">
                    <a:pos x="214" y="193"/>
                  </a:cxn>
                  <a:cxn ang="0">
                    <a:pos x="228" y="180"/>
                  </a:cxn>
                  <a:cxn ang="0">
                    <a:pos x="268" y="198"/>
                  </a:cxn>
                  <a:cxn ang="0">
                    <a:pos x="317" y="213"/>
                  </a:cxn>
                  <a:cxn ang="0">
                    <a:pos x="286" y="255"/>
                  </a:cxn>
                  <a:cxn ang="0">
                    <a:pos x="295" y="273"/>
                  </a:cxn>
                  <a:cxn ang="0">
                    <a:pos x="311" y="283"/>
                  </a:cxn>
                  <a:cxn ang="0">
                    <a:pos x="310" y="303"/>
                  </a:cxn>
                  <a:cxn ang="0">
                    <a:pos x="283" y="316"/>
                  </a:cxn>
                  <a:cxn ang="0">
                    <a:pos x="266" y="290"/>
                  </a:cxn>
                  <a:cxn ang="0">
                    <a:pos x="352" y="262"/>
                  </a:cxn>
                  <a:cxn ang="0">
                    <a:pos x="398" y="246"/>
                  </a:cxn>
                  <a:cxn ang="0">
                    <a:pos x="382" y="274"/>
                  </a:cxn>
                  <a:cxn ang="0">
                    <a:pos x="393" y="285"/>
                  </a:cxn>
                  <a:cxn ang="0">
                    <a:pos x="421" y="296"/>
                  </a:cxn>
                  <a:cxn ang="0">
                    <a:pos x="328" y="330"/>
                  </a:cxn>
                  <a:cxn ang="0">
                    <a:pos x="378" y="333"/>
                  </a:cxn>
                  <a:cxn ang="0">
                    <a:pos x="213" y="278"/>
                  </a:cxn>
                  <a:cxn ang="0">
                    <a:pos x="273" y="334"/>
                  </a:cxn>
                  <a:cxn ang="0">
                    <a:pos x="316" y="332"/>
                  </a:cxn>
                  <a:cxn ang="0">
                    <a:pos x="304" y="339"/>
                  </a:cxn>
                  <a:cxn ang="0">
                    <a:pos x="63" y="291"/>
                  </a:cxn>
                  <a:cxn ang="0">
                    <a:pos x="55" y="260"/>
                  </a:cxn>
                  <a:cxn ang="0">
                    <a:pos x="18" y="190"/>
                  </a:cxn>
                  <a:cxn ang="0">
                    <a:pos x="392" y="415"/>
                  </a:cxn>
                  <a:cxn ang="0">
                    <a:pos x="324" y="420"/>
                  </a:cxn>
                  <a:cxn ang="0">
                    <a:pos x="276" y="414"/>
                  </a:cxn>
                  <a:cxn ang="0">
                    <a:pos x="273" y="440"/>
                  </a:cxn>
                  <a:cxn ang="0">
                    <a:pos x="389" y="429"/>
                  </a:cxn>
                  <a:cxn ang="0">
                    <a:pos x="459" y="352"/>
                  </a:cxn>
                  <a:cxn ang="0">
                    <a:pos x="448" y="337"/>
                  </a:cxn>
                  <a:cxn ang="0">
                    <a:pos x="422" y="322"/>
                  </a:cxn>
                  <a:cxn ang="0">
                    <a:pos x="437" y="390"/>
                  </a:cxn>
                  <a:cxn ang="0">
                    <a:pos x="420" y="398"/>
                  </a:cxn>
                </a:cxnLst>
                <a:rect l="0" t="0" r="r" b="b"/>
                <a:pathLst>
                  <a:path w="482" h="452">
                    <a:moveTo>
                      <a:pt x="253" y="275"/>
                    </a:moveTo>
                    <a:cubicBezTo>
                      <a:pt x="253" y="275"/>
                      <a:pt x="245" y="270"/>
                      <a:pt x="243" y="261"/>
                    </a:cubicBezTo>
                    <a:cubicBezTo>
                      <a:pt x="241" y="254"/>
                      <a:pt x="243" y="248"/>
                      <a:pt x="243" y="244"/>
                    </a:cubicBezTo>
                    <a:cubicBezTo>
                      <a:pt x="243" y="240"/>
                      <a:pt x="223" y="239"/>
                      <a:pt x="219" y="239"/>
                    </a:cubicBezTo>
                    <a:cubicBezTo>
                      <a:pt x="214" y="238"/>
                      <a:pt x="214" y="232"/>
                      <a:pt x="214" y="232"/>
                    </a:cubicBezTo>
                    <a:cubicBezTo>
                      <a:pt x="214" y="232"/>
                      <a:pt x="210" y="235"/>
                      <a:pt x="207" y="232"/>
                    </a:cubicBezTo>
                    <a:cubicBezTo>
                      <a:pt x="204" y="231"/>
                      <a:pt x="193" y="222"/>
                      <a:pt x="193" y="222"/>
                    </a:cubicBezTo>
                    <a:cubicBezTo>
                      <a:pt x="193" y="222"/>
                      <a:pt x="190" y="226"/>
                      <a:pt x="189" y="226"/>
                    </a:cubicBezTo>
                    <a:cubicBezTo>
                      <a:pt x="187" y="226"/>
                      <a:pt x="185" y="220"/>
                      <a:pt x="185" y="220"/>
                    </a:cubicBezTo>
                    <a:cubicBezTo>
                      <a:pt x="169" y="219"/>
                      <a:pt x="169" y="219"/>
                      <a:pt x="169" y="219"/>
                    </a:cubicBezTo>
                    <a:cubicBezTo>
                      <a:pt x="168" y="214"/>
                      <a:pt x="168" y="214"/>
                      <a:pt x="168" y="214"/>
                    </a:cubicBezTo>
                    <a:cubicBezTo>
                      <a:pt x="168" y="214"/>
                      <a:pt x="160" y="217"/>
                      <a:pt x="160" y="213"/>
                    </a:cubicBezTo>
                    <a:cubicBezTo>
                      <a:pt x="160" y="209"/>
                      <a:pt x="174" y="211"/>
                      <a:pt x="174" y="211"/>
                    </a:cubicBezTo>
                    <a:cubicBezTo>
                      <a:pt x="174" y="211"/>
                      <a:pt x="184" y="211"/>
                      <a:pt x="193" y="213"/>
                    </a:cubicBezTo>
                    <a:cubicBezTo>
                      <a:pt x="203" y="216"/>
                      <a:pt x="210" y="224"/>
                      <a:pt x="210" y="224"/>
                    </a:cubicBezTo>
                    <a:cubicBezTo>
                      <a:pt x="216" y="225"/>
                      <a:pt x="216" y="225"/>
                      <a:pt x="216" y="225"/>
                    </a:cubicBezTo>
                    <a:cubicBezTo>
                      <a:pt x="216" y="225"/>
                      <a:pt x="217" y="232"/>
                      <a:pt x="219" y="235"/>
                    </a:cubicBezTo>
                    <a:cubicBezTo>
                      <a:pt x="221" y="237"/>
                      <a:pt x="225" y="235"/>
                      <a:pt x="227" y="235"/>
                    </a:cubicBezTo>
                    <a:cubicBezTo>
                      <a:pt x="229" y="235"/>
                      <a:pt x="238" y="235"/>
                      <a:pt x="244" y="239"/>
                    </a:cubicBezTo>
                    <a:cubicBezTo>
                      <a:pt x="251" y="244"/>
                      <a:pt x="258" y="258"/>
                      <a:pt x="258" y="258"/>
                    </a:cubicBezTo>
                    <a:cubicBezTo>
                      <a:pt x="258" y="258"/>
                      <a:pt x="267" y="259"/>
                      <a:pt x="269" y="257"/>
                    </a:cubicBezTo>
                    <a:cubicBezTo>
                      <a:pt x="271" y="256"/>
                      <a:pt x="269" y="244"/>
                      <a:pt x="269" y="244"/>
                    </a:cubicBezTo>
                    <a:cubicBezTo>
                      <a:pt x="269" y="244"/>
                      <a:pt x="257" y="246"/>
                      <a:pt x="253" y="239"/>
                    </a:cubicBezTo>
                    <a:cubicBezTo>
                      <a:pt x="247" y="231"/>
                      <a:pt x="249" y="224"/>
                      <a:pt x="249" y="224"/>
                    </a:cubicBezTo>
                    <a:cubicBezTo>
                      <a:pt x="242" y="222"/>
                      <a:pt x="242" y="222"/>
                      <a:pt x="242" y="222"/>
                    </a:cubicBezTo>
                    <a:cubicBezTo>
                      <a:pt x="240" y="214"/>
                      <a:pt x="240" y="214"/>
                      <a:pt x="240" y="214"/>
                    </a:cubicBezTo>
                    <a:cubicBezTo>
                      <a:pt x="240" y="214"/>
                      <a:pt x="236" y="216"/>
                      <a:pt x="229" y="216"/>
                    </a:cubicBezTo>
                    <a:cubicBezTo>
                      <a:pt x="222" y="216"/>
                      <a:pt x="220" y="212"/>
                      <a:pt x="220" y="212"/>
                    </a:cubicBezTo>
                    <a:cubicBezTo>
                      <a:pt x="217" y="214"/>
                      <a:pt x="217" y="214"/>
                      <a:pt x="217" y="214"/>
                    </a:cubicBezTo>
                    <a:cubicBezTo>
                      <a:pt x="204" y="207"/>
                      <a:pt x="204" y="207"/>
                      <a:pt x="204" y="207"/>
                    </a:cubicBezTo>
                    <a:cubicBezTo>
                      <a:pt x="204" y="207"/>
                      <a:pt x="200" y="197"/>
                      <a:pt x="196" y="196"/>
                    </a:cubicBezTo>
                    <a:cubicBezTo>
                      <a:pt x="192" y="195"/>
                      <a:pt x="185" y="201"/>
                      <a:pt x="180" y="200"/>
                    </a:cubicBezTo>
                    <a:cubicBezTo>
                      <a:pt x="176" y="199"/>
                      <a:pt x="169" y="192"/>
                      <a:pt x="168" y="189"/>
                    </a:cubicBezTo>
                    <a:cubicBezTo>
                      <a:pt x="167" y="185"/>
                      <a:pt x="174" y="184"/>
                      <a:pt x="174" y="184"/>
                    </a:cubicBezTo>
                    <a:cubicBezTo>
                      <a:pt x="173" y="182"/>
                      <a:pt x="173" y="182"/>
                      <a:pt x="173" y="182"/>
                    </a:cubicBezTo>
                    <a:cubicBezTo>
                      <a:pt x="173" y="182"/>
                      <a:pt x="184" y="181"/>
                      <a:pt x="187" y="186"/>
                    </a:cubicBezTo>
                    <a:cubicBezTo>
                      <a:pt x="191" y="192"/>
                      <a:pt x="182" y="193"/>
                      <a:pt x="182" y="193"/>
                    </a:cubicBezTo>
                    <a:cubicBezTo>
                      <a:pt x="184" y="197"/>
                      <a:pt x="184" y="197"/>
                      <a:pt x="184" y="197"/>
                    </a:cubicBezTo>
                    <a:cubicBezTo>
                      <a:pt x="193" y="193"/>
                      <a:pt x="193" y="193"/>
                      <a:pt x="193" y="193"/>
                    </a:cubicBezTo>
                    <a:cubicBezTo>
                      <a:pt x="193" y="184"/>
                      <a:pt x="193" y="184"/>
                      <a:pt x="193" y="184"/>
                    </a:cubicBezTo>
                    <a:cubicBezTo>
                      <a:pt x="179" y="169"/>
                      <a:pt x="179" y="169"/>
                      <a:pt x="179" y="169"/>
                    </a:cubicBezTo>
                    <a:cubicBezTo>
                      <a:pt x="170" y="166"/>
                      <a:pt x="170" y="166"/>
                      <a:pt x="170" y="166"/>
                    </a:cubicBezTo>
                    <a:cubicBezTo>
                      <a:pt x="170" y="166"/>
                      <a:pt x="167" y="159"/>
                      <a:pt x="167" y="154"/>
                    </a:cubicBezTo>
                    <a:cubicBezTo>
                      <a:pt x="167" y="149"/>
                      <a:pt x="156" y="148"/>
                      <a:pt x="156" y="148"/>
                    </a:cubicBezTo>
                    <a:cubicBezTo>
                      <a:pt x="156" y="143"/>
                      <a:pt x="156" y="143"/>
                      <a:pt x="156" y="143"/>
                    </a:cubicBezTo>
                    <a:cubicBezTo>
                      <a:pt x="156" y="143"/>
                      <a:pt x="151" y="141"/>
                      <a:pt x="147" y="134"/>
                    </a:cubicBezTo>
                    <a:cubicBezTo>
                      <a:pt x="143" y="129"/>
                      <a:pt x="149" y="117"/>
                      <a:pt x="149" y="117"/>
                    </a:cubicBezTo>
                    <a:cubicBezTo>
                      <a:pt x="147" y="112"/>
                      <a:pt x="147" y="112"/>
                      <a:pt x="147" y="112"/>
                    </a:cubicBezTo>
                    <a:cubicBezTo>
                      <a:pt x="148" y="106"/>
                      <a:pt x="148" y="106"/>
                      <a:pt x="148" y="106"/>
                    </a:cubicBezTo>
                    <a:cubicBezTo>
                      <a:pt x="154" y="106"/>
                      <a:pt x="154" y="106"/>
                      <a:pt x="154" y="106"/>
                    </a:cubicBezTo>
                    <a:cubicBezTo>
                      <a:pt x="159" y="100"/>
                      <a:pt x="159" y="100"/>
                      <a:pt x="159" y="100"/>
                    </a:cubicBezTo>
                    <a:cubicBezTo>
                      <a:pt x="159" y="97"/>
                      <a:pt x="159" y="97"/>
                      <a:pt x="159" y="97"/>
                    </a:cubicBezTo>
                    <a:cubicBezTo>
                      <a:pt x="164" y="102"/>
                      <a:pt x="164" y="102"/>
                      <a:pt x="164" y="102"/>
                    </a:cubicBezTo>
                    <a:cubicBezTo>
                      <a:pt x="158" y="106"/>
                      <a:pt x="158" y="106"/>
                      <a:pt x="158" y="106"/>
                    </a:cubicBezTo>
                    <a:cubicBezTo>
                      <a:pt x="161" y="113"/>
                      <a:pt x="161" y="113"/>
                      <a:pt x="161" y="113"/>
                    </a:cubicBezTo>
                    <a:cubicBezTo>
                      <a:pt x="168" y="113"/>
                      <a:pt x="168" y="113"/>
                      <a:pt x="168" y="113"/>
                    </a:cubicBezTo>
                    <a:cubicBezTo>
                      <a:pt x="174" y="117"/>
                      <a:pt x="174" y="117"/>
                      <a:pt x="174" y="117"/>
                    </a:cubicBezTo>
                    <a:cubicBezTo>
                      <a:pt x="174" y="117"/>
                      <a:pt x="182" y="118"/>
                      <a:pt x="186" y="120"/>
                    </a:cubicBezTo>
                    <a:cubicBezTo>
                      <a:pt x="189" y="121"/>
                      <a:pt x="188" y="126"/>
                      <a:pt x="188" y="129"/>
                    </a:cubicBezTo>
                    <a:cubicBezTo>
                      <a:pt x="188" y="132"/>
                      <a:pt x="191" y="134"/>
                      <a:pt x="191" y="134"/>
                    </a:cubicBezTo>
                    <a:cubicBezTo>
                      <a:pt x="192" y="138"/>
                      <a:pt x="192" y="138"/>
                      <a:pt x="192" y="138"/>
                    </a:cubicBezTo>
                    <a:cubicBezTo>
                      <a:pt x="206" y="138"/>
                      <a:pt x="206" y="138"/>
                      <a:pt x="206" y="138"/>
                    </a:cubicBezTo>
                    <a:cubicBezTo>
                      <a:pt x="210" y="138"/>
                      <a:pt x="212" y="135"/>
                      <a:pt x="209" y="134"/>
                    </a:cubicBezTo>
                    <a:cubicBezTo>
                      <a:pt x="205" y="132"/>
                      <a:pt x="195" y="130"/>
                      <a:pt x="195" y="130"/>
                    </a:cubicBezTo>
                    <a:cubicBezTo>
                      <a:pt x="195" y="130"/>
                      <a:pt x="189" y="122"/>
                      <a:pt x="189" y="118"/>
                    </a:cubicBezTo>
                    <a:cubicBezTo>
                      <a:pt x="189" y="114"/>
                      <a:pt x="194" y="117"/>
                      <a:pt x="194" y="117"/>
                    </a:cubicBezTo>
                    <a:cubicBezTo>
                      <a:pt x="202" y="117"/>
                      <a:pt x="202" y="117"/>
                      <a:pt x="202" y="117"/>
                    </a:cubicBezTo>
                    <a:cubicBezTo>
                      <a:pt x="212" y="127"/>
                      <a:pt x="212" y="127"/>
                      <a:pt x="212" y="127"/>
                    </a:cubicBezTo>
                    <a:cubicBezTo>
                      <a:pt x="221" y="134"/>
                      <a:pt x="221" y="134"/>
                      <a:pt x="221" y="134"/>
                    </a:cubicBezTo>
                    <a:cubicBezTo>
                      <a:pt x="221" y="134"/>
                      <a:pt x="225" y="130"/>
                      <a:pt x="222" y="125"/>
                    </a:cubicBezTo>
                    <a:cubicBezTo>
                      <a:pt x="220" y="119"/>
                      <a:pt x="214" y="118"/>
                      <a:pt x="212" y="118"/>
                    </a:cubicBezTo>
                    <a:cubicBezTo>
                      <a:pt x="209" y="117"/>
                      <a:pt x="206" y="115"/>
                      <a:pt x="206" y="111"/>
                    </a:cubicBezTo>
                    <a:cubicBezTo>
                      <a:pt x="205" y="107"/>
                      <a:pt x="209" y="106"/>
                      <a:pt x="209" y="106"/>
                    </a:cubicBezTo>
                    <a:cubicBezTo>
                      <a:pt x="225" y="110"/>
                      <a:pt x="225" y="110"/>
                      <a:pt x="225" y="110"/>
                    </a:cubicBezTo>
                    <a:cubicBezTo>
                      <a:pt x="229" y="111"/>
                      <a:pt x="229" y="111"/>
                      <a:pt x="229" y="111"/>
                    </a:cubicBezTo>
                    <a:cubicBezTo>
                      <a:pt x="230" y="113"/>
                      <a:pt x="230" y="113"/>
                      <a:pt x="230" y="113"/>
                    </a:cubicBezTo>
                    <a:cubicBezTo>
                      <a:pt x="236" y="119"/>
                      <a:pt x="236" y="119"/>
                      <a:pt x="236" y="119"/>
                    </a:cubicBezTo>
                    <a:cubicBezTo>
                      <a:pt x="240" y="114"/>
                      <a:pt x="240" y="114"/>
                      <a:pt x="240" y="114"/>
                    </a:cubicBezTo>
                    <a:cubicBezTo>
                      <a:pt x="227" y="103"/>
                      <a:pt x="227" y="103"/>
                      <a:pt x="227" y="103"/>
                    </a:cubicBezTo>
                    <a:cubicBezTo>
                      <a:pt x="224" y="103"/>
                      <a:pt x="224" y="103"/>
                      <a:pt x="224" y="103"/>
                    </a:cubicBezTo>
                    <a:cubicBezTo>
                      <a:pt x="217" y="100"/>
                      <a:pt x="217" y="100"/>
                      <a:pt x="217" y="100"/>
                    </a:cubicBezTo>
                    <a:cubicBezTo>
                      <a:pt x="217" y="104"/>
                      <a:pt x="217" y="104"/>
                      <a:pt x="217" y="104"/>
                    </a:cubicBezTo>
                    <a:cubicBezTo>
                      <a:pt x="217" y="104"/>
                      <a:pt x="213" y="102"/>
                      <a:pt x="210" y="102"/>
                    </a:cubicBezTo>
                    <a:cubicBezTo>
                      <a:pt x="207" y="101"/>
                      <a:pt x="210" y="95"/>
                      <a:pt x="210" y="95"/>
                    </a:cubicBezTo>
                    <a:cubicBezTo>
                      <a:pt x="210" y="95"/>
                      <a:pt x="200" y="88"/>
                      <a:pt x="200" y="86"/>
                    </a:cubicBezTo>
                    <a:cubicBezTo>
                      <a:pt x="200" y="84"/>
                      <a:pt x="206" y="81"/>
                      <a:pt x="206" y="81"/>
                    </a:cubicBezTo>
                    <a:cubicBezTo>
                      <a:pt x="206" y="81"/>
                      <a:pt x="214" y="82"/>
                      <a:pt x="218" y="82"/>
                    </a:cubicBezTo>
                    <a:cubicBezTo>
                      <a:pt x="221" y="82"/>
                      <a:pt x="228" y="73"/>
                      <a:pt x="228" y="73"/>
                    </a:cubicBezTo>
                    <a:cubicBezTo>
                      <a:pt x="229" y="68"/>
                      <a:pt x="229" y="68"/>
                      <a:pt x="229" y="68"/>
                    </a:cubicBezTo>
                    <a:cubicBezTo>
                      <a:pt x="229" y="68"/>
                      <a:pt x="234" y="64"/>
                      <a:pt x="236" y="64"/>
                    </a:cubicBezTo>
                    <a:cubicBezTo>
                      <a:pt x="239" y="63"/>
                      <a:pt x="244" y="67"/>
                      <a:pt x="250" y="67"/>
                    </a:cubicBezTo>
                    <a:cubicBezTo>
                      <a:pt x="256" y="66"/>
                      <a:pt x="259" y="64"/>
                      <a:pt x="260" y="63"/>
                    </a:cubicBezTo>
                    <a:cubicBezTo>
                      <a:pt x="262" y="60"/>
                      <a:pt x="267" y="55"/>
                      <a:pt x="267" y="55"/>
                    </a:cubicBezTo>
                    <a:cubicBezTo>
                      <a:pt x="263" y="51"/>
                      <a:pt x="263" y="51"/>
                      <a:pt x="263" y="51"/>
                    </a:cubicBezTo>
                    <a:cubicBezTo>
                      <a:pt x="265" y="50"/>
                      <a:pt x="265" y="50"/>
                      <a:pt x="265" y="50"/>
                    </a:cubicBezTo>
                    <a:cubicBezTo>
                      <a:pt x="269" y="54"/>
                      <a:pt x="269" y="54"/>
                      <a:pt x="269" y="54"/>
                    </a:cubicBezTo>
                    <a:cubicBezTo>
                      <a:pt x="269" y="58"/>
                      <a:pt x="269" y="58"/>
                      <a:pt x="269" y="58"/>
                    </a:cubicBezTo>
                    <a:cubicBezTo>
                      <a:pt x="275" y="60"/>
                      <a:pt x="275" y="60"/>
                      <a:pt x="275" y="60"/>
                    </a:cubicBezTo>
                    <a:cubicBezTo>
                      <a:pt x="279" y="58"/>
                      <a:pt x="279" y="58"/>
                      <a:pt x="279" y="58"/>
                    </a:cubicBezTo>
                    <a:cubicBezTo>
                      <a:pt x="279" y="58"/>
                      <a:pt x="305" y="59"/>
                      <a:pt x="310" y="59"/>
                    </a:cubicBezTo>
                    <a:cubicBezTo>
                      <a:pt x="315" y="60"/>
                      <a:pt x="316" y="66"/>
                      <a:pt x="316" y="66"/>
                    </a:cubicBezTo>
                    <a:cubicBezTo>
                      <a:pt x="316" y="66"/>
                      <a:pt x="326" y="55"/>
                      <a:pt x="328" y="50"/>
                    </a:cubicBezTo>
                    <a:cubicBezTo>
                      <a:pt x="331" y="46"/>
                      <a:pt x="323" y="40"/>
                      <a:pt x="323" y="40"/>
                    </a:cubicBezTo>
                    <a:cubicBezTo>
                      <a:pt x="322" y="31"/>
                      <a:pt x="322" y="31"/>
                      <a:pt x="322" y="31"/>
                    </a:cubicBezTo>
                    <a:cubicBezTo>
                      <a:pt x="329" y="24"/>
                      <a:pt x="329" y="24"/>
                      <a:pt x="329" y="24"/>
                    </a:cubicBezTo>
                    <a:cubicBezTo>
                      <a:pt x="329" y="24"/>
                      <a:pt x="335" y="25"/>
                      <a:pt x="337" y="23"/>
                    </a:cubicBezTo>
                    <a:cubicBezTo>
                      <a:pt x="339" y="21"/>
                      <a:pt x="333" y="16"/>
                      <a:pt x="332" y="14"/>
                    </a:cubicBezTo>
                    <a:cubicBezTo>
                      <a:pt x="331" y="11"/>
                      <a:pt x="331" y="5"/>
                      <a:pt x="331" y="5"/>
                    </a:cubicBezTo>
                    <a:cubicBezTo>
                      <a:pt x="324" y="2"/>
                      <a:pt x="324" y="2"/>
                      <a:pt x="324" y="2"/>
                    </a:cubicBezTo>
                    <a:cubicBezTo>
                      <a:pt x="317" y="0"/>
                      <a:pt x="317" y="0"/>
                      <a:pt x="317" y="0"/>
                    </a:cubicBezTo>
                    <a:cubicBezTo>
                      <a:pt x="317" y="0"/>
                      <a:pt x="306" y="1"/>
                      <a:pt x="303" y="3"/>
                    </a:cubicBezTo>
                    <a:cubicBezTo>
                      <a:pt x="301" y="6"/>
                      <a:pt x="311" y="11"/>
                      <a:pt x="311" y="20"/>
                    </a:cubicBezTo>
                    <a:cubicBezTo>
                      <a:pt x="310" y="27"/>
                      <a:pt x="301" y="31"/>
                      <a:pt x="301" y="31"/>
                    </a:cubicBezTo>
                    <a:cubicBezTo>
                      <a:pt x="294" y="30"/>
                      <a:pt x="294" y="30"/>
                      <a:pt x="294" y="30"/>
                    </a:cubicBezTo>
                    <a:cubicBezTo>
                      <a:pt x="294" y="30"/>
                      <a:pt x="271" y="41"/>
                      <a:pt x="270" y="41"/>
                    </a:cubicBezTo>
                    <a:cubicBezTo>
                      <a:pt x="268" y="42"/>
                      <a:pt x="265" y="37"/>
                      <a:pt x="265" y="37"/>
                    </a:cubicBezTo>
                    <a:cubicBezTo>
                      <a:pt x="251" y="33"/>
                      <a:pt x="251" y="33"/>
                      <a:pt x="251" y="33"/>
                    </a:cubicBezTo>
                    <a:cubicBezTo>
                      <a:pt x="245" y="38"/>
                      <a:pt x="245" y="38"/>
                      <a:pt x="245" y="38"/>
                    </a:cubicBezTo>
                    <a:cubicBezTo>
                      <a:pt x="240" y="32"/>
                      <a:pt x="240" y="32"/>
                      <a:pt x="240" y="32"/>
                    </a:cubicBezTo>
                    <a:cubicBezTo>
                      <a:pt x="236" y="33"/>
                      <a:pt x="236" y="33"/>
                      <a:pt x="236" y="33"/>
                    </a:cubicBezTo>
                    <a:cubicBezTo>
                      <a:pt x="230" y="26"/>
                      <a:pt x="230" y="26"/>
                      <a:pt x="230" y="26"/>
                    </a:cubicBezTo>
                    <a:cubicBezTo>
                      <a:pt x="230" y="26"/>
                      <a:pt x="223" y="30"/>
                      <a:pt x="221" y="32"/>
                    </a:cubicBezTo>
                    <a:cubicBezTo>
                      <a:pt x="219" y="33"/>
                      <a:pt x="216" y="27"/>
                      <a:pt x="216" y="27"/>
                    </a:cubicBezTo>
                    <a:cubicBezTo>
                      <a:pt x="213" y="31"/>
                      <a:pt x="213" y="31"/>
                      <a:pt x="213" y="31"/>
                    </a:cubicBezTo>
                    <a:cubicBezTo>
                      <a:pt x="207" y="31"/>
                      <a:pt x="207" y="31"/>
                      <a:pt x="207" y="31"/>
                    </a:cubicBezTo>
                    <a:cubicBezTo>
                      <a:pt x="208" y="36"/>
                      <a:pt x="208" y="36"/>
                      <a:pt x="208" y="36"/>
                    </a:cubicBezTo>
                    <a:cubicBezTo>
                      <a:pt x="203" y="40"/>
                      <a:pt x="203" y="40"/>
                      <a:pt x="203" y="40"/>
                    </a:cubicBezTo>
                    <a:cubicBezTo>
                      <a:pt x="201" y="37"/>
                      <a:pt x="201" y="37"/>
                      <a:pt x="201" y="37"/>
                    </a:cubicBezTo>
                    <a:cubicBezTo>
                      <a:pt x="194" y="42"/>
                      <a:pt x="194" y="42"/>
                      <a:pt x="194" y="42"/>
                    </a:cubicBezTo>
                    <a:cubicBezTo>
                      <a:pt x="191" y="43"/>
                      <a:pt x="191" y="43"/>
                      <a:pt x="191" y="43"/>
                    </a:cubicBezTo>
                    <a:cubicBezTo>
                      <a:pt x="189" y="46"/>
                      <a:pt x="189" y="46"/>
                      <a:pt x="189" y="46"/>
                    </a:cubicBezTo>
                    <a:cubicBezTo>
                      <a:pt x="177" y="46"/>
                      <a:pt x="177" y="46"/>
                      <a:pt x="177" y="46"/>
                    </a:cubicBezTo>
                    <a:cubicBezTo>
                      <a:pt x="175" y="50"/>
                      <a:pt x="175" y="50"/>
                      <a:pt x="175" y="50"/>
                    </a:cubicBezTo>
                    <a:cubicBezTo>
                      <a:pt x="170" y="48"/>
                      <a:pt x="170" y="48"/>
                      <a:pt x="170" y="48"/>
                    </a:cubicBezTo>
                    <a:cubicBezTo>
                      <a:pt x="165" y="53"/>
                      <a:pt x="165" y="53"/>
                      <a:pt x="165" y="53"/>
                    </a:cubicBezTo>
                    <a:cubicBezTo>
                      <a:pt x="155" y="54"/>
                      <a:pt x="155" y="54"/>
                      <a:pt x="155" y="54"/>
                    </a:cubicBezTo>
                    <a:cubicBezTo>
                      <a:pt x="155" y="54"/>
                      <a:pt x="146" y="52"/>
                      <a:pt x="146" y="55"/>
                    </a:cubicBezTo>
                    <a:cubicBezTo>
                      <a:pt x="145" y="59"/>
                      <a:pt x="146" y="69"/>
                      <a:pt x="146" y="69"/>
                    </a:cubicBezTo>
                    <a:cubicBezTo>
                      <a:pt x="142" y="66"/>
                      <a:pt x="142" y="66"/>
                      <a:pt x="142" y="66"/>
                    </a:cubicBezTo>
                    <a:cubicBezTo>
                      <a:pt x="141" y="70"/>
                      <a:pt x="141" y="70"/>
                      <a:pt x="141" y="70"/>
                    </a:cubicBezTo>
                    <a:cubicBezTo>
                      <a:pt x="122" y="69"/>
                      <a:pt x="122" y="69"/>
                      <a:pt x="122" y="69"/>
                    </a:cubicBezTo>
                    <a:cubicBezTo>
                      <a:pt x="118" y="72"/>
                      <a:pt x="118" y="72"/>
                      <a:pt x="118" y="72"/>
                    </a:cubicBezTo>
                    <a:cubicBezTo>
                      <a:pt x="111" y="71"/>
                      <a:pt x="111" y="71"/>
                      <a:pt x="111" y="71"/>
                    </a:cubicBezTo>
                    <a:cubicBezTo>
                      <a:pt x="111" y="71"/>
                      <a:pt x="107" y="72"/>
                      <a:pt x="105" y="75"/>
                    </a:cubicBezTo>
                    <a:cubicBezTo>
                      <a:pt x="103" y="80"/>
                      <a:pt x="105" y="84"/>
                      <a:pt x="102" y="87"/>
                    </a:cubicBezTo>
                    <a:cubicBezTo>
                      <a:pt x="98" y="89"/>
                      <a:pt x="92" y="93"/>
                      <a:pt x="92" y="93"/>
                    </a:cubicBezTo>
                    <a:cubicBezTo>
                      <a:pt x="92" y="93"/>
                      <a:pt x="88" y="91"/>
                      <a:pt x="86" y="91"/>
                    </a:cubicBezTo>
                    <a:cubicBezTo>
                      <a:pt x="82" y="91"/>
                      <a:pt x="77" y="97"/>
                      <a:pt x="77" y="97"/>
                    </a:cubicBezTo>
                    <a:cubicBezTo>
                      <a:pt x="61" y="98"/>
                      <a:pt x="61" y="98"/>
                      <a:pt x="61" y="98"/>
                    </a:cubicBezTo>
                    <a:cubicBezTo>
                      <a:pt x="61" y="105"/>
                      <a:pt x="61" y="105"/>
                      <a:pt x="61" y="105"/>
                    </a:cubicBezTo>
                    <a:cubicBezTo>
                      <a:pt x="61" y="105"/>
                      <a:pt x="65" y="109"/>
                      <a:pt x="66" y="113"/>
                    </a:cubicBezTo>
                    <a:cubicBezTo>
                      <a:pt x="66" y="117"/>
                      <a:pt x="61" y="122"/>
                      <a:pt x="61" y="122"/>
                    </a:cubicBezTo>
                    <a:cubicBezTo>
                      <a:pt x="61" y="122"/>
                      <a:pt x="58" y="122"/>
                      <a:pt x="56" y="123"/>
                    </a:cubicBezTo>
                    <a:cubicBezTo>
                      <a:pt x="53" y="126"/>
                      <a:pt x="55" y="132"/>
                      <a:pt x="55" y="132"/>
                    </a:cubicBezTo>
                    <a:cubicBezTo>
                      <a:pt x="51" y="137"/>
                      <a:pt x="51" y="137"/>
                      <a:pt x="51" y="137"/>
                    </a:cubicBezTo>
                    <a:cubicBezTo>
                      <a:pt x="51" y="137"/>
                      <a:pt x="54" y="144"/>
                      <a:pt x="49" y="149"/>
                    </a:cubicBezTo>
                    <a:cubicBezTo>
                      <a:pt x="44" y="153"/>
                      <a:pt x="42" y="150"/>
                      <a:pt x="39" y="151"/>
                    </a:cubicBezTo>
                    <a:cubicBezTo>
                      <a:pt x="36" y="152"/>
                      <a:pt x="37" y="156"/>
                      <a:pt x="37" y="156"/>
                    </a:cubicBezTo>
                    <a:cubicBezTo>
                      <a:pt x="37" y="156"/>
                      <a:pt x="33" y="154"/>
                      <a:pt x="32" y="159"/>
                    </a:cubicBezTo>
                    <a:cubicBezTo>
                      <a:pt x="31" y="162"/>
                      <a:pt x="37" y="165"/>
                      <a:pt x="37" y="165"/>
                    </a:cubicBezTo>
                    <a:cubicBezTo>
                      <a:pt x="38" y="169"/>
                      <a:pt x="38" y="169"/>
                      <a:pt x="38" y="169"/>
                    </a:cubicBezTo>
                    <a:cubicBezTo>
                      <a:pt x="38" y="169"/>
                      <a:pt x="33" y="168"/>
                      <a:pt x="33" y="169"/>
                    </a:cubicBezTo>
                    <a:cubicBezTo>
                      <a:pt x="32" y="172"/>
                      <a:pt x="33" y="175"/>
                      <a:pt x="33" y="175"/>
                    </a:cubicBezTo>
                    <a:cubicBezTo>
                      <a:pt x="33" y="175"/>
                      <a:pt x="28" y="180"/>
                      <a:pt x="26" y="180"/>
                    </a:cubicBezTo>
                    <a:cubicBezTo>
                      <a:pt x="29" y="182"/>
                      <a:pt x="29" y="182"/>
                      <a:pt x="29" y="182"/>
                    </a:cubicBezTo>
                    <a:cubicBezTo>
                      <a:pt x="29" y="188"/>
                      <a:pt x="29" y="188"/>
                      <a:pt x="29" y="188"/>
                    </a:cubicBezTo>
                    <a:cubicBezTo>
                      <a:pt x="34" y="190"/>
                      <a:pt x="34" y="190"/>
                      <a:pt x="34" y="190"/>
                    </a:cubicBezTo>
                    <a:cubicBezTo>
                      <a:pt x="33" y="195"/>
                      <a:pt x="33" y="195"/>
                      <a:pt x="33" y="195"/>
                    </a:cubicBezTo>
                    <a:cubicBezTo>
                      <a:pt x="40" y="204"/>
                      <a:pt x="40" y="204"/>
                      <a:pt x="40" y="204"/>
                    </a:cubicBezTo>
                    <a:cubicBezTo>
                      <a:pt x="48" y="205"/>
                      <a:pt x="48" y="205"/>
                      <a:pt x="48" y="205"/>
                    </a:cubicBezTo>
                    <a:cubicBezTo>
                      <a:pt x="63" y="222"/>
                      <a:pt x="63" y="222"/>
                      <a:pt x="63" y="222"/>
                    </a:cubicBezTo>
                    <a:cubicBezTo>
                      <a:pt x="70" y="215"/>
                      <a:pt x="70" y="215"/>
                      <a:pt x="70" y="215"/>
                    </a:cubicBezTo>
                    <a:cubicBezTo>
                      <a:pt x="85" y="216"/>
                      <a:pt x="85" y="216"/>
                      <a:pt x="85" y="216"/>
                    </a:cubicBezTo>
                    <a:cubicBezTo>
                      <a:pt x="87" y="223"/>
                      <a:pt x="87" y="223"/>
                      <a:pt x="87" y="223"/>
                    </a:cubicBezTo>
                    <a:cubicBezTo>
                      <a:pt x="73" y="220"/>
                      <a:pt x="73" y="220"/>
                      <a:pt x="73" y="220"/>
                    </a:cubicBezTo>
                    <a:cubicBezTo>
                      <a:pt x="73" y="220"/>
                      <a:pt x="63" y="226"/>
                      <a:pt x="59" y="230"/>
                    </a:cubicBezTo>
                    <a:cubicBezTo>
                      <a:pt x="55" y="235"/>
                      <a:pt x="54" y="244"/>
                      <a:pt x="57" y="246"/>
                    </a:cubicBezTo>
                    <a:cubicBezTo>
                      <a:pt x="61" y="249"/>
                      <a:pt x="64" y="242"/>
                      <a:pt x="65" y="238"/>
                    </a:cubicBezTo>
                    <a:cubicBezTo>
                      <a:pt x="67" y="233"/>
                      <a:pt x="71" y="232"/>
                      <a:pt x="71" y="232"/>
                    </a:cubicBezTo>
                    <a:cubicBezTo>
                      <a:pt x="75" y="238"/>
                      <a:pt x="75" y="238"/>
                      <a:pt x="75" y="238"/>
                    </a:cubicBezTo>
                    <a:cubicBezTo>
                      <a:pt x="74" y="246"/>
                      <a:pt x="74" y="246"/>
                      <a:pt x="74" y="246"/>
                    </a:cubicBezTo>
                    <a:cubicBezTo>
                      <a:pt x="80" y="243"/>
                      <a:pt x="80" y="243"/>
                      <a:pt x="80" y="243"/>
                    </a:cubicBezTo>
                    <a:cubicBezTo>
                      <a:pt x="85" y="248"/>
                      <a:pt x="85" y="248"/>
                      <a:pt x="85" y="248"/>
                    </a:cubicBezTo>
                    <a:cubicBezTo>
                      <a:pt x="85" y="248"/>
                      <a:pt x="80" y="258"/>
                      <a:pt x="89" y="259"/>
                    </a:cubicBezTo>
                    <a:cubicBezTo>
                      <a:pt x="97" y="261"/>
                      <a:pt x="98" y="249"/>
                      <a:pt x="98" y="249"/>
                    </a:cubicBezTo>
                    <a:cubicBezTo>
                      <a:pt x="108" y="260"/>
                      <a:pt x="108" y="260"/>
                      <a:pt x="108" y="260"/>
                    </a:cubicBezTo>
                    <a:cubicBezTo>
                      <a:pt x="108" y="260"/>
                      <a:pt x="111" y="257"/>
                      <a:pt x="113" y="255"/>
                    </a:cubicBezTo>
                    <a:cubicBezTo>
                      <a:pt x="116" y="254"/>
                      <a:pt x="121" y="255"/>
                      <a:pt x="121" y="255"/>
                    </a:cubicBezTo>
                    <a:cubicBezTo>
                      <a:pt x="121" y="255"/>
                      <a:pt x="125" y="248"/>
                      <a:pt x="129" y="248"/>
                    </a:cubicBezTo>
                    <a:cubicBezTo>
                      <a:pt x="134" y="248"/>
                      <a:pt x="144" y="251"/>
                      <a:pt x="144" y="251"/>
                    </a:cubicBezTo>
                    <a:cubicBezTo>
                      <a:pt x="146" y="249"/>
                      <a:pt x="146" y="249"/>
                      <a:pt x="146" y="249"/>
                    </a:cubicBezTo>
                    <a:cubicBezTo>
                      <a:pt x="156" y="251"/>
                      <a:pt x="156" y="251"/>
                      <a:pt x="156" y="251"/>
                    </a:cubicBezTo>
                    <a:cubicBezTo>
                      <a:pt x="153" y="245"/>
                      <a:pt x="153" y="245"/>
                      <a:pt x="153" y="245"/>
                    </a:cubicBezTo>
                    <a:cubicBezTo>
                      <a:pt x="155" y="243"/>
                      <a:pt x="155" y="243"/>
                      <a:pt x="155" y="243"/>
                    </a:cubicBezTo>
                    <a:cubicBezTo>
                      <a:pt x="162" y="247"/>
                      <a:pt x="162" y="247"/>
                      <a:pt x="162" y="247"/>
                    </a:cubicBezTo>
                    <a:cubicBezTo>
                      <a:pt x="161" y="252"/>
                      <a:pt x="161" y="252"/>
                      <a:pt x="161" y="252"/>
                    </a:cubicBezTo>
                    <a:cubicBezTo>
                      <a:pt x="164" y="252"/>
                      <a:pt x="164" y="252"/>
                      <a:pt x="164" y="252"/>
                    </a:cubicBezTo>
                    <a:cubicBezTo>
                      <a:pt x="171" y="245"/>
                      <a:pt x="171" y="245"/>
                      <a:pt x="171" y="245"/>
                    </a:cubicBezTo>
                    <a:cubicBezTo>
                      <a:pt x="177" y="254"/>
                      <a:pt x="177" y="254"/>
                      <a:pt x="177" y="254"/>
                    </a:cubicBezTo>
                    <a:cubicBezTo>
                      <a:pt x="177" y="254"/>
                      <a:pt x="192" y="253"/>
                      <a:pt x="197" y="255"/>
                    </a:cubicBezTo>
                    <a:cubicBezTo>
                      <a:pt x="203" y="257"/>
                      <a:pt x="191" y="262"/>
                      <a:pt x="191" y="262"/>
                    </a:cubicBezTo>
                    <a:cubicBezTo>
                      <a:pt x="187" y="262"/>
                      <a:pt x="187" y="262"/>
                      <a:pt x="187" y="262"/>
                    </a:cubicBezTo>
                    <a:cubicBezTo>
                      <a:pt x="182" y="268"/>
                      <a:pt x="182" y="268"/>
                      <a:pt x="182" y="268"/>
                    </a:cubicBezTo>
                    <a:cubicBezTo>
                      <a:pt x="186" y="270"/>
                      <a:pt x="186" y="270"/>
                      <a:pt x="186" y="270"/>
                    </a:cubicBezTo>
                    <a:cubicBezTo>
                      <a:pt x="184" y="273"/>
                      <a:pt x="184" y="273"/>
                      <a:pt x="184" y="273"/>
                    </a:cubicBezTo>
                    <a:cubicBezTo>
                      <a:pt x="184" y="273"/>
                      <a:pt x="172" y="263"/>
                      <a:pt x="167" y="263"/>
                    </a:cubicBezTo>
                    <a:cubicBezTo>
                      <a:pt x="162" y="262"/>
                      <a:pt x="146" y="260"/>
                      <a:pt x="146" y="260"/>
                    </a:cubicBezTo>
                    <a:cubicBezTo>
                      <a:pt x="146" y="260"/>
                      <a:pt x="136" y="255"/>
                      <a:pt x="129" y="255"/>
                    </a:cubicBezTo>
                    <a:cubicBezTo>
                      <a:pt x="122" y="254"/>
                      <a:pt x="116" y="267"/>
                      <a:pt x="116" y="267"/>
                    </a:cubicBezTo>
                    <a:cubicBezTo>
                      <a:pt x="102" y="267"/>
                      <a:pt x="102" y="267"/>
                      <a:pt x="102" y="267"/>
                    </a:cubicBezTo>
                    <a:cubicBezTo>
                      <a:pt x="100" y="279"/>
                      <a:pt x="100" y="279"/>
                      <a:pt x="100" y="279"/>
                    </a:cubicBezTo>
                    <a:cubicBezTo>
                      <a:pt x="100" y="279"/>
                      <a:pt x="91" y="284"/>
                      <a:pt x="91" y="290"/>
                    </a:cubicBezTo>
                    <a:cubicBezTo>
                      <a:pt x="91" y="296"/>
                      <a:pt x="100" y="294"/>
                      <a:pt x="100" y="294"/>
                    </a:cubicBezTo>
                    <a:cubicBezTo>
                      <a:pt x="104" y="303"/>
                      <a:pt x="104" y="303"/>
                      <a:pt x="104" y="303"/>
                    </a:cubicBezTo>
                    <a:cubicBezTo>
                      <a:pt x="104" y="303"/>
                      <a:pt x="114" y="304"/>
                      <a:pt x="122" y="311"/>
                    </a:cubicBezTo>
                    <a:cubicBezTo>
                      <a:pt x="130" y="319"/>
                      <a:pt x="122" y="326"/>
                      <a:pt x="120" y="334"/>
                    </a:cubicBezTo>
                    <a:cubicBezTo>
                      <a:pt x="119" y="340"/>
                      <a:pt x="129" y="346"/>
                      <a:pt x="129" y="346"/>
                    </a:cubicBezTo>
                    <a:cubicBezTo>
                      <a:pt x="129" y="350"/>
                      <a:pt x="129" y="350"/>
                      <a:pt x="129" y="350"/>
                    </a:cubicBezTo>
                    <a:cubicBezTo>
                      <a:pt x="140" y="356"/>
                      <a:pt x="140" y="356"/>
                      <a:pt x="140" y="356"/>
                    </a:cubicBezTo>
                    <a:cubicBezTo>
                      <a:pt x="144" y="353"/>
                      <a:pt x="144" y="353"/>
                      <a:pt x="144" y="353"/>
                    </a:cubicBezTo>
                    <a:cubicBezTo>
                      <a:pt x="144" y="353"/>
                      <a:pt x="141" y="349"/>
                      <a:pt x="144" y="341"/>
                    </a:cubicBezTo>
                    <a:cubicBezTo>
                      <a:pt x="146" y="333"/>
                      <a:pt x="155" y="339"/>
                      <a:pt x="155" y="339"/>
                    </a:cubicBezTo>
                    <a:cubicBezTo>
                      <a:pt x="155" y="345"/>
                      <a:pt x="155" y="345"/>
                      <a:pt x="155" y="345"/>
                    </a:cubicBezTo>
                    <a:cubicBezTo>
                      <a:pt x="155" y="345"/>
                      <a:pt x="160" y="347"/>
                      <a:pt x="165" y="353"/>
                    </a:cubicBezTo>
                    <a:cubicBezTo>
                      <a:pt x="171" y="358"/>
                      <a:pt x="168" y="369"/>
                      <a:pt x="168" y="369"/>
                    </a:cubicBezTo>
                    <a:cubicBezTo>
                      <a:pt x="176" y="374"/>
                      <a:pt x="176" y="374"/>
                      <a:pt x="176" y="374"/>
                    </a:cubicBezTo>
                    <a:cubicBezTo>
                      <a:pt x="176" y="374"/>
                      <a:pt x="173" y="353"/>
                      <a:pt x="181" y="347"/>
                    </a:cubicBezTo>
                    <a:cubicBezTo>
                      <a:pt x="190" y="340"/>
                      <a:pt x="191" y="353"/>
                      <a:pt x="191" y="353"/>
                    </a:cubicBezTo>
                    <a:cubicBezTo>
                      <a:pt x="210" y="368"/>
                      <a:pt x="210" y="368"/>
                      <a:pt x="210" y="368"/>
                    </a:cubicBezTo>
                    <a:cubicBezTo>
                      <a:pt x="213" y="366"/>
                      <a:pt x="213" y="366"/>
                      <a:pt x="213" y="366"/>
                    </a:cubicBezTo>
                    <a:cubicBezTo>
                      <a:pt x="205" y="353"/>
                      <a:pt x="205" y="353"/>
                      <a:pt x="205" y="353"/>
                    </a:cubicBezTo>
                    <a:cubicBezTo>
                      <a:pt x="205" y="346"/>
                      <a:pt x="205" y="346"/>
                      <a:pt x="205" y="346"/>
                    </a:cubicBezTo>
                    <a:cubicBezTo>
                      <a:pt x="192" y="325"/>
                      <a:pt x="192" y="325"/>
                      <a:pt x="192" y="325"/>
                    </a:cubicBezTo>
                    <a:cubicBezTo>
                      <a:pt x="191" y="317"/>
                      <a:pt x="191" y="317"/>
                      <a:pt x="191" y="317"/>
                    </a:cubicBezTo>
                    <a:cubicBezTo>
                      <a:pt x="179" y="299"/>
                      <a:pt x="179" y="299"/>
                      <a:pt x="179" y="299"/>
                    </a:cubicBezTo>
                    <a:cubicBezTo>
                      <a:pt x="200" y="303"/>
                      <a:pt x="200" y="303"/>
                      <a:pt x="200" y="303"/>
                    </a:cubicBezTo>
                    <a:cubicBezTo>
                      <a:pt x="197" y="309"/>
                      <a:pt x="197" y="309"/>
                      <a:pt x="197" y="309"/>
                    </a:cubicBezTo>
                    <a:cubicBezTo>
                      <a:pt x="206" y="311"/>
                      <a:pt x="206" y="311"/>
                      <a:pt x="206" y="311"/>
                    </a:cubicBezTo>
                    <a:cubicBezTo>
                      <a:pt x="211" y="303"/>
                      <a:pt x="211" y="303"/>
                      <a:pt x="211" y="303"/>
                    </a:cubicBezTo>
                    <a:cubicBezTo>
                      <a:pt x="216" y="304"/>
                      <a:pt x="216" y="304"/>
                      <a:pt x="216" y="304"/>
                    </a:cubicBezTo>
                    <a:cubicBezTo>
                      <a:pt x="221" y="296"/>
                      <a:pt x="221" y="296"/>
                      <a:pt x="221" y="296"/>
                    </a:cubicBezTo>
                    <a:cubicBezTo>
                      <a:pt x="216" y="296"/>
                      <a:pt x="216" y="296"/>
                      <a:pt x="216" y="296"/>
                    </a:cubicBezTo>
                    <a:cubicBezTo>
                      <a:pt x="211" y="287"/>
                      <a:pt x="211" y="287"/>
                      <a:pt x="211" y="287"/>
                    </a:cubicBezTo>
                    <a:cubicBezTo>
                      <a:pt x="211" y="287"/>
                      <a:pt x="205" y="291"/>
                      <a:pt x="202" y="289"/>
                    </a:cubicBezTo>
                    <a:cubicBezTo>
                      <a:pt x="197" y="286"/>
                      <a:pt x="202" y="284"/>
                      <a:pt x="202" y="280"/>
                    </a:cubicBezTo>
                    <a:cubicBezTo>
                      <a:pt x="202" y="276"/>
                      <a:pt x="194" y="277"/>
                      <a:pt x="192" y="275"/>
                    </a:cubicBezTo>
                    <a:cubicBezTo>
                      <a:pt x="190" y="274"/>
                      <a:pt x="196" y="272"/>
                      <a:pt x="196" y="272"/>
                    </a:cubicBezTo>
                    <a:cubicBezTo>
                      <a:pt x="208" y="267"/>
                      <a:pt x="208" y="267"/>
                      <a:pt x="208" y="267"/>
                    </a:cubicBezTo>
                    <a:cubicBezTo>
                      <a:pt x="219" y="260"/>
                      <a:pt x="219" y="260"/>
                      <a:pt x="219" y="260"/>
                    </a:cubicBezTo>
                    <a:cubicBezTo>
                      <a:pt x="220" y="265"/>
                      <a:pt x="220" y="265"/>
                      <a:pt x="220" y="265"/>
                    </a:cubicBezTo>
                    <a:cubicBezTo>
                      <a:pt x="226" y="265"/>
                      <a:pt x="226" y="265"/>
                      <a:pt x="226" y="265"/>
                    </a:cubicBezTo>
                    <a:cubicBezTo>
                      <a:pt x="226" y="265"/>
                      <a:pt x="239" y="279"/>
                      <a:pt x="245" y="282"/>
                    </a:cubicBezTo>
                    <a:cubicBezTo>
                      <a:pt x="251" y="284"/>
                      <a:pt x="253" y="275"/>
                      <a:pt x="253" y="275"/>
                    </a:cubicBezTo>
                    <a:close/>
                    <a:moveTo>
                      <a:pt x="247" y="72"/>
                    </a:moveTo>
                    <a:cubicBezTo>
                      <a:pt x="234" y="72"/>
                      <a:pt x="238" y="86"/>
                      <a:pt x="247" y="87"/>
                    </a:cubicBezTo>
                    <a:cubicBezTo>
                      <a:pt x="258" y="88"/>
                      <a:pt x="262" y="72"/>
                      <a:pt x="247" y="72"/>
                    </a:cubicBezTo>
                    <a:close/>
                    <a:moveTo>
                      <a:pt x="288" y="89"/>
                    </a:moveTo>
                    <a:cubicBezTo>
                      <a:pt x="288" y="89"/>
                      <a:pt x="293" y="91"/>
                      <a:pt x="296" y="94"/>
                    </a:cubicBezTo>
                    <a:cubicBezTo>
                      <a:pt x="300" y="96"/>
                      <a:pt x="303" y="89"/>
                      <a:pt x="298" y="84"/>
                    </a:cubicBezTo>
                    <a:cubicBezTo>
                      <a:pt x="292" y="79"/>
                      <a:pt x="288" y="89"/>
                      <a:pt x="288" y="89"/>
                    </a:cubicBezTo>
                    <a:close/>
                    <a:moveTo>
                      <a:pt x="274" y="125"/>
                    </a:moveTo>
                    <a:cubicBezTo>
                      <a:pt x="276" y="133"/>
                      <a:pt x="276" y="133"/>
                      <a:pt x="276" y="133"/>
                    </a:cubicBezTo>
                    <a:cubicBezTo>
                      <a:pt x="285" y="134"/>
                      <a:pt x="285" y="134"/>
                      <a:pt x="285" y="134"/>
                    </a:cubicBezTo>
                    <a:cubicBezTo>
                      <a:pt x="285" y="129"/>
                      <a:pt x="285" y="129"/>
                      <a:pt x="285" y="129"/>
                    </a:cubicBezTo>
                    <a:cubicBezTo>
                      <a:pt x="285" y="129"/>
                      <a:pt x="288" y="134"/>
                      <a:pt x="291" y="134"/>
                    </a:cubicBezTo>
                    <a:cubicBezTo>
                      <a:pt x="294" y="135"/>
                      <a:pt x="290" y="127"/>
                      <a:pt x="290" y="127"/>
                    </a:cubicBezTo>
                    <a:cubicBezTo>
                      <a:pt x="293" y="116"/>
                      <a:pt x="293" y="116"/>
                      <a:pt x="293" y="116"/>
                    </a:cubicBezTo>
                    <a:cubicBezTo>
                      <a:pt x="291" y="116"/>
                      <a:pt x="291" y="116"/>
                      <a:pt x="291" y="116"/>
                    </a:cubicBezTo>
                    <a:cubicBezTo>
                      <a:pt x="287" y="122"/>
                      <a:pt x="287" y="122"/>
                      <a:pt x="287" y="122"/>
                    </a:cubicBezTo>
                    <a:cubicBezTo>
                      <a:pt x="287" y="122"/>
                      <a:pt x="278" y="118"/>
                      <a:pt x="274" y="125"/>
                    </a:cubicBezTo>
                    <a:close/>
                    <a:moveTo>
                      <a:pt x="322" y="160"/>
                    </a:moveTo>
                    <a:cubicBezTo>
                      <a:pt x="322" y="168"/>
                      <a:pt x="322" y="168"/>
                      <a:pt x="322" y="168"/>
                    </a:cubicBezTo>
                    <a:cubicBezTo>
                      <a:pt x="334" y="173"/>
                      <a:pt x="334" y="173"/>
                      <a:pt x="334" y="173"/>
                    </a:cubicBezTo>
                    <a:cubicBezTo>
                      <a:pt x="339" y="168"/>
                      <a:pt x="339" y="168"/>
                      <a:pt x="339" y="168"/>
                    </a:cubicBezTo>
                    <a:cubicBezTo>
                      <a:pt x="337" y="172"/>
                      <a:pt x="337" y="172"/>
                      <a:pt x="337" y="172"/>
                    </a:cubicBezTo>
                    <a:cubicBezTo>
                      <a:pt x="340" y="177"/>
                      <a:pt x="340" y="177"/>
                      <a:pt x="340" y="177"/>
                    </a:cubicBezTo>
                    <a:cubicBezTo>
                      <a:pt x="353" y="176"/>
                      <a:pt x="353" y="176"/>
                      <a:pt x="353" y="176"/>
                    </a:cubicBezTo>
                    <a:cubicBezTo>
                      <a:pt x="353" y="176"/>
                      <a:pt x="361" y="172"/>
                      <a:pt x="361" y="166"/>
                    </a:cubicBezTo>
                    <a:cubicBezTo>
                      <a:pt x="361" y="161"/>
                      <a:pt x="350" y="157"/>
                      <a:pt x="350" y="157"/>
                    </a:cubicBezTo>
                    <a:cubicBezTo>
                      <a:pt x="350" y="157"/>
                      <a:pt x="348" y="150"/>
                      <a:pt x="343" y="151"/>
                    </a:cubicBezTo>
                    <a:cubicBezTo>
                      <a:pt x="338" y="152"/>
                      <a:pt x="336" y="157"/>
                      <a:pt x="336" y="157"/>
                    </a:cubicBezTo>
                    <a:lnTo>
                      <a:pt x="322" y="160"/>
                    </a:lnTo>
                    <a:close/>
                    <a:moveTo>
                      <a:pt x="274" y="154"/>
                    </a:moveTo>
                    <a:cubicBezTo>
                      <a:pt x="274" y="162"/>
                      <a:pt x="277" y="161"/>
                      <a:pt x="279" y="156"/>
                    </a:cubicBezTo>
                    <a:cubicBezTo>
                      <a:pt x="280" y="149"/>
                      <a:pt x="275" y="149"/>
                      <a:pt x="274" y="154"/>
                    </a:cubicBezTo>
                    <a:close/>
                    <a:moveTo>
                      <a:pt x="214" y="193"/>
                    </a:moveTo>
                    <a:cubicBezTo>
                      <a:pt x="221" y="191"/>
                      <a:pt x="221" y="191"/>
                      <a:pt x="221" y="191"/>
                    </a:cubicBezTo>
                    <a:cubicBezTo>
                      <a:pt x="208" y="184"/>
                      <a:pt x="208" y="184"/>
                      <a:pt x="208" y="184"/>
                    </a:cubicBezTo>
                    <a:lnTo>
                      <a:pt x="214" y="193"/>
                    </a:lnTo>
                    <a:close/>
                    <a:moveTo>
                      <a:pt x="202" y="191"/>
                    </a:moveTo>
                    <a:cubicBezTo>
                      <a:pt x="206" y="188"/>
                      <a:pt x="206" y="188"/>
                      <a:pt x="206" y="188"/>
                    </a:cubicBezTo>
                    <a:cubicBezTo>
                      <a:pt x="202" y="185"/>
                      <a:pt x="202" y="185"/>
                      <a:pt x="202" y="185"/>
                    </a:cubicBezTo>
                    <a:cubicBezTo>
                      <a:pt x="197" y="190"/>
                      <a:pt x="197" y="190"/>
                      <a:pt x="197" y="190"/>
                    </a:cubicBezTo>
                    <a:lnTo>
                      <a:pt x="202" y="191"/>
                    </a:lnTo>
                    <a:close/>
                    <a:moveTo>
                      <a:pt x="222" y="185"/>
                    </a:moveTo>
                    <a:cubicBezTo>
                      <a:pt x="225" y="186"/>
                      <a:pt x="225" y="186"/>
                      <a:pt x="225" y="186"/>
                    </a:cubicBezTo>
                    <a:cubicBezTo>
                      <a:pt x="228" y="180"/>
                      <a:pt x="228" y="180"/>
                      <a:pt x="228" y="180"/>
                    </a:cubicBezTo>
                    <a:cubicBezTo>
                      <a:pt x="224" y="179"/>
                      <a:pt x="224" y="179"/>
                      <a:pt x="224" y="179"/>
                    </a:cubicBezTo>
                    <a:lnTo>
                      <a:pt x="222" y="185"/>
                    </a:lnTo>
                    <a:close/>
                    <a:moveTo>
                      <a:pt x="236" y="193"/>
                    </a:moveTo>
                    <a:cubicBezTo>
                      <a:pt x="240" y="195"/>
                      <a:pt x="240" y="189"/>
                      <a:pt x="236" y="189"/>
                    </a:cubicBezTo>
                    <a:cubicBezTo>
                      <a:pt x="231" y="189"/>
                      <a:pt x="230" y="192"/>
                      <a:pt x="236" y="193"/>
                    </a:cubicBezTo>
                    <a:close/>
                    <a:moveTo>
                      <a:pt x="268" y="198"/>
                    </a:moveTo>
                    <a:cubicBezTo>
                      <a:pt x="262" y="200"/>
                      <a:pt x="262" y="200"/>
                      <a:pt x="262" y="200"/>
                    </a:cubicBezTo>
                    <a:cubicBezTo>
                      <a:pt x="255" y="191"/>
                      <a:pt x="255" y="191"/>
                      <a:pt x="255" y="191"/>
                    </a:cubicBezTo>
                    <a:cubicBezTo>
                      <a:pt x="252" y="198"/>
                      <a:pt x="252" y="198"/>
                      <a:pt x="252" y="198"/>
                    </a:cubicBezTo>
                    <a:cubicBezTo>
                      <a:pt x="260" y="206"/>
                      <a:pt x="260" y="206"/>
                      <a:pt x="260" y="206"/>
                    </a:cubicBezTo>
                    <a:lnTo>
                      <a:pt x="268" y="198"/>
                    </a:lnTo>
                    <a:close/>
                    <a:moveTo>
                      <a:pt x="350" y="220"/>
                    </a:moveTo>
                    <a:cubicBezTo>
                      <a:pt x="350" y="213"/>
                      <a:pt x="343" y="203"/>
                      <a:pt x="343" y="203"/>
                    </a:cubicBezTo>
                    <a:cubicBezTo>
                      <a:pt x="329" y="208"/>
                      <a:pt x="329" y="208"/>
                      <a:pt x="329" y="208"/>
                    </a:cubicBezTo>
                    <a:cubicBezTo>
                      <a:pt x="333" y="213"/>
                      <a:pt x="333" y="213"/>
                      <a:pt x="333" y="213"/>
                    </a:cubicBezTo>
                    <a:cubicBezTo>
                      <a:pt x="333" y="213"/>
                      <a:pt x="337" y="216"/>
                      <a:pt x="339" y="220"/>
                    </a:cubicBezTo>
                    <a:cubicBezTo>
                      <a:pt x="341" y="222"/>
                      <a:pt x="334" y="227"/>
                      <a:pt x="334" y="227"/>
                    </a:cubicBezTo>
                    <a:cubicBezTo>
                      <a:pt x="343" y="233"/>
                      <a:pt x="343" y="233"/>
                      <a:pt x="343" y="233"/>
                    </a:cubicBezTo>
                    <a:cubicBezTo>
                      <a:pt x="343" y="233"/>
                      <a:pt x="350" y="225"/>
                      <a:pt x="350" y="220"/>
                    </a:cubicBezTo>
                    <a:close/>
                    <a:moveTo>
                      <a:pt x="318" y="206"/>
                    </a:moveTo>
                    <a:cubicBezTo>
                      <a:pt x="315" y="207"/>
                      <a:pt x="315" y="207"/>
                      <a:pt x="315" y="207"/>
                    </a:cubicBezTo>
                    <a:cubicBezTo>
                      <a:pt x="317" y="213"/>
                      <a:pt x="317" y="213"/>
                      <a:pt x="317" y="213"/>
                    </a:cubicBezTo>
                    <a:cubicBezTo>
                      <a:pt x="319" y="211"/>
                      <a:pt x="319" y="211"/>
                      <a:pt x="319" y="211"/>
                    </a:cubicBezTo>
                    <a:lnTo>
                      <a:pt x="318" y="206"/>
                    </a:lnTo>
                    <a:close/>
                    <a:moveTo>
                      <a:pt x="355" y="207"/>
                    </a:moveTo>
                    <a:cubicBezTo>
                      <a:pt x="348" y="205"/>
                      <a:pt x="348" y="205"/>
                      <a:pt x="348" y="205"/>
                    </a:cubicBezTo>
                    <a:cubicBezTo>
                      <a:pt x="350" y="208"/>
                      <a:pt x="350" y="208"/>
                      <a:pt x="350" y="208"/>
                    </a:cubicBezTo>
                    <a:lnTo>
                      <a:pt x="355" y="207"/>
                    </a:lnTo>
                    <a:close/>
                    <a:moveTo>
                      <a:pt x="295" y="267"/>
                    </a:moveTo>
                    <a:cubicBezTo>
                      <a:pt x="292" y="263"/>
                      <a:pt x="292" y="263"/>
                      <a:pt x="292" y="263"/>
                    </a:cubicBezTo>
                    <a:cubicBezTo>
                      <a:pt x="294" y="262"/>
                      <a:pt x="294" y="262"/>
                      <a:pt x="294" y="262"/>
                    </a:cubicBezTo>
                    <a:cubicBezTo>
                      <a:pt x="290" y="255"/>
                      <a:pt x="290" y="255"/>
                      <a:pt x="290" y="255"/>
                    </a:cubicBezTo>
                    <a:cubicBezTo>
                      <a:pt x="286" y="255"/>
                      <a:pt x="286" y="255"/>
                      <a:pt x="286" y="255"/>
                    </a:cubicBezTo>
                    <a:cubicBezTo>
                      <a:pt x="282" y="249"/>
                      <a:pt x="282" y="249"/>
                      <a:pt x="282" y="249"/>
                    </a:cubicBezTo>
                    <a:cubicBezTo>
                      <a:pt x="276" y="257"/>
                      <a:pt x="276" y="257"/>
                      <a:pt x="276" y="257"/>
                    </a:cubicBezTo>
                    <a:cubicBezTo>
                      <a:pt x="292" y="271"/>
                      <a:pt x="292" y="271"/>
                      <a:pt x="292" y="271"/>
                    </a:cubicBezTo>
                    <a:lnTo>
                      <a:pt x="295" y="267"/>
                    </a:lnTo>
                    <a:close/>
                    <a:moveTo>
                      <a:pt x="295" y="273"/>
                    </a:moveTo>
                    <a:cubicBezTo>
                      <a:pt x="301" y="276"/>
                      <a:pt x="301" y="276"/>
                      <a:pt x="301" y="276"/>
                    </a:cubicBezTo>
                    <a:cubicBezTo>
                      <a:pt x="302" y="278"/>
                      <a:pt x="302" y="278"/>
                      <a:pt x="302" y="278"/>
                    </a:cubicBezTo>
                    <a:cubicBezTo>
                      <a:pt x="309" y="275"/>
                      <a:pt x="309" y="275"/>
                      <a:pt x="309" y="275"/>
                    </a:cubicBezTo>
                    <a:cubicBezTo>
                      <a:pt x="308" y="271"/>
                      <a:pt x="308" y="271"/>
                      <a:pt x="308" y="271"/>
                    </a:cubicBezTo>
                    <a:cubicBezTo>
                      <a:pt x="296" y="271"/>
                      <a:pt x="296" y="271"/>
                      <a:pt x="296" y="271"/>
                    </a:cubicBezTo>
                    <a:lnTo>
                      <a:pt x="295" y="273"/>
                    </a:lnTo>
                    <a:close/>
                    <a:moveTo>
                      <a:pt x="298" y="288"/>
                    </a:moveTo>
                    <a:cubicBezTo>
                      <a:pt x="293" y="282"/>
                      <a:pt x="293" y="282"/>
                      <a:pt x="293" y="282"/>
                    </a:cubicBezTo>
                    <a:cubicBezTo>
                      <a:pt x="291" y="282"/>
                      <a:pt x="291" y="282"/>
                      <a:pt x="291" y="282"/>
                    </a:cubicBezTo>
                    <a:cubicBezTo>
                      <a:pt x="291" y="290"/>
                      <a:pt x="291" y="290"/>
                      <a:pt x="291" y="290"/>
                    </a:cubicBezTo>
                    <a:lnTo>
                      <a:pt x="298" y="288"/>
                    </a:lnTo>
                    <a:close/>
                    <a:moveTo>
                      <a:pt x="284" y="273"/>
                    </a:moveTo>
                    <a:cubicBezTo>
                      <a:pt x="278" y="278"/>
                      <a:pt x="278" y="278"/>
                      <a:pt x="278" y="278"/>
                    </a:cubicBezTo>
                    <a:cubicBezTo>
                      <a:pt x="285" y="279"/>
                      <a:pt x="285" y="279"/>
                      <a:pt x="285" y="279"/>
                    </a:cubicBezTo>
                    <a:lnTo>
                      <a:pt x="284" y="273"/>
                    </a:lnTo>
                    <a:close/>
                    <a:moveTo>
                      <a:pt x="315" y="278"/>
                    </a:moveTo>
                    <a:cubicBezTo>
                      <a:pt x="311" y="283"/>
                      <a:pt x="311" y="283"/>
                      <a:pt x="311" y="283"/>
                    </a:cubicBezTo>
                    <a:cubicBezTo>
                      <a:pt x="316" y="283"/>
                      <a:pt x="316" y="283"/>
                      <a:pt x="316" y="283"/>
                    </a:cubicBezTo>
                    <a:cubicBezTo>
                      <a:pt x="322" y="278"/>
                      <a:pt x="322" y="278"/>
                      <a:pt x="322" y="278"/>
                    </a:cubicBezTo>
                    <a:lnTo>
                      <a:pt x="315" y="278"/>
                    </a:lnTo>
                    <a:close/>
                    <a:moveTo>
                      <a:pt x="322" y="310"/>
                    </a:moveTo>
                    <a:cubicBezTo>
                      <a:pt x="324" y="314"/>
                      <a:pt x="327" y="316"/>
                      <a:pt x="327" y="316"/>
                    </a:cubicBezTo>
                    <a:cubicBezTo>
                      <a:pt x="333" y="307"/>
                      <a:pt x="333" y="307"/>
                      <a:pt x="333" y="307"/>
                    </a:cubicBezTo>
                    <a:cubicBezTo>
                      <a:pt x="335" y="300"/>
                      <a:pt x="335" y="300"/>
                      <a:pt x="335" y="300"/>
                    </a:cubicBezTo>
                    <a:cubicBezTo>
                      <a:pt x="326" y="295"/>
                      <a:pt x="326" y="295"/>
                      <a:pt x="326" y="295"/>
                    </a:cubicBezTo>
                    <a:cubicBezTo>
                      <a:pt x="320" y="305"/>
                      <a:pt x="320" y="305"/>
                      <a:pt x="320" y="305"/>
                    </a:cubicBezTo>
                    <a:cubicBezTo>
                      <a:pt x="320" y="305"/>
                      <a:pt x="319" y="307"/>
                      <a:pt x="322" y="310"/>
                    </a:cubicBezTo>
                    <a:close/>
                    <a:moveTo>
                      <a:pt x="310" y="303"/>
                    </a:moveTo>
                    <a:cubicBezTo>
                      <a:pt x="310" y="303"/>
                      <a:pt x="308" y="305"/>
                      <a:pt x="308" y="307"/>
                    </a:cubicBezTo>
                    <a:cubicBezTo>
                      <a:pt x="307" y="310"/>
                      <a:pt x="310" y="316"/>
                      <a:pt x="312" y="314"/>
                    </a:cubicBezTo>
                    <a:cubicBezTo>
                      <a:pt x="316" y="310"/>
                      <a:pt x="317" y="303"/>
                      <a:pt x="317" y="303"/>
                    </a:cubicBezTo>
                    <a:lnTo>
                      <a:pt x="310" y="303"/>
                    </a:lnTo>
                    <a:close/>
                    <a:moveTo>
                      <a:pt x="306" y="309"/>
                    </a:moveTo>
                    <a:cubicBezTo>
                      <a:pt x="302" y="315"/>
                      <a:pt x="302" y="315"/>
                      <a:pt x="302" y="315"/>
                    </a:cubicBezTo>
                    <a:cubicBezTo>
                      <a:pt x="307" y="316"/>
                      <a:pt x="307" y="316"/>
                      <a:pt x="307" y="316"/>
                    </a:cubicBezTo>
                    <a:lnTo>
                      <a:pt x="306" y="309"/>
                    </a:lnTo>
                    <a:close/>
                    <a:moveTo>
                      <a:pt x="290" y="320"/>
                    </a:moveTo>
                    <a:cubicBezTo>
                      <a:pt x="290" y="320"/>
                      <a:pt x="290" y="318"/>
                      <a:pt x="288" y="316"/>
                    </a:cubicBezTo>
                    <a:cubicBezTo>
                      <a:pt x="285" y="314"/>
                      <a:pt x="283" y="316"/>
                      <a:pt x="283" y="316"/>
                    </a:cubicBezTo>
                    <a:cubicBezTo>
                      <a:pt x="288" y="323"/>
                      <a:pt x="288" y="323"/>
                      <a:pt x="288" y="323"/>
                    </a:cubicBezTo>
                    <a:lnTo>
                      <a:pt x="290" y="320"/>
                    </a:lnTo>
                    <a:close/>
                    <a:moveTo>
                      <a:pt x="271" y="311"/>
                    </a:moveTo>
                    <a:cubicBezTo>
                      <a:pt x="274" y="311"/>
                      <a:pt x="274" y="311"/>
                      <a:pt x="274" y="311"/>
                    </a:cubicBezTo>
                    <a:cubicBezTo>
                      <a:pt x="277" y="307"/>
                      <a:pt x="277" y="307"/>
                      <a:pt x="277" y="307"/>
                    </a:cubicBezTo>
                    <a:cubicBezTo>
                      <a:pt x="275" y="304"/>
                      <a:pt x="275" y="304"/>
                      <a:pt x="275" y="304"/>
                    </a:cubicBezTo>
                    <a:cubicBezTo>
                      <a:pt x="272" y="306"/>
                      <a:pt x="272" y="306"/>
                      <a:pt x="272" y="306"/>
                    </a:cubicBezTo>
                    <a:lnTo>
                      <a:pt x="271" y="311"/>
                    </a:lnTo>
                    <a:close/>
                    <a:moveTo>
                      <a:pt x="270" y="294"/>
                    </a:moveTo>
                    <a:cubicBezTo>
                      <a:pt x="271" y="290"/>
                      <a:pt x="270" y="288"/>
                      <a:pt x="270" y="288"/>
                    </a:cubicBezTo>
                    <a:cubicBezTo>
                      <a:pt x="266" y="290"/>
                      <a:pt x="266" y="290"/>
                      <a:pt x="266" y="290"/>
                    </a:cubicBezTo>
                    <a:cubicBezTo>
                      <a:pt x="266" y="296"/>
                      <a:pt x="266" y="296"/>
                      <a:pt x="266" y="296"/>
                    </a:cubicBezTo>
                    <a:cubicBezTo>
                      <a:pt x="267" y="301"/>
                      <a:pt x="267" y="301"/>
                      <a:pt x="267" y="301"/>
                    </a:cubicBezTo>
                    <a:cubicBezTo>
                      <a:pt x="267" y="301"/>
                      <a:pt x="270" y="300"/>
                      <a:pt x="270" y="294"/>
                    </a:cubicBezTo>
                    <a:close/>
                    <a:moveTo>
                      <a:pt x="260" y="275"/>
                    </a:moveTo>
                    <a:cubicBezTo>
                      <a:pt x="259" y="287"/>
                      <a:pt x="259" y="287"/>
                      <a:pt x="259" y="287"/>
                    </a:cubicBezTo>
                    <a:cubicBezTo>
                      <a:pt x="267" y="276"/>
                      <a:pt x="267" y="276"/>
                      <a:pt x="267" y="276"/>
                    </a:cubicBezTo>
                    <a:lnTo>
                      <a:pt x="260" y="275"/>
                    </a:lnTo>
                    <a:close/>
                    <a:moveTo>
                      <a:pt x="366" y="261"/>
                    </a:moveTo>
                    <a:cubicBezTo>
                      <a:pt x="367" y="258"/>
                      <a:pt x="367" y="258"/>
                      <a:pt x="367" y="258"/>
                    </a:cubicBezTo>
                    <a:cubicBezTo>
                      <a:pt x="359" y="262"/>
                      <a:pt x="359" y="262"/>
                      <a:pt x="359" y="262"/>
                    </a:cubicBezTo>
                    <a:cubicBezTo>
                      <a:pt x="359" y="262"/>
                      <a:pt x="356" y="257"/>
                      <a:pt x="352" y="262"/>
                    </a:cubicBezTo>
                    <a:cubicBezTo>
                      <a:pt x="348" y="269"/>
                      <a:pt x="351" y="274"/>
                      <a:pt x="351" y="274"/>
                    </a:cubicBezTo>
                    <a:cubicBezTo>
                      <a:pt x="358" y="269"/>
                      <a:pt x="358" y="269"/>
                      <a:pt x="358" y="269"/>
                    </a:cubicBezTo>
                    <a:cubicBezTo>
                      <a:pt x="362" y="269"/>
                      <a:pt x="362" y="269"/>
                      <a:pt x="362" y="269"/>
                    </a:cubicBezTo>
                    <a:lnTo>
                      <a:pt x="366" y="261"/>
                    </a:lnTo>
                    <a:close/>
                    <a:moveTo>
                      <a:pt x="381" y="255"/>
                    </a:moveTo>
                    <a:cubicBezTo>
                      <a:pt x="384" y="253"/>
                      <a:pt x="384" y="253"/>
                      <a:pt x="384" y="253"/>
                    </a:cubicBezTo>
                    <a:cubicBezTo>
                      <a:pt x="384" y="253"/>
                      <a:pt x="390" y="258"/>
                      <a:pt x="393" y="257"/>
                    </a:cubicBezTo>
                    <a:cubicBezTo>
                      <a:pt x="396" y="256"/>
                      <a:pt x="401" y="249"/>
                      <a:pt x="401" y="249"/>
                    </a:cubicBezTo>
                    <a:cubicBezTo>
                      <a:pt x="402" y="244"/>
                      <a:pt x="402" y="244"/>
                      <a:pt x="402" y="244"/>
                    </a:cubicBezTo>
                    <a:cubicBezTo>
                      <a:pt x="398" y="244"/>
                      <a:pt x="398" y="244"/>
                      <a:pt x="398" y="244"/>
                    </a:cubicBezTo>
                    <a:cubicBezTo>
                      <a:pt x="398" y="246"/>
                      <a:pt x="398" y="246"/>
                      <a:pt x="398" y="246"/>
                    </a:cubicBezTo>
                    <a:cubicBezTo>
                      <a:pt x="398" y="246"/>
                      <a:pt x="393" y="242"/>
                      <a:pt x="387" y="245"/>
                    </a:cubicBezTo>
                    <a:cubicBezTo>
                      <a:pt x="381" y="248"/>
                      <a:pt x="376" y="252"/>
                      <a:pt x="376" y="252"/>
                    </a:cubicBezTo>
                    <a:cubicBezTo>
                      <a:pt x="377" y="257"/>
                      <a:pt x="377" y="257"/>
                      <a:pt x="377" y="257"/>
                    </a:cubicBezTo>
                    <a:lnTo>
                      <a:pt x="381" y="255"/>
                    </a:lnTo>
                    <a:close/>
                    <a:moveTo>
                      <a:pt x="373" y="258"/>
                    </a:moveTo>
                    <a:cubicBezTo>
                      <a:pt x="370" y="263"/>
                      <a:pt x="370" y="263"/>
                      <a:pt x="370" y="263"/>
                    </a:cubicBezTo>
                    <a:cubicBezTo>
                      <a:pt x="376" y="264"/>
                      <a:pt x="376" y="264"/>
                      <a:pt x="376" y="264"/>
                    </a:cubicBezTo>
                    <a:lnTo>
                      <a:pt x="373" y="258"/>
                    </a:lnTo>
                    <a:close/>
                    <a:moveTo>
                      <a:pt x="377" y="276"/>
                    </a:moveTo>
                    <a:cubicBezTo>
                      <a:pt x="382" y="284"/>
                      <a:pt x="382" y="284"/>
                      <a:pt x="382" y="284"/>
                    </a:cubicBezTo>
                    <a:cubicBezTo>
                      <a:pt x="382" y="274"/>
                      <a:pt x="382" y="274"/>
                      <a:pt x="382" y="274"/>
                    </a:cubicBezTo>
                    <a:lnTo>
                      <a:pt x="377" y="276"/>
                    </a:lnTo>
                    <a:close/>
                    <a:moveTo>
                      <a:pt x="398" y="264"/>
                    </a:moveTo>
                    <a:cubicBezTo>
                      <a:pt x="402" y="269"/>
                      <a:pt x="402" y="269"/>
                      <a:pt x="402" y="269"/>
                    </a:cubicBezTo>
                    <a:cubicBezTo>
                      <a:pt x="405" y="267"/>
                      <a:pt x="405" y="267"/>
                      <a:pt x="405" y="267"/>
                    </a:cubicBezTo>
                    <a:lnTo>
                      <a:pt x="398" y="264"/>
                    </a:lnTo>
                    <a:close/>
                    <a:moveTo>
                      <a:pt x="387" y="278"/>
                    </a:moveTo>
                    <a:cubicBezTo>
                      <a:pt x="393" y="278"/>
                      <a:pt x="393" y="278"/>
                      <a:pt x="393" y="278"/>
                    </a:cubicBezTo>
                    <a:cubicBezTo>
                      <a:pt x="396" y="276"/>
                      <a:pt x="396" y="276"/>
                      <a:pt x="396" y="276"/>
                    </a:cubicBezTo>
                    <a:cubicBezTo>
                      <a:pt x="387" y="276"/>
                      <a:pt x="387" y="276"/>
                      <a:pt x="387" y="276"/>
                    </a:cubicBezTo>
                    <a:lnTo>
                      <a:pt x="387" y="278"/>
                    </a:lnTo>
                    <a:close/>
                    <a:moveTo>
                      <a:pt x="393" y="285"/>
                    </a:moveTo>
                    <a:cubicBezTo>
                      <a:pt x="398" y="290"/>
                      <a:pt x="398" y="290"/>
                      <a:pt x="398" y="290"/>
                    </a:cubicBezTo>
                    <a:cubicBezTo>
                      <a:pt x="402" y="289"/>
                      <a:pt x="402" y="289"/>
                      <a:pt x="402" y="289"/>
                    </a:cubicBezTo>
                    <a:cubicBezTo>
                      <a:pt x="398" y="284"/>
                      <a:pt x="398" y="284"/>
                      <a:pt x="398" y="284"/>
                    </a:cubicBezTo>
                    <a:lnTo>
                      <a:pt x="393" y="285"/>
                    </a:lnTo>
                    <a:close/>
                    <a:moveTo>
                      <a:pt x="410" y="292"/>
                    </a:moveTo>
                    <a:cubicBezTo>
                      <a:pt x="403" y="292"/>
                      <a:pt x="403" y="292"/>
                      <a:pt x="403" y="292"/>
                    </a:cubicBezTo>
                    <a:cubicBezTo>
                      <a:pt x="405" y="300"/>
                      <a:pt x="405" y="300"/>
                      <a:pt x="405" y="300"/>
                    </a:cubicBezTo>
                    <a:cubicBezTo>
                      <a:pt x="413" y="299"/>
                      <a:pt x="413" y="299"/>
                      <a:pt x="413" y="299"/>
                    </a:cubicBezTo>
                    <a:lnTo>
                      <a:pt x="410" y="292"/>
                    </a:lnTo>
                    <a:close/>
                    <a:moveTo>
                      <a:pt x="430" y="301"/>
                    </a:moveTo>
                    <a:cubicBezTo>
                      <a:pt x="421" y="296"/>
                      <a:pt x="421" y="296"/>
                      <a:pt x="421" y="296"/>
                    </a:cubicBezTo>
                    <a:cubicBezTo>
                      <a:pt x="406" y="314"/>
                      <a:pt x="406" y="314"/>
                      <a:pt x="406" y="314"/>
                    </a:cubicBezTo>
                    <a:cubicBezTo>
                      <a:pt x="409" y="317"/>
                      <a:pt x="409" y="317"/>
                      <a:pt x="409" y="317"/>
                    </a:cubicBezTo>
                    <a:cubicBezTo>
                      <a:pt x="411" y="312"/>
                      <a:pt x="411" y="312"/>
                      <a:pt x="411" y="312"/>
                    </a:cubicBezTo>
                    <a:cubicBezTo>
                      <a:pt x="418" y="311"/>
                      <a:pt x="418" y="311"/>
                      <a:pt x="418" y="311"/>
                    </a:cubicBezTo>
                    <a:cubicBezTo>
                      <a:pt x="421" y="306"/>
                      <a:pt x="421" y="306"/>
                      <a:pt x="421" y="306"/>
                    </a:cubicBezTo>
                    <a:lnTo>
                      <a:pt x="430" y="301"/>
                    </a:lnTo>
                    <a:close/>
                    <a:moveTo>
                      <a:pt x="328" y="330"/>
                    </a:moveTo>
                    <a:cubicBezTo>
                      <a:pt x="319" y="322"/>
                      <a:pt x="319" y="322"/>
                      <a:pt x="319" y="322"/>
                    </a:cubicBezTo>
                    <a:cubicBezTo>
                      <a:pt x="319" y="329"/>
                      <a:pt x="319" y="329"/>
                      <a:pt x="319" y="329"/>
                    </a:cubicBezTo>
                    <a:cubicBezTo>
                      <a:pt x="326" y="333"/>
                      <a:pt x="326" y="333"/>
                      <a:pt x="326" y="333"/>
                    </a:cubicBezTo>
                    <a:lnTo>
                      <a:pt x="328" y="330"/>
                    </a:lnTo>
                    <a:close/>
                    <a:moveTo>
                      <a:pt x="354" y="306"/>
                    </a:moveTo>
                    <a:cubicBezTo>
                      <a:pt x="344" y="321"/>
                      <a:pt x="344" y="321"/>
                      <a:pt x="344" y="321"/>
                    </a:cubicBezTo>
                    <a:cubicBezTo>
                      <a:pt x="352" y="319"/>
                      <a:pt x="352" y="319"/>
                      <a:pt x="352" y="319"/>
                    </a:cubicBezTo>
                    <a:cubicBezTo>
                      <a:pt x="355" y="311"/>
                      <a:pt x="355" y="311"/>
                      <a:pt x="355" y="311"/>
                    </a:cubicBezTo>
                    <a:cubicBezTo>
                      <a:pt x="360" y="308"/>
                      <a:pt x="360" y="308"/>
                      <a:pt x="360" y="308"/>
                    </a:cubicBezTo>
                    <a:lnTo>
                      <a:pt x="354" y="306"/>
                    </a:lnTo>
                    <a:close/>
                    <a:moveTo>
                      <a:pt x="378" y="333"/>
                    </a:moveTo>
                    <a:cubicBezTo>
                      <a:pt x="386" y="323"/>
                      <a:pt x="386" y="323"/>
                      <a:pt x="386" y="323"/>
                    </a:cubicBezTo>
                    <a:cubicBezTo>
                      <a:pt x="383" y="321"/>
                      <a:pt x="383" y="321"/>
                      <a:pt x="383" y="321"/>
                    </a:cubicBezTo>
                    <a:cubicBezTo>
                      <a:pt x="375" y="326"/>
                      <a:pt x="375" y="326"/>
                      <a:pt x="375" y="326"/>
                    </a:cubicBezTo>
                    <a:lnTo>
                      <a:pt x="378" y="333"/>
                    </a:lnTo>
                    <a:close/>
                    <a:moveTo>
                      <a:pt x="231" y="176"/>
                    </a:moveTo>
                    <a:cubicBezTo>
                      <a:pt x="233" y="170"/>
                      <a:pt x="233" y="170"/>
                      <a:pt x="233" y="170"/>
                    </a:cubicBezTo>
                    <a:cubicBezTo>
                      <a:pt x="228" y="175"/>
                      <a:pt x="228" y="175"/>
                      <a:pt x="228" y="175"/>
                    </a:cubicBezTo>
                    <a:lnTo>
                      <a:pt x="231" y="176"/>
                    </a:lnTo>
                    <a:close/>
                    <a:moveTo>
                      <a:pt x="211" y="268"/>
                    </a:moveTo>
                    <a:cubicBezTo>
                      <a:pt x="213" y="272"/>
                      <a:pt x="213" y="272"/>
                      <a:pt x="213" y="272"/>
                    </a:cubicBezTo>
                    <a:cubicBezTo>
                      <a:pt x="218" y="269"/>
                      <a:pt x="218" y="269"/>
                      <a:pt x="218" y="269"/>
                    </a:cubicBezTo>
                    <a:cubicBezTo>
                      <a:pt x="216" y="263"/>
                      <a:pt x="216" y="263"/>
                      <a:pt x="216" y="263"/>
                    </a:cubicBezTo>
                    <a:lnTo>
                      <a:pt x="211" y="268"/>
                    </a:lnTo>
                    <a:close/>
                    <a:moveTo>
                      <a:pt x="222" y="278"/>
                    </a:moveTo>
                    <a:cubicBezTo>
                      <a:pt x="213" y="278"/>
                      <a:pt x="213" y="278"/>
                      <a:pt x="213" y="278"/>
                    </a:cubicBezTo>
                    <a:cubicBezTo>
                      <a:pt x="217" y="286"/>
                      <a:pt x="217" y="286"/>
                      <a:pt x="217" y="286"/>
                    </a:cubicBezTo>
                    <a:lnTo>
                      <a:pt x="222" y="278"/>
                    </a:lnTo>
                    <a:close/>
                    <a:moveTo>
                      <a:pt x="200" y="382"/>
                    </a:moveTo>
                    <a:cubicBezTo>
                      <a:pt x="209" y="386"/>
                      <a:pt x="209" y="386"/>
                      <a:pt x="209" y="386"/>
                    </a:cubicBezTo>
                    <a:cubicBezTo>
                      <a:pt x="210" y="379"/>
                      <a:pt x="210" y="379"/>
                      <a:pt x="210" y="379"/>
                    </a:cubicBezTo>
                    <a:cubicBezTo>
                      <a:pt x="201" y="372"/>
                      <a:pt x="201" y="372"/>
                      <a:pt x="201" y="372"/>
                    </a:cubicBezTo>
                    <a:lnTo>
                      <a:pt x="200" y="382"/>
                    </a:lnTo>
                    <a:close/>
                    <a:moveTo>
                      <a:pt x="283" y="333"/>
                    </a:moveTo>
                    <a:cubicBezTo>
                      <a:pt x="276" y="332"/>
                      <a:pt x="276" y="332"/>
                      <a:pt x="276" y="332"/>
                    </a:cubicBezTo>
                    <a:cubicBezTo>
                      <a:pt x="276" y="337"/>
                      <a:pt x="276" y="337"/>
                      <a:pt x="276" y="337"/>
                    </a:cubicBezTo>
                    <a:cubicBezTo>
                      <a:pt x="273" y="334"/>
                      <a:pt x="273" y="334"/>
                      <a:pt x="273" y="334"/>
                    </a:cubicBezTo>
                    <a:cubicBezTo>
                      <a:pt x="270" y="335"/>
                      <a:pt x="270" y="335"/>
                      <a:pt x="270" y="335"/>
                    </a:cubicBezTo>
                    <a:cubicBezTo>
                      <a:pt x="269" y="345"/>
                      <a:pt x="269" y="345"/>
                      <a:pt x="269" y="345"/>
                    </a:cubicBezTo>
                    <a:cubicBezTo>
                      <a:pt x="283" y="341"/>
                      <a:pt x="283" y="341"/>
                      <a:pt x="283" y="341"/>
                    </a:cubicBezTo>
                    <a:lnTo>
                      <a:pt x="283" y="333"/>
                    </a:lnTo>
                    <a:close/>
                    <a:moveTo>
                      <a:pt x="263" y="327"/>
                    </a:moveTo>
                    <a:cubicBezTo>
                      <a:pt x="259" y="331"/>
                      <a:pt x="259" y="331"/>
                      <a:pt x="259" y="331"/>
                    </a:cubicBezTo>
                    <a:cubicBezTo>
                      <a:pt x="266" y="335"/>
                      <a:pt x="266" y="335"/>
                      <a:pt x="266" y="335"/>
                    </a:cubicBezTo>
                    <a:lnTo>
                      <a:pt x="263" y="327"/>
                    </a:lnTo>
                    <a:close/>
                    <a:moveTo>
                      <a:pt x="311" y="327"/>
                    </a:moveTo>
                    <a:cubicBezTo>
                      <a:pt x="305" y="337"/>
                      <a:pt x="305" y="337"/>
                      <a:pt x="305" y="337"/>
                    </a:cubicBezTo>
                    <a:cubicBezTo>
                      <a:pt x="316" y="332"/>
                      <a:pt x="316" y="332"/>
                      <a:pt x="316" y="332"/>
                    </a:cubicBezTo>
                    <a:lnTo>
                      <a:pt x="311" y="327"/>
                    </a:lnTo>
                    <a:close/>
                    <a:moveTo>
                      <a:pt x="337" y="350"/>
                    </a:moveTo>
                    <a:cubicBezTo>
                      <a:pt x="331" y="340"/>
                      <a:pt x="331" y="340"/>
                      <a:pt x="331" y="340"/>
                    </a:cubicBezTo>
                    <a:cubicBezTo>
                      <a:pt x="325" y="343"/>
                      <a:pt x="325" y="343"/>
                      <a:pt x="325" y="343"/>
                    </a:cubicBezTo>
                    <a:cubicBezTo>
                      <a:pt x="329" y="352"/>
                      <a:pt x="329" y="352"/>
                      <a:pt x="329" y="352"/>
                    </a:cubicBezTo>
                    <a:lnTo>
                      <a:pt x="337" y="350"/>
                    </a:lnTo>
                    <a:close/>
                    <a:moveTo>
                      <a:pt x="349" y="349"/>
                    </a:moveTo>
                    <a:cubicBezTo>
                      <a:pt x="356" y="346"/>
                      <a:pt x="356" y="346"/>
                      <a:pt x="356" y="346"/>
                    </a:cubicBezTo>
                    <a:cubicBezTo>
                      <a:pt x="351" y="341"/>
                      <a:pt x="351" y="341"/>
                      <a:pt x="351" y="341"/>
                    </a:cubicBezTo>
                    <a:lnTo>
                      <a:pt x="349" y="349"/>
                    </a:lnTo>
                    <a:close/>
                    <a:moveTo>
                      <a:pt x="304" y="339"/>
                    </a:moveTo>
                    <a:cubicBezTo>
                      <a:pt x="298" y="335"/>
                      <a:pt x="298" y="335"/>
                      <a:pt x="298" y="335"/>
                    </a:cubicBezTo>
                    <a:cubicBezTo>
                      <a:pt x="296" y="337"/>
                      <a:pt x="296" y="337"/>
                      <a:pt x="296" y="337"/>
                    </a:cubicBezTo>
                    <a:cubicBezTo>
                      <a:pt x="303" y="342"/>
                      <a:pt x="303" y="342"/>
                      <a:pt x="303" y="342"/>
                    </a:cubicBezTo>
                    <a:lnTo>
                      <a:pt x="304" y="339"/>
                    </a:lnTo>
                    <a:close/>
                    <a:moveTo>
                      <a:pt x="63" y="291"/>
                    </a:moveTo>
                    <a:cubicBezTo>
                      <a:pt x="67" y="300"/>
                      <a:pt x="67" y="300"/>
                      <a:pt x="67" y="300"/>
                    </a:cubicBezTo>
                    <a:cubicBezTo>
                      <a:pt x="80" y="306"/>
                      <a:pt x="80" y="306"/>
                      <a:pt x="80" y="306"/>
                    </a:cubicBezTo>
                    <a:cubicBezTo>
                      <a:pt x="80" y="300"/>
                      <a:pt x="80" y="300"/>
                      <a:pt x="80" y="300"/>
                    </a:cubicBezTo>
                    <a:cubicBezTo>
                      <a:pt x="86" y="296"/>
                      <a:pt x="86" y="296"/>
                      <a:pt x="86" y="296"/>
                    </a:cubicBezTo>
                    <a:cubicBezTo>
                      <a:pt x="69" y="287"/>
                      <a:pt x="69" y="287"/>
                      <a:pt x="69" y="287"/>
                    </a:cubicBezTo>
                    <a:lnTo>
                      <a:pt x="63" y="291"/>
                    </a:lnTo>
                    <a:close/>
                    <a:moveTo>
                      <a:pt x="43" y="268"/>
                    </a:moveTo>
                    <a:cubicBezTo>
                      <a:pt x="44" y="273"/>
                      <a:pt x="44" y="273"/>
                      <a:pt x="44" y="273"/>
                    </a:cubicBezTo>
                    <a:cubicBezTo>
                      <a:pt x="47" y="274"/>
                      <a:pt x="47" y="274"/>
                      <a:pt x="47" y="274"/>
                    </a:cubicBezTo>
                    <a:cubicBezTo>
                      <a:pt x="48" y="263"/>
                      <a:pt x="48" y="263"/>
                      <a:pt x="48" y="263"/>
                    </a:cubicBezTo>
                    <a:cubicBezTo>
                      <a:pt x="47" y="260"/>
                      <a:pt x="47" y="260"/>
                      <a:pt x="47" y="260"/>
                    </a:cubicBezTo>
                    <a:lnTo>
                      <a:pt x="43" y="268"/>
                    </a:lnTo>
                    <a:close/>
                    <a:moveTo>
                      <a:pt x="69" y="279"/>
                    </a:moveTo>
                    <a:cubicBezTo>
                      <a:pt x="72" y="277"/>
                      <a:pt x="71" y="272"/>
                      <a:pt x="66" y="267"/>
                    </a:cubicBezTo>
                    <a:cubicBezTo>
                      <a:pt x="62" y="261"/>
                      <a:pt x="57" y="254"/>
                      <a:pt x="57" y="254"/>
                    </a:cubicBezTo>
                    <a:cubicBezTo>
                      <a:pt x="55" y="255"/>
                      <a:pt x="55" y="255"/>
                      <a:pt x="55" y="255"/>
                    </a:cubicBezTo>
                    <a:cubicBezTo>
                      <a:pt x="55" y="260"/>
                      <a:pt x="55" y="260"/>
                      <a:pt x="55" y="260"/>
                    </a:cubicBezTo>
                    <a:cubicBezTo>
                      <a:pt x="51" y="262"/>
                      <a:pt x="51" y="262"/>
                      <a:pt x="51" y="262"/>
                    </a:cubicBezTo>
                    <a:cubicBezTo>
                      <a:pt x="51" y="262"/>
                      <a:pt x="49" y="277"/>
                      <a:pt x="55" y="277"/>
                    </a:cubicBezTo>
                    <a:cubicBezTo>
                      <a:pt x="59" y="277"/>
                      <a:pt x="64" y="276"/>
                      <a:pt x="64" y="276"/>
                    </a:cubicBezTo>
                    <a:cubicBezTo>
                      <a:pt x="64" y="276"/>
                      <a:pt x="64" y="280"/>
                      <a:pt x="69" y="279"/>
                    </a:cubicBezTo>
                    <a:close/>
                    <a:moveTo>
                      <a:pt x="67" y="263"/>
                    </a:moveTo>
                    <a:cubicBezTo>
                      <a:pt x="71" y="264"/>
                      <a:pt x="74" y="267"/>
                      <a:pt x="74" y="267"/>
                    </a:cubicBezTo>
                    <a:cubicBezTo>
                      <a:pt x="74" y="267"/>
                      <a:pt x="76" y="264"/>
                      <a:pt x="72" y="260"/>
                    </a:cubicBezTo>
                    <a:cubicBezTo>
                      <a:pt x="69" y="257"/>
                      <a:pt x="66" y="251"/>
                      <a:pt x="66" y="251"/>
                    </a:cubicBezTo>
                    <a:cubicBezTo>
                      <a:pt x="62" y="252"/>
                      <a:pt x="62" y="252"/>
                      <a:pt x="62" y="252"/>
                    </a:cubicBezTo>
                    <a:cubicBezTo>
                      <a:pt x="62" y="252"/>
                      <a:pt x="64" y="261"/>
                      <a:pt x="67" y="263"/>
                    </a:cubicBezTo>
                    <a:close/>
                    <a:moveTo>
                      <a:pt x="18" y="190"/>
                    </a:moveTo>
                    <a:cubicBezTo>
                      <a:pt x="16" y="185"/>
                      <a:pt x="18" y="183"/>
                      <a:pt x="18" y="183"/>
                    </a:cubicBezTo>
                    <a:cubicBezTo>
                      <a:pt x="12" y="179"/>
                      <a:pt x="12" y="179"/>
                      <a:pt x="12" y="179"/>
                    </a:cubicBezTo>
                    <a:cubicBezTo>
                      <a:pt x="12" y="179"/>
                      <a:pt x="16" y="180"/>
                      <a:pt x="16" y="177"/>
                    </a:cubicBezTo>
                    <a:cubicBezTo>
                      <a:pt x="16" y="173"/>
                      <a:pt x="12" y="169"/>
                      <a:pt x="6" y="173"/>
                    </a:cubicBezTo>
                    <a:cubicBezTo>
                      <a:pt x="0" y="176"/>
                      <a:pt x="0" y="181"/>
                      <a:pt x="5" y="183"/>
                    </a:cubicBezTo>
                    <a:cubicBezTo>
                      <a:pt x="8" y="185"/>
                      <a:pt x="12" y="189"/>
                      <a:pt x="12" y="189"/>
                    </a:cubicBezTo>
                    <a:cubicBezTo>
                      <a:pt x="12" y="189"/>
                      <a:pt x="10" y="193"/>
                      <a:pt x="14" y="195"/>
                    </a:cubicBezTo>
                    <a:cubicBezTo>
                      <a:pt x="29" y="199"/>
                      <a:pt x="29" y="199"/>
                      <a:pt x="29" y="199"/>
                    </a:cubicBezTo>
                    <a:cubicBezTo>
                      <a:pt x="25" y="193"/>
                      <a:pt x="25" y="193"/>
                      <a:pt x="25" y="193"/>
                    </a:cubicBezTo>
                    <a:cubicBezTo>
                      <a:pt x="25" y="193"/>
                      <a:pt x="21" y="194"/>
                      <a:pt x="18" y="190"/>
                    </a:cubicBezTo>
                    <a:close/>
                    <a:moveTo>
                      <a:pt x="392" y="415"/>
                    </a:moveTo>
                    <a:cubicBezTo>
                      <a:pt x="392" y="415"/>
                      <a:pt x="393" y="410"/>
                      <a:pt x="392" y="409"/>
                    </a:cubicBezTo>
                    <a:cubicBezTo>
                      <a:pt x="390" y="409"/>
                      <a:pt x="385" y="418"/>
                      <a:pt x="385" y="418"/>
                    </a:cubicBezTo>
                    <a:cubicBezTo>
                      <a:pt x="385" y="418"/>
                      <a:pt x="383" y="416"/>
                      <a:pt x="382" y="416"/>
                    </a:cubicBezTo>
                    <a:cubicBezTo>
                      <a:pt x="380" y="416"/>
                      <a:pt x="372" y="421"/>
                      <a:pt x="372" y="421"/>
                    </a:cubicBezTo>
                    <a:cubicBezTo>
                      <a:pt x="370" y="422"/>
                      <a:pt x="370" y="422"/>
                      <a:pt x="370" y="422"/>
                    </a:cubicBezTo>
                    <a:cubicBezTo>
                      <a:pt x="370" y="422"/>
                      <a:pt x="369" y="426"/>
                      <a:pt x="366" y="426"/>
                    </a:cubicBezTo>
                    <a:cubicBezTo>
                      <a:pt x="362" y="427"/>
                      <a:pt x="362" y="418"/>
                      <a:pt x="362" y="418"/>
                    </a:cubicBezTo>
                    <a:cubicBezTo>
                      <a:pt x="362" y="418"/>
                      <a:pt x="367" y="413"/>
                      <a:pt x="360" y="413"/>
                    </a:cubicBezTo>
                    <a:cubicBezTo>
                      <a:pt x="353" y="413"/>
                      <a:pt x="349" y="418"/>
                      <a:pt x="347" y="418"/>
                    </a:cubicBezTo>
                    <a:cubicBezTo>
                      <a:pt x="345" y="419"/>
                      <a:pt x="345" y="416"/>
                      <a:pt x="342" y="416"/>
                    </a:cubicBezTo>
                    <a:cubicBezTo>
                      <a:pt x="338" y="416"/>
                      <a:pt x="324" y="420"/>
                      <a:pt x="324" y="420"/>
                    </a:cubicBezTo>
                    <a:cubicBezTo>
                      <a:pt x="321" y="414"/>
                      <a:pt x="321" y="414"/>
                      <a:pt x="321" y="414"/>
                    </a:cubicBezTo>
                    <a:cubicBezTo>
                      <a:pt x="318" y="414"/>
                      <a:pt x="318" y="414"/>
                      <a:pt x="318" y="414"/>
                    </a:cubicBezTo>
                    <a:cubicBezTo>
                      <a:pt x="317" y="416"/>
                      <a:pt x="317" y="416"/>
                      <a:pt x="317" y="416"/>
                    </a:cubicBezTo>
                    <a:cubicBezTo>
                      <a:pt x="317" y="416"/>
                      <a:pt x="309" y="415"/>
                      <a:pt x="305" y="417"/>
                    </a:cubicBezTo>
                    <a:cubicBezTo>
                      <a:pt x="301" y="418"/>
                      <a:pt x="296" y="421"/>
                      <a:pt x="294" y="424"/>
                    </a:cubicBezTo>
                    <a:cubicBezTo>
                      <a:pt x="292" y="425"/>
                      <a:pt x="282" y="424"/>
                      <a:pt x="282" y="424"/>
                    </a:cubicBezTo>
                    <a:cubicBezTo>
                      <a:pt x="284" y="421"/>
                      <a:pt x="284" y="421"/>
                      <a:pt x="284" y="421"/>
                    </a:cubicBezTo>
                    <a:cubicBezTo>
                      <a:pt x="280" y="418"/>
                      <a:pt x="280" y="418"/>
                      <a:pt x="280" y="418"/>
                    </a:cubicBezTo>
                    <a:cubicBezTo>
                      <a:pt x="277" y="421"/>
                      <a:pt x="277" y="421"/>
                      <a:pt x="277" y="421"/>
                    </a:cubicBezTo>
                    <a:cubicBezTo>
                      <a:pt x="277" y="421"/>
                      <a:pt x="272" y="422"/>
                      <a:pt x="272" y="419"/>
                    </a:cubicBezTo>
                    <a:cubicBezTo>
                      <a:pt x="272" y="415"/>
                      <a:pt x="283" y="422"/>
                      <a:pt x="276" y="414"/>
                    </a:cubicBezTo>
                    <a:cubicBezTo>
                      <a:pt x="271" y="405"/>
                      <a:pt x="268" y="417"/>
                      <a:pt x="268" y="417"/>
                    </a:cubicBezTo>
                    <a:cubicBezTo>
                      <a:pt x="268" y="417"/>
                      <a:pt x="263" y="417"/>
                      <a:pt x="260" y="418"/>
                    </a:cubicBezTo>
                    <a:cubicBezTo>
                      <a:pt x="258" y="419"/>
                      <a:pt x="254" y="418"/>
                      <a:pt x="254" y="418"/>
                    </a:cubicBezTo>
                    <a:cubicBezTo>
                      <a:pt x="254" y="418"/>
                      <a:pt x="253" y="408"/>
                      <a:pt x="250" y="409"/>
                    </a:cubicBezTo>
                    <a:cubicBezTo>
                      <a:pt x="245" y="411"/>
                      <a:pt x="252" y="420"/>
                      <a:pt x="247" y="421"/>
                    </a:cubicBezTo>
                    <a:cubicBezTo>
                      <a:pt x="244" y="422"/>
                      <a:pt x="244" y="414"/>
                      <a:pt x="244" y="414"/>
                    </a:cubicBezTo>
                    <a:cubicBezTo>
                      <a:pt x="242" y="413"/>
                      <a:pt x="242" y="413"/>
                      <a:pt x="242" y="413"/>
                    </a:cubicBezTo>
                    <a:cubicBezTo>
                      <a:pt x="242" y="413"/>
                      <a:pt x="241" y="425"/>
                      <a:pt x="240" y="428"/>
                    </a:cubicBezTo>
                    <a:cubicBezTo>
                      <a:pt x="238" y="432"/>
                      <a:pt x="240" y="435"/>
                      <a:pt x="243" y="440"/>
                    </a:cubicBezTo>
                    <a:cubicBezTo>
                      <a:pt x="246" y="443"/>
                      <a:pt x="258" y="437"/>
                      <a:pt x="260" y="437"/>
                    </a:cubicBezTo>
                    <a:cubicBezTo>
                      <a:pt x="263" y="437"/>
                      <a:pt x="269" y="440"/>
                      <a:pt x="273" y="440"/>
                    </a:cubicBezTo>
                    <a:cubicBezTo>
                      <a:pt x="277" y="440"/>
                      <a:pt x="287" y="436"/>
                      <a:pt x="287" y="436"/>
                    </a:cubicBezTo>
                    <a:cubicBezTo>
                      <a:pt x="298" y="438"/>
                      <a:pt x="298" y="438"/>
                      <a:pt x="298" y="438"/>
                    </a:cubicBezTo>
                    <a:cubicBezTo>
                      <a:pt x="298" y="438"/>
                      <a:pt x="303" y="436"/>
                      <a:pt x="309" y="441"/>
                    </a:cubicBezTo>
                    <a:cubicBezTo>
                      <a:pt x="316" y="444"/>
                      <a:pt x="309" y="450"/>
                      <a:pt x="309" y="450"/>
                    </a:cubicBezTo>
                    <a:cubicBezTo>
                      <a:pt x="310" y="452"/>
                      <a:pt x="310" y="452"/>
                      <a:pt x="310" y="452"/>
                    </a:cubicBezTo>
                    <a:cubicBezTo>
                      <a:pt x="310" y="452"/>
                      <a:pt x="318" y="448"/>
                      <a:pt x="323" y="447"/>
                    </a:cubicBezTo>
                    <a:cubicBezTo>
                      <a:pt x="328" y="446"/>
                      <a:pt x="340" y="442"/>
                      <a:pt x="344" y="440"/>
                    </a:cubicBezTo>
                    <a:cubicBezTo>
                      <a:pt x="348" y="437"/>
                      <a:pt x="360" y="435"/>
                      <a:pt x="360" y="435"/>
                    </a:cubicBezTo>
                    <a:cubicBezTo>
                      <a:pt x="367" y="436"/>
                      <a:pt x="367" y="436"/>
                      <a:pt x="367" y="436"/>
                    </a:cubicBezTo>
                    <a:cubicBezTo>
                      <a:pt x="373" y="431"/>
                      <a:pt x="373" y="431"/>
                      <a:pt x="373" y="431"/>
                    </a:cubicBezTo>
                    <a:cubicBezTo>
                      <a:pt x="373" y="431"/>
                      <a:pt x="384" y="431"/>
                      <a:pt x="389" y="429"/>
                    </a:cubicBezTo>
                    <a:cubicBezTo>
                      <a:pt x="394" y="428"/>
                      <a:pt x="394" y="416"/>
                      <a:pt x="394" y="416"/>
                    </a:cubicBezTo>
                    <a:lnTo>
                      <a:pt x="392" y="415"/>
                    </a:lnTo>
                    <a:close/>
                    <a:moveTo>
                      <a:pt x="482" y="322"/>
                    </a:moveTo>
                    <a:cubicBezTo>
                      <a:pt x="482" y="319"/>
                      <a:pt x="480" y="317"/>
                      <a:pt x="480" y="317"/>
                    </a:cubicBezTo>
                    <a:cubicBezTo>
                      <a:pt x="480" y="317"/>
                      <a:pt x="472" y="320"/>
                      <a:pt x="469" y="323"/>
                    </a:cubicBezTo>
                    <a:cubicBezTo>
                      <a:pt x="465" y="326"/>
                      <a:pt x="463" y="332"/>
                      <a:pt x="463" y="332"/>
                    </a:cubicBezTo>
                    <a:cubicBezTo>
                      <a:pt x="463" y="332"/>
                      <a:pt x="458" y="334"/>
                      <a:pt x="458" y="335"/>
                    </a:cubicBezTo>
                    <a:cubicBezTo>
                      <a:pt x="458" y="338"/>
                      <a:pt x="458" y="338"/>
                      <a:pt x="458" y="338"/>
                    </a:cubicBezTo>
                    <a:cubicBezTo>
                      <a:pt x="458" y="338"/>
                      <a:pt x="453" y="340"/>
                      <a:pt x="455" y="342"/>
                    </a:cubicBezTo>
                    <a:cubicBezTo>
                      <a:pt x="457" y="343"/>
                      <a:pt x="459" y="346"/>
                      <a:pt x="459" y="346"/>
                    </a:cubicBezTo>
                    <a:cubicBezTo>
                      <a:pt x="459" y="352"/>
                      <a:pt x="459" y="352"/>
                      <a:pt x="459" y="352"/>
                    </a:cubicBezTo>
                    <a:cubicBezTo>
                      <a:pt x="459" y="354"/>
                      <a:pt x="462" y="358"/>
                      <a:pt x="462" y="358"/>
                    </a:cubicBezTo>
                    <a:cubicBezTo>
                      <a:pt x="465" y="358"/>
                      <a:pt x="469" y="351"/>
                      <a:pt x="470" y="349"/>
                    </a:cubicBezTo>
                    <a:cubicBezTo>
                      <a:pt x="471" y="347"/>
                      <a:pt x="474" y="343"/>
                      <a:pt x="474" y="343"/>
                    </a:cubicBezTo>
                    <a:cubicBezTo>
                      <a:pt x="478" y="343"/>
                      <a:pt x="478" y="343"/>
                      <a:pt x="478" y="343"/>
                    </a:cubicBezTo>
                    <a:cubicBezTo>
                      <a:pt x="479" y="340"/>
                      <a:pt x="479" y="340"/>
                      <a:pt x="479" y="340"/>
                    </a:cubicBezTo>
                    <a:cubicBezTo>
                      <a:pt x="479" y="340"/>
                      <a:pt x="476" y="340"/>
                      <a:pt x="476" y="338"/>
                    </a:cubicBezTo>
                    <a:cubicBezTo>
                      <a:pt x="478" y="335"/>
                      <a:pt x="480" y="333"/>
                      <a:pt x="480" y="333"/>
                    </a:cubicBezTo>
                    <a:cubicBezTo>
                      <a:pt x="480" y="333"/>
                      <a:pt x="482" y="325"/>
                      <a:pt x="482" y="322"/>
                    </a:cubicBezTo>
                    <a:close/>
                    <a:moveTo>
                      <a:pt x="448" y="337"/>
                    </a:moveTo>
                    <a:cubicBezTo>
                      <a:pt x="442" y="339"/>
                      <a:pt x="444" y="341"/>
                      <a:pt x="448" y="340"/>
                    </a:cubicBezTo>
                    <a:cubicBezTo>
                      <a:pt x="452" y="340"/>
                      <a:pt x="452" y="335"/>
                      <a:pt x="448" y="337"/>
                    </a:cubicBezTo>
                    <a:close/>
                    <a:moveTo>
                      <a:pt x="459" y="310"/>
                    </a:moveTo>
                    <a:cubicBezTo>
                      <a:pt x="457" y="308"/>
                      <a:pt x="457" y="308"/>
                      <a:pt x="457" y="308"/>
                    </a:cubicBezTo>
                    <a:cubicBezTo>
                      <a:pt x="454" y="314"/>
                      <a:pt x="454" y="314"/>
                      <a:pt x="454" y="314"/>
                    </a:cubicBezTo>
                    <a:cubicBezTo>
                      <a:pt x="460" y="317"/>
                      <a:pt x="460" y="317"/>
                      <a:pt x="460" y="317"/>
                    </a:cubicBezTo>
                    <a:lnTo>
                      <a:pt x="459" y="310"/>
                    </a:lnTo>
                    <a:close/>
                    <a:moveTo>
                      <a:pt x="432" y="325"/>
                    </a:moveTo>
                    <a:cubicBezTo>
                      <a:pt x="433" y="329"/>
                      <a:pt x="433" y="329"/>
                      <a:pt x="433" y="329"/>
                    </a:cubicBezTo>
                    <a:cubicBezTo>
                      <a:pt x="441" y="332"/>
                      <a:pt x="441" y="332"/>
                      <a:pt x="441" y="332"/>
                    </a:cubicBezTo>
                    <a:cubicBezTo>
                      <a:pt x="440" y="329"/>
                      <a:pt x="440" y="329"/>
                      <a:pt x="440" y="329"/>
                    </a:cubicBezTo>
                    <a:lnTo>
                      <a:pt x="432" y="325"/>
                    </a:lnTo>
                    <a:close/>
                    <a:moveTo>
                      <a:pt x="422" y="322"/>
                    </a:moveTo>
                    <a:cubicBezTo>
                      <a:pt x="427" y="320"/>
                      <a:pt x="426" y="316"/>
                      <a:pt x="422" y="318"/>
                    </a:cubicBezTo>
                    <a:cubicBezTo>
                      <a:pt x="417" y="320"/>
                      <a:pt x="420" y="323"/>
                      <a:pt x="422" y="322"/>
                    </a:cubicBezTo>
                    <a:close/>
                    <a:moveTo>
                      <a:pt x="435" y="364"/>
                    </a:moveTo>
                    <a:cubicBezTo>
                      <a:pt x="432" y="366"/>
                      <a:pt x="432" y="366"/>
                      <a:pt x="432" y="366"/>
                    </a:cubicBezTo>
                    <a:cubicBezTo>
                      <a:pt x="430" y="380"/>
                      <a:pt x="430" y="380"/>
                      <a:pt x="430" y="380"/>
                    </a:cubicBezTo>
                    <a:cubicBezTo>
                      <a:pt x="427" y="380"/>
                      <a:pt x="427" y="380"/>
                      <a:pt x="427" y="380"/>
                    </a:cubicBezTo>
                    <a:cubicBezTo>
                      <a:pt x="429" y="384"/>
                      <a:pt x="429" y="384"/>
                      <a:pt x="429" y="384"/>
                    </a:cubicBezTo>
                    <a:cubicBezTo>
                      <a:pt x="432" y="386"/>
                      <a:pt x="432" y="386"/>
                      <a:pt x="432" y="386"/>
                    </a:cubicBezTo>
                    <a:cubicBezTo>
                      <a:pt x="433" y="392"/>
                      <a:pt x="433" y="392"/>
                      <a:pt x="433" y="392"/>
                    </a:cubicBezTo>
                    <a:cubicBezTo>
                      <a:pt x="437" y="394"/>
                      <a:pt x="437" y="394"/>
                      <a:pt x="437" y="394"/>
                    </a:cubicBezTo>
                    <a:cubicBezTo>
                      <a:pt x="437" y="390"/>
                      <a:pt x="437" y="390"/>
                      <a:pt x="437" y="390"/>
                    </a:cubicBezTo>
                    <a:cubicBezTo>
                      <a:pt x="439" y="388"/>
                      <a:pt x="439" y="388"/>
                      <a:pt x="439" y="388"/>
                    </a:cubicBezTo>
                    <a:cubicBezTo>
                      <a:pt x="439" y="385"/>
                      <a:pt x="439" y="385"/>
                      <a:pt x="439" y="385"/>
                    </a:cubicBezTo>
                    <a:cubicBezTo>
                      <a:pt x="436" y="382"/>
                      <a:pt x="436" y="382"/>
                      <a:pt x="436" y="382"/>
                    </a:cubicBezTo>
                    <a:lnTo>
                      <a:pt x="435" y="364"/>
                    </a:lnTo>
                    <a:close/>
                    <a:moveTo>
                      <a:pt x="434" y="362"/>
                    </a:moveTo>
                    <a:cubicBezTo>
                      <a:pt x="436" y="358"/>
                      <a:pt x="435" y="353"/>
                      <a:pt x="433" y="357"/>
                    </a:cubicBezTo>
                    <a:cubicBezTo>
                      <a:pt x="431" y="363"/>
                      <a:pt x="431" y="366"/>
                      <a:pt x="434" y="362"/>
                    </a:cubicBezTo>
                    <a:close/>
                    <a:moveTo>
                      <a:pt x="420" y="398"/>
                    </a:moveTo>
                    <a:cubicBezTo>
                      <a:pt x="419" y="402"/>
                      <a:pt x="422" y="400"/>
                      <a:pt x="424" y="399"/>
                    </a:cubicBezTo>
                    <a:cubicBezTo>
                      <a:pt x="430" y="396"/>
                      <a:pt x="429" y="394"/>
                      <a:pt x="429" y="394"/>
                    </a:cubicBezTo>
                    <a:cubicBezTo>
                      <a:pt x="429" y="394"/>
                      <a:pt x="420" y="393"/>
                      <a:pt x="420" y="398"/>
                    </a:cubicBez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237" name="Great Britain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3381375" y="2557463"/>
                <a:ext cx="760412" cy="1425575"/>
              </a:xfrm>
              <a:custGeom>
                <a:avLst/>
                <a:gdLst/>
                <a:ahLst/>
                <a:cxnLst>
                  <a:cxn ang="0">
                    <a:pos x="281" y="467"/>
                  </a:cxn>
                  <a:cxn ang="0">
                    <a:pos x="290" y="431"/>
                  </a:cxn>
                  <a:cxn ang="0">
                    <a:pos x="245" y="321"/>
                  </a:cxn>
                  <a:cxn ang="0">
                    <a:pos x="210" y="295"/>
                  </a:cxn>
                  <a:cxn ang="0">
                    <a:pos x="257" y="247"/>
                  </a:cxn>
                  <a:cxn ang="0">
                    <a:pos x="197" y="186"/>
                  </a:cxn>
                  <a:cxn ang="0">
                    <a:pos x="248" y="141"/>
                  </a:cxn>
                  <a:cxn ang="0">
                    <a:pos x="191" y="133"/>
                  </a:cxn>
                  <a:cxn ang="0">
                    <a:pos x="164" y="140"/>
                  </a:cxn>
                  <a:cxn ang="0">
                    <a:pos x="143" y="161"/>
                  </a:cxn>
                  <a:cxn ang="0">
                    <a:pos x="146" y="202"/>
                  </a:cxn>
                  <a:cxn ang="0">
                    <a:pos x="111" y="230"/>
                  </a:cxn>
                  <a:cxn ang="0">
                    <a:pos x="127" y="247"/>
                  </a:cxn>
                  <a:cxn ang="0">
                    <a:pos x="131" y="260"/>
                  </a:cxn>
                  <a:cxn ang="0">
                    <a:pos x="101" y="317"/>
                  </a:cxn>
                  <a:cxn ang="0">
                    <a:pos x="142" y="276"/>
                  </a:cxn>
                  <a:cxn ang="0">
                    <a:pos x="148" y="287"/>
                  </a:cxn>
                  <a:cxn ang="0">
                    <a:pos x="127" y="344"/>
                  </a:cxn>
                  <a:cxn ang="0">
                    <a:pos x="145" y="363"/>
                  </a:cxn>
                  <a:cxn ang="0">
                    <a:pos x="188" y="366"/>
                  </a:cxn>
                  <a:cxn ang="0">
                    <a:pos x="180" y="416"/>
                  </a:cxn>
                  <a:cxn ang="0">
                    <a:pos x="186" y="472"/>
                  </a:cxn>
                  <a:cxn ang="0">
                    <a:pos x="109" y="492"/>
                  </a:cxn>
                  <a:cxn ang="0">
                    <a:pos x="102" y="536"/>
                  </a:cxn>
                  <a:cxn ang="0">
                    <a:pos x="74" y="560"/>
                  </a:cxn>
                  <a:cxn ang="0">
                    <a:pos x="109" y="569"/>
                  </a:cxn>
                  <a:cxn ang="0">
                    <a:pos x="171" y="582"/>
                  </a:cxn>
                  <a:cxn ang="0">
                    <a:pos x="55" y="640"/>
                  </a:cxn>
                  <a:cxn ang="0">
                    <a:pos x="62" y="657"/>
                  </a:cxn>
                  <a:cxn ang="0">
                    <a:pos x="122" y="645"/>
                  </a:cxn>
                  <a:cxn ang="0">
                    <a:pos x="201" y="649"/>
                  </a:cxn>
                  <a:cxn ang="0">
                    <a:pos x="310" y="653"/>
                  </a:cxn>
                  <a:cxn ang="0">
                    <a:pos x="295" y="614"/>
                  </a:cxn>
                  <a:cxn ang="0">
                    <a:pos x="319" y="598"/>
                  </a:cxn>
                  <a:cxn ang="0">
                    <a:pos x="209" y="650"/>
                  </a:cxn>
                  <a:cxn ang="0">
                    <a:pos x="121" y="471"/>
                  </a:cxn>
                  <a:cxn ang="0">
                    <a:pos x="139" y="396"/>
                  </a:cxn>
                  <a:cxn ang="0">
                    <a:pos x="138" y="302"/>
                  </a:cxn>
                  <a:cxn ang="0">
                    <a:pos x="89" y="291"/>
                  </a:cxn>
                  <a:cxn ang="0">
                    <a:pos x="109" y="281"/>
                  </a:cxn>
                  <a:cxn ang="0">
                    <a:pos x="88" y="238"/>
                  </a:cxn>
                  <a:cxn ang="0">
                    <a:pos x="112" y="235"/>
                  </a:cxn>
                  <a:cxn ang="0">
                    <a:pos x="103" y="260"/>
                  </a:cxn>
                  <a:cxn ang="0">
                    <a:pos x="117" y="217"/>
                  </a:cxn>
                  <a:cxn ang="0">
                    <a:pos x="82" y="197"/>
                  </a:cxn>
                  <a:cxn ang="0">
                    <a:pos x="88" y="177"/>
                  </a:cxn>
                  <a:cxn ang="0">
                    <a:pos x="114" y="176"/>
                  </a:cxn>
                  <a:cxn ang="0">
                    <a:pos x="127" y="203"/>
                  </a:cxn>
                  <a:cxn ang="0">
                    <a:pos x="135" y="173"/>
                  </a:cxn>
                  <a:cxn ang="0">
                    <a:pos x="81" y="165"/>
                  </a:cxn>
                  <a:cxn ang="0">
                    <a:pos x="141" y="134"/>
                  </a:cxn>
                  <a:cxn ang="0">
                    <a:pos x="104" y="132"/>
                  </a:cxn>
                  <a:cxn ang="0">
                    <a:pos x="242" y="113"/>
                  </a:cxn>
                  <a:cxn ang="0">
                    <a:pos x="256" y="107"/>
                  </a:cxn>
                  <a:cxn ang="0">
                    <a:pos x="259" y="94"/>
                  </a:cxn>
                  <a:cxn ang="0">
                    <a:pos x="310" y="82"/>
                  </a:cxn>
                  <a:cxn ang="0">
                    <a:pos x="282" y="93"/>
                  </a:cxn>
                  <a:cxn ang="0">
                    <a:pos x="339" y="23"/>
                  </a:cxn>
                  <a:cxn ang="0">
                    <a:pos x="357" y="3"/>
                  </a:cxn>
                  <a:cxn ang="0">
                    <a:pos x="49" y="396"/>
                  </a:cxn>
                  <a:cxn ang="0">
                    <a:pos x="96" y="386"/>
                  </a:cxn>
                  <a:cxn ang="0">
                    <a:pos x="34" y="332"/>
                  </a:cxn>
                  <a:cxn ang="0">
                    <a:pos x="13" y="377"/>
                  </a:cxn>
                </a:cxnLst>
                <a:rect l="0" t="0" r="r" b="b"/>
                <a:pathLst>
                  <a:path w="357" h="670">
                    <a:moveTo>
                      <a:pt x="342" y="526"/>
                    </a:moveTo>
                    <a:cubicBezTo>
                      <a:pt x="330" y="519"/>
                      <a:pt x="330" y="519"/>
                      <a:pt x="330" y="519"/>
                    </a:cubicBezTo>
                    <a:cubicBezTo>
                      <a:pt x="328" y="520"/>
                      <a:pt x="328" y="520"/>
                      <a:pt x="328" y="520"/>
                    </a:cubicBezTo>
                    <a:cubicBezTo>
                      <a:pt x="310" y="519"/>
                      <a:pt x="310" y="519"/>
                      <a:pt x="310" y="519"/>
                    </a:cubicBezTo>
                    <a:cubicBezTo>
                      <a:pt x="303" y="530"/>
                      <a:pt x="303" y="530"/>
                      <a:pt x="303" y="530"/>
                    </a:cubicBezTo>
                    <a:cubicBezTo>
                      <a:pt x="299" y="528"/>
                      <a:pt x="299" y="528"/>
                      <a:pt x="299" y="528"/>
                    </a:cubicBezTo>
                    <a:cubicBezTo>
                      <a:pt x="295" y="522"/>
                      <a:pt x="295" y="522"/>
                      <a:pt x="295" y="522"/>
                    </a:cubicBezTo>
                    <a:cubicBezTo>
                      <a:pt x="291" y="520"/>
                      <a:pt x="291" y="520"/>
                      <a:pt x="291" y="520"/>
                    </a:cubicBezTo>
                    <a:cubicBezTo>
                      <a:pt x="291" y="520"/>
                      <a:pt x="292" y="515"/>
                      <a:pt x="296" y="514"/>
                    </a:cubicBezTo>
                    <a:cubicBezTo>
                      <a:pt x="301" y="512"/>
                      <a:pt x="308" y="508"/>
                      <a:pt x="308" y="504"/>
                    </a:cubicBezTo>
                    <a:cubicBezTo>
                      <a:pt x="309" y="501"/>
                      <a:pt x="305" y="486"/>
                      <a:pt x="305" y="486"/>
                    </a:cubicBezTo>
                    <a:cubicBezTo>
                      <a:pt x="299" y="480"/>
                      <a:pt x="299" y="480"/>
                      <a:pt x="299" y="480"/>
                    </a:cubicBezTo>
                    <a:cubicBezTo>
                      <a:pt x="292" y="473"/>
                      <a:pt x="292" y="473"/>
                      <a:pt x="292" y="473"/>
                    </a:cubicBezTo>
                    <a:cubicBezTo>
                      <a:pt x="292" y="473"/>
                      <a:pt x="290" y="469"/>
                      <a:pt x="287" y="468"/>
                    </a:cubicBezTo>
                    <a:cubicBezTo>
                      <a:pt x="285" y="468"/>
                      <a:pt x="281" y="467"/>
                      <a:pt x="281" y="467"/>
                    </a:cubicBezTo>
                    <a:cubicBezTo>
                      <a:pt x="279" y="469"/>
                      <a:pt x="279" y="469"/>
                      <a:pt x="279" y="469"/>
                    </a:cubicBezTo>
                    <a:cubicBezTo>
                      <a:pt x="276" y="466"/>
                      <a:pt x="276" y="466"/>
                      <a:pt x="276" y="466"/>
                    </a:cubicBezTo>
                    <a:cubicBezTo>
                      <a:pt x="268" y="465"/>
                      <a:pt x="268" y="465"/>
                      <a:pt x="268" y="465"/>
                    </a:cubicBezTo>
                    <a:cubicBezTo>
                      <a:pt x="276" y="463"/>
                      <a:pt x="276" y="463"/>
                      <a:pt x="276" y="463"/>
                    </a:cubicBezTo>
                    <a:cubicBezTo>
                      <a:pt x="279" y="466"/>
                      <a:pt x="279" y="466"/>
                      <a:pt x="279" y="466"/>
                    </a:cubicBezTo>
                    <a:cubicBezTo>
                      <a:pt x="289" y="465"/>
                      <a:pt x="289" y="465"/>
                      <a:pt x="289" y="465"/>
                    </a:cubicBezTo>
                    <a:cubicBezTo>
                      <a:pt x="289" y="465"/>
                      <a:pt x="293" y="472"/>
                      <a:pt x="294" y="473"/>
                    </a:cubicBezTo>
                    <a:cubicBezTo>
                      <a:pt x="298" y="473"/>
                      <a:pt x="298" y="473"/>
                      <a:pt x="298" y="473"/>
                    </a:cubicBezTo>
                    <a:cubicBezTo>
                      <a:pt x="301" y="477"/>
                      <a:pt x="301" y="477"/>
                      <a:pt x="301" y="477"/>
                    </a:cubicBezTo>
                    <a:cubicBezTo>
                      <a:pt x="303" y="475"/>
                      <a:pt x="303" y="475"/>
                      <a:pt x="303" y="475"/>
                    </a:cubicBezTo>
                    <a:cubicBezTo>
                      <a:pt x="295" y="455"/>
                      <a:pt x="295" y="455"/>
                      <a:pt x="295" y="455"/>
                    </a:cubicBezTo>
                    <a:cubicBezTo>
                      <a:pt x="295" y="443"/>
                      <a:pt x="295" y="443"/>
                      <a:pt x="295" y="443"/>
                    </a:cubicBezTo>
                    <a:cubicBezTo>
                      <a:pt x="298" y="441"/>
                      <a:pt x="298" y="441"/>
                      <a:pt x="298" y="441"/>
                    </a:cubicBezTo>
                    <a:cubicBezTo>
                      <a:pt x="294" y="431"/>
                      <a:pt x="294" y="431"/>
                      <a:pt x="294" y="431"/>
                    </a:cubicBezTo>
                    <a:cubicBezTo>
                      <a:pt x="290" y="431"/>
                      <a:pt x="290" y="431"/>
                      <a:pt x="290" y="431"/>
                    </a:cubicBezTo>
                    <a:cubicBezTo>
                      <a:pt x="286" y="416"/>
                      <a:pt x="286" y="416"/>
                      <a:pt x="286" y="416"/>
                    </a:cubicBezTo>
                    <a:cubicBezTo>
                      <a:pt x="277" y="407"/>
                      <a:pt x="277" y="407"/>
                      <a:pt x="277" y="407"/>
                    </a:cubicBezTo>
                    <a:cubicBezTo>
                      <a:pt x="273" y="406"/>
                      <a:pt x="273" y="406"/>
                      <a:pt x="273" y="406"/>
                    </a:cubicBezTo>
                    <a:cubicBezTo>
                      <a:pt x="267" y="395"/>
                      <a:pt x="267" y="395"/>
                      <a:pt x="267" y="395"/>
                    </a:cubicBezTo>
                    <a:cubicBezTo>
                      <a:pt x="263" y="392"/>
                      <a:pt x="263" y="392"/>
                      <a:pt x="263" y="392"/>
                    </a:cubicBezTo>
                    <a:cubicBezTo>
                      <a:pt x="262" y="380"/>
                      <a:pt x="262" y="380"/>
                      <a:pt x="262" y="380"/>
                    </a:cubicBezTo>
                    <a:cubicBezTo>
                      <a:pt x="259" y="372"/>
                      <a:pt x="259" y="372"/>
                      <a:pt x="259" y="372"/>
                    </a:cubicBezTo>
                    <a:cubicBezTo>
                      <a:pt x="260" y="354"/>
                      <a:pt x="260" y="354"/>
                      <a:pt x="260" y="354"/>
                    </a:cubicBezTo>
                    <a:cubicBezTo>
                      <a:pt x="257" y="349"/>
                      <a:pt x="257" y="349"/>
                      <a:pt x="257" y="349"/>
                    </a:cubicBezTo>
                    <a:cubicBezTo>
                      <a:pt x="259" y="337"/>
                      <a:pt x="259" y="337"/>
                      <a:pt x="259" y="337"/>
                    </a:cubicBezTo>
                    <a:cubicBezTo>
                      <a:pt x="253" y="332"/>
                      <a:pt x="253" y="332"/>
                      <a:pt x="253" y="332"/>
                    </a:cubicBezTo>
                    <a:cubicBezTo>
                      <a:pt x="253" y="327"/>
                      <a:pt x="253" y="327"/>
                      <a:pt x="253" y="327"/>
                    </a:cubicBezTo>
                    <a:cubicBezTo>
                      <a:pt x="249" y="324"/>
                      <a:pt x="249" y="324"/>
                      <a:pt x="249" y="324"/>
                    </a:cubicBezTo>
                    <a:cubicBezTo>
                      <a:pt x="248" y="319"/>
                      <a:pt x="248" y="319"/>
                      <a:pt x="248" y="319"/>
                    </a:cubicBezTo>
                    <a:cubicBezTo>
                      <a:pt x="245" y="321"/>
                      <a:pt x="245" y="321"/>
                      <a:pt x="245" y="321"/>
                    </a:cubicBezTo>
                    <a:cubicBezTo>
                      <a:pt x="248" y="317"/>
                      <a:pt x="248" y="317"/>
                      <a:pt x="248" y="317"/>
                    </a:cubicBezTo>
                    <a:cubicBezTo>
                      <a:pt x="245" y="315"/>
                      <a:pt x="245" y="315"/>
                      <a:pt x="245" y="315"/>
                    </a:cubicBezTo>
                    <a:cubicBezTo>
                      <a:pt x="245" y="315"/>
                      <a:pt x="247" y="312"/>
                      <a:pt x="244" y="311"/>
                    </a:cubicBezTo>
                    <a:cubicBezTo>
                      <a:pt x="241" y="311"/>
                      <a:pt x="238" y="310"/>
                      <a:pt x="238" y="310"/>
                    </a:cubicBezTo>
                    <a:cubicBezTo>
                      <a:pt x="228" y="298"/>
                      <a:pt x="228" y="298"/>
                      <a:pt x="228" y="298"/>
                    </a:cubicBezTo>
                    <a:cubicBezTo>
                      <a:pt x="228" y="298"/>
                      <a:pt x="228" y="296"/>
                      <a:pt x="223" y="297"/>
                    </a:cubicBezTo>
                    <a:cubicBezTo>
                      <a:pt x="217" y="298"/>
                      <a:pt x="217" y="305"/>
                      <a:pt x="213" y="305"/>
                    </a:cubicBezTo>
                    <a:cubicBezTo>
                      <a:pt x="209" y="305"/>
                      <a:pt x="208" y="299"/>
                      <a:pt x="208" y="299"/>
                    </a:cubicBezTo>
                    <a:cubicBezTo>
                      <a:pt x="208" y="299"/>
                      <a:pt x="203" y="301"/>
                      <a:pt x="200" y="300"/>
                    </a:cubicBezTo>
                    <a:cubicBezTo>
                      <a:pt x="197" y="299"/>
                      <a:pt x="195" y="296"/>
                      <a:pt x="195" y="296"/>
                    </a:cubicBezTo>
                    <a:cubicBezTo>
                      <a:pt x="195" y="296"/>
                      <a:pt x="187" y="295"/>
                      <a:pt x="188" y="294"/>
                    </a:cubicBezTo>
                    <a:cubicBezTo>
                      <a:pt x="189" y="292"/>
                      <a:pt x="196" y="292"/>
                      <a:pt x="196" y="292"/>
                    </a:cubicBezTo>
                    <a:cubicBezTo>
                      <a:pt x="196" y="292"/>
                      <a:pt x="197" y="296"/>
                      <a:pt x="200" y="296"/>
                    </a:cubicBezTo>
                    <a:cubicBezTo>
                      <a:pt x="202" y="296"/>
                      <a:pt x="207" y="294"/>
                      <a:pt x="207" y="294"/>
                    </a:cubicBezTo>
                    <a:cubicBezTo>
                      <a:pt x="210" y="295"/>
                      <a:pt x="210" y="295"/>
                      <a:pt x="210" y="295"/>
                    </a:cubicBezTo>
                    <a:cubicBezTo>
                      <a:pt x="210" y="291"/>
                      <a:pt x="210" y="291"/>
                      <a:pt x="210" y="291"/>
                    </a:cubicBezTo>
                    <a:cubicBezTo>
                      <a:pt x="218" y="287"/>
                      <a:pt x="218" y="287"/>
                      <a:pt x="218" y="287"/>
                    </a:cubicBezTo>
                    <a:cubicBezTo>
                      <a:pt x="226" y="290"/>
                      <a:pt x="226" y="290"/>
                      <a:pt x="226" y="290"/>
                    </a:cubicBezTo>
                    <a:cubicBezTo>
                      <a:pt x="234" y="283"/>
                      <a:pt x="234" y="283"/>
                      <a:pt x="234" y="283"/>
                    </a:cubicBezTo>
                    <a:cubicBezTo>
                      <a:pt x="226" y="279"/>
                      <a:pt x="226" y="279"/>
                      <a:pt x="226" y="279"/>
                    </a:cubicBezTo>
                    <a:cubicBezTo>
                      <a:pt x="226" y="279"/>
                      <a:pt x="230" y="278"/>
                      <a:pt x="228" y="275"/>
                    </a:cubicBezTo>
                    <a:cubicBezTo>
                      <a:pt x="226" y="272"/>
                      <a:pt x="227" y="271"/>
                      <a:pt x="224" y="271"/>
                    </a:cubicBezTo>
                    <a:cubicBezTo>
                      <a:pt x="219" y="272"/>
                      <a:pt x="217" y="276"/>
                      <a:pt x="215" y="276"/>
                    </a:cubicBezTo>
                    <a:cubicBezTo>
                      <a:pt x="213" y="277"/>
                      <a:pt x="208" y="276"/>
                      <a:pt x="208" y="276"/>
                    </a:cubicBezTo>
                    <a:cubicBezTo>
                      <a:pt x="208" y="276"/>
                      <a:pt x="214" y="275"/>
                      <a:pt x="215" y="274"/>
                    </a:cubicBezTo>
                    <a:cubicBezTo>
                      <a:pt x="216" y="272"/>
                      <a:pt x="220" y="269"/>
                      <a:pt x="223" y="269"/>
                    </a:cubicBezTo>
                    <a:cubicBezTo>
                      <a:pt x="225" y="269"/>
                      <a:pt x="230" y="272"/>
                      <a:pt x="230" y="272"/>
                    </a:cubicBezTo>
                    <a:cubicBezTo>
                      <a:pt x="241" y="267"/>
                      <a:pt x="241" y="267"/>
                      <a:pt x="241" y="267"/>
                    </a:cubicBezTo>
                    <a:cubicBezTo>
                      <a:pt x="246" y="256"/>
                      <a:pt x="246" y="256"/>
                      <a:pt x="246" y="256"/>
                    </a:cubicBezTo>
                    <a:cubicBezTo>
                      <a:pt x="257" y="247"/>
                      <a:pt x="257" y="247"/>
                      <a:pt x="257" y="247"/>
                    </a:cubicBezTo>
                    <a:cubicBezTo>
                      <a:pt x="264" y="234"/>
                      <a:pt x="264" y="234"/>
                      <a:pt x="264" y="234"/>
                    </a:cubicBezTo>
                    <a:cubicBezTo>
                      <a:pt x="264" y="234"/>
                      <a:pt x="264" y="231"/>
                      <a:pt x="266" y="229"/>
                    </a:cubicBezTo>
                    <a:cubicBezTo>
                      <a:pt x="267" y="227"/>
                      <a:pt x="281" y="214"/>
                      <a:pt x="279" y="206"/>
                    </a:cubicBezTo>
                    <a:cubicBezTo>
                      <a:pt x="277" y="199"/>
                      <a:pt x="265" y="197"/>
                      <a:pt x="265" y="197"/>
                    </a:cubicBezTo>
                    <a:cubicBezTo>
                      <a:pt x="257" y="198"/>
                      <a:pt x="257" y="198"/>
                      <a:pt x="257" y="198"/>
                    </a:cubicBezTo>
                    <a:cubicBezTo>
                      <a:pt x="242" y="192"/>
                      <a:pt x="242" y="192"/>
                      <a:pt x="242" y="192"/>
                    </a:cubicBezTo>
                    <a:cubicBezTo>
                      <a:pt x="235" y="193"/>
                      <a:pt x="235" y="193"/>
                      <a:pt x="235" y="193"/>
                    </a:cubicBezTo>
                    <a:cubicBezTo>
                      <a:pt x="235" y="193"/>
                      <a:pt x="231" y="189"/>
                      <a:pt x="226" y="188"/>
                    </a:cubicBezTo>
                    <a:cubicBezTo>
                      <a:pt x="220" y="188"/>
                      <a:pt x="207" y="192"/>
                      <a:pt x="207" y="192"/>
                    </a:cubicBezTo>
                    <a:cubicBezTo>
                      <a:pt x="203" y="191"/>
                      <a:pt x="203" y="191"/>
                      <a:pt x="203" y="191"/>
                    </a:cubicBezTo>
                    <a:cubicBezTo>
                      <a:pt x="199" y="196"/>
                      <a:pt x="199" y="196"/>
                      <a:pt x="199" y="196"/>
                    </a:cubicBezTo>
                    <a:cubicBezTo>
                      <a:pt x="185" y="197"/>
                      <a:pt x="185" y="197"/>
                      <a:pt x="185" y="197"/>
                    </a:cubicBezTo>
                    <a:cubicBezTo>
                      <a:pt x="196" y="193"/>
                      <a:pt x="196" y="193"/>
                      <a:pt x="196" y="193"/>
                    </a:cubicBezTo>
                    <a:cubicBezTo>
                      <a:pt x="202" y="187"/>
                      <a:pt x="202" y="187"/>
                      <a:pt x="202" y="187"/>
                    </a:cubicBezTo>
                    <a:cubicBezTo>
                      <a:pt x="202" y="187"/>
                      <a:pt x="198" y="186"/>
                      <a:pt x="197" y="186"/>
                    </a:cubicBezTo>
                    <a:cubicBezTo>
                      <a:pt x="196" y="186"/>
                      <a:pt x="191" y="188"/>
                      <a:pt x="191" y="188"/>
                    </a:cubicBezTo>
                    <a:cubicBezTo>
                      <a:pt x="188" y="187"/>
                      <a:pt x="188" y="187"/>
                      <a:pt x="188" y="187"/>
                    </a:cubicBezTo>
                    <a:cubicBezTo>
                      <a:pt x="196" y="184"/>
                      <a:pt x="196" y="184"/>
                      <a:pt x="196" y="184"/>
                    </a:cubicBezTo>
                    <a:cubicBezTo>
                      <a:pt x="204" y="185"/>
                      <a:pt x="204" y="185"/>
                      <a:pt x="204" y="185"/>
                    </a:cubicBezTo>
                    <a:cubicBezTo>
                      <a:pt x="214" y="176"/>
                      <a:pt x="214" y="176"/>
                      <a:pt x="214" y="176"/>
                    </a:cubicBezTo>
                    <a:cubicBezTo>
                      <a:pt x="208" y="176"/>
                      <a:pt x="208" y="176"/>
                      <a:pt x="208" y="176"/>
                    </a:cubicBezTo>
                    <a:cubicBezTo>
                      <a:pt x="201" y="174"/>
                      <a:pt x="201" y="174"/>
                      <a:pt x="201" y="174"/>
                    </a:cubicBezTo>
                    <a:cubicBezTo>
                      <a:pt x="207" y="173"/>
                      <a:pt x="207" y="173"/>
                      <a:pt x="207" y="173"/>
                    </a:cubicBezTo>
                    <a:cubicBezTo>
                      <a:pt x="204" y="169"/>
                      <a:pt x="204" y="169"/>
                      <a:pt x="204" y="169"/>
                    </a:cubicBezTo>
                    <a:cubicBezTo>
                      <a:pt x="209" y="169"/>
                      <a:pt x="209" y="169"/>
                      <a:pt x="209" y="169"/>
                    </a:cubicBezTo>
                    <a:cubicBezTo>
                      <a:pt x="215" y="164"/>
                      <a:pt x="215" y="164"/>
                      <a:pt x="215" y="164"/>
                    </a:cubicBezTo>
                    <a:cubicBezTo>
                      <a:pt x="215" y="164"/>
                      <a:pt x="221" y="163"/>
                      <a:pt x="227" y="158"/>
                    </a:cubicBezTo>
                    <a:cubicBezTo>
                      <a:pt x="231" y="154"/>
                      <a:pt x="233" y="153"/>
                      <a:pt x="233" y="153"/>
                    </a:cubicBezTo>
                    <a:cubicBezTo>
                      <a:pt x="233" y="153"/>
                      <a:pt x="240" y="152"/>
                      <a:pt x="243" y="151"/>
                    </a:cubicBezTo>
                    <a:cubicBezTo>
                      <a:pt x="245" y="149"/>
                      <a:pt x="248" y="141"/>
                      <a:pt x="248" y="141"/>
                    </a:cubicBezTo>
                    <a:cubicBezTo>
                      <a:pt x="248" y="141"/>
                      <a:pt x="245" y="144"/>
                      <a:pt x="246" y="141"/>
                    </a:cubicBezTo>
                    <a:cubicBezTo>
                      <a:pt x="246" y="138"/>
                      <a:pt x="251" y="132"/>
                      <a:pt x="251" y="132"/>
                    </a:cubicBezTo>
                    <a:cubicBezTo>
                      <a:pt x="242" y="129"/>
                      <a:pt x="242" y="129"/>
                      <a:pt x="242" y="129"/>
                    </a:cubicBezTo>
                    <a:cubicBezTo>
                      <a:pt x="237" y="129"/>
                      <a:pt x="237" y="129"/>
                      <a:pt x="237" y="129"/>
                    </a:cubicBezTo>
                    <a:cubicBezTo>
                      <a:pt x="240" y="132"/>
                      <a:pt x="240" y="132"/>
                      <a:pt x="240" y="132"/>
                    </a:cubicBezTo>
                    <a:cubicBezTo>
                      <a:pt x="231" y="129"/>
                      <a:pt x="231" y="129"/>
                      <a:pt x="231" y="129"/>
                    </a:cubicBezTo>
                    <a:cubicBezTo>
                      <a:pt x="225" y="132"/>
                      <a:pt x="225" y="132"/>
                      <a:pt x="225" y="132"/>
                    </a:cubicBezTo>
                    <a:cubicBezTo>
                      <a:pt x="218" y="130"/>
                      <a:pt x="218" y="130"/>
                      <a:pt x="218" y="130"/>
                    </a:cubicBezTo>
                    <a:cubicBezTo>
                      <a:pt x="216" y="127"/>
                      <a:pt x="216" y="127"/>
                      <a:pt x="216" y="127"/>
                    </a:cubicBezTo>
                    <a:cubicBezTo>
                      <a:pt x="215" y="130"/>
                      <a:pt x="215" y="130"/>
                      <a:pt x="215" y="130"/>
                    </a:cubicBezTo>
                    <a:cubicBezTo>
                      <a:pt x="207" y="130"/>
                      <a:pt x="207" y="130"/>
                      <a:pt x="207" y="130"/>
                    </a:cubicBezTo>
                    <a:cubicBezTo>
                      <a:pt x="199" y="135"/>
                      <a:pt x="199" y="135"/>
                      <a:pt x="199" y="135"/>
                    </a:cubicBezTo>
                    <a:cubicBezTo>
                      <a:pt x="202" y="129"/>
                      <a:pt x="202" y="129"/>
                      <a:pt x="202" y="129"/>
                    </a:cubicBezTo>
                    <a:cubicBezTo>
                      <a:pt x="198" y="124"/>
                      <a:pt x="198" y="124"/>
                      <a:pt x="198" y="124"/>
                    </a:cubicBezTo>
                    <a:cubicBezTo>
                      <a:pt x="198" y="124"/>
                      <a:pt x="192" y="133"/>
                      <a:pt x="191" y="133"/>
                    </a:cubicBezTo>
                    <a:cubicBezTo>
                      <a:pt x="188" y="132"/>
                      <a:pt x="193" y="126"/>
                      <a:pt x="193" y="126"/>
                    </a:cubicBezTo>
                    <a:cubicBezTo>
                      <a:pt x="192" y="120"/>
                      <a:pt x="192" y="120"/>
                      <a:pt x="192" y="120"/>
                    </a:cubicBezTo>
                    <a:cubicBezTo>
                      <a:pt x="189" y="123"/>
                      <a:pt x="189" y="123"/>
                      <a:pt x="189" y="123"/>
                    </a:cubicBezTo>
                    <a:cubicBezTo>
                      <a:pt x="188" y="121"/>
                      <a:pt x="188" y="121"/>
                      <a:pt x="188" y="121"/>
                    </a:cubicBezTo>
                    <a:cubicBezTo>
                      <a:pt x="188" y="121"/>
                      <a:pt x="184" y="120"/>
                      <a:pt x="183" y="120"/>
                    </a:cubicBezTo>
                    <a:cubicBezTo>
                      <a:pt x="181" y="120"/>
                      <a:pt x="182" y="122"/>
                      <a:pt x="182" y="122"/>
                    </a:cubicBezTo>
                    <a:cubicBezTo>
                      <a:pt x="182" y="122"/>
                      <a:pt x="179" y="123"/>
                      <a:pt x="178" y="125"/>
                    </a:cubicBezTo>
                    <a:cubicBezTo>
                      <a:pt x="177" y="127"/>
                      <a:pt x="179" y="132"/>
                      <a:pt x="179" y="132"/>
                    </a:cubicBezTo>
                    <a:cubicBezTo>
                      <a:pt x="179" y="132"/>
                      <a:pt x="176" y="130"/>
                      <a:pt x="176" y="134"/>
                    </a:cubicBezTo>
                    <a:cubicBezTo>
                      <a:pt x="175" y="137"/>
                      <a:pt x="176" y="140"/>
                      <a:pt x="176" y="140"/>
                    </a:cubicBezTo>
                    <a:cubicBezTo>
                      <a:pt x="180" y="143"/>
                      <a:pt x="180" y="143"/>
                      <a:pt x="180" y="143"/>
                    </a:cubicBezTo>
                    <a:cubicBezTo>
                      <a:pt x="175" y="141"/>
                      <a:pt x="175" y="141"/>
                      <a:pt x="175" y="141"/>
                    </a:cubicBezTo>
                    <a:cubicBezTo>
                      <a:pt x="169" y="142"/>
                      <a:pt x="169" y="142"/>
                      <a:pt x="169" y="142"/>
                    </a:cubicBezTo>
                    <a:cubicBezTo>
                      <a:pt x="165" y="140"/>
                      <a:pt x="165" y="140"/>
                      <a:pt x="165" y="140"/>
                    </a:cubicBezTo>
                    <a:cubicBezTo>
                      <a:pt x="164" y="140"/>
                      <a:pt x="164" y="140"/>
                      <a:pt x="164" y="140"/>
                    </a:cubicBezTo>
                    <a:cubicBezTo>
                      <a:pt x="166" y="143"/>
                      <a:pt x="166" y="143"/>
                      <a:pt x="166" y="143"/>
                    </a:cubicBezTo>
                    <a:cubicBezTo>
                      <a:pt x="165" y="152"/>
                      <a:pt x="165" y="152"/>
                      <a:pt x="165" y="152"/>
                    </a:cubicBezTo>
                    <a:cubicBezTo>
                      <a:pt x="161" y="151"/>
                      <a:pt x="161" y="151"/>
                      <a:pt x="161" y="151"/>
                    </a:cubicBezTo>
                    <a:cubicBezTo>
                      <a:pt x="161" y="154"/>
                      <a:pt x="161" y="154"/>
                      <a:pt x="161" y="154"/>
                    </a:cubicBezTo>
                    <a:cubicBezTo>
                      <a:pt x="164" y="156"/>
                      <a:pt x="164" y="156"/>
                      <a:pt x="164" y="156"/>
                    </a:cubicBezTo>
                    <a:cubicBezTo>
                      <a:pt x="163" y="158"/>
                      <a:pt x="163" y="158"/>
                      <a:pt x="163" y="158"/>
                    </a:cubicBezTo>
                    <a:cubicBezTo>
                      <a:pt x="166" y="160"/>
                      <a:pt x="166" y="160"/>
                      <a:pt x="166" y="160"/>
                    </a:cubicBezTo>
                    <a:cubicBezTo>
                      <a:pt x="169" y="168"/>
                      <a:pt x="169" y="168"/>
                      <a:pt x="169" y="168"/>
                    </a:cubicBezTo>
                    <a:cubicBezTo>
                      <a:pt x="162" y="158"/>
                      <a:pt x="162" y="158"/>
                      <a:pt x="162" y="158"/>
                    </a:cubicBezTo>
                    <a:cubicBezTo>
                      <a:pt x="155" y="164"/>
                      <a:pt x="155" y="164"/>
                      <a:pt x="155" y="164"/>
                    </a:cubicBezTo>
                    <a:cubicBezTo>
                      <a:pt x="153" y="159"/>
                      <a:pt x="153" y="159"/>
                      <a:pt x="153" y="159"/>
                    </a:cubicBezTo>
                    <a:cubicBezTo>
                      <a:pt x="150" y="160"/>
                      <a:pt x="150" y="160"/>
                      <a:pt x="150" y="160"/>
                    </a:cubicBezTo>
                    <a:cubicBezTo>
                      <a:pt x="151" y="167"/>
                      <a:pt x="151" y="167"/>
                      <a:pt x="151" y="167"/>
                    </a:cubicBezTo>
                    <a:cubicBezTo>
                      <a:pt x="148" y="161"/>
                      <a:pt x="148" y="161"/>
                      <a:pt x="148" y="161"/>
                    </a:cubicBezTo>
                    <a:cubicBezTo>
                      <a:pt x="143" y="161"/>
                      <a:pt x="143" y="161"/>
                      <a:pt x="143" y="161"/>
                    </a:cubicBezTo>
                    <a:cubicBezTo>
                      <a:pt x="143" y="168"/>
                      <a:pt x="143" y="168"/>
                      <a:pt x="143" y="168"/>
                    </a:cubicBezTo>
                    <a:cubicBezTo>
                      <a:pt x="146" y="172"/>
                      <a:pt x="146" y="172"/>
                      <a:pt x="146" y="172"/>
                    </a:cubicBezTo>
                    <a:cubicBezTo>
                      <a:pt x="143" y="171"/>
                      <a:pt x="143" y="171"/>
                      <a:pt x="143" y="171"/>
                    </a:cubicBezTo>
                    <a:cubicBezTo>
                      <a:pt x="142" y="174"/>
                      <a:pt x="142" y="174"/>
                      <a:pt x="142" y="174"/>
                    </a:cubicBezTo>
                    <a:cubicBezTo>
                      <a:pt x="144" y="179"/>
                      <a:pt x="144" y="179"/>
                      <a:pt x="144" y="179"/>
                    </a:cubicBezTo>
                    <a:cubicBezTo>
                      <a:pt x="149" y="183"/>
                      <a:pt x="149" y="183"/>
                      <a:pt x="149" y="183"/>
                    </a:cubicBezTo>
                    <a:cubicBezTo>
                      <a:pt x="143" y="183"/>
                      <a:pt x="143" y="183"/>
                      <a:pt x="143" y="183"/>
                    </a:cubicBezTo>
                    <a:cubicBezTo>
                      <a:pt x="143" y="183"/>
                      <a:pt x="141" y="179"/>
                      <a:pt x="138" y="179"/>
                    </a:cubicBezTo>
                    <a:cubicBezTo>
                      <a:pt x="136" y="179"/>
                      <a:pt x="136" y="185"/>
                      <a:pt x="136" y="186"/>
                    </a:cubicBezTo>
                    <a:cubicBezTo>
                      <a:pt x="137" y="187"/>
                      <a:pt x="134" y="189"/>
                      <a:pt x="135" y="191"/>
                    </a:cubicBezTo>
                    <a:cubicBezTo>
                      <a:pt x="136" y="193"/>
                      <a:pt x="139" y="192"/>
                      <a:pt x="139" y="192"/>
                    </a:cubicBezTo>
                    <a:cubicBezTo>
                      <a:pt x="147" y="193"/>
                      <a:pt x="147" y="193"/>
                      <a:pt x="147" y="193"/>
                    </a:cubicBezTo>
                    <a:cubicBezTo>
                      <a:pt x="141" y="195"/>
                      <a:pt x="141" y="195"/>
                      <a:pt x="141" y="195"/>
                    </a:cubicBezTo>
                    <a:cubicBezTo>
                      <a:pt x="141" y="195"/>
                      <a:pt x="138" y="196"/>
                      <a:pt x="139" y="198"/>
                    </a:cubicBezTo>
                    <a:cubicBezTo>
                      <a:pt x="139" y="200"/>
                      <a:pt x="144" y="200"/>
                      <a:pt x="146" y="202"/>
                    </a:cubicBezTo>
                    <a:cubicBezTo>
                      <a:pt x="147" y="204"/>
                      <a:pt x="147" y="206"/>
                      <a:pt x="147" y="206"/>
                    </a:cubicBezTo>
                    <a:cubicBezTo>
                      <a:pt x="147" y="206"/>
                      <a:pt x="144" y="203"/>
                      <a:pt x="142" y="202"/>
                    </a:cubicBezTo>
                    <a:cubicBezTo>
                      <a:pt x="141" y="201"/>
                      <a:pt x="137" y="206"/>
                      <a:pt x="137" y="206"/>
                    </a:cubicBezTo>
                    <a:cubicBezTo>
                      <a:pt x="142" y="213"/>
                      <a:pt x="142" y="213"/>
                      <a:pt x="142" y="213"/>
                    </a:cubicBezTo>
                    <a:cubicBezTo>
                      <a:pt x="135" y="207"/>
                      <a:pt x="135" y="207"/>
                      <a:pt x="135" y="207"/>
                    </a:cubicBezTo>
                    <a:cubicBezTo>
                      <a:pt x="132" y="212"/>
                      <a:pt x="132" y="212"/>
                      <a:pt x="132" y="212"/>
                    </a:cubicBezTo>
                    <a:cubicBezTo>
                      <a:pt x="136" y="217"/>
                      <a:pt x="136" y="217"/>
                      <a:pt x="136" y="217"/>
                    </a:cubicBezTo>
                    <a:cubicBezTo>
                      <a:pt x="136" y="218"/>
                      <a:pt x="136" y="218"/>
                      <a:pt x="136" y="218"/>
                    </a:cubicBezTo>
                    <a:cubicBezTo>
                      <a:pt x="131" y="215"/>
                      <a:pt x="131" y="215"/>
                      <a:pt x="131" y="215"/>
                    </a:cubicBezTo>
                    <a:cubicBezTo>
                      <a:pt x="123" y="221"/>
                      <a:pt x="123" y="221"/>
                      <a:pt x="123" y="221"/>
                    </a:cubicBezTo>
                    <a:cubicBezTo>
                      <a:pt x="123" y="221"/>
                      <a:pt x="132" y="222"/>
                      <a:pt x="131" y="223"/>
                    </a:cubicBezTo>
                    <a:cubicBezTo>
                      <a:pt x="129" y="226"/>
                      <a:pt x="123" y="226"/>
                      <a:pt x="123" y="226"/>
                    </a:cubicBezTo>
                    <a:cubicBezTo>
                      <a:pt x="122" y="232"/>
                      <a:pt x="122" y="232"/>
                      <a:pt x="122" y="232"/>
                    </a:cubicBezTo>
                    <a:cubicBezTo>
                      <a:pt x="120" y="229"/>
                      <a:pt x="120" y="229"/>
                      <a:pt x="120" y="229"/>
                    </a:cubicBezTo>
                    <a:cubicBezTo>
                      <a:pt x="120" y="229"/>
                      <a:pt x="111" y="229"/>
                      <a:pt x="111" y="230"/>
                    </a:cubicBezTo>
                    <a:cubicBezTo>
                      <a:pt x="111" y="232"/>
                      <a:pt x="121" y="235"/>
                      <a:pt x="121" y="235"/>
                    </a:cubicBezTo>
                    <a:cubicBezTo>
                      <a:pt x="127" y="234"/>
                      <a:pt x="127" y="234"/>
                      <a:pt x="127" y="234"/>
                    </a:cubicBezTo>
                    <a:cubicBezTo>
                      <a:pt x="130" y="231"/>
                      <a:pt x="130" y="231"/>
                      <a:pt x="130" y="231"/>
                    </a:cubicBezTo>
                    <a:cubicBezTo>
                      <a:pt x="139" y="228"/>
                      <a:pt x="139" y="228"/>
                      <a:pt x="139" y="228"/>
                    </a:cubicBezTo>
                    <a:cubicBezTo>
                      <a:pt x="139" y="230"/>
                      <a:pt x="139" y="230"/>
                      <a:pt x="139" y="230"/>
                    </a:cubicBezTo>
                    <a:cubicBezTo>
                      <a:pt x="132" y="232"/>
                      <a:pt x="132" y="232"/>
                      <a:pt x="132" y="232"/>
                    </a:cubicBezTo>
                    <a:cubicBezTo>
                      <a:pt x="130" y="234"/>
                      <a:pt x="130" y="234"/>
                      <a:pt x="130" y="234"/>
                    </a:cubicBezTo>
                    <a:cubicBezTo>
                      <a:pt x="134" y="236"/>
                      <a:pt x="134" y="236"/>
                      <a:pt x="134" y="236"/>
                    </a:cubicBezTo>
                    <a:cubicBezTo>
                      <a:pt x="132" y="237"/>
                      <a:pt x="132" y="237"/>
                      <a:pt x="132" y="237"/>
                    </a:cubicBezTo>
                    <a:cubicBezTo>
                      <a:pt x="129" y="235"/>
                      <a:pt x="129" y="235"/>
                      <a:pt x="129" y="235"/>
                    </a:cubicBezTo>
                    <a:cubicBezTo>
                      <a:pt x="122" y="237"/>
                      <a:pt x="122" y="237"/>
                      <a:pt x="122" y="237"/>
                    </a:cubicBezTo>
                    <a:cubicBezTo>
                      <a:pt x="118" y="236"/>
                      <a:pt x="118" y="236"/>
                      <a:pt x="118" y="236"/>
                    </a:cubicBezTo>
                    <a:cubicBezTo>
                      <a:pt x="117" y="240"/>
                      <a:pt x="117" y="240"/>
                      <a:pt x="117" y="240"/>
                    </a:cubicBezTo>
                    <a:cubicBezTo>
                      <a:pt x="122" y="244"/>
                      <a:pt x="122" y="244"/>
                      <a:pt x="122" y="244"/>
                    </a:cubicBezTo>
                    <a:cubicBezTo>
                      <a:pt x="127" y="247"/>
                      <a:pt x="127" y="247"/>
                      <a:pt x="127" y="247"/>
                    </a:cubicBezTo>
                    <a:cubicBezTo>
                      <a:pt x="135" y="244"/>
                      <a:pt x="135" y="244"/>
                      <a:pt x="135" y="244"/>
                    </a:cubicBezTo>
                    <a:cubicBezTo>
                      <a:pt x="148" y="233"/>
                      <a:pt x="148" y="233"/>
                      <a:pt x="148" y="233"/>
                    </a:cubicBezTo>
                    <a:cubicBezTo>
                      <a:pt x="146" y="231"/>
                      <a:pt x="146" y="231"/>
                      <a:pt x="146" y="231"/>
                    </a:cubicBezTo>
                    <a:cubicBezTo>
                      <a:pt x="149" y="230"/>
                      <a:pt x="149" y="230"/>
                      <a:pt x="149" y="230"/>
                    </a:cubicBezTo>
                    <a:cubicBezTo>
                      <a:pt x="153" y="232"/>
                      <a:pt x="153" y="232"/>
                      <a:pt x="153" y="232"/>
                    </a:cubicBezTo>
                    <a:cubicBezTo>
                      <a:pt x="145" y="238"/>
                      <a:pt x="145" y="238"/>
                      <a:pt x="145" y="238"/>
                    </a:cubicBezTo>
                    <a:cubicBezTo>
                      <a:pt x="145" y="238"/>
                      <a:pt x="152" y="240"/>
                      <a:pt x="151" y="240"/>
                    </a:cubicBezTo>
                    <a:cubicBezTo>
                      <a:pt x="145" y="240"/>
                      <a:pt x="145" y="240"/>
                      <a:pt x="145" y="240"/>
                    </a:cubicBezTo>
                    <a:cubicBezTo>
                      <a:pt x="137" y="246"/>
                      <a:pt x="137" y="246"/>
                      <a:pt x="137" y="246"/>
                    </a:cubicBezTo>
                    <a:cubicBezTo>
                      <a:pt x="141" y="249"/>
                      <a:pt x="141" y="249"/>
                      <a:pt x="141" y="249"/>
                    </a:cubicBezTo>
                    <a:cubicBezTo>
                      <a:pt x="137" y="249"/>
                      <a:pt x="137" y="249"/>
                      <a:pt x="137" y="249"/>
                    </a:cubicBezTo>
                    <a:cubicBezTo>
                      <a:pt x="134" y="251"/>
                      <a:pt x="134" y="251"/>
                      <a:pt x="134" y="251"/>
                    </a:cubicBezTo>
                    <a:cubicBezTo>
                      <a:pt x="141" y="254"/>
                      <a:pt x="141" y="254"/>
                      <a:pt x="141" y="254"/>
                    </a:cubicBezTo>
                    <a:cubicBezTo>
                      <a:pt x="135" y="253"/>
                      <a:pt x="135" y="253"/>
                      <a:pt x="135" y="253"/>
                    </a:cubicBezTo>
                    <a:cubicBezTo>
                      <a:pt x="131" y="260"/>
                      <a:pt x="131" y="260"/>
                      <a:pt x="131" y="260"/>
                    </a:cubicBezTo>
                    <a:cubicBezTo>
                      <a:pt x="125" y="260"/>
                      <a:pt x="125" y="260"/>
                      <a:pt x="125" y="260"/>
                    </a:cubicBezTo>
                    <a:cubicBezTo>
                      <a:pt x="122" y="267"/>
                      <a:pt x="122" y="267"/>
                      <a:pt x="122" y="267"/>
                    </a:cubicBezTo>
                    <a:cubicBezTo>
                      <a:pt x="126" y="267"/>
                      <a:pt x="126" y="267"/>
                      <a:pt x="126" y="267"/>
                    </a:cubicBezTo>
                    <a:cubicBezTo>
                      <a:pt x="125" y="277"/>
                      <a:pt x="125" y="277"/>
                      <a:pt x="125" y="277"/>
                    </a:cubicBezTo>
                    <a:cubicBezTo>
                      <a:pt x="120" y="277"/>
                      <a:pt x="120" y="277"/>
                      <a:pt x="120" y="277"/>
                    </a:cubicBezTo>
                    <a:cubicBezTo>
                      <a:pt x="115" y="281"/>
                      <a:pt x="115" y="281"/>
                      <a:pt x="115" y="281"/>
                    </a:cubicBezTo>
                    <a:cubicBezTo>
                      <a:pt x="118" y="285"/>
                      <a:pt x="118" y="285"/>
                      <a:pt x="118" y="285"/>
                    </a:cubicBezTo>
                    <a:cubicBezTo>
                      <a:pt x="115" y="292"/>
                      <a:pt x="115" y="292"/>
                      <a:pt x="115" y="292"/>
                    </a:cubicBezTo>
                    <a:cubicBezTo>
                      <a:pt x="116" y="294"/>
                      <a:pt x="116" y="294"/>
                      <a:pt x="116" y="294"/>
                    </a:cubicBezTo>
                    <a:cubicBezTo>
                      <a:pt x="121" y="294"/>
                      <a:pt x="121" y="294"/>
                      <a:pt x="121" y="294"/>
                    </a:cubicBezTo>
                    <a:cubicBezTo>
                      <a:pt x="116" y="296"/>
                      <a:pt x="116" y="296"/>
                      <a:pt x="116" y="296"/>
                    </a:cubicBezTo>
                    <a:cubicBezTo>
                      <a:pt x="111" y="305"/>
                      <a:pt x="111" y="305"/>
                      <a:pt x="111" y="305"/>
                    </a:cubicBezTo>
                    <a:cubicBezTo>
                      <a:pt x="110" y="306"/>
                      <a:pt x="110" y="306"/>
                      <a:pt x="110" y="306"/>
                    </a:cubicBezTo>
                    <a:cubicBezTo>
                      <a:pt x="110" y="306"/>
                      <a:pt x="109" y="313"/>
                      <a:pt x="106" y="315"/>
                    </a:cubicBezTo>
                    <a:cubicBezTo>
                      <a:pt x="105" y="316"/>
                      <a:pt x="101" y="317"/>
                      <a:pt x="101" y="317"/>
                    </a:cubicBezTo>
                    <a:cubicBezTo>
                      <a:pt x="101" y="317"/>
                      <a:pt x="100" y="324"/>
                      <a:pt x="105" y="324"/>
                    </a:cubicBezTo>
                    <a:cubicBezTo>
                      <a:pt x="112" y="325"/>
                      <a:pt x="114" y="318"/>
                      <a:pt x="114" y="318"/>
                    </a:cubicBezTo>
                    <a:cubicBezTo>
                      <a:pt x="113" y="316"/>
                      <a:pt x="113" y="316"/>
                      <a:pt x="113" y="316"/>
                    </a:cubicBezTo>
                    <a:cubicBezTo>
                      <a:pt x="114" y="314"/>
                      <a:pt x="114" y="314"/>
                      <a:pt x="114" y="314"/>
                    </a:cubicBezTo>
                    <a:cubicBezTo>
                      <a:pt x="121" y="300"/>
                      <a:pt x="121" y="300"/>
                      <a:pt x="121" y="300"/>
                    </a:cubicBezTo>
                    <a:cubicBezTo>
                      <a:pt x="128" y="296"/>
                      <a:pt x="128" y="296"/>
                      <a:pt x="128" y="296"/>
                    </a:cubicBezTo>
                    <a:cubicBezTo>
                      <a:pt x="125" y="292"/>
                      <a:pt x="125" y="292"/>
                      <a:pt x="125" y="292"/>
                    </a:cubicBezTo>
                    <a:cubicBezTo>
                      <a:pt x="126" y="282"/>
                      <a:pt x="126" y="282"/>
                      <a:pt x="126" y="282"/>
                    </a:cubicBezTo>
                    <a:cubicBezTo>
                      <a:pt x="129" y="282"/>
                      <a:pt x="129" y="282"/>
                      <a:pt x="129" y="282"/>
                    </a:cubicBezTo>
                    <a:cubicBezTo>
                      <a:pt x="136" y="276"/>
                      <a:pt x="136" y="276"/>
                      <a:pt x="136" y="276"/>
                    </a:cubicBezTo>
                    <a:cubicBezTo>
                      <a:pt x="139" y="275"/>
                      <a:pt x="139" y="275"/>
                      <a:pt x="139" y="275"/>
                    </a:cubicBezTo>
                    <a:cubicBezTo>
                      <a:pt x="144" y="271"/>
                      <a:pt x="144" y="271"/>
                      <a:pt x="144" y="271"/>
                    </a:cubicBezTo>
                    <a:cubicBezTo>
                      <a:pt x="148" y="270"/>
                      <a:pt x="148" y="270"/>
                      <a:pt x="148" y="270"/>
                    </a:cubicBezTo>
                    <a:cubicBezTo>
                      <a:pt x="145" y="272"/>
                      <a:pt x="145" y="272"/>
                      <a:pt x="145" y="272"/>
                    </a:cubicBezTo>
                    <a:cubicBezTo>
                      <a:pt x="142" y="276"/>
                      <a:pt x="142" y="276"/>
                      <a:pt x="142" y="276"/>
                    </a:cubicBezTo>
                    <a:cubicBezTo>
                      <a:pt x="137" y="277"/>
                      <a:pt x="137" y="277"/>
                      <a:pt x="137" y="277"/>
                    </a:cubicBezTo>
                    <a:cubicBezTo>
                      <a:pt x="132" y="282"/>
                      <a:pt x="132" y="282"/>
                      <a:pt x="132" y="282"/>
                    </a:cubicBezTo>
                    <a:cubicBezTo>
                      <a:pt x="129" y="283"/>
                      <a:pt x="129" y="283"/>
                      <a:pt x="129" y="283"/>
                    </a:cubicBezTo>
                    <a:cubicBezTo>
                      <a:pt x="127" y="291"/>
                      <a:pt x="127" y="291"/>
                      <a:pt x="127" y="291"/>
                    </a:cubicBezTo>
                    <a:cubicBezTo>
                      <a:pt x="132" y="295"/>
                      <a:pt x="132" y="295"/>
                      <a:pt x="132" y="295"/>
                    </a:cubicBezTo>
                    <a:cubicBezTo>
                      <a:pt x="131" y="287"/>
                      <a:pt x="131" y="287"/>
                      <a:pt x="131" y="287"/>
                    </a:cubicBezTo>
                    <a:cubicBezTo>
                      <a:pt x="135" y="290"/>
                      <a:pt x="135" y="290"/>
                      <a:pt x="135" y="290"/>
                    </a:cubicBezTo>
                    <a:cubicBezTo>
                      <a:pt x="137" y="287"/>
                      <a:pt x="137" y="287"/>
                      <a:pt x="137" y="287"/>
                    </a:cubicBezTo>
                    <a:cubicBezTo>
                      <a:pt x="139" y="294"/>
                      <a:pt x="139" y="294"/>
                      <a:pt x="139" y="294"/>
                    </a:cubicBezTo>
                    <a:cubicBezTo>
                      <a:pt x="144" y="290"/>
                      <a:pt x="144" y="290"/>
                      <a:pt x="144" y="290"/>
                    </a:cubicBezTo>
                    <a:cubicBezTo>
                      <a:pt x="143" y="285"/>
                      <a:pt x="143" y="285"/>
                      <a:pt x="143" y="285"/>
                    </a:cubicBezTo>
                    <a:cubicBezTo>
                      <a:pt x="145" y="285"/>
                      <a:pt x="145" y="285"/>
                      <a:pt x="145" y="285"/>
                    </a:cubicBezTo>
                    <a:cubicBezTo>
                      <a:pt x="145" y="285"/>
                      <a:pt x="147" y="279"/>
                      <a:pt x="148" y="280"/>
                    </a:cubicBezTo>
                    <a:cubicBezTo>
                      <a:pt x="150" y="280"/>
                      <a:pt x="148" y="283"/>
                      <a:pt x="148" y="283"/>
                    </a:cubicBezTo>
                    <a:cubicBezTo>
                      <a:pt x="148" y="287"/>
                      <a:pt x="148" y="287"/>
                      <a:pt x="148" y="287"/>
                    </a:cubicBezTo>
                    <a:cubicBezTo>
                      <a:pt x="149" y="285"/>
                      <a:pt x="149" y="285"/>
                      <a:pt x="149" y="285"/>
                    </a:cubicBezTo>
                    <a:cubicBezTo>
                      <a:pt x="152" y="290"/>
                      <a:pt x="152" y="290"/>
                      <a:pt x="152" y="290"/>
                    </a:cubicBezTo>
                    <a:cubicBezTo>
                      <a:pt x="158" y="294"/>
                      <a:pt x="158" y="294"/>
                      <a:pt x="158" y="294"/>
                    </a:cubicBezTo>
                    <a:cubicBezTo>
                      <a:pt x="151" y="293"/>
                      <a:pt x="151" y="293"/>
                      <a:pt x="151" y="293"/>
                    </a:cubicBezTo>
                    <a:cubicBezTo>
                      <a:pt x="148" y="290"/>
                      <a:pt x="148" y="290"/>
                      <a:pt x="148" y="290"/>
                    </a:cubicBezTo>
                    <a:cubicBezTo>
                      <a:pt x="145" y="292"/>
                      <a:pt x="145" y="292"/>
                      <a:pt x="145" y="292"/>
                    </a:cubicBezTo>
                    <a:cubicBezTo>
                      <a:pt x="144" y="302"/>
                      <a:pt x="144" y="302"/>
                      <a:pt x="144" y="302"/>
                    </a:cubicBezTo>
                    <a:cubicBezTo>
                      <a:pt x="144" y="302"/>
                      <a:pt x="141" y="302"/>
                      <a:pt x="141" y="303"/>
                    </a:cubicBezTo>
                    <a:cubicBezTo>
                      <a:pt x="141" y="311"/>
                      <a:pt x="141" y="311"/>
                      <a:pt x="141" y="311"/>
                    </a:cubicBezTo>
                    <a:cubicBezTo>
                      <a:pt x="141" y="311"/>
                      <a:pt x="148" y="313"/>
                      <a:pt x="147" y="317"/>
                    </a:cubicBezTo>
                    <a:cubicBezTo>
                      <a:pt x="147" y="322"/>
                      <a:pt x="142" y="325"/>
                      <a:pt x="142" y="325"/>
                    </a:cubicBezTo>
                    <a:cubicBezTo>
                      <a:pt x="141" y="329"/>
                      <a:pt x="141" y="329"/>
                      <a:pt x="141" y="329"/>
                    </a:cubicBezTo>
                    <a:cubicBezTo>
                      <a:pt x="137" y="329"/>
                      <a:pt x="137" y="329"/>
                      <a:pt x="137" y="329"/>
                    </a:cubicBezTo>
                    <a:cubicBezTo>
                      <a:pt x="137" y="329"/>
                      <a:pt x="137" y="333"/>
                      <a:pt x="135" y="335"/>
                    </a:cubicBezTo>
                    <a:cubicBezTo>
                      <a:pt x="133" y="337"/>
                      <a:pt x="128" y="341"/>
                      <a:pt x="127" y="344"/>
                    </a:cubicBezTo>
                    <a:cubicBezTo>
                      <a:pt x="126" y="347"/>
                      <a:pt x="123" y="355"/>
                      <a:pt x="123" y="355"/>
                    </a:cubicBezTo>
                    <a:cubicBezTo>
                      <a:pt x="121" y="348"/>
                      <a:pt x="121" y="348"/>
                      <a:pt x="121" y="348"/>
                    </a:cubicBezTo>
                    <a:cubicBezTo>
                      <a:pt x="120" y="348"/>
                      <a:pt x="120" y="348"/>
                      <a:pt x="120" y="348"/>
                    </a:cubicBezTo>
                    <a:cubicBezTo>
                      <a:pt x="120" y="348"/>
                      <a:pt x="117" y="355"/>
                      <a:pt x="119" y="358"/>
                    </a:cubicBezTo>
                    <a:cubicBezTo>
                      <a:pt x="120" y="360"/>
                      <a:pt x="122" y="365"/>
                      <a:pt x="122" y="365"/>
                    </a:cubicBezTo>
                    <a:cubicBezTo>
                      <a:pt x="122" y="371"/>
                      <a:pt x="122" y="371"/>
                      <a:pt x="122" y="371"/>
                    </a:cubicBezTo>
                    <a:cubicBezTo>
                      <a:pt x="125" y="373"/>
                      <a:pt x="125" y="373"/>
                      <a:pt x="125" y="373"/>
                    </a:cubicBezTo>
                    <a:cubicBezTo>
                      <a:pt x="126" y="370"/>
                      <a:pt x="126" y="370"/>
                      <a:pt x="126" y="370"/>
                    </a:cubicBezTo>
                    <a:cubicBezTo>
                      <a:pt x="126" y="370"/>
                      <a:pt x="122" y="363"/>
                      <a:pt x="127" y="361"/>
                    </a:cubicBezTo>
                    <a:cubicBezTo>
                      <a:pt x="130" y="359"/>
                      <a:pt x="132" y="360"/>
                      <a:pt x="132" y="360"/>
                    </a:cubicBezTo>
                    <a:cubicBezTo>
                      <a:pt x="132" y="363"/>
                      <a:pt x="132" y="363"/>
                      <a:pt x="132" y="363"/>
                    </a:cubicBezTo>
                    <a:cubicBezTo>
                      <a:pt x="139" y="368"/>
                      <a:pt x="139" y="368"/>
                      <a:pt x="139" y="368"/>
                    </a:cubicBezTo>
                    <a:cubicBezTo>
                      <a:pt x="144" y="374"/>
                      <a:pt x="144" y="374"/>
                      <a:pt x="144" y="374"/>
                    </a:cubicBezTo>
                    <a:cubicBezTo>
                      <a:pt x="147" y="368"/>
                      <a:pt x="147" y="368"/>
                      <a:pt x="147" y="368"/>
                    </a:cubicBezTo>
                    <a:cubicBezTo>
                      <a:pt x="145" y="363"/>
                      <a:pt x="145" y="363"/>
                      <a:pt x="145" y="363"/>
                    </a:cubicBezTo>
                    <a:cubicBezTo>
                      <a:pt x="145" y="360"/>
                      <a:pt x="145" y="360"/>
                      <a:pt x="145" y="360"/>
                    </a:cubicBezTo>
                    <a:cubicBezTo>
                      <a:pt x="145" y="360"/>
                      <a:pt x="147" y="364"/>
                      <a:pt x="149" y="365"/>
                    </a:cubicBezTo>
                    <a:cubicBezTo>
                      <a:pt x="153" y="365"/>
                      <a:pt x="153" y="365"/>
                      <a:pt x="153" y="365"/>
                    </a:cubicBezTo>
                    <a:cubicBezTo>
                      <a:pt x="153" y="365"/>
                      <a:pt x="149" y="372"/>
                      <a:pt x="153" y="372"/>
                    </a:cubicBezTo>
                    <a:cubicBezTo>
                      <a:pt x="158" y="372"/>
                      <a:pt x="164" y="371"/>
                      <a:pt x="164" y="371"/>
                    </a:cubicBezTo>
                    <a:cubicBezTo>
                      <a:pt x="166" y="368"/>
                      <a:pt x="166" y="368"/>
                      <a:pt x="166" y="368"/>
                    </a:cubicBezTo>
                    <a:cubicBezTo>
                      <a:pt x="170" y="369"/>
                      <a:pt x="170" y="369"/>
                      <a:pt x="170" y="369"/>
                    </a:cubicBezTo>
                    <a:cubicBezTo>
                      <a:pt x="178" y="369"/>
                      <a:pt x="178" y="369"/>
                      <a:pt x="178" y="369"/>
                    </a:cubicBezTo>
                    <a:cubicBezTo>
                      <a:pt x="179" y="357"/>
                      <a:pt x="179" y="357"/>
                      <a:pt x="179" y="357"/>
                    </a:cubicBezTo>
                    <a:cubicBezTo>
                      <a:pt x="179" y="357"/>
                      <a:pt x="179" y="362"/>
                      <a:pt x="181" y="363"/>
                    </a:cubicBezTo>
                    <a:cubicBezTo>
                      <a:pt x="183" y="363"/>
                      <a:pt x="198" y="365"/>
                      <a:pt x="198" y="365"/>
                    </a:cubicBezTo>
                    <a:cubicBezTo>
                      <a:pt x="196" y="368"/>
                      <a:pt x="196" y="368"/>
                      <a:pt x="196" y="368"/>
                    </a:cubicBezTo>
                    <a:cubicBezTo>
                      <a:pt x="194" y="368"/>
                      <a:pt x="194" y="368"/>
                      <a:pt x="194" y="368"/>
                    </a:cubicBezTo>
                    <a:cubicBezTo>
                      <a:pt x="193" y="366"/>
                      <a:pt x="193" y="366"/>
                      <a:pt x="193" y="366"/>
                    </a:cubicBezTo>
                    <a:cubicBezTo>
                      <a:pt x="188" y="366"/>
                      <a:pt x="188" y="366"/>
                      <a:pt x="188" y="366"/>
                    </a:cubicBezTo>
                    <a:cubicBezTo>
                      <a:pt x="189" y="370"/>
                      <a:pt x="189" y="370"/>
                      <a:pt x="189" y="370"/>
                    </a:cubicBezTo>
                    <a:cubicBezTo>
                      <a:pt x="186" y="369"/>
                      <a:pt x="186" y="369"/>
                      <a:pt x="186" y="369"/>
                    </a:cubicBezTo>
                    <a:cubicBezTo>
                      <a:pt x="180" y="373"/>
                      <a:pt x="180" y="373"/>
                      <a:pt x="180" y="373"/>
                    </a:cubicBezTo>
                    <a:cubicBezTo>
                      <a:pt x="181" y="375"/>
                      <a:pt x="181" y="375"/>
                      <a:pt x="181" y="375"/>
                    </a:cubicBezTo>
                    <a:cubicBezTo>
                      <a:pt x="181" y="375"/>
                      <a:pt x="176" y="378"/>
                      <a:pt x="175" y="381"/>
                    </a:cubicBezTo>
                    <a:cubicBezTo>
                      <a:pt x="174" y="384"/>
                      <a:pt x="172" y="388"/>
                      <a:pt x="172" y="388"/>
                    </a:cubicBezTo>
                    <a:cubicBezTo>
                      <a:pt x="169" y="390"/>
                      <a:pt x="169" y="390"/>
                      <a:pt x="169" y="390"/>
                    </a:cubicBezTo>
                    <a:cubicBezTo>
                      <a:pt x="172" y="396"/>
                      <a:pt x="172" y="396"/>
                      <a:pt x="172" y="396"/>
                    </a:cubicBezTo>
                    <a:cubicBezTo>
                      <a:pt x="174" y="400"/>
                      <a:pt x="174" y="400"/>
                      <a:pt x="174" y="400"/>
                    </a:cubicBezTo>
                    <a:cubicBezTo>
                      <a:pt x="174" y="400"/>
                      <a:pt x="176" y="401"/>
                      <a:pt x="176" y="403"/>
                    </a:cubicBezTo>
                    <a:cubicBezTo>
                      <a:pt x="176" y="404"/>
                      <a:pt x="175" y="409"/>
                      <a:pt x="175" y="410"/>
                    </a:cubicBezTo>
                    <a:cubicBezTo>
                      <a:pt x="176" y="412"/>
                      <a:pt x="178" y="414"/>
                      <a:pt x="178" y="414"/>
                    </a:cubicBezTo>
                    <a:cubicBezTo>
                      <a:pt x="182" y="409"/>
                      <a:pt x="182" y="409"/>
                      <a:pt x="182" y="409"/>
                    </a:cubicBezTo>
                    <a:cubicBezTo>
                      <a:pt x="182" y="413"/>
                      <a:pt x="182" y="413"/>
                      <a:pt x="182" y="413"/>
                    </a:cubicBezTo>
                    <a:cubicBezTo>
                      <a:pt x="180" y="416"/>
                      <a:pt x="180" y="416"/>
                      <a:pt x="180" y="416"/>
                    </a:cubicBezTo>
                    <a:cubicBezTo>
                      <a:pt x="179" y="416"/>
                      <a:pt x="181" y="422"/>
                      <a:pt x="181" y="422"/>
                    </a:cubicBezTo>
                    <a:cubicBezTo>
                      <a:pt x="185" y="417"/>
                      <a:pt x="185" y="417"/>
                      <a:pt x="185" y="417"/>
                    </a:cubicBezTo>
                    <a:cubicBezTo>
                      <a:pt x="186" y="412"/>
                      <a:pt x="186" y="412"/>
                      <a:pt x="186" y="412"/>
                    </a:cubicBezTo>
                    <a:cubicBezTo>
                      <a:pt x="189" y="420"/>
                      <a:pt x="189" y="420"/>
                      <a:pt x="189" y="420"/>
                    </a:cubicBezTo>
                    <a:cubicBezTo>
                      <a:pt x="194" y="417"/>
                      <a:pt x="194" y="417"/>
                      <a:pt x="194" y="417"/>
                    </a:cubicBezTo>
                    <a:cubicBezTo>
                      <a:pt x="194" y="423"/>
                      <a:pt x="194" y="423"/>
                      <a:pt x="194" y="423"/>
                    </a:cubicBezTo>
                    <a:cubicBezTo>
                      <a:pt x="194" y="423"/>
                      <a:pt x="189" y="424"/>
                      <a:pt x="189" y="425"/>
                    </a:cubicBezTo>
                    <a:cubicBezTo>
                      <a:pt x="189" y="427"/>
                      <a:pt x="192" y="428"/>
                      <a:pt x="192" y="428"/>
                    </a:cubicBezTo>
                    <a:cubicBezTo>
                      <a:pt x="191" y="432"/>
                      <a:pt x="191" y="432"/>
                      <a:pt x="191" y="432"/>
                    </a:cubicBezTo>
                    <a:cubicBezTo>
                      <a:pt x="182" y="433"/>
                      <a:pt x="182" y="433"/>
                      <a:pt x="182" y="433"/>
                    </a:cubicBezTo>
                    <a:cubicBezTo>
                      <a:pt x="182" y="433"/>
                      <a:pt x="180" y="442"/>
                      <a:pt x="182" y="443"/>
                    </a:cubicBezTo>
                    <a:cubicBezTo>
                      <a:pt x="184" y="444"/>
                      <a:pt x="185" y="448"/>
                      <a:pt x="185" y="448"/>
                    </a:cubicBezTo>
                    <a:cubicBezTo>
                      <a:pt x="185" y="448"/>
                      <a:pt x="177" y="452"/>
                      <a:pt x="177" y="457"/>
                    </a:cubicBezTo>
                    <a:cubicBezTo>
                      <a:pt x="178" y="461"/>
                      <a:pt x="181" y="470"/>
                      <a:pt x="181" y="470"/>
                    </a:cubicBezTo>
                    <a:cubicBezTo>
                      <a:pt x="186" y="472"/>
                      <a:pt x="186" y="472"/>
                      <a:pt x="186" y="472"/>
                    </a:cubicBezTo>
                    <a:cubicBezTo>
                      <a:pt x="186" y="472"/>
                      <a:pt x="185" y="474"/>
                      <a:pt x="184" y="474"/>
                    </a:cubicBezTo>
                    <a:cubicBezTo>
                      <a:pt x="183" y="474"/>
                      <a:pt x="179" y="472"/>
                      <a:pt x="179" y="472"/>
                    </a:cubicBezTo>
                    <a:cubicBezTo>
                      <a:pt x="177" y="465"/>
                      <a:pt x="177" y="465"/>
                      <a:pt x="177" y="465"/>
                    </a:cubicBezTo>
                    <a:cubicBezTo>
                      <a:pt x="177" y="465"/>
                      <a:pt x="171" y="464"/>
                      <a:pt x="171" y="466"/>
                    </a:cubicBezTo>
                    <a:cubicBezTo>
                      <a:pt x="170" y="467"/>
                      <a:pt x="172" y="474"/>
                      <a:pt x="172" y="474"/>
                    </a:cubicBezTo>
                    <a:cubicBezTo>
                      <a:pt x="165" y="467"/>
                      <a:pt x="165" y="467"/>
                      <a:pt x="165" y="467"/>
                    </a:cubicBezTo>
                    <a:cubicBezTo>
                      <a:pt x="152" y="469"/>
                      <a:pt x="152" y="469"/>
                      <a:pt x="152" y="469"/>
                    </a:cubicBezTo>
                    <a:cubicBezTo>
                      <a:pt x="144" y="464"/>
                      <a:pt x="144" y="464"/>
                      <a:pt x="144" y="464"/>
                    </a:cubicBezTo>
                    <a:cubicBezTo>
                      <a:pt x="144" y="467"/>
                      <a:pt x="144" y="467"/>
                      <a:pt x="144" y="467"/>
                    </a:cubicBezTo>
                    <a:cubicBezTo>
                      <a:pt x="133" y="469"/>
                      <a:pt x="133" y="469"/>
                      <a:pt x="133" y="469"/>
                    </a:cubicBezTo>
                    <a:cubicBezTo>
                      <a:pt x="121" y="475"/>
                      <a:pt x="121" y="475"/>
                      <a:pt x="121" y="475"/>
                    </a:cubicBezTo>
                    <a:cubicBezTo>
                      <a:pt x="121" y="475"/>
                      <a:pt x="120" y="482"/>
                      <a:pt x="117" y="483"/>
                    </a:cubicBezTo>
                    <a:cubicBezTo>
                      <a:pt x="115" y="485"/>
                      <a:pt x="111" y="485"/>
                      <a:pt x="111" y="485"/>
                    </a:cubicBezTo>
                    <a:cubicBezTo>
                      <a:pt x="111" y="485"/>
                      <a:pt x="100" y="490"/>
                      <a:pt x="101" y="491"/>
                    </a:cubicBezTo>
                    <a:cubicBezTo>
                      <a:pt x="103" y="492"/>
                      <a:pt x="107" y="491"/>
                      <a:pt x="109" y="492"/>
                    </a:cubicBezTo>
                    <a:cubicBezTo>
                      <a:pt x="110" y="494"/>
                      <a:pt x="110" y="497"/>
                      <a:pt x="110" y="497"/>
                    </a:cubicBezTo>
                    <a:cubicBezTo>
                      <a:pt x="110" y="497"/>
                      <a:pt x="112" y="496"/>
                      <a:pt x="112" y="494"/>
                    </a:cubicBezTo>
                    <a:cubicBezTo>
                      <a:pt x="113" y="491"/>
                      <a:pt x="114" y="489"/>
                      <a:pt x="116" y="489"/>
                    </a:cubicBezTo>
                    <a:cubicBezTo>
                      <a:pt x="117" y="488"/>
                      <a:pt x="119" y="490"/>
                      <a:pt x="119" y="490"/>
                    </a:cubicBezTo>
                    <a:cubicBezTo>
                      <a:pt x="122" y="489"/>
                      <a:pt x="122" y="489"/>
                      <a:pt x="122" y="489"/>
                    </a:cubicBezTo>
                    <a:cubicBezTo>
                      <a:pt x="129" y="490"/>
                      <a:pt x="129" y="490"/>
                      <a:pt x="129" y="490"/>
                    </a:cubicBezTo>
                    <a:cubicBezTo>
                      <a:pt x="127" y="494"/>
                      <a:pt x="127" y="494"/>
                      <a:pt x="127" y="494"/>
                    </a:cubicBezTo>
                    <a:cubicBezTo>
                      <a:pt x="127" y="494"/>
                      <a:pt x="126" y="499"/>
                      <a:pt x="127" y="500"/>
                    </a:cubicBezTo>
                    <a:cubicBezTo>
                      <a:pt x="128" y="501"/>
                      <a:pt x="128" y="503"/>
                      <a:pt x="128" y="503"/>
                    </a:cubicBezTo>
                    <a:cubicBezTo>
                      <a:pt x="128" y="503"/>
                      <a:pt x="123" y="506"/>
                      <a:pt x="123" y="510"/>
                    </a:cubicBezTo>
                    <a:cubicBezTo>
                      <a:pt x="123" y="512"/>
                      <a:pt x="128" y="514"/>
                      <a:pt x="128" y="514"/>
                    </a:cubicBezTo>
                    <a:cubicBezTo>
                      <a:pt x="126" y="516"/>
                      <a:pt x="126" y="516"/>
                      <a:pt x="126" y="516"/>
                    </a:cubicBezTo>
                    <a:cubicBezTo>
                      <a:pt x="126" y="516"/>
                      <a:pt x="119" y="531"/>
                      <a:pt x="116" y="531"/>
                    </a:cubicBezTo>
                    <a:cubicBezTo>
                      <a:pt x="113" y="532"/>
                      <a:pt x="110" y="532"/>
                      <a:pt x="109" y="533"/>
                    </a:cubicBezTo>
                    <a:cubicBezTo>
                      <a:pt x="106" y="534"/>
                      <a:pt x="102" y="536"/>
                      <a:pt x="102" y="536"/>
                    </a:cubicBezTo>
                    <a:cubicBezTo>
                      <a:pt x="98" y="535"/>
                      <a:pt x="98" y="535"/>
                      <a:pt x="98" y="535"/>
                    </a:cubicBezTo>
                    <a:cubicBezTo>
                      <a:pt x="88" y="538"/>
                      <a:pt x="88" y="538"/>
                      <a:pt x="88" y="538"/>
                    </a:cubicBezTo>
                    <a:cubicBezTo>
                      <a:pt x="87" y="542"/>
                      <a:pt x="87" y="542"/>
                      <a:pt x="87" y="542"/>
                    </a:cubicBezTo>
                    <a:cubicBezTo>
                      <a:pt x="82" y="542"/>
                      <a:pt x="82" y="542"/>
                      <a:pt x="82" y="542"/>
                    </a:cubicBezTo>
                    <a:cubicBezTo>
                      <a:pt x="79" y="538"/>
                      <a:pt x="79" y="538"/>
                      <a:pt x="79" y="538"/>
                    </a:cubicBezTo>
                    <a:cubicBezTo>
                      <a:pt x="76" y="539"/>
                      <a:pt x="76" y="539"/>
                      <a:pt x="76" y="539"/>
                    </a:cubicBezTo>
                    <a:cubicBezTo>
                      <a:pt x="77" y="542"/>
                      <a:pt x="77" y="542"/>
                      <a:pt x="77" y="542"/>
                    </a:cubicBezTo>
                    <a:cubicBezTo>
                      <a:pt x="77" y="542"/>
                      <a:pt x="66" y="543"/>
                      <a:pt x="66" y="545"/>
                    </a:cubicBezTo>
                    <a:cubicBezTo>
                      <a:pt x="65" y="547"/>
                      <a:pt x="65" y="548"/>
                      <a:pt x="65" y="548"/>
                    </a:cubicBezTo>
                    <a:cubicBezTo>
                      <a:pt x="72" y="549"/>
                      <a:pt x="72" y="549"/>
                      <a:pt x="72" y="549"/>
                    </a:cubicBezTo>
                    <a:cubicBezTo>
                      <a:pt x="72" y="549"/>
                      <a:pt x="73" y="554"/>
                      <a:pt x="71" y="554"/>
                    </a:cubicBezTo>
                    <a:cubicBezTo>
                      <a:pt x="68" y="554"/>
                      <a:pt x="66" y="555"/>
                      <a:pt x="66" y="555"/>
                    </a:cubicBezTo>
                    <a:cubicBezTo>
                      <a:pt x="67" y="561"/>
                      <a:pt x="67" y="561"/>
                      <a:pt x="67" y="561"/>
                    </a:cubicBezTo>
                    <a:cubicBezTo>
                      <a:pt x="67" y="561"/>
                      <a:pt x="70" y="559"/>
                      <a:pt x="71" y="559"/>
                    </a:cubicBezTo>
                    <a:cubicBezTo>
                      <a:pt x="72" y="559"/>
                      <a:pt x="74" y="560"/>
                      <a:pt x="74" y="560"/>
                    </a:cubicBezTo>
                    <a:cubicBezTo>
                      <a:pt x="80" y="559"/>
                      <a:pt x="80" y="559"/>
                      <a:pt x="80" y="559"/>
                    </a:cubicBezTo>
                    <a:cubicBezTo>
                      <a:pt x="82" y="555"/>
                      <a:pt x="82" y="555"/>
                      <a:pt x="82" y="555"/>
                    </a:cubicBezTo>
                    <a:cubicBezTo>
                      <a:pt x="86" y="555"/>
                      <a:pt x="86" y="555"/>
                      <a:pt x="86" y="555"/>
                    </a:cubicBezTo>
                    <a:cubicBezTo>
                      <a:pt x="83" y="558"/>
                      <a:pt x="83" y="558"/>
                      <a:pt x="83" y="558"/>
                    </a:cubicBezTo>
                    <a:cubicBezTo>
                      <a:pt x="82" y="561"/>
                      <a:pt x="82" y="561"/>
                      <a:pt x="82" y="561"/>
                    </a:cubicBezTo>
                    <a:cubicBezTo>
                      <a:pt x="73" y="561"/>
                      <a:pt x="73" y="561"/>
                      <a:pt x="73" y="561"/>
                    </a:cubicBezTo>
                    <a:cubicBezTo>
                      <a:pt x="71" y="562"/>
                      <a:pt x="71" y="562"/>
                      <a:pt x="71" y="562"/>
                    </a:cubicBezTo>
                    <a:cubicBezTo>
                      <a:pt x="71" y="562"/>
                      <a:pt x="71" y="567"/>
                      <a:pt x="73" y="567"/>
                    </a:cubicBezTo>
                    <a:cubicBezTo>
                      <a:pt x="76" y="567"/>
                      <a:pt x="80" y="566"/>
                      <a:pt x="80" y="566"/>
                    </a:cubicBezTo>
                    <a:cubicBezTo>
                      <a:pt x="80" y="566"/>
                      <a:pt x="83" y="567"/>
                      <a:pt x="84" y="566"/>
                    </a:cubicBezTo>
                    <a:cubicBezTo>
                      <a:pt x="86" y="565"/>
                      <a:pt x="88" y="563"/>
                      <a:pt x="88" y="563"/>
                    </a:cubicBezTo>
                    <a:cubicBezTo>
                      <a:pt x="96" y="563"/>
                      <a:pt x="96" y="563"/>
                      <a:pt x="96" y="563"/>
                    </a:cubicBezTo>
                    <a:cubicBezTo>
                      <a:pt x="96" y="563"/>
                      <a:pt x="100" y="560"/>
                      <a:pt x="102" y="561"/>
                    </a:cubicBezTo>
                    <a:cubicBezTo>
                      <a:pt x="104" y="562"/>
                      <a:pt x="99" y="565"/>
                      <a:pt x="101" y="566"/>
                    </a:cubicBezTo>
                    <a:cubicBezTo>
                      <a:pt x="103" y="567"/>
                      <a:pt x="109" y="569"/>
                      <a:pt x="109" y="569"/>
                    </a:cubicBezTo>
                    <a:cubicBezTo>
                      <a:pt x="115" y="568"/>
                      <a:pt x="115" y="568"/>
                      <a:pt x="115" y="568"/>
                    </a:cubicBezTo>
                    <a:cubicBezTo>
                      <a:pt x="114" y="570"/>
                      <a:pt x="114" y="570"/>
                      <a:pt x="114" y="570"/>
                    </a:cubicBezTo>
                    <a:cubicBezTo>
                      <a:pt x="109" y="571"/>
                      <a:pt x="109" y="571"/>
                      <a:pt x="109" y="571"/>
                    </a:cubicBezTo>
                    <a:cubicBezTo>
                      <a:pt x="109" y="571"/>
                      <a:pt x="103" y="570"/>
                      <a:pt x="103" y="573"/>
                    </a:cubicBezTo>
                    <a:cubicBezTo>
                      <a:pt x="102" y="575"/>
                      <a:pt x="102" y="577"/>
                      <a:pt x="104" y="577"/>
                    </a:cubicBezTo>
                    <a:cubicBezTo>
                      <a:pt x="107" y="577"/>
                      <a:pt x="112" y="578"/>
                      <a:pt x="112" y="578"/>
                    </a:cubicBezTo>
                    <a:cubicBezTo>
                      <a:pt x="112" y="578"/>
                      <a:pt x="115" y="574"/>
                      <a:pt x="118" y="575"/>
                    </a:cubicBezTo>
                    <a:cubicBezTo>
                      <a:pt x="122" y="576"/>
                      <a:pt x="126" y="587"/>
                      <a:pt x="126" y="587"/>
                    </a:cubicBezTo>
                    <a:cubicBezTo>
                      <a:pt x="126" y="587"/>
                      <a:pt x="131" y="593"/>
                      <a:pt x="137" y="594"/>
                    </a:cubicBezTo>
                    <a:cubicBezTo>
                      <a:pt x="143" y="594"/>
                      <a:pt x="152" y="589"/>
                      <a:pt x="152" y="589"/>
                    </a:cubicBezTo>
                    <a:cubicBezTo>
                      <a:pt x="163" y="586"/>
                      <a:pt x="163" y="586"/>
                      <a:pt x="163" y="586"/>
                    </a:cubicBezTo>
                    <a:cubicBezTo>
                      <a:pt x="170" y="580"/>
                      <a:pt x="170" y="580"/>
                      <a:pt x="170" y="580"/>
                    </a:cubicBezTo>
                    <a:cubicBezTo>
                      <a:pt x="180" y="575"/>
                      <a:pt x="180" y="575"/>
                      <a:pt x="180" y="575"/>
                    </a:cubicBezTo>
                    <a:cubicBezTo>
                      <a:pt x="181" y="576"/>
                      <a:pt x="181" y="576"/>
                      <a:pt x="181" y="576"/>
                    </a:cubicBezTo>
                    <a:cubicBezTo>
                      <a:pt x="171" y="582"/>
                      <a:pt x="171" y="582"/>
                      <a:pt x="171" y="582"/>
                    </a:cubicBezTo>
                    <a:cubicBezTo>
                      <a:pt x="166" y="589"/>
                      <a:pt x="166" y="589"/>
                      <a:pt x="166" y="589"/>
                    </a:cubicBezTo>
                    <a:cubicBezTo>
                      <a:pt x="161" y="590"/>
                      <a:pt x="161" y="590"/>
                      <a:pt x="161" y="590"/>
                    </a:cubicBezTo>
                    <a:cubicBezTo>
                      <a:pt x="161" y="590"/>
                      <a:pt x="151" y="597"/>
                      <a:pt x="151" y="599"/>
                    </a:cubicBezTo>
                    <a:cubicBezTo>
                      <a:pt x="150" y="602"/>
                      <a:pt x="152" y="605"/>
                      <a:pt x="148" y="606"/>
                    </a:cubicBezTo>
                    <a:cubicBezTo>
                      <a:pt x="144" y="607"/>
                      <a:pt x="132" y="608"/>
                      <a:pt x="130" y="605"/>
                    </a:cubicBezTo>
                    <a:cubicBezTo>
                      <a:pt x="128" y="602"/>
                      <a:pt x="121" y="600"/>
                      <a:pt x="118" y="599"/>
                    </a:cubicBezTo>
                    <a:cubicBezTo>
                      <a:pt x="115" y="599"/>
                      <a:pt x="102" y="597"/>
                      <a:pt x="99" y="600"/>
                    </a:cubicBezTo>
                    <a:cubicBezTo>
                      <a:pt x="97" y="602"/>
                      <a:pt x="100" y="608"/>
                      <a:pt x="100" y="608"/>
                    </a:cubicBezTo>
                    <a:cubicBezTo>
                      <a:pt x="100" y="608"/>
                      <a:pt x="98" y="609"/>
                      <a:pt x="94" y="610"/>
                    </a:cubicBezTo>
                    <a:cubicBezTo>
                      <a:pt x="90" y="611"/>
                      <a:pt x="88" y="607"/>
                      <a:pt x="86" y="608"/>
                    </a:cubicBezTo>
                    <a:cubicBezTo>
                      <a:pt x="83" y="609"/>
                      <a:pt x="81" y="623"/>
                      <a:pt x="81" y="623"/>
                    </a:cubicBezTo>
                    <a:cubicBezTo>
                      <a:pt x="70" y="628"/>
                      <a:pt x="70" y="628"/>
                      <a:pt x="70" y="628"/>
                    </a:cubicBezTo>
                    <a:cubicBezTo>
                      <a:pt x="69" y="631"/>
                      <a:pt x="69" y="631"/>
                      <a:pt x="69" y="631"/>
                    </a:cubicBezTo>
                    <a:cubicBezTo>
                      <a:pt x="56" y="636"/>
                      <a:pt x="56" y="636"/>
                      <a:pt x="56" y="636"/>
                    </a:cubicBezTo>
                    <a:cubicBezTo>
                      <a:pt x="55" y="640"/>
                      <a:pt x="55" y="640"/>
                      <a:pt x="55" y="640"/>
                    </a:cubicBezTo>
                    <a:cubicBezTo>
                      <a:pt x="55" y="640"/>
                      <a:pt x="51" y="641"/>
                      <a:pt x="50" y="643"/>
                    </a:cubicBezTo>
                    <a:cubicBezTo>
                      <a:pt x="48" y="644"/>
                      <a:pt x="47" y="647"/>
                      <a:pt x="47" y="647"/>
                    </a:cubicBezTo>
                    <a:cubicBezTo>
                      <a:pt x="38" y="652"/>
                      <a:pt x="38" y="652"/>
                      <a:pt x="38" y="652"/>
                    </a:cubicBezTo>
                    <a:cubicBezTo>
                      <a:pt x="34" y="653"/>
                      <a:pt x="34" y="653"/>
                      <a:pt x="34" y="653"/>
                    </a:cubicBezTo>
                    <a:cubicBezTo>
                      <a:pt x="34" y="653"/>
                      <a:pt x="25" y="652"/>
                      <a:pt x="23" y="654"/>
                    </a:cubicBezTo>
                    <a:cubicBezTo>
                      <a:pt x="20" y="656"/>
                      <a:pt x="21" y="662"/>
                      <a:pt x="21" y="662"/>
                    </a:cubicBezTo>
                    <a:cubicBezTo>
                      <a:pt x="30" y="661"/>
                      <a:pt x="30" y="661"/>
                      <a:pt x="30" y="661"/>
                    </a:cubicBezTo>
                    <a:cubicBezTo>
                      <a:pt x="30" y="658"/>
                      <a:pt x="30" y="658"/>
                      <a:pt x="30" y="658"/>
                    </a:cubicBezTo>
                    <a:cubicBezTo>
                      <a:pt x="30" y="658"/>
                      <a:pt x="35" y="660"/>
                      <a:pt x="36" y="661"/>
                    </a:cubicBezTo>
                    <a:cubicBezTo>
                      <a:pt x="37" y="662"/>
                      <a:pt x="41" y="670"/>
                      <a:pt x="41" y="670"/>
                    </a:cubicBezTo>
                    <a:cubicBezTo>
                      <a:pt x="48" y="665"/>
                      <a:pt x="48" y="665"/>
                      <a:pt x="48" y="665"/>
                    </a:cubicBezTo>
                    <a:cubicBezTo>
                      <a:pt x="47" y="662"/>
                      <a:pt x="47" y="662"/>
                      <a:pt x="47" y="662"/>
                    </a:cubicBezTo>
                    <a:cubicBezTo>
                      <a:pt x="47" y="662"/>
                      <a:pt x="52" y="655"/>
                      <a:pt x="52" y="656"/>
                    </a:cubicBezTo>
                    <a:cubicBezTo>
                      <a:pt x="52" y="657"/>
                      <a:pt x="53" y="660"/>
                      <a:pt x="53" y="660"/>
                    </a:cubicBezTo>
                    <a:cubicBezTo>
                      <a:pt x="53" y="660"/>
                      <a:pt x="61" y="657"/>
                      <a:pt x="62" y="657"/>
                    </a:cubicBezTo>
                    <a:cubicBezTo>
                      <a:pt x="63" y="656"/>
                      <a:pt x="66" y="652"/>
                      <a:pt x="66" y="652"/>
                    </a:cubicBezTo>
                    <a:cubicBezTo>
                      <a:pt x="66" y="652"/>
                      <a:pt x="72" y="654"/>
                      <a:pt x="74" y="653"/>
                    </a:cubicBezTo>
                    <a:cubicBezTo>
                      <a:pt x="78" y="653"/>
                      <a:pt x="84" y="652"/>
                      <a:pt x="85" y="653"/>
                    </a:cubicBezTo>
                    <a:cubicBezTo>
                      <a:pt x="85" y="654"/>
                      <a:pt x="86" y="658"/>
                      <a:pt x="86" y="658"/>
                    </a:cubicBezTo>
                    <a:cubicBezTo>
                      <a:pt x="89" y="656"/>
                      <a:pt x="89" y="656"/>
                      <a:pt x="89" y="656"/>
                    </a:cubicBezTo>
                    <a:cubicBezTo>
                      <a:pt x="90" y="650"/>
                      <a:pt x="90" y="650"/>
                      <a:pt x="90" y="650"/>
                    </a:cubicBezTo>
                    <a:cubicBezTo>
                      <a:pt x="93" y="659"/>
                      <a:pt x="93" y="659"/>
                      <a:pt x="93" y="659"/>
                    </a:cubicBezTo>
                    <a:cubicBezTo>
                      <a:pt x="100" y="659"/>
                      <a:pt x="100" y="659"/>
                      <a:pt x="100" y="659"/>
                    </a:cubicBezTo>
                    <a:cubicBezTo>
                      <a:pt x="100" y="659"/>
                      <a:pt x="101" y="666"/>
                      <a:pt x="104" y="666"/>
                    </a:cubicBezTo>
                    <a:cubicBezTo>
                      <a:pt x="109" y="668"/>
                      <a:pt x="112" y="662"/>
                      <a:pt x="112" y="662"/>
                    </a:cubicBezTo>
                    <a:cubicBezTo>
                      <a:pt x="115" y="660"/>
                      <a:pt x="115" y="660"/>
                      <a:pt x="115" y="660"/>
                    </a:cubicBezTo>
                    <a:cubicBezTo>
                      <a:pt x="114" y="656"/>
                      <a:pt x="114" y="656"/>
                      <a:pt x="114" y="656"/>
                    </a:cubicBezTo>
                    <a:cubicBezTo>
                      <a:pt x="118" y="653"/>
                      <a:pt x="118" y="653"/>
                      <a:pt x="118" y="653"/>
                    </a:cubicBezTo>
                    <a:cubicBezTo>
                      <a:pt x="119" y="647"/>
                      <a:pt x="119" y="647"/>
                      <a:pt x="119" y="647"/>
                    </a:cubicBezTo>
                    <a:cubicBezTo>
                      <a:pt x="122" y="645"/>
                      <a:pt x="122" y="645"/>
                      <a:pt x="122" y="645"/>
                    </a:cubicBezTo>
                    <a:cubicBezTo>
                      <a:pt x="122" y="639"/>
                      <a:pt x="122" y="639"/>
                      <a:pt x="122" y="639"/>
                    </a:cubicBezTo>
                    <a:cubicBezTo>
                      <a:pt x="123" y="644"/>
                      <a:pt x="123" y="644"/>
                      <a:pt x="123" y="644"/>
                    </a:cubicBezTo>
                    <a:cubicBezTo>
                      <a:pt x="123" y="644"/>
                      <a:pt x="129" y="641"/>
                      <a:pt x="141" y="641"/>
                    </a:cubicBezTo>
                    <a:cubicBezTo>
                      <a:pt x="153" y="642"/>
                      <a:pt x="160" y="653"/>
                      <a:pt x="160" y="653"/>
                    </a:cubicBezTo>
                    <a:cubicBezTo>
                      <a:pt x="162" y="657"/>
                      <a:pt x="162" y="657"/>
                      <a:pt x="162" y="657"/>
                    </a:cubicBezTo>
                    <a:cubicBezTo>
                      <a:pt x="164" y="655"/>
                      <a:pt x="164" y="655"/>
                      <a:pt x="164" y="655"/>
                    </a:cubicBezTo>
                    <a:cubicBezTo>
                      <a:pt x="164" y="655"/>
                      <a:pt x="161" y="654"/>
                      <a:pt x="163" y="652"/>
                    </a:cubicBezTo>
                    <a:cubicBezTo>
                      <a:pt x="165" y="648"/>
                      <a:pt x="171" y="652"/>
                      <a:pt x="171" y="652"/>
                    </a:cubicBezTo>
                    <a:cubicBezTo>
                      <a:pt x="177" y="652"/>
                      <a:pt x="177" y="652"/>
                      <a:pt x="177" y="652"/>
                    </a:cubicBezTo>
                    <a:cubicBezTo>
                      <a:pt x="178" y="653"/>
                      <a:pt x="182" y="657"/>
                      <a:pt x="184" y="655"/>
                    </a:cubicBezTo>
                    <a:cubicBezTo>
                      <a:pt x="187" y="654"/>
                      <a:pt x="185" y="650"/>
                      <a:pt x="185" y="650"/>
                    </a:cubicBezTo>
                    <a:cubicBezTo>
                      <a:pt x="185" y="650"/>
                      <a:pt x="178" y="647"/>
                      <a:pt x="180" y="646"/>
                    </a:cubicBezTo>
                    <a:cubicBezTo>
                      <a:pt x="182" y="645"/>
                      <a:pt x="185" y="649"/>
                      <a:pt x="186" y="648"/>
                    </a:cubicBezTo>
                    <a:cubicBezTo>
                      <a:pt x="188" y="648"/>
                      <a:pt x="195" y="646"/>
                      <a:pt x="195" y="646"/>
                    </a:cubicBezTo>
                    <a:cubicBezTo>
                      <a:pt x="195" y="646"/>
                      <a:pt x="199" y="649"/>
                      <a:pt x="201" y="649"/>
                    </a:cubicBezTo>
                    <a:cubicBezTo>
                      <a:pt x="202" y="649"/>
                      <a:pt x="203" y="646"/>
                      <a:pt x="203" y="646"/>
                    </a:cubicBezTo>
                    <a:cubicBezTo>
                      <a:pt x="203" y="646"/>
                      <a:pt x="209" y="648"/>
                      <a:pt x="211" y="647"/>
                    </a:cubicBezTo>
                    <a:cubicBezTo>
                      <a:pt x="213" y="646"/>
                      <a:pt x="212" y="642"/>
                      <a:pt x="212" y="642"/>
                    </a:cubicBezTo>
                    <a:cubicBezTo>
                      <a:pt x="212" y="642"/>
                      <a:pt x="216" y="648"/>
                      <a:pt x="218" y="648"/>
                    </a:cubicBezTo>
                    <a:cubicBezTo>
                      <a:pt x="220" y="648"/>
                      <a:pt x="220" y="643"/>
                      <a:pt x="220" y="644"/>
                    </a:cubicBezTo>
                    <a:cubicBezTo>
                      <a:pt x="221" y="646"/>
                      <a:pt x="224" y="649"/>
                      <a:pt x="224" y="649"/>
                    </a:cubicBezTo>
                    <a:cubicBezTo>
                      <a:pt x="224" y="649"/>
                      <a:pt x="226" y="643"/>
                      <a:pt x="229" y="646"/>
                    </a:cubicBezTo>
                    <a:cubicBezTo>
                      <a:pt x="232" y="649"/>
                      <a:pt x="231" y="654"/>
                      <a:pt x="232" y="654"/>
                    </a:cubicBezTo>
                    <a:cubicBezTo>
                      <a:pt x="234" y="654"/>
                      <a:pt x="237" y="653"/>
                      <a:pt x="237" y="653"/>
                    </a:cubicBezTo>
                    <a:cubicBezTo>
                      <a:pt x="237" y="653"/>
                      <a:pt x="248" y="650"/>
                      <a:pt x="257" y="652"/>
                    </a:cubicBezTo>
                    <a:cubicBezTo>
                      <a:pt x="264" y="654"/>
                      <a:pt x="270" y="659"/>
                      <a:pt x="276" y="659"/>
                    </a:cubicBezTo>
                    <a:cubicBezTo>
                      <a:pt x="281" y="659"/>
                      <a:pt x="283" y="657"/>
                      <a:pt x="283" y="657"/>
                    </a:cubicBezTo>
                    <a:cubicBezTo>
                      <a:pt x="295" y="656"/>
                      <a:pt x="295" y="656"/>
                      <a:pt x="295" y="656"/>
                    </a:cubicBezTo>
                    <a:cubicBezTo>
                      <a:pt x="301" y="649"/>
                      <a:pt x="301" y="649"/>
                      <a:pt x="301" y="649"/>
                    </a:cubicBezTo>
                    <a:cubicBezTo>
                      <a:pt x="310" y="653"/>
                      <a:pt x="310" y="653"/>
                      <a:pt x="310" y="653"/>
                    </a:cubicBezTo>
                    <a:cubicBezTo>
                      <a:pt x="310" y="653"/>
                      <a:pt x="309" y="643"/>
                      <a:pt x="312" y="643"/>
                    </a:cubicBezTo>
                    <a:cubicBezTo>
                      <a:pt x="315" y="643"/>
                      <a:pt x="318" y="644"/>
                      <a:pt x="318" y="644"/>
                    </a:cubicBezTo>
                    <a:cubicBezTo>
                      <a:pt x="328" y="641"/>
                      <a:pt x="328" y="641"/>
                      <a:pt x="328" y="641"/>
                    </a:cubicBezTo>
                    <a:cubicBezTo>
                      <a:pt x="329" y="631"/>
                      <a:pt x="329" y="631"/>
                      <a:pt x="329" y="631"/>
                    </a:cubicBezTo>
                    <a:cubicBezTo>
                      <a:pt x="332" y="627"/>
                      <a:pt x="332" y="627"/>
                      <a:pt x="332" y="627"/>
                    </a:cubicBezTo>
                    <a:cubicBezTo>
                      <a:pt x="331" y="625"/>
                      <a:pt x="331" y="625"/>
                      <a:pt x="331" y="625"/>
                    </a:cubicBezTo>
                    <a:cubicBezTo>
                      <a:pt x="310" y="626"/>
                      <a:pt x="310" y="626"/>
                      <a:pt x="310" y="626"/>
                    </a:cubicBezTo>
                    <a:cubicBezTo>
                      <a:pt x="307" y="625"/>
                      <a:pt x="307" y="625"/>
                      <a:pt x="307" y="625"/>
                    </a:cubicBezTo>
                    <a:cubicBezTo>
                      <a:pt x="311" y="623"/>
                      <a:pt x="311" y="623"/>
                      <a:pt x="311" y="623"/>
                    </a:cubicBezTo>
                    <a:cubicBezTo>
                      <a:pt x="311" y="623"/>
                      <a:pt x="312" y="621"/>
                      <a:pt x="309" y="620"/>
                    </a:cubicBezTo>
                    <a:cubicBezTo>
                      <a:pt x="306" y="618"/>
                      <a:pt x="302" y="621"/>
                      <a:pt x="302" y="621"/>
                    </a:cubicBezTo>
                    <a:cubicBezTo>
                      <a:pt x="296" y="621"/>
                      <a:pt x="296" y="621"/>
                      <a:pt x="296" y="621"/>
                    </a:cubicBezTo>
                    <a:cubicBezTo>
                      <a:pt x="303" y="617"/>
                      <a:pt x="303" y="617"/>
                      <a:pt x="303" y="617"/>
                    </a:cubicBezTo>
                    <a:cubicBezTo>
                      <a:pt x="298" y="614"/>
                      <a:pt x="298" y="614"/>
                      <a:pt x="298" y="614"/>
                    </a:cubicBezTo>
                    <a:cubicBezTo>
                      <a:pt x="295" y="614"/>
                      <a:pt x="295" y="614"/>
                      <a:pt x="295" y="614"/>
                    </a:cubicBezTo>
                    <a:cubicBezTo>
                      <a:pt x="293" y="615"/>
                      <a:pt x="293" y="615"/>
                      <a:pt x="293" y="615"/>
                    </a:cubicBezTo>
                    <a:cubicBezTo>
                      <a:pt x="290" y="615"/>
                      <a:pt x="290" y="615"/>
                      <a:pt x="290" y="615"/>
                    </a:cubicBezTo>
                    <a:cubicBezTo>
                      <a:pt x="292" y="614"/>
                      <a:pt x="292" y="614"/>
                      <a:pt x="292" y="614"/>
                    </a:cubicBezTo>
                    <a:cubicBezTo>
                      <a:pt x="294" y="612"/>
                      <a:pt x="294" y="612"/>
                      <a:pt x="294" y="612"/>
                    </a:cubicBezTo>
                    <a:cubicBezTo>
                      <a:pt x="298" y="612"/>
                      <a:pt x="298" y="612"/>
                      <a:pt x="298" y="612"/>
                    </a:cubicBezTo>
                    <a:cubicBezTo>
                      <a:pt x="307" y="613"/>
                      <a:pt x="307" y="613"/>
                      <a:pt x="307" y="613"/>
                    </a:cubicBezTo>
                    <a:cubicBezTo>
                      <a:pt x="312" y="609"/>
                      <a:pt x="312" y="609"/>
                      <a:pt x="312" y="609"/>
                    </a:cubicBezTo>
                    <a:cubicBezTo>
                      <a:pt x="309" y="607"/>
                      <a:pt x="309" y="607"/>
                      <a:pt x="309" y="607"/>
                    </a:cubicBezTo>
                    <a:cubicBezTo>
                      <a:pt x="313" y="606"/>
                      <a:pt x="313" y="606"/>
                      <a:pt x="313" y="606"/>
                    </a:cubicBezTo>
                    <a:cubicBezTo>
                      <a:pt x="314" y="599"/>
                      <a:pt x="314" y="599"/>
                      <a:pt x="314" y="599"/>
                    </a:cubicBezTo>
                    <a:cubicBezTo>
                      <a:pt x="308" y="601"/>
                      <a:pt x="308" y="601"/>
                      <a:pt x="308" y="601"/>
                    </a:cubicBezTo>
                    <a:cubicBezTo>
                      <a:pt x="306" y="599"/>
                      <a:pt x="306" y="599"/>
                      <a:pt x="306" y="599"/>
                    </a:cubicBezTo>
                    <a:cubicBezTo>
                      <a:pt x="315" y="596"/>
                      <a:pt x="315" y="596"/>
                      <a:pt x="315" y="596"/>
                    </a:cubicBezTo>
                    <a:cubicBezTo>
                      <a:pt x="316" y="594"/>
                      <a:pt x="316" y="594"/>
                      <a:pt x="316" y="594"/>
                    </a:cubicBezTo>
                    <a:cubicBezTo>
                      <a:pt x="319" y="598"/>
                      <a:pt x="319" y="598"/>
                      <a:pt x="319" y="598"/>
                    </a:cubicBezTo>
                    <a:cubicBezTo>
                      <a:pt x="319" y="598"/>
                      <a:pt x="324" y="598"/>
                      <a:pt x="327" y="596"/>
                    </a:cubicBezTo>
                    <a:cubicBezTo>
                      <a:pt x="330" y="595"/>
                      <a:pt x="327" y="592"/>
                      <a:pt x="327" y="592"/>
                    </a:cubicBezTo>
                    <a:cubicBezTo>
                      <a:pt x="329" y="590"/>
                      <a:pt x="329" y="590"/>
                      <a:pt x="329" y="590"/>
                    </a:cubicBezTo>
                    <a:cubicBezTo>
                      <a:pt x="323" y="587"/>
                      <a:pt x="323" y="587"/>
                      <a:pt x="323" y="587"/>
                    </a:cubicBezTo>
                    <a:cubicBezTo>
                      <a:pt x="328" y="585"/>
                      <a:pt x="328" y="585"/>
                      <a:pt x="328" y="585"/>
                    </a:cubicBezTo>
                    <a:cubicBezTo>
                      <a:pt x="328" y="582"/>
                      <a:pt x="328" y="582"/>
                      <a:pt x="328" y="582"/>
                    </a:cubicBezTo>
                    <a:cubicBezTo>
                      <a:pt x="330" y="582"/>
                      <a:pt x="330" y="582"/>
                      <a:pt x="330" y="582"/>
                    </a:cubicBezTo>
                    <a:cubicBezTo>
                      <a:pt x="331" y="587"/>
                      <a:pt x="331" y="587"/>
                      <a:pt x="331" y="587"/>
                    </a:cubicBezTo>
                    <a:cubicBezTo>
                      <a:pt x="331" y="587"/>
                      <a:pt x="343" y="583"/>
                      <a:pt x="345" y="580"/>
                    </a:cubicBezTo>
                    <a:cubicBezTo>
                      <a:pt x="348" y="577"/>
                      <a:pt x="345" y="569"/>
                      <a:pt x="348" y="567"/>
                    </a:cubicBezTo>
                    <a:cubicBezTo>
                      <a:pt x="351" y="564"/>
                      <a:pt x="357" y="553"/>
                      <a:pt x="355" y="545"/>
                    </a:cubicBezTo>
                    <a:cubicBezTo>
                      <a:pt x="354" y="535"/>
                      <a:pt x="342" y="526"/>
                      <a:pt x="342" y="526"/>
                    </a:cubicBezTo>
                    <a:close/>
                    <a:moveTo>
                      <a:pt x="217" y="652"/>
                    </a:moveTo>
                    <a:cubicBezTo>
                      <a:pt x="217" y="652"/>
                      <a:pt x="214" y="648"/>
                      <a:pt x="212" y="648"/>
                    </a:cubicBezTo>
                    <a:cubicBezTo>
                      <a:pt x="211" y="648"/>
                      <a:pt x="209" y="650"/>
                      <a:pt x="209" y="650"/>
                    </a:cubicBezTo>
                    <a:cubicBezTo>
                      <a:pt x="200" y="652"/>
                      <a:pt x="200" y="652"/>
                      <a:pt x="200" y="652"/>
                    </a:cubicBezTo>
                    <a:cubicBezTo>
                      <a:pt x="202" y="655"/>
                      <a:pt x="202" y="655"/>
                      <a:pt x="202" y="655"/>
                    </a:cubicBezTo>
                    <a:cubicBezTo>
                      <a:pt x="205" y="655"/>
                      <a:pt x="205" y="655"/>
                      <a:pt x="205" y="655"/>
                    </a:cubicBezTo>
                    <a:cubicBezTo>
                      <a:pt x="210" y="661"/>
                      <a:pt x="210" y="661"/>
                      <a:pt x="210" y="661"/>
                    </a:cubicBezTo>
                    <a:cubicBezTo>
                      <a:pt x="216" y="660"/>
                      <a:pt x="216" y="660"/>
                      <a:pt x="216" y="660"/>
                    </a:cubicBezTo>
                    <a:cubicBezTo>
                      <a:pt x="216" y="660"/>
                      <a:pt x="217" y="658"/>
                      <a:pt x="218" y="657"/>
                    </a:cubicBezTo>
                    <a:cubicBezTo>
                      <a:pt x="220" y="657"/>
                      <a:pt x="221" y="655"/>
                      <a:pt x="221" y="655"/>
                    </a:cubicBezTo>
                    <a:cubicBezTo>
                      <a:pt x="219" y="652"/>
                      <a:pt x="219" y="652"/>
                      <a:pt x="219" y="652"/>
                    </a:cubicBezTo>
                    <a:lnTo>
                      <a:pt x="217" y="652"/>
                    </a:lnTo>
                    <a:close/>
                    <a:moveTo>
                      <a:pt x="117" y="454"/>
                    </a:moveTo>
                    <a:cubicBezTo>
                      <a:pt x="115" y="458"/>
                      <a:pt x="115" y="458"/>
                      <a:pt x="115" y="458"/>
                    </a:cubicBezTo>
                    <a:cubicBezTo>
                      <a:pt x="112" y="456"/>
                      <a:pt x="112" y="456"/>
                      <a:pt x="112" y="456"/>
                    </a:cubicBezTo>
                    <a:cubicBezTo>
                      <a:pt x="111" y="459"/>
                      <a:pt x="111" y="459"/>
                      <a:pt x="111" y="459"/>
                    </a:cubicBezTo>
                    <a:cubicBezTo>
                      <a:pt x="115" y="465"/>
                      <a:pt x="115" y="465"/>
                      <a:pt x="115" y="465"/>
                    </a:cubicBezTo>
                    <a:cubicBezTo>
                      <a:pt x="115" y="465"/>
                      <a:pt x="115" y="470"/>
                      <a:pt x="121" y="471"/>
                    </a:cubicBezTo>
                    <a:cubicBezTo>
                      <a:pt x="128" y="472"/>
                      <a:pt x="129" y="466"/>
                      <a:pt x="129" y="466"/>
                    </a:cubicBezTo>
                    <a:cubicBezTo>
                      <a:pt x="135" y="465"/>
                      <a:pt x="135" y="465"/>
                      <a:pt x="135" y="465"/>
                    </a:cubicBezTo>
                    <a:cubicBezTo>
                      <a:pt x="136" y="463"/>
                      <a:pt x="136" y="463"/>
                      <a:pt x="136" y="463"/>
                    </a:cubicBezTo>
                    <a:cubicBezTo>
                      <a:pt x="130" y="460"/>
                      <a:pt x="130" y="460"/>
                      <a:pt x="130" y="460"/>
                    </a:cubicBezTo>
                    <a:cubicBezTo>
                      <a:pt x="128" y="453"/>
                      <a:pt x="128" y="453"/>
                      <a:pt x="128" y="453"/>
                    </a:cubicBezTo>
                    <a:cubicBezTo>
                      <a:pt x="121" y="452"/>
                      <a:pt x="121" y="452"/>
                      <a:pt x="121" y="452"/>
                    </a:cubicBezTo>
                    <a:lnTo>
                      <a:pt x="117" y="454"/>
                    </a:lnTo>
                    <a:close/>
                    <a:moveTo>
                      <a:pt x="134" y="391"/>
                    </a:moveTo>
                    <a:cubicBezTo>
                      <a:pt x="128" y="400"/>
                      <a:pt x="128" y="400"/>
                      <a:pt x="128" y="400"/>
                    </a:cubicBezTo>
                    <a:cubicBezTo>
                      <a:pt x="123" y="401"/>
                      <a:pt x="123" y="401"/>
                      <a:pt x="123" y="401"/>
                    </a:cubicBezTo>
                    <a:cubicBezTo>
                      <a:pt x="123" y="401"/>
                      <a:pt x="121" y="404"/>
                      <a:pt x="123" y="406"/>
                    </a:cubicBezTo>
                    <a:cubicBezTo>
                      <a:pt x="126" y="409"/>
                      <a:pt x="128" y="410"/>
                      <a:pt x="128" y="410"/>
                    </a:cubicBezTo>
                    <a:cubicBezTo>
                      <a:pt x="132" y="408"/>
                      <a:pt x="132" y="408"/>
                      <a:pt x="132" y="408"/>
                    </a:cubicBezTo>
                    <a:cubicBezTo>
                      <a:pt x="138" y="403"/>
                      <a:pt x="142" y="400"/>
                      <a:pt x="142" y="400"/>
                    </a:cubicBezTo>
                    <a:cubicBezTo>
                      <a:pt x="139" y="396"/>
                      <a:pt x="139" y="396"/>
                      <a:pt x="139" y="396"/>
                    </a:cubicBezTo>
                    <a:cubicBezTo>
                      <a:pt x="139" y="392"/>
                      <a:pt x="139" y="392"/>
                      <a:pt x="139" y="392"/>
                    </a:cubicBezTo>
                    <a:lnTo>
                      <a:pt x="134" y="391"/>
                    </a:lnTo>
                    <a:close/>
                    <a:moveTo>
                      <a:pt x="129" y="302"/>
                    </a:moveTo>
                    <a:cubicBezTo>
                      <a:pt x="126" y="301"/>
                      <a:pt x="126" y="301"/>
                      <a:pt x="126" y="301"/>
                    </a:cubicBezTo>
                    <a:cubicBezTo>
                      <a:pt x="122" y="305"/>
                      <a:pt x="122" y="305"/>
                      <a:pt x="122" y="305"/>
                    </a:cubicBezTo>
                    <a:cubicBezTo>
                      <a:pt x="121" y="317"/>
                      <a:pt x="121" y="317"/>
                      <a:pt x="121" y="317"/>
                    </a:cubicBezTo>
                    <a:cubicBezTo>
                      <a:pt x="121" y="317"/>
                      <a:pt x="125" y="322"/>
                      <a:pt x="128" y="319"/>
                    </a:cubicBezTo>
                    <a:cubicBezTo>
                      <a:pt x="130" y="317"/>
                      <a:pt x="129" y="313"/>
                      <a:pt x="129" y="313"/>
                    </a:cubicBezTo>
                    <a:cubicBezTo>
                      <a:pt x="131" y="309"/>
                      <a:pt x="131" y="309"/>
                      <a:pt x="131" y="309"/>
                    </a:cubicBezTo>
                    <a:lnTo>
                      <a:pt x="129" y="302"/>
                    </a:lnTo>
                    <a:close/>
                    <a:moveTo>
                      <a:pt x="135" y="292"/>
                    </a:moveTo>
                    <a:cubicBezTo>
                      <a:pt x="133" y="292"/>
                      <a:pt x="133" y="292"/>
                      <a:pt x="133" y="292"/>
                    </a:cubicBezTo>
                    <a:cubicBezTo>
                      <a:pt x="134" y="301"/>
                      <a:pt x="134" y="301"/>
                      <a:pt x="134" y="301"/>
                    </a:cubicBezTo>
                    <a:cubicBezTo>
                      <a:pt x="136" y="303"/>
                      <a:pt x="136" y="303"/>
                      <a:pt x="136" y="303"/>
                    </a:cubicBezTo>
                    <a:cubicBezTo>
                      <a:pt x="138" y="302"/>
                      <a:pt x="138" y="302"/>
                      <a:pt x="138" y="302"/>
                    </a:cubicBezTo>
                    <a:cubicBezTo>
                      <a:pt x="137" y="299"/>
                      <a:pt x="137" y="299"/>
                      <a:pt x="137" y="299"/>
                    </a:cubicBezTo>
                    <a:cubicBezTo>
                      <a:pt x="138" y="297"/>
                      <a:pt x="138" y="297"/>
                      <a:pt x="138" y="297"/>
                    </a:cubicBezTo>
                    <a:lnTo>
                      <a:pt x="135" y="292"/>
                    </a:lnTo>
                    <a:close/>
                    <a:moveTo>
                      <a:pt x="99" y="286"/>
                    </a:moveTo>
                    <a:cubicBezTo>
                      <a:pt x="99" y="283"/>
                      <a:pt x="100" y="280"/>
                      <a:pt x="100" y="280"/>
                    </a:cubicBezTo>
                    <a:cubicBezTo>
                      <a:pt x="92" y="283"/>
                      <a:pt x="92" y="283"/>
                      <a:pt x="92" y="283"/>
                    </a:cubicBezTo>
                    <a:cubicBezTo>
                      <a:pt x="92" y="284"/>
                      <a:pt x="92" y="284"/>
                      <a:pt x="92" y="284"/>
                    </a:cubicBezTo>
                    <a:cubicBezTo>
                      <a:pt x="87" y="282"/>
                      <a:pt x="87" y="282"/>
                      <a:pt x="87" y="282"/>
                    </a:cubicBezTo>
                    <a:cubicBezTo>
                      <a:pt x="87" y="282"/>
                      <a:pt x="84" y="283"/>
                      <a:pt x="83" y="287"/>
                    </a:cubicBezTo>
                    <a:cubicBezTo>
                      <a:pt x="83" y="291"/>
                      <a:pt x="82" y="293"/>
                      <a:pt x="82" y="293"/>
                    </a:cubicBezTo>
                    <a:cubicBezTo>
                      <a:pt x="84" y="293"/>
                      <a:pt x="84" y="293"/>
                      <a:pt x="84" y="293"/>
                    </a:cubicBezTo>
                    <a:cubicBezTo>
                      <a:pt x="88" y="286"/>
                      <a:pt x="88" y="286"/>
                      <a:pt x="88" y="286"/>
                    </a:cubicBezTo>
                    <a:cubicBezTo>
                      <a:pt x="93" y="287"/>
                      <a:pt x="93" y="287"/>
                      <a:pt x="93" y="287"/>
                    </a:cubicBezTo>
                    <a:cubicBezTo>
                      <a:pt x="93" y="291"/>
                      <a:pt x="93" y="291"/>
                      <a:pt x="93" y="291"/>
                    </a:cubicBezTo>
                    <a:cubicBezTo>
                      <a:pt x="93" y="291"/>
                      <a:pt x="89" y="290"/>
                      <a:pt x="89" y="291"/>
                    </a:cubicBezTo>
                    <a:cubicBezTo>
                      <a:pt x="89" y="292"/>
                      <a:pt x="90" y="296"/>
                      <a:pt x="90" y="296"/>
                    </a:cubicBezTo>
                    <a:cubicBezTo>
                      <a:pt x="90" y="296"/>
                      <a:pt x="86" y="297"/>
                      <a:pt x="86" y="299"/>
                    </a:cubicBezTo>
                    <a:cubicBezTo>
                      <a:pt x="87" y="301"/>
                      <a:pt x="92" y="299"/>
                      <a:pt x="92" y="299"/>
                    </a:cubicBezTo>
                    <a:cubicBezTo>
                      <a:pt x="92" y="299"/>
                      <a:pt x="97" y="299"/>
                      <a:pt x="99" y="295"/>
                    </a:cubicBezTo>
                    <a:cubicBezTo>
                      <a:pt x="100" y="292"/>
                      <a:pt x="97" y="291"/>
                      <a:pt x="97" y="291"/>
                    </a:cubicBezTo>
                    <a:cubicBezTo>
                      <a:pt x="99" y="289"/>
                      <a:pt x="99" y="289"/>
                      <a:pt x="99" y="289"/>
                    </a:cubicBezTo>
                    <a:lnTo>
                      <a:pt x="99" y="286"/>
                    </a:lnTo>
                    <a:close/>
                    <a:moveTo>
                      <a:pt x="111" y="283"/>
                    </a:moveTo>
                    <a:cubicBezTo>
                      <a:pt x="118" y="271"/>
                      <a:pt x="118" y="271"/>
                      <a:pt x="118" y="271"/>
                    </a:cubicBezTo>
                    <a:cubicBezTo>
                      <a:pt x="115" y="272"/>
                      <a:pt x="115" y="272"/>
                      <a:pt x="115" y="272"/>
                    </a:cubicBezTo>
                    <a:cubicBezTo>
                      <a:pt x="111" y="276"/>
                      <a:pt x="111" y="276"/>
                      <a:pt x="111" y="276"/>
                    </a:cubicBezTo>
                    <a:cubicBezTo>
                      <a:pt x="107" y="276"/>
                      <a:pt x="107" y="276"/>
                      <a:pt x="107" y="276"/>
                    </a:cubicBezTo>
                    <a:cubicBezTo>
                      <a:pt x="106" y="280"/>
                      <a:pt x="106" y="280"/>
                      <a:pt x="106" y="280"/>
                    </a:cubicBezTo>
                    <a:cubicBezTo>
                      <a:pt x="110" y="280"/>
                      <a:pt x="110" y="280"/>
                      <a:pt x="110" y="280"/>
                    </a:cubicBezTo>
                    <a:cubicBezTo>
                      <a:pt x="109" y="281"/>
                      <a:pt x="109" y="281"/>
                      <a:pt x="109" y="281"/>
                    </a:cubicBezTo>
                    <a:cubicBezTo>
                      <a:pt x="102" y="283"/>
                      <a:pt x="102" y="283"/>
                      <a:pt x="102" y="283"/>
                    </a:cubicBezTo>
                    <a:cubicBezTo>
                      <a:pt x="101" y="287"/>
                      <a:pt x="101" y="287"/>
                      <a:pt x="101" y="287"/>
                    </a:cubicBezTo>
                    <a:cubicBezTo>
                      <a:pt x="102" y="291"/>
                      <a:pt x="102" y="291"/>
                      <a:pt x="102" y="291"/>
                    </a:cubicBezTo>
                    <a:lnTo>
                      <a:pt x="111" y="283"/>
                    </a:lnTo>
                    <a:close/>
                    <a:moveTo>
                      <a:pt x="103" y="269"/>
                    </a:moveTo>
                    <a:cubicBezTo>
                      <a:pt x="103" y="269"/>
                      <a:pt x="102" y="267"/>
                      <a:pt x="99" y="268"/>
                    </a:cubicBezTo>
                    <a:cubicBezTo>
                      <a:pt x="97" y="269"/>
                      <a:pt x="97" y="272"/>
                      <a:pt x="97" y="272"/>
                    </a:cubicBezTo>
                    <a:cubicBezTo>
                      <a:pt x="100" y="274"/>
                      <a:pt x="100" y="274"/>
                      <a:pt x="100" y="274"/>
                    </a:cubicBezTo>
                    <a:cubicBezTo>
                      <a:pt x="100" y="271"/>
                      <a:pt x="100" y="271"/>
                      <a:pt x="100" y="271"/>
                    </a:cubicBezTo>
                    <a:lnTo>
                      <a:pt x="103" y="269"/>
                    </a:lnTo>
                    <a:close/>
                    <a:moveTo>
                      <a:pt x="81" y="236"/>
                    </a:moveTo>
                    <a:cubicBezTo>
                      <a:pt x="79" y="242"/>
                      <a:pt x="79" y="242"/>
                      <a:pt x="79" y="242"/>
                    </a:cubicBezTo>
                    <a:cubicBezTo>
                      <a:pt x="81" y="243"/>
                      <a:pt x="81" y="243"/>
                      <a:pt x="81" y="243"/>
                    </a:cubicBezTo>
                    <a:cubicBezTo>
                      <a:pt x="85" y="239"/>
                      <a:pt x="85" y="239"/>
                      <a:pt x="85" y="239"/>
                    </a:cubicBezTo>
                    <a:cubicBezTo>
                      <a:pt x="88" y="238"/>
                      <a:pt x="88" y="238"/>
                      <a:pt x="88" y="238"/>
                    </a:cubicBezTo>
                    <a:cubicBezTo>
                      <a:pt x="89" y="236"/>
                      <a:pt x="89" y="236"/>
                      <a:pt x="89" y="236"/>
                    </a:cubicBezTo>
                    <a:cubicBezTo>
                      <a:pt x="86" y="235"/>
                      <a:pt x="86" y="235"/>
                      <a:pt x="86" y="235"/>
                    </a:cubicBezTo>
                    <a:cubicBezTo>
                      <a:pt x="84" y="237"/>
                      <a:pt x="84" y="237"/>
                      <a:pt x="84" y="237"/>
                    </a:cubicBezTo>
                    <a:lnTo>
                      <a:pt x="81" y="236"/>
                    </a:lnTo>
                    <a:close/>
                    <a:moveTo>
                      <a:pt x="99" y="230"/>
                    </a:moveTo>
                    <a:cubicBezTo>
                      <a:pt x="92" y="234"/>
                      <a:pt x="92" y="234"/>
                      <a:pt x="92" y="234"/>
                    </a:cubicBezTo>
                    <a:cubicBezTo>
                      <a:pt x="96" y="236"/>
                      <a:pt x="96" y="236"/>
                      <a:pt x="96" y="236"/>
                    </a:cubicBezTo>
                    <a:cubicBezTo>
                      <a:pt x="101" y="232"/>
                      <a:pt x="101" y="232"/>
                      <a:pt x="101" y="232"/>
                    </a:cubicBezTo>
                    <a:lnTo>
                      <a:pt x="99" y="230"/>
                    </a:lnTo>
                    <a:close/>
                    <a:moveTo>
                      <a:pt x="125" y="255"/>
                    </a:moveTo>
                    <a:cubicBezTo>
                      <a:pt x="126" y="252"/>
                      <a:pt x="126" y="252"/>
                      <a:pt x="126" y="252"/>
                    </a:cubicBezTo>
                    <a:cubicBezTo>
                      <a:pt x="121" y="247"/>
                      <a:pt x="121" y="247"/>
                      <a:pt x="121" y="247"/>
                    </a:cubicBezTo>
                    <a:cubicBezTo>
                      <a:pt x="116" y="245"/>
                      <a:pt x="116" y="245"/>
                      <a:pt x="116" y="245"/>
                    </a:cubicBezTo>
                    <a:cubicBezTo>
                      <a:pt x="115" y="240"/>
                      <a:pt x="115" y="240"/>
                      <a:pt x="115" y="240"/>
                    </a:cubicBezTo>
                    <a:cubicBezTo>
                      <a:pt x="112" y="235"/>
                      <a:pt x="112" y="235"/>
                      <a:pt x="112" y="235"/>
                    </a:cubicBezTo>
                    <a:cubicBezTo>
                      <a:pt x="110" y="235"/>
                      <a:pt x="110" y="235"/>
                      <a:pt x="110" y="235"/>
                    </a:cubicBezTo>
                    <a:cubicBezTo>
                      <a:pt x="109" y="237"/>
                      <a:pt x="109" y="237"/>
                      <a:pt x="109" y="237"/>
                    </a:cubicBezTo>
                    <a:cubicBezTo>
                      <a:pt x="106" y="236"/>
                      <a:pt x="106" y="236"/>
                      <a:pt x="106" y="236"/>
                    </a:cubicBezTo>
                    <a:cubicBezTo>
                      <a:pt x="103" y="239"/>
                      <a:pt x="103" y="239"/>
                      <a:pt x="103" y="239"/>
                    </a:cubicBezTo>
                    <a:cubicBezTo>
                      <a:pt x="110" y="245"/>
                      <a:pt x="110" y="245"/>
                      <a:pt x="110" y="245"/>
                    </a:cubicBezTo>
                    <a:cubicBezTo>
                      <a:pt x="110" y="245"/>
                      <a:pt x="114" y="244"/>
                      <a:pt x="114" y="246"/>
                    </a:cubicBezTo>
                    <a:cubicBezTo>
                      <a:pt x="115" y="248"/>
                      <a:pt x="109" y="248"/>
                      <a:pt x="109" y="248"/>
                    </a:cubicBezTo>
                    <a:cubicBezTo>
                      <a:pt x="105" y="252"/>
                      <a:pt x="105" y="252"/>
                      <a:pt x="105" y="252"/>
                    </a:cubicBezTo>
                    <a:cubicBezTo>
                      <a:pt x="105" y="252"/>
                      <a:pt x="114" y="251"/>
                      <a:pt x="114" y="252"/>
                    </a:cubicBezTo>
                    <a:cubicBezTo>
                      <a:pt x="113" y="254"/>
                      <a:pt x="103" y="254"/>
                      <a:pt x="103" y="254"/>
                    </a:cubicBezTo>
                    <a:cubicBezTo>
                      <a:pt x="102" y="255"/>
                      <a:pt x="102" y="255"/>
                      <a:pt x="102" y="255"/>
                    </a:cubicBezTo>
                    <a:cubicBezTo>
                      <a:pt x="99" y="251"/>
                      <a:pt x="99" y="251"/>
                      <a:pt x="99" y="251"/>
                    </a:cubicBezTo>
                    <a:cubicBezTo>
                      <a:pt x="96" y="252"/>
                      <a:pt x="96" y="252"/>
                      <a:pt x="96" y="252"/>
                    </a:cubicBezTo>
                    <a:cubicBezTo>
                      <a:pt x="100" y="258"/>
                      <a:pt x="100" y="258"/>
                      <a:pt x="100" y="258"/>
                    </a:cubicBezTo>
                    <a:cubicBezTo>
                      <a:pt x="103" y="260"/>
                      <a:pt x="103" y="260"/>
                      <a:pt x="103" y="260"/>
                    </a:cubicBezTo>
                    <a:cubicBezTo>
                      <a:pt x="106" y="259"/>
                      <a:pt x="106" y="259"/>
                      <a:pt x="106" y="259"/>
                    </a:cubicBezTo>
                    <a:cubicBezTo>
                      <a:pt x="107" y="259"/>
                      <a:pt x="107" y="259"/>
                      <a:pt x="107" y="259"/>
                    </a:cubicBezTo>
                    <a:cubicBezTo>
                      <a:pt x="117" y="256"/>
                      <a:pt x="117" y="256"/>
                      <a:pt x="117" y="256"/>
                    </a:cubicBezTo>
                    <a:cubicBezTo>
                      <a:pt x="117" y="259"/>
                      <a:pt x="117" y="259"/>
                      <a:pt x="117" y="259"/>
                    </a:cubicBezTo>
                    <a:cubicBezTo>
                      <a:pt x="122" y="256"/>
                      <a:pt x="122" y="256"/>
                      <a:pt x="122" y="256"/>
                    </a:cubicBezTo>
                    <a:cubicBezTo>
                      <a:pt x="122" y="256"/>
                      <a:pt x="120" y="255"/>
                      <a:pt x="120" y="254"/>
                    </a:cubicBezTo>
                    <a:cubicBezTo>
                      <a:pt x="121" y="252"/>
                      <a:pt x="125" y="255"/>
                      <a:pt x="125" y="255"/>
                    </a:cubicBezTo>
                    <a:close/>
                    <a:moveTo>
                      <a:pt x="133" y="246"/>
                    </a:moveTo>
                    <a:cubicBezTo>
                      <a:pt x="130" y="250"/>
                      <a:pt x="130" y="250"/>
                      <a:pt x="130" y="250"/>
                    </a:cubicBezTo>
                    <a:cubicBezTo>
                      <a:pt x="135" y="248"/>
                      <a:pt x="135" y="248"/>
                      <a:pt x="135" y="248"/>
                    </a:cubicBezTo>
                    <a:lnTo>
                      <a:pt x="133" y="246"/>
                    </a:lnTo>
                    <a:close/>
                    <a:moveTo>
                      <a:pt x="117" y="217"/>
                    </a:moveTo>
                    <a:cubicBezTo>
                      <a:pt x="114" y="219"/>
                      <a:pt x="114" y="219"/>
                      <a:pt x="114" y="219"/>
                    </a:cubicBezTo>
                    <a:cubicBezTo>
                      <a:pt x="116" y="221"/>
                      <a:pt x="116" y="221"/>
                      <a:pt x="116" y="221"/>
                    </a:cubicBezTo>
                    <a:lnTo>
                      <a:pt x="117" y="217"/>
                    </a:lnTo>
                    <a:close/>
                    <a:moveTo>
                      <a:pt x="114" y="211"/>
                    </a:moveTo>
                    <a:cubicBezTo>
                      <a:pt x="112" y="208"/>
                      <a:pt x="112" y="208"/>
                      <a:pt x="112" y="208"/>
                    </a:cubicBezTo>
                    <a:cubicBezTo>
                      <a:pt x="107" y="211"/>
                      <a:pt x="107" y="211"/>
                      <a:pt x="107" y="211"/>
                    </a:cubicBezTo>
                    <a:cubicBezTo>
                      <a:pt x="110" y="216"/>
                      <a:pt x="110" y="216"/>
                      <a:pt x="110" y="216"/>
                    </a:cubicBezTo>
                    <a:cubicBezTo>
                      <a:pt x="113" y="214"/>
                      <a:pt x="113" y="214"/>
                      <a:pt x="113" y="214"/>
                    </a:cubicBezTo>
                    <a:lnTo>
                      <a:pt x="114" y="211"/>
                    </a:lnTo>
                    <a:close/>
                    <a:moveTo>
                      <a:pt x="106" y="204"/>
                    </a:moveTo>
                    <a:cubicBezTo>
                      <a:pt x="102" y="204"/>
                      <a:pt x="102" y="204"/>
                      <a:pt x="102" y="204"/>
                    </a:cubicBezTo>
                    <a:cubicBezTo>
                      <a:pt x="106" y="208"/>
                      <a:pt x="106" y="208"/>
                      <a:pt x="106" y="208"/>
                    </a:cubicBezTo>
                    <a:lnTo>
                      <a:pt x="106" y="204"/>
                    </a:lnTo>
                    <a:close/>
                    <a:moveTo>
                      <a:pt x="71" y="205"/>
                    </a:moveTo>
                    <a:cubicBezTo>
                      <a:pt x="80" y="201"/>
                      <a:pt x="78" y="197"/>
                      <a:pt x="70" y="200"/>
                    </a:cubicBezTo>
                    <a:cubicBezTo>
                      <a:pt x="62" y="204"/>
                      <a:pt x="71" y="205"/>
                      <a:pt x="71" y="205"/>
                    </a:cubicBezTo>
                    <a:close/>
                    <a:moveTo>
                      <a:pt x="80" y="198"/>
                    </a:moveTo>
                    <a:cubicBezTo>
                      <a:pt x="82" y="197"/>
                      <a:pt x="82" y="197"/>
                      <a:pt x="82" y="197"/>
                    </a:cubicBezTo>
                    <a:cubicBezTo>
                      <a:pt x="79" y="193"/>
                      <a:pt x="79" y="193"/>
                      <a:pt x="79" y="193"/>
                    </a:cubicBezTo>
                    <a:cubicBezTo>
                      <a:pt x="82" y="193"/>
                      <a:pt x="82" y="193"/>
                      <a:pt x="82" y="193"/>
                    </a:cubicBezTo>
                    <a:cubicBezTo>
                      <a:pt x="82" y="189"/>
                      <a:pt x="82" y="189"/>
                      <a:pt x="82" y="189"/>
                    </a:cubicBezTo>
                    <a:cubicBezTo>
                      <a:pt x="84" y="188"/>
                      <a:pt x="84" y="188"/>
                      <a:pt x="84" y="188"/>
                    </a:cubicBezTo>
                    <a:cubicBezTo>
                      <a:pt x="84" y="188"/>
                      <a:pt x="85" y="186"/>
                      <a:pt x="84" y="183"/>
                    </a:cubicBezTo>
                    <a:cubicBezTo>
                      <a:pt x="84" y="179"/>
                      <a:pt x="81" y="179"/>
                      <a:pt x="81" y="179"/>
                    </a:cubicBezTo>
                    <a:cubicBezTo>
                      <a:pt x="79" y="185"/>
                      <a:pt x="79" y="185"/>
                      <a:pt x="79" y="185"/>
                    </a:cubicBezTo>
                    <a:cubicBezTo>
                      <a:pt x="79" y="185"/>
                      <a:pt x="77" y="182"/>
                      <a:pt x="77" y="185"/>
                    </a:cubicBezTo>
                    <a:cubicBezTo>
                      <a:pt x="76" y="188"/>
                      <a:pt x="74" y="195"/>
                      <a:pt x="76" y="196"/>
                    </a:cubicBezTo>
                    <a:cubicBezTo>
                      <a:pt x="77" y="197"/>
                      <a:pt x="80" y="198"/>
                      <a:pt x="80" y="198"/>
                    </a:cubicBezTo>
                    <a:close/>
                    <a:moveTo>
                      <a:pt x="85" y="173"/>
                    </a:moveTo>
                    <a:cubicBezTo>
                      <a:pt x="84" y="171"/>
                      <a:pt x="84" y="171"/>
                      <a:pt x="84" y="171"/>
                    </a:cubicBezTo>
                    <a:cubicBezTo>
                      <a:pt x="81" y="171"/>
                      <a:pt x="81" y="171"/>
                      <a:pt x="81" y="171"/>
                    </a:cubicBezTo>
                    <a:cubicBezTo>
                      <a:pt x="82" y="176"/>
                      <a:pt x="82" y="176"/>
                      <a:pt x="82" y="176"/>
                    </a:cubicBezTo>
                    <a:cubicBezTo>
                      <a:pt x="88" y="177"/>
                      <a:pt x="88" y="177"/>
                      <a:pt x="88" y="177"/>
                    </a:cubicBezTo>
                    <a:cubicBezTo>
                      <a:pt x="88" y="173"/>
                      <a:pt x="88" y="173"/>
                      <a:pt x="88" y="173"/>
                    </a:cubicBezTo>
                    <a:lnTo>
                      <a:pt x="85" y="173"/>
                    </a:lnTo>
                    <a:close/>
                    <a:moveTo>
                      <a:pt x="123" y="212"/>
                    </a:moveTo>
                    <a:cubicBezTo>
                      <a:pt x="127" y="212"/>
                      <a:pt x="132" y="207"/>
                      <a:pt x="132" y="207"/>
                    </a:cubicBezTo>
                    <a:cubicBezTo>
                      <a:pt x="132" y="205"/>
                      <a:pt x="132" y="205"/>
                      <a:pt x="132" y="205"/>
                    </a:cubicBezTo>
                    <a:cubicBezTo>
                      <a:pt x="132" y="205"/>
                      <a:pt x="136" y="205"/>
                      <a:pt x="136" y="203"/>
                    </a:cubicBezTo>
                    <a:cubicBezTo>
                      <a:pt x="137" y="200"/>
                      <a:pt x="131" y="199"/>
                      <a:pt x="131" y="199"/>
                    </a:cubicBezTo>
                    <a:cubicBezTo>
                      <a:pt x="125" y="193"/>
                      <a:pt x="125" y="193"/>
                      <a:pt x="125" y="193"/>
                    </a:cubicBezTo>
                    <a:cubicBezTo>
                      <a:pt x="126" y="188"/>
                      <a:pt x="126" y="188"/>
                      <a:pt x="126" y="188"/>
                    </a:cubicBezTo>
                    <a:cubicBezTo>
                      <a:pt x="123" y="187"/>
                      <a:pt x="123" y="187"/>
                      <a:pt x="123" y="187"/>
                    </a:cubicBezTo>
                    <a:cubicBezTo>
                      <a:pt x="123" y="187"/>
                      <a:pt x="128" y="183"/>
                      <a:pt x="128" y="176"/>
                    </a:cubicBezTo>
                    <a:cubicBezTo>
                      <a:pt x="128" y="170"/>
                      <a:pt x="125" y="167"/>
                      <a:pt x="125" y="167"/>
                    </a:cubicBezTo>
                    <a:cubicBezTo>
                      <a:pt x="119" y="170"/>
                      <a:pt x="119" y="170"/>
                      <a:pt x="119" y="170"/>
                    </a:cubicBezTo>
                    <a:cubicBezTo>
                      <a:pt x="119" y="179"/>
                      <a:pt x="119" y="179"/>
                      <a:pt x="119" y="179"/>
                    </a:cubicBezTo>
                    <a:cubicBezTo>
                      <a:pt x="114" y="176"/>
                      <a:pt x="114" y="176"/>
                      <a:pt x="114" y="176"/>
                    </a:cubicBezTo>
                    <a:cubicBezTo>
                      <a:pt x="112" y="170"/>
                      <a:pt x="112" y="170"/>
                      <a:pt x="112" y="170"/>
                    </a:cubicBezTo>
                    <a:cubicBezTo>
                      <a:pt x="112" y="170"/>
                      <a:pt x="110" y="170"/>
                      <a:pt x="111" y="173"/>
                    </a:cubicBezTo>
                    <a:cubicBezTo>
                      <a:pt x="111" y="176"/>
                      <a:pt x="112" y="177"/>
                      <a:pt x="112" y="177"/>
                    </a:cubicBezTo>
                    <a:cubicBezTo>
                      <a:pt x="109" y="180"/>
                      <a:pt x="109" y="180"/>
                      <a:pt x="109" y="180"/>
                    </a:cubicBezTo>
                    <a:cubicBezTo>
                      <a:pt x="106" y="174"/>
                      <a:pt x="106" y="174"/>
                      <a:pt x="106" y="174"/>
                    </a:cubicBezTo>
                    <a:cubicBezTo>
                      <a:pt x="103" y="179"/>
                      <a:pt x="103" y="179"/>
                      <a:pt x="103" y="179"/>
                    </a:cubicBezTo>
                    <a:cubicBezTo>
                      <a:pt x="107" y="187"/>
                      <a:pt x="107" y="187"/>
                      <a:pt x="107" y="187"/>
                    </a:cubicBezTo>
                    <a:cubicBezTo>
                      <a:pt x="112" y="184"/>
                      <a:pt x="112" y="184"/>
                      <a:pt x="112" y="184"/>
                    </a:cubicBezTo>
                    <a:cubicBezTo>
                      <a:pt x="115" y="190"/>
                      <a:pt x="115" y="190"/>
                      <a:pt x="115" y="190"/>
                    </a:cubicBezTo>
                    <a:cubicBezTo>
                      <a:pt x="115" y="190"/>
                      <a:pt x="112" y="188"/>
                      <a:pt x="112" y="190"/>
                    </a:cubicBezTo>
                    <a:cubicBezTo>
                      <a:pt x="112" y="191"/>
                      <a:pt x="112" y="200"/>
                      <a:pt x="114" y="201"/>
                    </a:cubicBezTo>
                    <a:cubicBezTo>
                      <a:pt x="117" y="202"/>
                      <a:pt x="118" y="199"/>
                      <a:pt x="120" y="200"/>
                    </a:cubicBezTo>
                    <a:cubicBezTo>
                      <a:pt x="121" y="201"/>
                      <a:pt x="121" y="205"/>
                      <a:pt x="121" y="205"/>
                    </a:cubicBezTo>
                    <a:cubicBezTo>
                      <a:pt x="125" y="200"/>
                      <a:pt x="125" y="200"/>
                      <a:pt x="125" y="200"/>
                    </a:cubicBezTo>
                    <a:cubicBezTo>
                      <a:pt x="127" y="203"/>
                      <a:pt x="127" y="203"/>
                      <a:pt x="127" y="203"/>
                    </a:cubicBezTo>
                    <a:cubicBezTo>
                      <a:pt x="131" y="203"/>
                      <a:pt x="131" y="203"/>
                      <a:pt x="131" y="203"/>
                    </a:cubicBezTo>
                    <a:cubicBezTo>
                      <a:pt x="131" y="203"/>
                      <a:pt x="128" y="205"/>
                      <a:pt x="126" y="206"/>
                    </a:cubicBezTo>
                    <a:cubicBezTo>
                      <a:pt x="123" y="208"/>
                      <a:pt x="121" y="211"/>
                      <a:pt x="123" y="212"/>
                    </a:cubicBezTo>
                    <a:close/>
                    <a:moveTo>
                      <a:pt x="128" y="186"/>
                    </a:moveTo>
                    <a:cubicBezTo>
                      <a:pt x="128" y="190"/>
                      <a:pt x="128" y="190"/>
                      <a:pt x="128" y="190"/>
                    </a:cubicBezTo>
                    <a:cubicBezTo>
                      <a:pt x="128" y="192"/>
                      <a:pt x="128" y="192"/>
                      <a:pt x="128" y="192"/>
                    </a:cubicBezTo>
                    <a:cubicBezTo>
                      <a:pt x="130" y="190"/>
                      <a:pt x="130" y="190"/>
                      <a:pt x="130" y="190"/>
                    </a:cubicBezTo>
                    <a:cubicBezTo>
                      <a:pt x="129" y="187"/>
                      <a:pt x="129" y="187"/>
                      <a:pt x="129" y="187"/>
                    </a:cubicBezTo>
                    <a:cubicBezTo>
                      <a:pt x="131" y="183"/>
                      <a:pt x="131" y="183"/>
                      <a:pt x="131" y="183"/>
                    </a:cubicBezTo>
                    <a:cubicBezTo>
                      <a:pt x="131" y="183"/>
                      <a:pt x="128" y="185"/>
                      <a:pt x="128" y="186"/>
                    </a:cubicBezTo>
                    <a:close/>
                    <a:moveTo>
                      <a:pt x="132" y="196"/>
                    </a:moveTo>
                    <a:cubicBezTo>
                      <a:pt x="131" y="191"/>
                      <a:pt x="131" y="191"/>
                      <a:pt x="131" y="191"/>
                    </a:cubicBezTo>
                    <a:cubicBezTo>
                      <a:pt x="129" y="193"/>
                      <a:pt x="129" y="193"/>
                      <a:pt x="129" y="193"/>
                    </a:cubicBezTo>
                    <a:lnTo>
                      <a:pt x="132" y="196"/>
                    </a:lnTo>
                    <a:close/>
                    <a:moveTo>
                      <a:pt x="135" y="173"/>
                    </a:moveTo>
                    <a:cubicBezTo>
                      <a:pt x="134" y="174"/>
                      <a:pt x="134" y="174"/>
                      <a:pt x="134" y="174"/>
                    </a:cubicBezTo>
                    <a:cubicBezTo>
                      <a:pt x="133" y="180"/>
                      <a:pt x="133" y="180"/>
                      <a:pt x="133" y="180"/>
                    </a:cubicBezTo>
                    <a:cubicBezTo>
                      <a:pt x="133" y="180"/>
                      <a:pt x="135" y="181"/>
                      <a:pt x="135" y="179"/>
                    </a:cubicBezTo>
                    <a:lnTo>
                      <a:pt x="135" y="173"/>
                    </a:lnTo>
                    <a:close/>
                    <a:moveTo>
                      <a:pt x="87" y="170"/>
                    </a:moveTo>
                    <a:cubicBezTo>
                      <a:pt x="89" y="170"/>
                      <a:pt x="93" y="172"/>
                      <a:pt x="93" y="172"/>
                    </a:cubicBezTo>
                    <a:cubicBezTo>
                      <a:pt x="93" y="166"/>
                      <a:pt x="93" y="166"/>
                      <a:pt x="93" y="166"/>
                    </a:cubicBezTo>
                    <a:cubicBezTo>
                      <a:pt x="95" y="166"/>
                      <a:pt x="95" y="166"/>
                      <a:pt x="95" y="166"/>
                    </a:cubicBezTo>
                    <a:cubicBezTo>
                      <a:pt x="96" y="165"/>
                      <a:pt x="96" y="165"/>
                      <a:pt x="96" y="165"/>
                    </a:cubicBezTo>
                    <a:cubicBezTo>
                      <a:pt x="94" y="163"/>
                      <a:pt x="94" y="163"/>
                      <a:pt x="94" y="163"/>
                    </a:cubicBezTo>
                    <a:cubicBezTo>
                      <a:pt x="97" y="158"/>
                      <a:pt x="97" y="158"/>
                      <a:pt x="97" y="158"/>
                    </a:cubicBezTo>
                    <a:cubicBezTo>
                      <a:pt x="95" y="158"/>
                      <a:pt x="95" y="158"/>
                      <a:pt x="95" y="158"/>
                    </a:cubicBezTo>
                    <a:cubicBezTo>
                      <a:pt x="90" y="161"/>
                      <a:pt x="90" y="161"/>
                      <a:pt x="90" y="161"/>
                    </a:cubicBezTo>
                    <a:cubicBezTo>
                      <a:pt x="83" y="160"/>
                      <a:pt x="83" y="160"/>
                      <a:pt x="83" y="160"/>
                    </a:cubicBezTo>
                    <a:cubicBezTo>
                      <a:pt x="81" y="165"/>
                      <a:pt x="81" y="165"/>
                      <a:pt x="81" y="165"/>
                    </a:cubicBezTo>
                    <a:cubicBezTo>
                      <a:pt x="85" y="165"/>
                      <a:pt x="85" y="165"/>
                      <a:pt x="85" y="165"/>
                    </a:cubicBezTo>
                    <a:cubicBezTo>
                      <a:pt x="85" y="165"/>
                      <a:pt x="84" y="170"/>
                      <a:pt x="87" y="170"/>
                    </a:cubicBezTo>
                    <a:close/>
                    <a:moveTo>
                      <a:pt x="111" y="155"/>
                    </a:moveTo>
                    <a:cubicBezTo>
                      <a:pt x="112" y="152"/>
                      <a:pt x="112" y="152"/>
                      <a:pt x="112" y="152"/>
                    </a:cubicBezTo>
                    <a:cubicBezTo>
                      <a:pt x="114" y="152"/>
                      <a:pt x="114" y="152"/>
                      <a:pt x="114" y="152"/>
                    </a:cubicBezTo>
                    <a:cubicBezTo>
                      <a:pt x="114" y="145"/>
                      <a:pt x="114" y="145"/>
                      <a:pt x="114" y="145"/>
                    </a:cubicBezTo>
                    <a:cubicBezTo>
                      <a:pt x="116" y="145"/>
                      <a:pt x="116" y="145"/>
                      <a:pt x="116" y="145"/>
                    </a:cubicBezTo>
                    <a:cubicBezTo>
                      <a:pt x="116" y="145"/>
                      <a:pt x="115" y="150"/>
                      <a:pt x="118" y="151"/>
                    </a:cubicBezTo>
                    <a:cubicBezTo>
                      <a:pt x="121" y="153"/>
                      <a:pt x="122" y="148"/>
                      <a:pt x="122" y="148"/>
                    </a:cubicBezTo>
                    <a:cubicBezTo>
                      <a:pt x="122" y="148"/>
                      <a:pt x="126" y="149"/>
                      <a:pt x="127" y="146"/>
                    </a:cubicBezTo>
                    <a:cubicBezTo>
                      <a:pt x="129" y="144"/>
                      <a:pt x="123" y="141"/>
                      <a:pt x="123" y="141"/>
                    </a:cubicBezTo>
                    <a:cubicBezTo>
                      <a:pt x="128" y="139"/>
                      <a:pt x="128" y="139"/>
                      <a:pt x="128" y="139"/>
                    </a:cubicBezTo>
                    <a:cubicBezTo>
                      <a:pt x="130" y="136"/>
                      <a:pt x="130" y="136"/>
                      <a:pt x="130" y="136"/>
                    </a:cubicBezTo>
                    <a:cubicBezTo>
                      <a:pt x="130" y="136"/>
                      <a:pt x="133" y="138"/>
                      <a:pt x="136" y="137"/>
                    </a:cubicBezTo>
                    <a:cubicBezTo>
                      <a:pt x="141" y="136"/>
                      <a:pt x="141" y="134"/>
                      <a:pt x="141" y="134"/>
                    </a:cubicBezTo>
                    <a:cubicBezTo>
                      <a:pt x="139" y="132"/>
                      <a:pt x="139" y="132"/>
                      <a:pt x="139" y="132"/>
                    </a:cubicBezTo>
                    <a:cubicBezTo>
                      <a:pt x="134" y="135"/>
                      <a:pt x="134" y="135"/>
                      <a:pt x="134" y="135"/>
                    </a:cubicBezTo>
                    <a:cubicBezTo>
                      <a:pt x="134" y="135"/>
                      <a:pt x="133" y="135"/>
                      <a:pt x="133" y="133"/>
                    </a:cubicBezTo>
                    <a:cubicBezTo>
                      <a:pt x="133" y="130"/>
                      <a:pt x="139" y="126"/>
                      <a:pt x="139" y="126"/>
                    </a:cubicBezTo>
                    <a:cubicBezTo>
                      <a:pt x="139" y="125"/>
                      <a:pt x="139" y="125"/>
                      <a:pt x="139" y="125"/>
                    </a:cubicBezTo>
                    <a:cubicBezTo>
                      <a:pt x="141" y="123"/>
                      <a:pt x="141" y="123"/>
                      <a:pt x="141" y="123"/>
                    </a:cubicBezTo>
                    <a:cubicBezTo>
                      <a:pt x="139" y="118"/>
                      <a:pt x="139" y="118"/>
                      <a:pt x="139" y="118"/>
                    </a:cubicBezTo>
                    <a:cubicBezTo>
                      <a:pt x="139" y="118"/>
                      <a:pt x="135" y="118"/>
                      <a:pt x="133" y="120"/>
                    </a:cubicBezTo>
                    <a:cubicBezTo>
                      <a:pt x="131" y="121"/>
                      <a:pt x="129" y="124"/>
                      <a:pt x="129" y="124"/>
                    </a:cubicBezTo>
                    <a:cubicBezTo>
                      <a:pt x="129" y="124"/>
                      <a:pt x="119" y="124"/>
                      <a:pt x="117" y="126"/>
                    </a:cubicBezTo>
                    <a:cubicBezTo>
                      <a:pt x="115" y="128"/>
                      <a:pt x="118" y="134"/>
                      <a:pt x="118" y="134"/>
                    </a:cubicBezTo>
                    <a:cubicBezTo>
                      <a:pt x="112" y="132"/>
                      <a:pt x="112" y="132"/>
                      <a:pt x="112" y="132"/>
                    </a:cubicBezTo>
                    <a:cubicBezTo>
                      <a:pt x="113" y="129"/>
                      <a:pt x="113" y="129"/>
                      <a:pt x="113" y="129"/>
                    </a:cubicBezTo>
                    <a:cubicBezTo>
                      <a:pt x="109" y="127"/>
                      <a:pt x="109" y="127"/>
                      <a:pt x="109" y="127"/>
                    </a:cubicBezTo>
                    <a:cubicBezTo>
                      <a:pt x="109" y="127"/>
                      <a:pt x="106" y="128"/>
                      <a:pt x="104" y="132"/>
                    </a:cubicBezTo>
                    <a:cubicBezTo>
                      <a:pt x="101" y="136"/>
                      <a:pt x="104" y="142"/>
                      <a:pt x="104" y="142"/>
                    </a:cubicBezTo>
                    <a:cubicBezTo>
                      <a:pt x="101" y="143"/>
                      <a:pt x="101" y="143"/>
                      <a:pt x="101" y="143"/>
                    </a:cubicBezTo>
                    <a:cubicBezTo>
                      <a:pt x="101" y="143"/>
                      <a:pt x="105" y="145"/>
                      <a:pt x="107" y="148"/>
                    </a:cubicBezTo>
                    <a:cubicBezTo>
                      <a:pt x="110" y="149"/>
                      <a:pt x="109" y="150"/>
                      <a:pt x="109" y="150"/>
                    </a:cubicBezTo>
                    <a:cubicBezTo>
                      <a:pt x="106" y="149"/>
                      <a:pt x="106" y="149"/>
                      <a:pt x="106" y="149"/>
                    </a:cubicBezTo>
                    <a:cubicBezTo>
                      <a:pt x="105" y="150"/>
                      <a:pt x="105" y="150"/>
                      <a:pt x="105" y="150"/>
                    </a:cubicBezTo>
                    <a:cubicBezTo>
                      <a:pt x="105" y="153"/>
                      <a:pt x="105" y="153"/>
                      <a:pt x="105" y="153"/>
                    </a:cubicBezTo>
                    <a:cubicBezTo>
                      <a:pt x="101" y="154"/>
                      <a:pt x="101" y="154"/>
                      <a:pt x="101" y="154"/>
                    </a:cubicBezTo>
                    <a:cubicBezTo>
                      <a:pt x="99" y="153"/>
                      <a:pt x="99" y="153"/>
                      <a:pt x="99" y="153"/>
                    </a:cubicBezTo>
                    <a:cubicBezTo>
                      <a:pt x="98" y="153"/>
                      <a:pt x="98" y="153"/>
                      <a:pt x="98" y="153"/>
                    </a:cubicBezTo>
                    <a:cubicBezTo>
                      <a:pt x="103" y="159"/>
                      <a:pt x="103" y="159"/>
                      <a:pt x="103" y="159"/>
                    </a:cubicBezTo>
                    <a:lnTo>
                      <a:pt x="111" y="155"/>
                    </a:lnTo>
                    <a:close/>
                    <a:moveTo>
                      <a:pt x="249" y="123"/>
                    </a:moveTo>
                    <a:cubicBezTo>
                      <a:pt x="249" y="123"/>
                      <a:pt x="251" y="123"/>
                      <a:pt x="248" y="114"/>
                    </a:cubicBezTo>
                    <a:cubicBezTo>
                      <a:pt x="245" y="106"/>
                      <a:pt x="242" y="113"/>
                      <a:pt x="242" y="113"/>
                    </a:cubicBezTo>
                    <a:cubicBezTo>
                      <a:pt x="244" y="122"/>
                      <a:pt x="244" y="122"/>
                      <a:pt x="244" y="122"/>
                    </a:cubicBezTo>
                    <a:lnTo>
                      <a:pt x="249" y="123"/>
                    </a:lnTo>
                    <a:close/>
                    <a:moveTo>
                      <a:pt x="253" y="121"/>
                    </a:moveTo>
                    <a:cubicBezTo>
                      <a:pt x="256" y="126"/>
                      <a:pt x="256" y="126"/>
                      <a:pt x="256" y="126"/>
                    </a:cubicBezTo>
                    <a:cubicBezTo>
                      <a:pt x="258" y="120"/>
                      <a:pt x="258" y="120"/>
                      <a:pt x="258" y="120"/>
                    </a:cubicBezTo>
                    <a:cubicBezTo>
                      <a:pt x="256" y="119"/>
                      <a:pt x="256" y="119"/>
                      <a:pt x="256" y="119"/>
                    </a:cubicBezTo>
                    <a:cubicBezTo>
                      <a:pt x="256" y="119"/>
                      <a:pt x="253" y="118"/>
                      <a:pt x="253" y="121"/>
                    </a:cubicBezTo>
                    <a:close/>
                    <a:moveTo>
                      <a:pt x="251" y="111"/>
                    </a:moveTo>
                    <a:cubicBezTo>
                      <a:pt x="257" y="111"/>
                      <a:pt x="257" y="111"/>
                      <a:pt x="257" y="111"/>
                    </a:cubicBezTo>
                    <a:cubicBezTo>
                      <a:pt x="258" y="114"/>
                      <a:pt x="258" y="114"/>
                      <a:pt x="258" y="114"/>
                    </a:cubicBezTo>
                    <a:cubicBezTo>
                      <a:pt x="262" y="117"/>
                      <a:pt x="262" y="117"/>
                      <a:pt x="262" y="117"/>
                    </a:cubicBezTo>
                    <a:cubicBezTo>
                      <a:pt x="264" y="113"/>
                      <a:pt x="264" y="113"/>
                      <a:pt x="264" y="113"/>
                    </a:cubicBezTo>
                    <a:cubicBezTo>
                      <a:pt x="262" y="111"/>
                      <a:pt x="262" y="111"/>
                      <a:pt x="262" y="111"/>
                    </a:cubicBezTo>
                    <a:cubicBezTo>
                      <a:pt x="261" y="108"/>
                      <a:pt x="261" y="108"/>
                      <a:pt x="261" y="108"/>
                    </a:cubicBezTo>
                    <a:cubicBezTo>
                      <a:pt x="256" y="107"/>
                      <a:pt x="256" y="107"/>
                      <a:pt x="256" y="107"/>
                    </a:cubicBezTo>
                    <a:cubicBezTo>
                      <a:pt x="258" y="104"/>
                      <a:pt x="258" y="104"/>
                      <a:pt x="258" y="104"/>
                    </a:cubicBezTo>
                    <a:cubicBezTo>
                      <a:pt x="258" y="104"/>
                      <a:pt x="258" y="101"/>
                      <a:pt x="253" y="98"/>
                    </a:cubicBezTo>
                    <a:cubicBezTo>
                      <a:pt x="249" y="96"/>
                      <a:pt x="249" y="94"/>
                      <a:pt x="247" y="101"/>
                    </a:cubicBezTo>
                    <a:cubicBezTo>
                      <a:pt x="244" y="106"/>
                      <a:pt x="246" y="108"/>
                      <a:pt x="251" y="111"/>
                    </a:cubicBezTo>
                    <a:close/>
                    <a:moveTo>
                      <a:pt x="260" y="105"/>
                    </a:moveTo>
                    <a:cubicBezTo>
                      <a:pt x="264" y="108"/>
                      <a:pt x="264" y="108"/>
                      <a:pt x="264" y="108"/>
                    </a:cubicBezTo>
                    <a:cubicBezTo>
                      <a:pt x="265" y="106"/>
                      <a:pt x="265" y="106"/>
                      <a:pt x="265" y="106"/>
                    </a:cubicBezTo>
                    <a:cubicBezTo>
                      <a:pt x="261" y="104"/>
                      <a:pt x="261" y="104"/>
                      <a:pt x="261" y="104"/>
                    </a:cubicBezTo>
                    <a:lnTo>
                      <a:pt x="260" y="105"/>
                    </a:lnTo>
                    <a:close/>
                    <a:moveTo>
                      <a:pt x="275" y="106"/>
                    </a:moveTo>
                    <a:cubicBezTo>
                      <a:pt x="271" y="101"/>
                      <a:pt x="271" y="101"/>
                      <a:pt x="271" y="101"/>
                    </a:cubicBezTo>
                    <a:cubicBezTo>
                      <a:pt x="270" y="107"/>
                      <a:pt x="270" y="107"/>
                      <a:pt x="270" y="107"/>
                    </a:cubicBezTo>
                    <a:lnTo>
                      <a:pt x="275" y="106"/>
                    </a:lnTo>
                    <a:close/>
                    <a:moveTo>
                      <a:pt x="263" y="97"/>
                    </a:moveTo>
                    <a:cubicBezTo>
                      <a:pt x="259" y="94"/>
                      <a:pt x="259" y="94"/>
                      <a:pt x="259" y="94"/>
                    </a:cubicBezTo>
                    <a:cubicBezTo>
                      <a:pt x="258" y="98"/>
                      <a:pt x="258" y="98"/>
                      <a:pt x="258" y="98"/>
                    </a:cubicBezTo>
                    <a:cubicBezTo>
                      <a:pt x="262" y="101"/>
                      <a:pt x="262" y="101"/>
                      <a:pt x="262" y="101"/>
                    </a:cubicBezTo>
                    <a:lnTo>
                      <a:pt x="263" y="97"/>
                    </a:lnTo>
                    <a:close/>
                    <a:moveTo>
                      <a:pt x="265" y="89"/>
                    </a:moveTo>
                    <a:cubicBezTo>
                      <a:pt x="268" y="89"/>
                      <a:pt x="268" y="89"/>
                      <a:pt x="268" y="89"/>
                    </a:cubicBezTo>
                    <a:cubicBezTo>
                      <a:pt x="268" y="85"/>
                      <a:pt x="268" y="85"/>
                      <a:pt x="268" y="85"/>
                    </a:cubicBezTo>
                    <a:cubicBezTo>
                      <a:pt x="261" y="87"/>
                      <a:pt x="261" y="87"/>
                      <a:pt x="261" y="87"/>
                    </a:cubicBezTo>
                    <a:cubicBezTo>
                      <a:pt x="266" y="94"/>
                      <a:pt x="266" y="94"/>
                      <a:pt x="266" y="94"/>
                    </a:cubicBezTo>
                    <a:lnTo>
                      <a:pt x="265" y="89"/>
                    </a:lnTo>
                    <a:close/>
                    <a:moveTo>
                      <a:pt x="282" y="87"/>
                    </a:moveTo>
                    <a:cubicBezTo>
                      <a:pt x="281" y="89"/>
                      <a:pt x="281" y="89"/>
                      <a:pt x="281" y="89"/>
                    </a:cubicBezTo>
                    <a:cubicBezTo>
                      <a:pt x="284" y="88"/>
                      <a:pt x="284" y="88"/>
                      <a:pt x="284" y="88"/>
                    </a:cubicBezTo>
                    <a:lnTo>
                      <a:pt x="282" y="87"/>
                    </a:lnTo>
                    <a:close/>
                    <a:moveTo>
                      <a:pt x="311" y="82"/>
                    </a:moveTo>
                    <a:cubicBezTo>
                      <a:pt x="310" y="82"/>
                      <a:pt x="310" y="82"/>
                      <a:pt x="310" y="82"/>
                    </a:cubicBezTo>
                    <a:cubicBezTo>
                      <a:pt x="309" y="86"/>
                      <a:pt x="309" y="86"/>
                      <a:pt x="309" y="86"/>
                    </a:cubicBezTo>
                    <a:cubicBezTo>
                      <a:pt x="311" y="85"/>
                      <a:pt x="311" y="85"/>
                      <a:pt x="311" y="85"/>
                    </a:cubicBezTo>
                    <a:lnTo>
                      <a:pt x="311" y="82"/>
                    </a:lnTo>
                    <a:close/>
                    <a:moveTo>
                      <a:pt x="268" y="102"/>
                    </a:moveTo>
                    <a:cubicBezTo>
                      <a:pt x="269" y="95"/>
                      <a:pt x="269" y="95"/>
                      <a:pt x="269" y="95"/>
                    </a:cubicBezTo>
                    <a:cubicBezTo>
                      <a:pt x="269" y="94"/>
                      <a:pt x="269" y="94"/>
                      <a:pt x="269" y="94"/>
                    </a:cubicBezTo>
                    <a:cubicBezTo>
                      <a:pt x="265" y="100"/>
                      <a:pt x="265" y="100"/>
                      <a:pt x="265" y="100"/>
                    </a:cubicBezTo>
                    <a:lnTo>
                      <a:pt x="268" y="102"/>
                    </a:lnTo>
                    <a:close/>
                    <a:moveTo>
                      <a:pt x="282" y="93"/>
                    </a:moveTo>
                    <a:cubicBezTo>
                      <a:pt x="276" y="94"/>
                      <a:pt x="276" y="94"/>
                      <a:pt x="276" y="94"/>
                    </a:cubicBezTo>
                    <a:cubicBezTo>
                      <a:pt x="278" y="93"/>
                      <a:pt x="278" y="93"/>
                      <a:pt x="278" y="93"/>
                    </a:cubicBezTo>
                    <a:cubicBezTo>
                      <a:pt x="278" y="91"/>
                      <a:pt x="278" y="91"/>
                      <a:pt x="278" y="91"/>
                    </a:cubicBezTo>
                    <a:cubicBezTo>
                      <a:pt x="269" y="97"/>
                      <a:pt x="269" y="97"/>
                      <a:pt x="269" y="97"/>
                    </a:cubicBezTo>
                    <a:cubicBezTo>
                      <a:pt x="282" y="95"/>
                      <a:pt x="282" y="95"/>
                      <a:pt x="282" y="95"/>
                    </a:cubicBezTo>
                    <a:lnTo>
                      <a:pt x="282" y="93"/>
                    </a:lnTo>
                    <a:close/>
                    <a:moveTo>
                      <a:pt x="330" y="34"/>
                    </a:moveTo>
                    <a:cubicBezTo>
                      <a:pt x="318" y="34"/>
                      <a:pt x="318" y="34"/>
                      <a:pt x="318" y="34"/>
                    </a:cubicBezTo>
                    <a:cubicBezTo>
                      <a:pt x="320" y="38"/>
                      <a:pt x="320" y="38"/>
                      <a:pt x="320" y="38"/>
                    </a:cubicBezTo>
                    <a:cubicBezTo>
                      <a:pt x="324" y="39"/>
                      <a:pt x="324" y="39"/>
                      <a:pt x="324" y="39"/>
                    </a:cubicBezTo>
                    <a:cubicBezTo>
                      <a:pt x="323" y="44"/>
                      <a:pt x="323" y="44"/>
                      <a:pt x="323" y="44"/>
                    </a:cubicBezTo>
                    <a:cubicBezTo>
                      <a:pt x="331" y="40"/>
                      <a:pt x="331" y="40"/>
                      <a:pt x="331" y="40"/>
                    </a:cubicBezTo>
                    <a:cubicBezTo>
                      <a:pt x="323" y="61"/>
                      <a:pt x="323" y="61"/>
                      <a:pt x="323" y="61"/>
                    </a:cubicBezTo>
                    <a:cubicBezTo>
                      <a:pt x="326" y="65"/>
                      <a:pt x="326" y="65"/>
                      <a:pt x="326" y="65"/>
                    </a:cubicBezTo>
                    <a:cubicBezTo>
                      <a:pt x="333" y="48"/>
                      <a:pt x="333" y="48"/>
                      <a:pt x="333" y="48"/>
                    </a:cubicBezTo>
                    <a:cubicBezTo>
                      <a:pt x="333" y="48"/>
                      <a:pt x="334" y="53"/>
                      <a:pt x="336" y="49"/>
                    </a:cubicBezTo>
                    <a:cubicBezTo>
                      <a:pt x="339" y="47"/>
                      <a:pt x="336" y="45"/>
                      <a:pt x="335" y="43"/>
                    </a:cubicBezTo>
                    <a:cubicBezTo>
                      <a:pt x="334" y="40"/>
                      <a:pt x="336" y="42"/>
                      <a:pt x="338" y="39"/>
                    </a:cubicBezTo>
                    <a:cubicBezTo>
                      <a:pt x="339" y="37"/>
                      <a:pt x="342" y="28"/>
                      <a:pt x="342" y="28"/>
                    </a:cubicBezTo>
                    <a:cubicBezTo>
                      <a:pt x="338" y="28"/>
                      <a:pt x="338" y="28"/>
                      <a:pt x="338" y="28"/>
                    </a:cubicBezTo>
                    <a:cubicBezTo>
                      <a:pt x="339" y="23"/>
                      <a:pt x="339" y="23"/>
                      <a:pt x="339" y="23"/>
                    </a:cubicBezTo>
                    <a:cubicBezTo>
                      <a:pt x="336" y="23"/>
                      <a:pt x="336" y="23"/>
                      <a:pt x="336" y="23"/>
                    </a:cubicBezTo>
                    <a:cubicBezTo>
                      <a:pt x="336" y="23"/>
                      <a:pt x="334" y="30"/>
                      <a:pt x="333" y="27"/>
                    </a:cubicBezTo>
                    <a:cubicBezTo>
                      <a:pt x="332" y="24"/>
                      <a:pt x="336" y="17"/>
                      <a:pt x="335" y="15"/>
                    </a:cubicBezTo>
                    <a:cubicBezTo>
                      <a:pt x="334" y="13"/>
                      <a:pt x="327" y="19"/>
                      <a:pt x="327" y="19"/>
                    </a:cubicBezTo>
                    <a:cubicBezTo>
                      <a:pt x="325" y="19"/>
                      <a:pt x="325" y="19"/>
                      <a:pt x="325" y="19"/>
                    </a:cubicBezTo>
                    <a:cubicBezTo>
                      <a:pt x="325" y="23"/>
                      <a:pt x="325" y="23"/>
                      <a:pt x="325" y="23"/>
                    </a:cubicBezTo>
                    <a:cubicBezTo>
                      <a:pt x="327" y="24"/>
                      <a:pt x="327" y="24"/>
                      <a:pt x="327" y="24"/>
                    </a:cubicBezTo>
                    <a:cubicBezTo>
                      <a:pt x="327" y="31"/>
                      <a:pt x="327" y="31"/>
                      <a:pt x="327" y="31"/>
                    </a:cubicBezTo>
                    <a:cubicBezTo>
                      <a:pt x="327" y="31"/>
                      <a:pt x="336" y="34"/>
                      <a:pt x="330" y="34"/>
                    </a:cubicBezTo>
                    <a:close/>
                    <a:moveTo>
                      <a:pt x="342" y="25"/>
                    </a:moveTo>
                    <a:cubicBezTo>
                      <a:pt x="345" y="25"/>
                      <a:pt x="344" y="20"/>
                      <a:pt x="345" y="17"/>
                    </a:cubicBezTo>
                    <a:cubicBezTo>
                      <a:pt x="345" y="14"/>
                      <a:pt x="348" y="11"/>
                      <a:pt x="346" y="10"/>
                    </a:cubicBezTo>
                    <a:cubicBezTo>
                      <a:pt x="344" y="8"/>
                      <a:pt x="340" y="13"/>
                      <a:pt x="340" y="16"/>
                    </a:cubicBezTo>
                    <a:cubicBezTo>
                      <a:pt x="340" y="19"/>
                      <a:pt x="339" y="24"/>
                      <a:pt x="342" y="25"/>
                    </a:cubicBezTo>
                    <a:close/>
                    <a:moveTo>
                      <a:pt x="357" y="3"/>
                    </a:moveTo>
                    <a:cubicBezTo>
                      <a:pt x="357" y="3"/>
                      <a:pt x="354" y="0"/>
                      <a:pt x="351" y="4"/>
                    </a:cubicBezTo>
                    <a:cubicBezTo>
                      <a:pt x="349" y="8"/>
                      <a:pt x="349" y="12"/>
                      <a:pt x="349" y="12"/>
                    </a:cubicBezTo>
                    <a:cubicBezTo>
                      <a:pt x="352" y="12"/>
                      <a:pt x="352" y="12"/>
                      <a:pt x="352" y="12"/>
                    </a:cubicBezTo>
                    <a:lnTo>
                      <a:pt x="357" y="3"/>
                    </a:lnTo>
                    <a:close/>
                    <a:moveTo>
                      <a:pt x="349" y="16"/>
                    </a:moveTo>
                    <a:cubicBezTo>
                      <a:pt x="348" y="19"/>
                      <a:pt x="348" y="19"/>
                      <a:pt x="348" y="19"/>
                    </a:cubicBezTo>
                    <a:cubicBezTo>
                      <a:pt x="355" y="19"/>
                      <a:pt x="355" y="19"/>
                      <a:pt x="355" y="19"/>
                    </a:cubicBezTo>
                    <a:lnTo>
                      <a:pt x="349" y="16"/>
                    </a:lnTo>
                    <a:close/>
                    <a:moveTo>
                      <a:pt x="33" y="379"/>
                    </a:moveTo>
                    <a:cubicBezTo>
                      <a:pt x="32" y="375"/>
                      <a:pt x="32" y="375"/>
                      <a:pt x="32" y="375"/>
                    </a:cubicBezTo>
                    <a:cubicBezTo>
                      <a:pt x="32" y="375"/>
                      <a:pt x="35" y="368"/>
                      <a:pt x="40" y="369"/>
                    </a:cubicBezTo>
                    <a:cubicBezTo>
                      <a:pt x="45" y="370"/>
                      <a:pt x="46" y="378"/>
                      <a:pt x="46" y="378"/>
                    </a:cubicBezTo>
                    <a:cubicBezTo>
                      <a:pt x="46" y="386"/>
                      <a:pt x="46" y="386"/>
                      <a:pt x="46" y="386"/>
                    </a:cubicBezTo>
                    <a:cubicBezTo>
                      <a:pt x="51" y="387"/>
                      <a:pt x="51" y="387"/>
                      <a:pt x="51" y="387"/>
                    </a:cubicBezTo>
                    <a:cubicBezTo>
                      <a:pt x="51" y="387"/>
                      <a:pt x="44" y="396"/>
                      <a:pt x="49" y="396"/>
                    </a:cubicBezTo>
                    <a:cubicBezTo>
                      <a:pt x="55" y="396"/>
                      <a:pt x="60" y="397"/>
                      <a:pt x="60" y="397"/>
                    </a:cubicBezTo>
                    <a:cubicBezTo>
                      <a:pt x="62" y="393"/>
                      <a:pt x="62" y="393"/>
                      <a:pt x="62" y="393"/>
                    </a:cubicBezTo>
                    <a:cubicBezTo>
                      <a:pt x="64" y="397"/>
                      <a:pt x="64" y="397"/>
                      <a:pt x="64" y="397"/>
                    </a:cubicBezTo>
                    <a:cubicBezTo>
                      <a:pt x="64" y="396"/>
                      <a:pt x="64" y="396"/>
                      <a:pt x="64" y="396"/>
                    </a:cubicBezTo>
                    <a:cubicBezTo>
                      <a:pt x="65" y="396"/>
                      <a:pt x="70" y="405"/>
                      <a:pt x="74" y="401"/>
                    </a:cubicBezTo>
                    <a:cubicBezTo>
                      <a:pt x="80" y="396"/>
                      <a:pt x="78" y="392"/>
                      <a:pt x="81" y="390"/>
                    </a:cubicBezTo>
                    <a:cubicBezTo>
                      <a:pt x="84" y="389"/>
                      <a:pt x="85" y="394"/>
                      <a:pt x="90" y="392"/>
                    </a:cubicBezTo>
                    <a:cubicBezTo>
                      <a:pt x="95" y="389"/>
                      <a:pt x="93" y="386"/>
                      <a:pt x="93" y="386"/>
                    </a:cubicBezTo>
                    <a:cubicBezTo>
                      <a:pt x="90" y="384"/>
                      <a:pt x="90" y="384"/>
                      <a:pt x="90" y="384"/>
                    </a:cubicBezTo>
                    <a:cubicBezTo>
                      <a:pt x="94" y="376"/>
                      <a:pt x="94" y="376"/>
                      <a:pt x="94" y="376"/>
                    </a:cubicBezTo>
                    <a:cubicBezTo>
                      <a:pt x="93" y="373"/>
                      <a:pt x="93" y="373"/>
                      <a:pt x="93" y="373"/>
                    </a:cubicBezTo>
                    <a:cubicBezTo>
                      <a:pt x="96" y="371"/>
                      <a:pt x="96" y="371"/>
                      <a:pt x="96" y="371"/>
                    </a:cubicBezTo>
                    <a:cubicBezTo>
                      <a:pt x="97" y="379"/>
                      <a:pt x="97" y="379"/>
                      <a:pt x="97" y="379"/>
                    </a:cubicBezTo>
                    <a:cubicBezTo>
                      <a:pt x="95" y="382"/>
                      <a:pt x="95" y="382"/>
                      <a:pt x="95" y="382"/>
                    </a:cubicBezTo>
                    <a:cubicBezTo>
                      <a:pt x="96" y="386"/>
                      <a:pt x="96" y="386"/>
                      <a:pt x="96" y="386"/>
                    </a:cubicBezTo>
                    <a:cubicBezTo>
                      <a:pt x="96" y="386"/>
                      <a:pt x="99" y="386"/>
                      <a:pt x="100" y="380"/>
                    </a:cubicBezTo>
                    <a:cubicBezTo>
                      <a:pt x="100" y="376"/>
                      <a:pt x="104" y="368"/>
                      <a:pt x="99" y="365"/>
                    </a:cubicBezTo>
                    <a:cubicBezTo>
                      <a:pt x="93" y="363"/>
                      <a:pt x="83" y="368"/>
                      <a:pt x="85" y="364"/>
                    </a:cubicBezTo>
                    <a:cubicBezTo>
                      <a:pt x="87" y="361"/>
                      <a:pt x="96" y="362"/>
                      <a:pt x="96" y="356"/>
                    </a:cubicBezTo>
                    <a:cubicBezTo>
                      <a:pt x="96" y="349"/>
                      <a:pt x="94" y="350"/>
                      <a:pt x="94" y="350"/>
                    </a:cubicBezTo>
                    <a:cubicBezTo>
                      <a:pt x="89" y="340"/>
                      <a:pt x="89" y="340"/>
                      <a:pt x="89" y="340"/>
                    </a:cubicBezTo>
                    <a:cubicBezTo>
                      <a:pt x="89" y="330"/>
                      <a:pt x="89" y="330"/>
                      <a:pt x="89" y="330"/>
                    </a:cubicBezTo>
                    <a:cubicBezTo>
                      <a:pt x="89" y="330"/>
                      <a:pt x="90" y="325"/>
                      <a:pt x="82" y="323"/>
                    </a:cubicBezTo>
                    <a:cubicBezTo>
                      <a:pt x="73" y="321"/>
                      <a:pt x="64" y="324"/>
                      <a:pt x="64" y="324"/>
                    </a:cubicBezTo>
                    <a:cubicBezTo>
                      <a:pt x="57" y="319"/>
                      <a:pt x="57" y="319"/>
                      <a:pt x="57" y="319"/>
                    </a:cubicBezTo>
                    <a:cubicBezTo>
                      <a:pt x="51" y="327"/>
                      <a:pt x="51" y="327"/>
                      <a:pt x="51" y="327"/>
                    </a:cubicBezTo>
                    <a:cubicBezTo>
                      <a:pt x="45" y="326"/>
                      <a:pt x="45" y="326"/>
                      <a:pt x="45" y="326"/>
                    </a:cubicBezTo>
                    <a:cubicBezTo>
                      <a:pt x="39" y="325"/>
                      <a:pt x="39" y="325"/>
                      <a:pt x="39" y="325"/>
                    </a:cubicBezTo>
                    <a:cubicBezTo>
                      <a:pt x="36" y="332"/>
                      <a:pt x="36" y="332"/>
                      <a:pt x="36" y="332"/>
                    </a:cubicBezTo>
                    <a:cubicBezTo>
                      <a:pt x="34" y="332"/>
                      <a:pt x="34" y="332"/>
                      <a:pt x="34" y="332"/>
                    </a:cubicBezTo>
                    <a:cubicBezTo>
                      <a:pt x="33" y="338"/>
                      <a:pt x="33" y="338"/>
                      <a:pt x="33" y="338"/>
                    </a:cubicBezTo>
                    <a:cubicBezTo>
                      <a:pt x="27" y="345"/>
                      <a:pt x="27" y="345"/>
                      <a:pt x="27" y="345"/>
                    </a:cubicBezTo>
                    <a:cubicBezTo>
                      <a:pt x="27" y="345"/>
                      <a:pt x="28" y="343"/>
                      <a:pt x="24" y="343"/>
                    </a:cubicBezTo>
                    <a:cubicBezTo>
                      <a:pt x="22" y="343"/>
                      <a:pt x="20" y="345"/>
                      <a:pt x="20" y="345"/>
                    </a:cubicBezTo>
                    <a:cubicBezTo>
                      <a:pt x="20" y="345"/>
                      <a:pt x="19" y="341"/>
                      <a:pt x="17" y="341"/>
                    </a:cubicBezTo>
                    <a:cubicBezTo>
                      <a:pt x="16" y="341"/>
                      <a:pt x="12" y="342"/>
                      <a:pt x="12" y="345"/>
                    </a:cubicBezTo>
                    <a:cubicBezTo>
                      <a:pt x="12" y="347"/>
                      <a:pt x="20" y="349"/>
                      <a:pt x="20" y="349"/>
                    </a:cubicBezTo>
                    <a:cubicBezTo>
                      <a:pt x="17" y="350"/>
                      <a:pt x="17" y="350"/>
                      <a:pt x="17" y="350"/>
                    </a:cubicBezTo>
                    <a:cubicBezTo>
                      <a:pt x="13" y="353"/>
                      <a:pt x="13" y="353"/>
                      <a:pt x="13" y="353"/>
                    </a:cubicBezTo>
                    <a:cubicBezTo>
                      <a:pt x="7" y="350"/>
                      <a:pt x="7" y="350"/>
                      <a:pt x="7" y="350"/>
                    </a:cubicBezTo>
                    <a:cubicBezTo>
                      <a:pt x="5" y="355"/>
                      <a:pt x="5" y="355"/>
                      <a:pt x="5" y="355"/>
                    </a:cubicBezTo>
                    <a:cubicBezTo>
                      <a:pt x="5" y="355"/>
                      <a:pt x="0" y="353"/>
                      <a:pt x="0" y="356"/>
                    </a:cubicBezTo>
                    <a:cubicBezTo>
                      <a:pt x="0" y="359"/>
                      <a:pt x="7" y="370"/>
                      <a:pt x="7" y="370"/>
                    </a:cubicBezTo>
                    <a:cubicBezTo>
                      <a:pt x="6" y="376"/>
                      <a:pt x="6" y="376"/>
                      <a:pt x="6" y="376"/>
                    </a:cubicBezTo>
                    <a:cubicBezTo>
                      <a:pt x="13" y="377"/>
                      <a:pt x="13" y="377"/>
                      <a:pt x="13" y="377"/>
                    </a:cubicBezTo>
                    <a:cubicBezTo>
                      <a:pt x="13" y="377"/>
                      <a:pt x="15" y="384"/>
                      <a:pt x="22" y="384"/>
                    </a:cubicBezTo>
                    <a:cubicBezTo>
                      <a:pt x="30" y="385"/>
                      <a:pt x="33" y="379"/>
                      <a:pt x="33" y="379"/>
                    </a:cubicBezTo>
                    <a:close/>
                  </a:path>
                </a:pathLst>
              </a:custGeom>
              <a:solidFill>
                <a:schemeClr val="accent2">
                  <a:lumMod val="40000"/>
                  <a:lumOff val="60000"/>
                </a:schemeClr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238" name="Germany (example: colored)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4478338" y="3413125"/>
                <a:ext cx="812800" cy="1096962"/>
              </a:xfrm>
              <a:custGeom>
                <a:avLst/>
                <a:gdLst/>
                <a:ahLst/>
                <a:cxnLst>
                  <a:cxn ang="0">
                    <a:pos x="296" y="88"/>
                  </a:cxn>
                  <a:cxn ang="0">
                    <a:pos x="316" y="94"/>
                  </a:cxn>
                  <a:cxn ang="0">
                    <a:pos x="301" y="195"/>
                  </a:cxn>
                  <a:cxn ang="0">
                    <a:pos x="291" y="184"/>
                  </a:cxn>
                  <a:cxn ang="0">
                    <a:pos x="772" y="96"/>
                  </a:cxn>
                  <a:cxn ang="0">
                    <a:pos x="777" y="96"/>
                  </a:cxn>
                  <a:cxn ang="0">
                    <a:pos x="793" y="138"/>
                  </a:cxn>
                  <a:cxn ang="0">
                    <a:pos x="821" y="130"/>
                  </a:cxn>
                  <a:cxn ang="0">
                    <a:pos x="775" y="70"/>
                  </a:cxn>
                  <a:cxn ang="0">
                    <a:pos x="783" y="91"/>
                  </a:cxn>
                  <a:cxn ang="0">
                    <a:pos x="847" y="179"/>
                  </a:cxn>
                  <a:cxn ang="0">
                    <a:pos x="834" y="171"/>
                  </a:cxn>
                  <a:cxn ang="0">
                    <a:pos x="596" y="180"/>
                  </a:cxn>
                  <a:cxn ang="0">
                    <a:pos x="550" y="109"/>
                  </a:cxn>
                  <a:cxn ang="0">
                    <a:pos x="749" y="104"/>
                  </a:cxn>
                  <a:cxn ang="0">
                    <a:pos x="146" y="231"/>
                  </a:cxn>
                  <a:cxn ang="0">
                    <a:pos x="210" y="221"/>
                  </a:cxn>
                  <a:cxn ang="0">
                    <a:pos x="972" y="618"/>
                  </a:cxn>
                  <a:cxn ang="0">
                    <a:pos x="928" y="434"/>
                  </a:cxn>
                  <a:cxn ang="0">
                    <a:pos x="853" y="221"/>
                  </a:cxn>
                  <a:cxn ang="0">
                    <a:pos x="788" y="151"/>
                  </a:cxn>
                  <a:cxn ang="0">
                    <a:pos x="689" y="130"/>
                  </a:cxn>
                  <a:cxn ang="0">
                    <a:pos x="656" y="158"/>
                  </a:cxn>
                  <a:cxn ang="0">
                    <a:pos x="575" y="200"/>
                  </a:cxn>
                  <a:cxn ang="0">
                    <a:pos x="550" y="161"/>
                  </a:cxn>
                  <a:cxn ang="0">
                    <a:pos x="464" y="130"/>
                  </a:cxn>
                  <a:cxn ang="0">
                    <a:pos x="397" y="47"/>
                  </a:cxn>
                  <a:cxn ang="0">
                    <a:pos x="348" y="94"/>
                  </a:cxn>
                  <a:cxn ang="0">
                    <a:pos x="332" y="158"/>
                  </a:cxn>
                  <a:cxn ang="0">
                    <a:pos x="384" y="221"/>
                  </a:cxn>
                  <a:cxn ang="0">
                    <a:pos x="272" y="255"/>
                  </a:cxn>
                  <a:cxn ang="0">
                    <a:pos x="174" y="231"/>
                  </a:cxn>
                  <a:cxn ang="0">
                    <a:pos x="148" y="374"/>
                  </a:cxn>
                  <a:cxn ang="0">
                    <a:pos x="102" y="532"/>
                  </a:cxn>
                  <a:cxn ang="0">
                    <a:pos x="37" y="590"/>
                  </a:cxn>
                  <a:cxn ang="0">
                    <a:pos x="24" y="709"/>
                  </a:cxn>
                  <a:cxn ang="0">
                    <a:pos x="21" y="841"/>
                  </a:cxn>
                  <a:cxn ang="0">
                    <a:pos x="76" y="992"/>
                  </a:cxn>
                  <a:cxn ang="0">
                    <a:pos x="153" y="1005"/>
                  </a:cxn>
                  <a:cxn ang="0">
                    <a:pos x="195" y="1104"/>
                  </a:cxn>
                  <a:cxn ang="0">
                    <a:pos x="213" y="1285"/>
                  </a:cxn>
                  <a:cxn ang="0">
                    <a:pos x="283" y="1249"/>
                  </a:cxn>
                  <a:cxn ang="0">
                    <a:pos x="417" y="1285"/>
                  </a:cxn>
                  <a:cxn ang="0">
                    <a:pos x="503" y="1291"/>
                  </a:cxn>
                  <a:cxn ang="0">
                    <a:pos x="599" y="1306"/>
                  </a:cxn>
                  <a:cxn ang="0">
                    <a:pos x="762" y="1267"/>
                  </a:cxn>
                  <a:cxn ang="0">
                    <a:pos x="757" y="1189"/>
                  </a:cxn>
                  <a:cxn ang="0">
                    <a:pos x="824" y="1031"/>
                  </a:cxn>
                  <a:cxn ang="0">
                    <a:pos x="720" y="880"/>
                  </a:cxn>
                  <a:cxn ang="0">
                    <a:pos x="736" y="800"/>
                  </a:cxn>
                  <a:cxn ang="0">
                    <a:pos x="902" y="712"/>
                  </a:cxn>
                  <a:cxn ang="0">
                    <a:pos x="967" y="704"/>
                  </a:cxn>
                  <a:cxn ang="0">
                    <a:pos x="138" y="234"/>
                  </a:cxn>
                  <a:cxn ang="0">
                    <a:pos x="239" y="216"/>
                  </a:cxn>
                  <a:cxn ang="0">
                    <a:pos x="278" y="68"/>
                  </a:cxn>
                  <a:cxn ang="0">
                    <a:pos x="280" y="49"/>
                  </a:cxn>
                  <a:cxn ang="0">
                    <a:pos x="291" y="26"/>
                  </a:cxn>
                  <a:cxn ang="0">
                    <a:pos x="296" y="0"/>
                  </a:cxn>
                  <a:cxn ang="0">
                    <a:pos x="265" y="229"/>
                  </a:cxn>
                  <a:cxn ang="0">
                    <a:pos x="241" y="151"/>
                  </a:cxn>
                </a:cxnLst>
                <a:rect l="0" t="0" r="r" b="b"/>
                <a:pathLst>
                  <a:path w="987" h="1337">
                    <a:moveTo>
                      <a:pt x="285" y="1267"/>
                    </a:moveTo>
                    <a:cubicBezTo>
                      <a:pt x="293" y="1267"/>
                      <a:pt x="293" y="1267"/>
                      <a:pt x="293" y="1267"/>
                    </a:cubicBezTo>
                    <a:cubicBezTo>
                      <a:pt x="293" y="1262"/>
                      <a:pt x="293" y="1262"/>
                      <a:pt x="293" y="1262"/>
                    </a:cubicBezTo>
                    <a:cubicBezTo>
                      <a:pt x="288" y="1262"/>
                      <a:pt x="288" y="1262"/>
                      <a:pt x="288" y="1262"/>
                    </a:cubicBezTo>
                    <a:cubicBezTo>
                      <a:pt x="285" y="1267"/>
                      <a:pt x="285" y="1267"/>
                      <a:pt x="285" y="1267"/>
                    </a:cubicBezTo>
                    <a:close/>
                    <a:moveTo>
                      <a:pt x="296" y="94"/>
                    </a:moveTo>
                    <a:cubicBezTo>
                      <a:pt x="298" y="91"/>
                      <a:pt x="298" y="88"/>
                      <a:pt x="296" y="88"/>
                    </a:cubicBezTo>
                    <a:cubicBezTo>
                      <a:pt x="283" y="91"/>
                      <a:pt x="301" y="96"/>
                      <a:pt x="296" y="94"/>
                    </a:cubicBezTo>
                    <a:close/>
                    <a:moveTo>
                      <a:pt x="319" y="101"/>
                    </a:moveTo>
                    <a:cubicBezTo>
                      <a:pt x="322" y="101"/>
                      <a:pt x="322" y="99"/>
                      <a:pt x="322" y="99"/>
                    </a:cubicBezTo>
                    <a:cubicBezTo>
                      <a:pt x="319" y="99"/>
                      <a:pt x="316" y="101"/>
                      <a:pt x="319" y="101"/>
                    </a:cubicBezTo>
                    <a:close/>
                    <a:moveTo>
                      <a:pt x="316" y="94"/>
                    </a:moveTo>
                    <a:cubicBezTo>
                      <a:pt x="319" y="91"/>
                      <a:pt x="322" y="91"/>
                      <a:pt x="319" y="86"/>
                    </a:cubicBezTo>
                    <a:cubicBezTo>
                      <a:pt x="314" y="83"/>
                      <a:pt x="298" y="101"/>
                      <a:pt x="316" y="94"/>
                    </a:cubicBezTo>
                    <a:close/>
                    <a:moveTo>
                      <a:pt x="314" y="68"/>
                    </a:moveTo>
                    <a:cubicBezTo>
                      <a:pt x="311" y="70"/>
                      <a:pt x="309" y="70"/>
                      <a:pt x="306" y="70"/>
                    </a:cubicBezTo>
                    <a:cubicBezTo>
                      <a:pt x="311" y="78"/>
                      <a:pt x="311" y="70"/>
                      <a:pt x="314" y="68"/>
                    </a:cubicBezTo>
                    <a:close/>
                    <a:moveTo>
                      <a:pt x="296" y="83"/>
                    </a:moveTo>
                    <a:cubicBezTo>
                      <a:pt x="296" y="81"/>
                      <a:pt x="293" y="81"/>
                      <a:pt x="293" y="83"/>
                    </a:cubicBezTo>
                    <a:cubicBezTo>
                      <a:pt x="293" y="88"/>
                      <a:pt x="296" y="83"/>
                      <a:pt x="296" y="83"/>
                    </a:cubicBezTo>
                    <a:close/>
                    <a:moveTo>
                      <a:pt x="301" y="195"/>
                    </a:moveTo>
                    <a:cubicBezTo>
                      <a:pt x="306" y="195"/>
                      <a:pt x="301" y="192"/>
                      <a:pt x="301" y="192"/>
                    </a:cubicBezTo>
                    <a:cubicBezTo>
                      <a:pt x="296" y="192"/>
                      <a:pt x="296" y="195"/>
                      <a:pt x="301" y="195"/>
                    </a:cubicBezTo>
                    <a:close/>
                    <a:moveTo>
                      <a:pt x="301" y="101"/>
                    </a:moveTo>
                    <a:cubicBezTo>
                      <a:pt x="301" y="104"/>
                      <a:pt x="306" y="101"/>
                      <a:pt x="306" y="101"/>
                    </a:cubicBezTo>
                    <a:cubicBezTo>
                      <a:pt x="306" y="96"/>
                      <a:pt x="301" y="99"/>
                      <a:pt x="301" y="101"/>
                    </a:cubicBezTo>
                    <a:close/>
                    <a:moveTo>
                      <a:pt x="296" y="187"/>
                    </a:moveTo>
                    <a:cubicBezTo>
                      <a:pt x="298" y="184"/>
                      <a:pt x="291" y="184"/>
                      <a:pt x="291" y="184"/>
                    </a:cubicBezTo>
                    <a:cubicBezTo>
                      <a:pt x="288" y="182"/>
                      <a:pt x="293" y="200"/>
                      <a:pt x="296" y="187"/>
                    </a:cubicBezTo>
                    <a:close/>
                    <a:moveTo>
                      <a:pt x="298" y="107"/>
                    </a:moveTo>
                    <a:cubicBezTo>
                      <a:pt x="298" y="107"/>
                      <a:pt x="298" y="104"/>
                      <a:pt x="296" y="101"/>
                    </a:cubicBezTo>
                    <a:cubicBezTo>
                      <a:pt x="291" y="96"/>
                      <a:pt x="293" y="109"/>
                      <a:pt x="298" y="107"/>
                    </a:cubicBezTo>
                    <a:close/>
                    <a:moveTo>
                      <a:pt x="772" y="96"/>
                    </a:moveTo>
                    <a:cubicBezTo>
                      <a:pt x="765" y="91"/>
                      <a:pt x="765" y="99"/>
                      <a:pt x="759" y="101"/>
                    </a:cubicBezTo>
                    <a:cubicBezTo>
                      <a:pt x="762" y="101"/>
                      <a:pt x="767" y="99"/>
                      <a:pt x="772" y="96"/>
                    </a:cubicBezTo>
                    <a:close/>
                    <a:moveTo>
                      <a:pt x="845" y="135"/>
                    </a:moveTo>
                    <a:cubicBezTo>
                      <a:pt x="842" y="132"/>
                      <a:pt x="842" y="132"/>
                      <a:pt x="840" y="135"/>
                    </a:cubicBezTo>
                    <a:cubicBezTo>
                      <a:pt x="840" y="140"/>
                      <a:pt x="842" y="135"/>
                      <a:pt x="845" y="135"/>
                    </a:cubicBezTo>
                    <a:close/>
                    <a:moveTo>
                      <a:pt x="759" y="75"/>
                    </a:moveTo>
                    <a:cubicBezTo>
                      <a:pt x="752" y="68"/>
                      <a:pt x="754" y="96"/>
                      <a:pt x="754" y="99"/>
                    </a:cubicBezTo>
                    <a:cubicBezTo>
                      <a:pt x="757" y="94"/>
                      <a:pt x="759" y="75"/>
                      <a:pt x="759" y="75"/>
                    </a:cubicBezTo>
                    <a:close/>
                    <a:moveTo>
                      <a:pt x="777" y="96"/>
                    </a:moveTo>
                    <a:cubicBezTo>
                      <a:pt x="777" y="99"/>
                      <a:pt x="762" y="101"/>
                      <a:pt x="765" y="104"/>
                    </a:cubicBezTo>
                    <a:cubicBezTo>
                      <a:pt x="765" y="107"/>
                      <a:pt x="775" y="101"/>
                      <a:pt x="775" y="107"/>
                    </a:cubicBezTo>
                    <a:cubicBezTo>
                      <a:pt x="775" y="112"/>
                      <a:pt x="777" y="117"/>
                      <a:pt x="767" y="117"/>
                    </a:cubicBezTo>
                    <a:cubicBezTo>
                      <a:pt x="759" y="117"/>
                      <a:pt x="759" y="125"/>
                      <a:pt x="762" y="127"/>
                    </a:cubicBezTo>
                    <a:cubicBezTo>
                      <a:pt x="765" y="130"/>
                      <a:pt x="780" y="135"/>
                      <a:pt x="783" y="135"/>
                    </a:cubicBezTo>
                    <a:cubicBezTo>
                      <a:pt x="785" y="138"/>
                      <a:pt x="783" y="138"/>
                      <a:pt x="783" y="138"/>
                    </a:cubicBezTo>
                    <a:cubicBezTo>
                      <a:pt x="785" y="140"/>
                      <a:pt x="793" y="140"/>
                      <a:pt x="793" y="138"/>
                    </a:cubicBezTo>
                    <a:cubicBezTo>
                      <a:pt x="793" y="132"/>
                      <a:pt x="788" y="138"/>
                      <a:pt x="788" y="132"/>
                    </a:cubicBezTo>
                    <a:cubicBezTo>
                      <a:pt x="788" y="127"/>
                      <a:pt x="798" y="127"/>
                      <a:pt x="793" y="122"/>
                    </a:cubicBezTo>
                    <a:cubicBezTo>
                      <a:pt x="796" y="122"/>
                      <a:pt x="816" y="117"/>
                      <a:pt x="816" y="120"/>
                    </a:cubicBezTo>
                    <a:cubicBezTo>
                      <a:pt x="816" y="120"/>
                      <a:pt x="809" y="122"/>
                      <a:pt x="809" y="125"/>
                    </a:cubicBezTo>
                    <a:cubicBezTo>
                      <a:pt x="814" y="122"/>
                      <a:pt x="816" y="122"/>
                      <a:pt x="819" y="122"/>
                    </a:cubicBezTo>
                    <a:cubicBezTo>
                      <a:pt x="814" y="127"/>
                      <a:pt x="814" y="127"/>
                      <a:pt x="814" y="127"/>
                    </a:cubicBezTo>
                    <a:cubicBezTo>
                      <a:pt x="816" y="127"/>
                      <a:pt x="821" y="130"/>
                      <a:pt x="821" y="130"/>
                    </a:cubicBezTo>
                    <a:cubicBezTo>
                      <a:pt x="821" y="127"/>
                      <a:pt x="827" y="120"/>
                      <a:pt x="827" y="120"/>
                    </a:cubicBezTo>
                    <a:cubicBezTo>
                      <a:pt x="827" y="112"/>
                      <a:pt x="806" y="107"/>
                      <a:pt x="806" y="101"/>
                    </a:cubicBezTo>
                    <a:cubicBezTo>
                      <a:pt x="803" y="91"/>
                      <a:pt x="829" y="70"/>
                      <a:pt x="798" y="81"/>
                    </a:cubicBezTo>
                    <a:cubicBezTo>
                      <a:pt x="796" y="81"/>
                      <a:pt x="788" y="75"/>
                      <a:pt x="788" y="68"/>
                    </a:cubicBezTo>
                    <a:cubicBezTo>
                      <a:pt x="788" y="65"/>
                      <a:pt x="798" y="60"/>
                      <a:pt x="788" y="60"/>
                    </a:cubicBezTo>
                    <a:cubicBezTo>
                      <a:pt x="783" y="60"/>
                      <a:pt x="757" y="78"/>
                      <a:pt x="765" y="83"/>
                    </a:cubicBezTo>
                    <a:cubicBezTo>
                      <a:pt x="767" y="86"/>
                      <a:pt x="775" y="70"/>
                      <a:pt x="775" y="70"/>
                    </a:cubicBezTo>
                    <a:cubicBezTo>
                      <a:pt x="780" y="68"/>
                      <a:pt x="775" y="83"/>
                      <a:pt x="775" y="83"/>
                    </a:cubicBezTo>
                    <a:cubicBezTo>
                      <a:pt x="780" y="83"/>
                      <a:pt x="783" y="75"/>
                      <a:pt x="785" y="75"/>
                    </a:cubicBezTo>
                    <a:cubicBezTo>
                      <a:pt x="785" y="75"/>
                      <a:pt x="798" y="88"/>
                      <a:pt x="798" y="86"/>
                    </a:cubicBezTo>
                    <a:cubicBezTo>
                      <a:pt x="798" y="109"/>
                      <a:pt x="790" y="83"/>
                      <a:pt x="788" y="83"/>
                    </a:cubicBezTo>
                    <a:cubicBezTo>
                      <a:pt x="785" y="86"/>
                      <a:pt x="788" y="88"/>
                      <a:pt x="785" y="88"/>
                    </a:cubicBezTo>
                    <a:cubicBezTo>
                      <a:pt x="785" y="88"/>
                      <a:pt x="788" y="81"/>
                      <a:pt x="785" y="81"/>
                    </a:cubicBezTo>
                    <a:cubicBezTo>
                      <a:pt x="780" y="78"/>
                      <a:pt x="780" y="88"/>
                      <a:pt x="783" y="91"/>
                    </a:cubicBezTo>
                    <a:cubicBezTo>
                      <a:pt x="780" y="88"/>
                      <a:pt x="762" y="81"/>
                      <a:pt x="762" y="88"/>
                    </a:cubicBezTo>
                    <a:cubicBezTo>
                      <a:pt x="762" y="94"/>
                      <a:pt x="775" y="91"/>
                      <a:pt x="777" y="96"/>
                    </a:cubicBezTo>
                    <a:close/>
                    <a:moveTo>
                      <a:pt x="834" y="171"/>
                    </a:moveTo>
                    <a:cubicBezTo>
                      <a:pt x="837" y="174"/>
                      <a:pt x="840" y="174"/>
                      <a:pt x="840" y="177"/>
                    </a:cubicBezTo>
                    <a:cubicBezTo>
                      <a:pt x="842" y="169"/>
                      <a:pt x="860" y="171"/>
                      <a:pt x="858" y="187"/>
                    </a:cubicBezTo>
                    <a:cubicBezTo>
                      <a:pt x="850" y="184"/>
                      <a:pt x="853" y="187"/>
                      <a:pt x="847" y="187"/>
                    </a:cubicBezTo>
                    <a:cubicBezTo>
                      <a:pt x="847" y="179"/>
                      <a:pt x="847" y="179"/>
                      <a:pt x="847" y="179"/>
                    </a:cubicBezTo>
                    <a:cubicBezTo>
                      <a:pt x="842" y="187"/>
                      <a:pt x="850" y="195"/>
                      <a:pt x="837" y="203"/>
                    </a:cubicBezTo>
                    <a:cubicBezTo>
                      <a:pt x="847" y="203"/>
                      <a:pt x="847" y="203"/>
                      <a:pt x="847" y="203"/>
                    </a:cubicBezTo>
                    <a:cubicBezTo>
                      <a:pt x="850" y="203"/>
                      <a:pt x="878" y="192"/>
                      <a:pt x="881" y="203"/>
                    </a:cubicBezTo>
                    <a:cubicBezTo>
                      <a:pt x="878" y="192"/>
                      <a:pt x="873" y="179"/>
                      <a:pt x="863" y="174"/>
                    </a:cubicBezTo>
                    <a:cubicBezTo>
                      <a:pt x="850" y="171"/>
                      <a:pt x="840" y="151"/>
                      <a:pt x="829" y="148"/>
                    </a:cubicBezTo>
                    <a:cubicBezTo>
                      <a:pt x="829" y="148"/>
                      <a:pt x="832" y="169"/>
                      <a:pt x="830" y="173"/>
                    </a:cubicBezTo>
                    <a:cubicBezTo>
                      <a:pt x="831" y="173"/>
                      <a:pt x="834" y="176"/>
                      <a:pt x="834" y="171"/>
                    </a:cubicBezTo>
                    <a:close/>
                    <a:moveTo>
                      <a:pt x="829" y="174"/>
                    </a:moveTo>
                    <a:cubicBezTo>
                      <a:pt x="829" y="174"/>
                      <a:pt x="830" y="174"/>
                      <a:pt x="830" y="173"/>
                    </a:cubicBezTo>
                    <a:cubicBezTo>
                      <a:pt x="829" y="173"/>
                      <a:pt x="829" y="174"/>
                      <a:pt x="829" y="174"/>
                    </a:cubicBezTo>
                    <a:close/>
                    <a:moveTo>
                      <a:pt x="585" y="188"/>
                    </a:moveTo>
                    <a:cubicBezTo>
                      <a:pt x="588" y="193"/>
                      <a:pt x="590" y="188"/>
                      <a:pt x="593" y="188"/>
                    </a:cubicBezTo>
                    <a:cubicBezTo>
                      <a:pt x="590" y="190"/>
                      <a:pt x="590" y="190"/>
                      <a:pt x="593" y="190"/>
                    </a:cubicBezTo>
                    <a:cubicBezTo>
                      <a:pt x="593" y="190"/>
                      <a:pt x="598" y="180"/>
                      <a:pt x="596" y="180"/>
                    </a:cubicBezTo>
                    <a:cubicBezTo>
                      <a:pt x="596" y="180"/>
                      <a:pt x="580" y="185"/>
                      <a:pt x="585" y="188"/>
                    </a:cubicBezTo>
                    <a:close/>
                    <a:moveTo>
                      <a:pt x="322" y="70"/>
                    </a:moveTo>
                    <a:cubicBezTo>
                      <a:pt x="316" y="78"/>
                      <a:pt x="322" y="75"/>
                      <a:pt x="322" y="75"/>
                    </a:cubicBezTo>
                    <a:cubicBezTo>
                      <a:pt x="322" y="75"/>
                      <a:pt x="327" y="65"/>
                      <a:pt x="322" y="70"/>
                    </a:cubicBezTo>
                    <a:close/>
                    <a:moveTo>
                      <a:pt x="560" y="109"/>
                    </a:moveTo>
                    <a:cubicBezTo>
                      <a:pt x="568" y="117"/>
                      <a:pt x="573" y="120"/>
                      <a:pt x="581" y="120"/>
                    </a:cubicBezTo>
                    <a:cubicBezTo>
                      <a:pt x="581" y="101"/>
                      <a:pt x="547" y="86"/>
                      <a:pt x="550" y="109"/>
                    </a:cubicBezTo>
                    <a:cubicBezTo>
                      <a:pt x="552" y="112"/>
                      <a:pt x="555" y="112"/>
                      <a:pt x="560" y="109"/>
                    </a:cubicBezTo>
                    <a:close/>
                    <a:moveTo>
                      <a:pt x="301" y="86"/>
                    </a:moveTo>
                    <a:cubicBezTo>
                      <a:pt x="301" y="86"/>
                      <a:pt x="311" y="88"/>
                      <a:pt x="306" y="83"/>
                    </a:cubicBezTo>
                    <a:cubicBezTo>
                      <a:pt x="306" y="83"/>
                      <a:pt x="301" y="83"/>
                      <a:pt x="301" y="81"/>
                    </a:cubicBezTo>
                    <a:cubicBezTo>
                      <a:pt x="296" y="83"/>
                      <a:pt x="298" y="86"/>
                      <a:pt x="301" y="86"/>
                    </a:cubicBezTo>
                    <a:close/>
                    <a:moveTo>
                      <a:pt x="757" y="101"/>
                    </a:moveTo>
                    <a:cubicBezTo>
                      <a:pt x="749" y="104"/>
                      <a:pt x="749" y="104"/>
                      <a:pt x="749" y="104"/>
                    </a:cubicBezTo>
                    <a:cubicBezTo>
                      <a:pt x="749" y="104"/>
                      <a:pt x="754" y="107"/>
                      <a:pt x="757" y="101"/>
                    </a:cubicBezTo>
                    <a:close/>
                    <a:moveTo>
                      <a:pt x="190" y="221"/>
                    </a:moveTo>
                    <a:cubicBezTo>
                      <a:pt x="187" y="221"/>
                      <a:pt x="190" y="226"/>
                      <a:pt x="190" y="226"/>
                    </a:cubicBezTo>
                    <a:cubicBezTo>
                      <a:pt x="192" y="226"/>
                      <a:pt x="195" y="223"/>
                      <a:pt x="190" y="221"/>
                    </a:cubicBezTo>
                    <a:close/>
                    <a:moveTo>
                      <a:pt x="158" y="229"/>
                    </a:moveTo>
                    <a:cubicBezTo>
                      <a:pt x="156" y="223"/>
                      <a:pt x="143" y="231"/>
                      <a:pt x="138" y="231"/>
                    </a:cubicBezTo>
                    <a:cubicBezTo>
                      <a:pt x="146" y="231"/>
                      <a:pt x="146" y="231"/>
                      <a:pt x="146" y="231"/>
                    </a:cubicBezTo>
                    <a:cubicBezTo>
                      <a:pt x="148" y="231"/>
                      <a:pt x="153" y="231"/>
                      <a:pt x="158" y="229"/>
                    </a:cubicBezTo>
                    <a:close/>
                    <a:moveTo>
                      <a:pt x="174" y="226"/>
                    </a:moveTo>
                    <a:cubicBezTo>
                      <a:pt x="179" y="226"/>
                      <a:pt x="184" y="229"/>
                      <a:pt x="184" y="223"/>
                    </a:cubicBezTo>
                    <a:cubicBezTo>
                      <a:pt x="184" y="216"/>
                      <a:pt x="158" y="226"/>
                      <a:pt x="161" y="229"/>
                    </a:cubicBezTo>
                    <a:cubicBezTo>
                      <a:pt x="164" y="229"/>
                      <a:pt x="171" y="226"/>
                      <a:pt x="174" y="226"/>
                    </a:cubicBezTo>
                    <a:close/>
                    <a:moveTo>
                      <a:pt x="197" y="226"/>
                    </a:moveTo>
                    <a:cubicBezTo>
                      <a:pt x="200" y="226"/>
                      <a:pt x="208" y="221"/>
                      <a:pt x="210" y="221"/>
                    </a:cubicBezTo>
                    <a:cubicBezTo>
                      <a:pt x="210" y="218"/>
                      <a:pt x="208" y="216"/>
                      <a:pt x="200" y="218"/>
                    </a:cubicBezTo>
                    <a:cubicBezTo>
                      <a:pt x="202" y="218"/>
                      <a:pt x="190" y="226"/>
                      <a:pt x="197" y="226"/>
                    </a:cubicBezTo>
                    <a:close/>
                    <a:moveTo>
                      <a:pt x="234" y="218"/>
                    </a:moveTo>
                    <a:cubicBezTo>
                      <a:pt x="236" y="216"/>
                      <a:pt x="223" y="216"/>
                      <a:pt x="223" y="216"/>
                    </a:cubicBezTo>
                    <a:cubicBezTo>
                      <a:pt x="223" y="216"/>
                      <a:pt x="213" y="216"/>
                      <a:pt x="215" y="221"/>
                    </a:cubicBezTo>
                    <a:cubicBezTo>
                      <a:pt x="221" y="223"/>
                      <a:pt x="228" y="218"/>
                      <a:pt x="234" y="218"/>
                    </a:cubicBezTo>
                    <a:close/>
                    <a:moveTo>
                      <a:pt x="972" y="618"/>
                    </a:moveTo>
                    <a:cubicBezTo>
                      <a:pt x="972" y="600"/>
                      <a:pt x="959" y="603"/>
                      <a:pt x="948" y="597"/>
                    </a:cubicBezTo>
                    <a:cubicBezTo>
                      <a:pt x="938" y="592"/>
                      <a:pt x="954" y="582"/>
                      <a:pt x="948" y="577"/>
                    </a:cubicBezTo>
                    <a:cubicBezTo>
                      <a:pt x="943" y="561"/>
                      <a:pt x="923" y="551"/>
                      <a:pt x="933" y="538"/>
                    </a:cubicBezTo>
                    <a:cubicBezTo>
                      <a:pt x="938" y="530"/>
                      <a:pt x="951" y="504"/>
                      <a:pt x="935" y="501"/>
                    </a:cubicBezTo>
                    <a:cubicBezTo>
                      <a:pt x="933" y="501"/>
                      <a:pt x="943" y="475"/>
                      <a:pt x="933" y="473"/>
                    </a:cubicBezTo>
                    <a:cubicBezTo>
                      <a:pt x="923" y="467"/>
                      <a:pt x="923" y="465"/>
                      <a:pt x="920" y="455"/>
                    </a:cubicBezTo>
                    <a:cubicBezTo>
                      <a:pt x="917" y="439"/>
                      <a:pt x="928" y="444"/>
                      <a:pt x="928" y="434"/>
                    </a:cubicBezTo>
                    <a:cubicBezTo>
                      <a:pt x="928" y="416"/>
                      <a:pt x="894" y="379"/>
                      <a:pt x="871" y="377"/>
                    </a:cubicBezTo>
                    <a:cubicBezTo>
                      <a:pt x="873" y="371"/>
                      <a:pt x="873" y="356"/>
                      <a:pt x="876" y="353"/>
                    </a:cubicBezTo>
                    <a:cubicBezTo>
                      <a:pt x="881" y="345"/>
                      <a:pt x="891" y="345"/>
                      <a:pt x="894" y="335"/>
                    </a:cubicBezTo>
                    <a:cubicBezTo>
                      <a:pt x="899" y="317"/>
                      <a:pt x="904" y="301"/>
                      <a:pt x="894" y="286"/>
                    </a:cubicBezTo>
                    <a:cubicBezTo>
                      <a:pt x="884" y="268"/>
                      <a:pt x="891" y="239"/>
                      <a:pt x="873" y="229"/>
                    </a:cubicBezTo>
                    <a:cubicBezTo>
                      <a:pt x="873" y="226"/>
                      <a:pt x="881" y="223"/>
                      <a:pt x="878" y="221"/>
                    </a:cubicBezTo>
                    <a:cubicBezTo>
                      <a:pt x="876" y="218"/>
                      <a:pt x="863" y="223"/>
                      <a:pt x="853" y="221"/>
                    </a:cubicBezTo>
                    <a:cubicBezTo>
                      <a:pt x="850" y="221"/>
                      <a:pt x="842" y="216"/>
                      <a:pt x="840" y="213"/>
                    </a:cubicBezTo>
                    <a:cubicBezTo>
                      <a:pt x="837" y="210"/>
                      <a:pt x="829" y="208"/>
                      <a:pt x="834" y="200"/>
                    </a:cubicBezTo>
                    <a:cubicBezTo>
                      <a:pt x="845" y="190"/>
                      <a:pt x="834" y="195"/>
                      <a:pt x="834" y="184"/>
                    </a:cubicBezTo>
                    <a:cubicBezTo>
                      <a:pt x="834" y="174"/>
                      <a:pt x="824" y="182"/>
                      <a:pt x="827" y="166"/>
                    </a:cubicBezTo>
                    <a:cubicBezTo>
                      <a:pt x="829" y="161"/>
                      <a:pt x="821" y="161"/>
                      <a:pt x="821" y="153"/>
                    </a:cubicBezTo>
                    <a:cubicBezTo>
                      <a:pt x="821" y="148"/>
                      <a:pt x="796" y="166"/>
                      <a:pt x="796" y="166"/>
                    </a:cubicBezTo>
                    <a:cubicBezTo>
                      <a:pt x="796" y="166"/>
                      <a:pt x="788" y="153"/>
                      <a:pt x="788" y="151"/>
                    </a:cubicBezTo>
                    <a:cubicBezTo>
                      <a:pt x="788" y="151"/>
                      <a:pt x="759" y="138"/>
                      <a:pt x="757" y="132"/>
                    </a:cubicBezTo>
                    <a:cubicBezTo>
                      <a:pt x="757" y="127"/>
                      <a:pt x="749" y="109"/>
                      <a:pt x="749" y="107"/>
                    </a:cubicBezTo>
                    <a:cubicBezTo>
                      <a:pt x="746" y="112"/>
                      <a:pt x="736" y="112"/>
                      <a:pt x="736" y="120"/>
                    </a:cubicBezTo>
                    <a:cubicBezTo>
                      <a:pt x="739" y="130"/>
                      <a:pt x="723" y="120"/>
                      <a:pt x="726" y="120"/>
                    </a:cubicBezTo>
                    <a:cubicBezTo>
                      <a:pt x="720" y="122"/>
                      <a:pt x="713" y="117"/>
                      <a:pt x="708" y="125"/>
                    </a:cubicBezTo>
                    <a:cubicBezTo>
                      <a:pt x="697" y="120"/>
                      <a:pt x="692" y="143"/>
                      <a:pt x="695" y="143"/>
                    </a:cubicBezTo>
                    <a:cubicBezTo>
                      <a:pt x="676" y="143"/>
                      <a:pt x="695" y="130"/>
                      <a:pt x="689" y="130"/>
                    </a:cubicBezTo>
                    <a:cubicBezTo>
                      <a:pt x="687" y="127"/>
                      <a:pt x="702" y="120"/>
                      <a:pt x="708" y="120"/>
                    </a:cubicBezTo>
                    <a:cubicBezTo>
                      <a:pt x="705" y="120"/>
                      <a:pt x="718" y="112"/>
                      <a:pt x="718" y="112"/>
                    </a:cubicBezTo>
                    <a:cubicBezTo>
                      <a:pt x="726" y="112"/>
                      <a:pt x="741" y="117"/>
                      <a:pt x="744" y="107"/>
                    </a:cubicBezTo>
                    <a:cubicBezTo>
                      <a:pt x="741" y="112"/>
                      <a:pt x="726" y="109"/>
                      <a:pt x="715" y="107"/>
                    </a:cubicBezTo>
                    <a:cubicBezTo>
                      <a:pt x="708" y="107"/>
                      <a:pt x="697" y="96"/>
                      <a:pt x="697" y="112"/>
                    </a:cubicBezTo>
                    <a:cubicBezTo>
                      <a:pt x="697" y="120"/>
                      <a:pt x="682" y="122"/>
                      <a:pt x="676" y="127"/>
                    </a:cubicBezTo>
                    <a:cubicBezTo>
                      <a:pt x="669" y="140"/>
                      <a:pt x="664" y="158"/>
                      <a:pt x="656" y="158"/>
                    </a:cubicBezTo>
                    <a:cubicBezTo>
                      <a:pt x="648" y="158"/>
                      <a:pt x="640" y="164"/>
                      <a:pt x="632" y="164"/>
                    </a:cubicBezTo>
                    <a:cubicBezTo>
                      <a:pt x="625" y="164"/>
                      <a:pt x="622" y="158"/>
                      <a:pt x="617" y="161"/>
                    </a:cubicBezTo>
                    <a:cubicBezTo>
                      <a:pt x="614" y="161"/>
                      <a:pt x="594" y="177"/>
                      <a:pt x="596" y="179"/>
                    </a:cubicBezTo>
                    <a:cubicBezTo>
                      <a:pt x="604" y="182"/>
                      <a:pt x="607" y="171"/>
                      <a:pt x="612" y="171"/>
                    </a:cubicBezTo>
                    <a:cubicBezTo>
                      <a:pt x="609" y="171"/>
                      <a:pt x="596" y="190"/>
                      <a:pt x="596" y="192"/>
                    </a:cubicBezTo>
                    <a:cubicBezTo>
                      <a:pt x="594" y="208"/>
                      <a:pt x="594" y="200"/>
                      <a:pt x="586" y="200"/>
                    </a:cubicBezTo>
                    <a:cubicBezTo>
                      <a:pt x="575" y="200"/>
                      <a:pt x="575" y="200"/>
                      <a:pt x="575" y="200"/>
                    </a:cubicBezTo>
                    <a:cubicBezTo>
                      <a:pt x="578" y="200"/>
                      <a:pt x="570" y="187"/>
                      <a:pt x="568" y="184"/>
                    </a:cubicBezTo>
                    <a:cubicBezTo>
                      <a:pt x="565" y="184"/>
                      <a:pt x="550" y="184"/>
                      <a:pt x="547" y="187"/>
                    </a:cubicBezTo>
                    <a:cubicBezTo>
                      <a:pt x="537" y="195"/>
                      <a:pt x="531" y="192"/>
                      <a:pt x="547" y="203"/>
                    </a:cubicBezTo>
                    <a:cubicBezTo>
                      <a:pt x="534" y="195"/>
                      <a:pt x="521" y="221"/>
                      <a:pt x="511" y="221"/>
                    </a:cubicBezTo>
                    <a:cubicBezTo>
                      <a:pt x="506" y="221"/>
                      <a:pt x="534" y="200"/>
                      <a:pt x="534" y="200"/>
                    </a:cubicBezTo>
                    <a:cubicBezTo>
                      <a:pt x="534" y="187"/>
                      <a:pt x="531" y="190"/>
                      <a:pt x="524" y="179"/>
                    </a:cubicBezTo>
                    <a:cubicBezTo>
                      <a:pt x="524" y="179"/>
                      <a:pt x="547" y="161"/>
                      <a:pt x="550" y="161"/>
                    </a:cubicBezTo>
                    <a:cubicBezTo>
                      <a:pt x="563" y="153"/>
                      <a:pt x="555" y="148"/>
                      <a:pt x="555" y="140"/>
                    </a:cubicBezTo>
                    <a:cubicBezTo>
                      <a:pt x="555" y="122"/>
                      <a:pt x="560" y="132"/>
                      <a:pt x="563" y="122"/>
                    </a:cubicBezTo>
                    <a:cubicBezTo>
                      <a:pt x="565" y="117"/>
                      <a:pt x="550" y="125"/>
                      <a:pt x="547" y="125"/>
                    </a:cubicBezTo>
                    <a:cubicBezTo>
                      <a:pt x="547" y="125"/>
                      <a:pt x="542" y="120"/>
                      <a:pt x="531" y="130"/>
                    </a:cubicBezTo>
                    <a:cubicBezTo>
                      <a:pt x="521" y="138"/>
                      <a:pt x="521" y="130"/>
                      <a:pt x="508" y="125"/>
                    </a:cubicBezTo>
                    <a:cubicBezTo>
                      <a:pt x="503" y="120"/>
                      <a:pt x="493" y="117"/>
                      <a:pt x="485" y="112"/>
                    </a:cubicBezTo>
                    <a:cubicBezTo>
                      <a:pt x="469" y="107"/>
                      <a:pt x="474" y="130"/>
                      <a:pt x="464" y="130"/>
                    </a:cubicBezTo>
                    <a:cubicBezTo>
                      <a:pt x="467" y="109"/>
                      <a:pt x="467" y="109"/>
                      <a:pt x="467" y="109"/>
                    </a:cubicBezTo>
                    <a:cubicBezTo>
                      <a:pt x="467" y="99"/>
                      <a:pt x="443" y="109"/>
                      <a:pt x="438" y="107"/>
                    </a:cubicBezTo>
                    <a:cubicBezTo>
                      <a:pt x="446" y="109"/>
                      <a:pt x="459" y="78"/>
                      <a:pt x="449" y="68"/>
                    </a:cubicBezTo>
                    <a:cubicBezTo>
                      <a:pt x="456" y="75"/>
                      <a:pt x="449" y="57"/>
                      <a:pt x="449" y="57"/>
                    </a:cubicBezTo>
                    <a:cubicBezTo>
                      <a:pt x="449" y="44"/>
                      <a:pt x="441" y="55"/>
                      <a:pt x="438" y="55"/>
                    </a:cubicBezTo>
                    <a:cubicBezTo>
                      <a:pt x="428" y="57"/>
                      <a:pt x="415" y="39"/>
                      <a:pt x="410" y="39"/>
                    </a:cubicBezTo>
                    <a:cubicBezTo>
                      <a:pt x="410" y="36"/>
                      <a:pt x="397" y="47"/>
                      <a:pt x="397" y="47"/>
                    </a:cubicBezTo>
                    <a:cubicBezTo>
                      <a:pt x="394" y="31"/>
                      <a:pt x="392" y="42"/>
                      <a:pt x="384" y="47"/>
                    </a:cubicBezTo>
                    <a:cubicBezTo>
                      <a:pt x="373" y="49"/>
                      <a:pt x="376" y="36"/>
                      <a:pt x="371" y="36"/>
                    </a:cubicBezTo>
                    <a:cubicBezTo>
                      <a:pt x="355" y="31"/>
                      <a:pt x="342" y="26"/>
                      <a:pt x="327" y="29"/>
                    </a:cubicBezTo>
                    <a:cubicBezTo>
                      <a:pt x="319" y="29"/>
                      <a:pt x="319" y="21"/>
                      <a:pt x="314" y="31"/>
                    </a:cubicBezTo>
                    <a:cubicBezTo>
                      <a:pt x="311" y="39"/>
                      <a:pt x="324" y="55"/>
                      <a:pt x="322" y="57"/>
                    </a:cubicBezTo>
                    <a:cubicBezTo>
                      <a:pt x="322" y="55"/>
                      <a:pt x="332" y="83"/>
                      <a:pt x="332" y="83"/>
                    </a:cubicBezTo>
                    <a:cubicBezTo>
                      <a:pt x="332" y="83"/>
                      <a:pt x="350" y="88"/>
                      <a:pt x="348" y="94"/>
                    </a:cubicBezTo>
                    <a:cubicBezTo>
                      <a:pt x="342" y="99"/>
                      <a:pt x="329" y="91"/>
                      <a:pt x="329" y="101"/>
                    </a:cubicBezTo>
                    <a:cubicBezTo>
                      <a:pt x="332" y="112"/>
                      <a:pt x="348" y="99"/>
                      <a:pt x="348" y="99"/>
                    </a:cubicBezTo>
                    <a:cubicBezTo>
                      <a:pt x="348" y="99"/>
                      <a:pt x="342" y="109"/>
                      <a:pt x="337" y="117"/>
                    </a:cubicBezTo>
                    <a:cubicBezTo>
                      <a:pt x="337" y="117"/>
                      <a:pt x="309" y="112"/>
                      <a:pt x="314" y="120"/>
                    </a:cubicBezTo>
                    <a:cubicBezTo>
                      <a:pt x="316" y="120"/>
                      <a:pt x="316" y="122"/>
                      <a:pt x="316" y="122"/>
                    </a:cubicBezTo>
                    <a:cubicBezTo>
                      <a:pt x="283" y="135"/>
                      <a:pt x="342" y="143"/>
                      <a:pt x="342" y="132"/>
                    </a:cubicBezTo>
                    <a:cubicBezTo>
                      <a:pt x="342" y="143"/>
                      <a:pt x="324" y="140"/>
                      <a:pt x="332" y="158"/>
                    </a:cubicBezTo>
                    <a:cubicBezTo>
                      <a:pt x="332" y="161"/>
                      <a:pt x="340" y="164"/>
                      <a:pt x="342" y="169"/>
                    </a:cubicBezTo>
                    <a:cubicBezTo>
                      <a:pt x="353" y="182"/>
                      <a:pt x="337" y="174"/>
                      <a:pt x="332" y="179"/>
                    </a:cubicBezTo>
                    <a:cubicBezTo>
                      <a:pt x="329" y="182"/>
                      <a:pt x="335" y="187"/>
                      <a:pt x="337" y="190"/>
                    </a:cubicBezTo>
                    <a:cubicBezTo>
                      <a:pt x="340" y="210"/>
                      <a:pt x="358" y="200"/>
                      <a:pt x="371" y="203"/>
                    </a:cubicBezTo>
                    <a:cubicBezTo>
                      <a:pt x="381" y="205"/>
                      <a:pt x="386" y="213"/>
                      <a:pt x="392" y="223"/>
                    </a:cubicBezTo>
                    <a:cubicBezTo>
                      <a:pt x="397" y="234"/>
                      <a:pt x="412" y="265"/>
                      <a:pt x="428" y="262"/>
                    </a:cubicBezTo>
                    <a:cubicBezTo>
                      <a:pt x="405" y="265"/>
                      <a:pt x="392" y="242"/>
                      <a:pt x="384" y="221"/>
                    </a:cubicBezTo>
                    <a:cubicBezTo>
                      <a:pt x="376" y="192"/>
                      <a:pt x="350" y="221"/>
                      <a:pt x="332" y="213"/>
                    </a:cubicBezTo>
                    <a:cubicBezTo>
                      <a:pt x="309" y="203"/>
                      <a:pt x="314" y="200"/>
                      <a:pt x="298" y="226"/>
                    </a:cubicBezTo>
                    <a:cubicBezTo>
                      <a:pt x="291" y="242"/>
                      <a:pt x="311" y="255"/>
                      <a:pt x="306" y="262"/>
                    </a:cubicBezTo>
                    <a:cubicBezTo>
                      <a:pt x="306" y="265"/>
                      <a:pt x="293" y="286"/>
                      <a:pt x="296" y="286"/>
                    </a:cubicBezTo>
                    <a:cubicBezTo>
                      <a:pt x="291" y="286"/>
                      <a:pt x="296" y="268"/>
                      <a:pt x="296" y="268"/>
                    </a:cubicBezTo>
                    <a:cubicBezTo>
                      <a:pt x="298" y="257"/>
                      <a:pt x="296" y="260"/>
                      <a:pt x="285" y="257"/>
                    </a:cubicBezTo>
                    <a:cubicBezTo>
                      <a:pt x="280" y="255"/>
                      <a:pt x="278" y="239"/>
                      <a:pt x="272" y="255"/>
                    </a:cubicBezTo>
                    <a:cubicBezTo>
                      <a:pt x="267" y="265"/>
                      <a:pt x="272" y="262"/>
                      <a:pt x="278" y="262"/>
                    </a:cubicBezTo>
                    <a:cubicBezTo>
                      <a:pt x="280" y="262"/>
                      <a:pt x="275" y="281"/>
                      <a:pt x="275" y="281"/>
                    </a:cubicBezTo>
                    <a:cubicBezTo>
                      <a:pt x="270" y="291"/>
                      <a:pt x="265" y="275"/>
                      <a:pt x="257" y="273"/>
                    </a:cubicBezTo>
                    <a:cubicBezTo>
                      <a:pt x="254" y="273"/>
                      <a:pt x="244" y="270"/>
                      <a:pt x="257" y="265"/>
                    </a:cubicBezTo>
                    <a:cubicBezTo>
                      <a:pt x="272" y="257"/>
                      <a:pt x="247" y="229"/>
                      <a:pt x="239" y="229"/>
                    </a:cubicBezTo>
                    <a:cubicBezTo>
                      <a:pt x="226" y="226"/>
                      <a:pt x="210" y="234"/>
                      <a:pt x="197" y="234"/>
                    </a:cubicBezTo>
                    <a:cubicBezTo>
                      <a:pt x="192" y="234"/>
                      <a:pt x="184" y="231"/>
                      <a:pt x="174" y="231"/>
                    </a:cubicBezTo>
                    <a:cubicBezTo>
                      <a:pt x="164" y="231"/>
                      <a:pt x="151" y="249"/>
                      <a:pt x="156" y="257"/>
                    </a:cubicBezTo>
                    <a:cubicBezTo>
                      <a:pt x="153" y="257"/>
                      <a:pt x="156" y="260"/>
                      <a:pt x="153" y="262"/>
                    </a:cubicBezTo>
                    <a:cubicBezTo>
                      <a:pt x="148" y="257"/>
                      <a:pt x="151" y="260"/>
                      <a:pt x="146" y="257"/>
                    </a:cubicBezTo>
                    <a:cubicBezTo>
                      <a:pt x="148" y="268"/>
                      <a:pt x="146" y="281"/>
                      <a:pt x="143" y="291"/>
                    </a:cubicBezTo>
                    <a:cubicBezTo>
                      <a:pt x="169" y="294"/>
                      <a:pt x="161" y="296"/>
                      <a:pt x="164" y="314"/>
                    </a:cubicBezTo>
                    <a:cubicBezTo>
                      <a:pt x="164" y="322"/>
                      <a:pt x="158" y="335"/>
                      <a:pt x="158" y="343"/>
                    </a:cubicBezTo>
                    <a:cubicBezTo>
                      <a:pt x="161" y="353"/>
                      <a:pt x="153" y="366"/>
                      <a:pt x="148" y="374"/>
                    </a:cubicBezTo>
                    <a:cubicBezTo>
                      <a:pt x="140" y="384"/>
                      <a:pt x="148" y="405"/>
                      <a:pt x="135" y="410"/>
                    </a:cubicBezTo>
                    <a:cubicBezTo>
                      <a:pt x="127" y="413"/>
                      <a:pt x="96" y="395"/>
                      <a:pt x="109" y="418"/>
                    </a:cubicBezTo>
                    <a:cubicBezTo>
                      <a:pt x="86" y="429"/>
                      <a:pt x="122" y="455"/>
                      <a:pt x="130" y="436"/>
                    </a:cubicBezTo>
                    <a:cubicBezTo>
                      <a:pt x="146" y="452"/>
                      <a:pt x="127" y="467"/>
                      <a:pt x="140" y="475"/>
                    </a:cubicBezTo>
                    <a:cubicBezTo>
                      <a:pt x="135" y="478"/>
                      <a:pt x="117" y="496"/>
                      <a:pt x="117" y="496"/>
                    </a:cubicBezTo>
                    <a:cubicBezTo>
                      <a:pt x="107" y="496"/>
                      <a:pt x="102" y="501"/>
                      <a:pt x="96" y="509"/>
                    </a:cubicBezTo>
                    <a:cubicBezTo>
                      <a:pt x="117" y="509"/>
                      <a:pt x="107" y="535"/>
                      <a:pt x="102" y="532"/>
                    </a:cubicBezTo>
                    <a:cubicBezTo>
                      <a:pt x="89" y="522"/>
                      <a:pt x="78" y="540"/>
                      <a:pt x="68" y="538"/>
                    </a:cubicBezTo>
                    <a:cubicBezTo>
                      <a:pt x="68" y="543"/>
                      <a:pt x="68" y="543"/>
                      <a:pt x="68" y="543"/>
                    </a:cubicBezTo>
                    <a:cubicBezTo>
                      <a:pt x="60" y="538"/>
                      <a:pt x="45" y="532"/>
                      <a:pt x="34" y="532"/>
                    </a:cubicBezTo>
                    <a:cubicBezTo>
                      <a:pt x="37" y="535"/>
                      <a:pt x="37" y="540"/>
                      <a:pt x="39" y="543"/>
                    </a:cubicBezTo>
                    <a:cubicBezTo>
                      <a:pt x="32" y="538"/>
                      <a:pt x="26" y="540"/>
                      <a:pt x="19" y="540"/>
                    </a:cubicBezTo>
                    <a:cubicBezTo>
                      <a:pt x="19" y="540"/>
                      <a:pt x="26" y="566"/>
                      <a:pt x="26" y="561"/>
                    </a:cubicBezTo>
                    <a:cubicBezTo>
                      <a:pt x="26" y="571"/>
                      <a:pt x="32" y="582"/>
                      <a:pt x="37" y="590"/>
                    </a:cubicBezTo>
                    <a:cubicBezTo>
                      <a:pt x="42" y="597"/>
                      <a:pt x="42" y="610"/>
                      <a:pt x="42" y="621"/>
                    </a:cubicBezTo>
                    <a:cubicBezTo>
                      <a:pt x="42" y="634"/>
                      <a:pt x="21" y="636"/>
                      <a:pt x="26" y="657"/>
                    </a:cubicBezTo>
                    <a:cubicBezTo>
                      <a:pt x="34" y="655"/>
                      <a:pt x="34" y="655"/>
                      <a:pt x="34" y="655"/>
                    </a:cubicBezTo>
                    <a:cubicBezTo>
                      <a:pt x="32" y="667"/>
                      <a:pt x="16" y="665"/>
                      <a:pt x="13" y="678"/>
                    </a:cubicBezTo>
                    <a:cubicBezTo>
                      <a:pt x="11" y="675"/>
                      <a:pt x="11" y="673"/>
                      <a:pt x="8" y="670"/>
                    </a:cubicBezTo>
                    <a:cubicBezTo>
                      <a:pt x="0" y="673"/>
                      <a:pt x="0" y="680"/>
                      <a:pt x="3" y="686"/>
                    </a:cubicBezTo>
                    <a:cubicBezTo>
                      <a:pt x="21" y="680"/>
                      <a:pt x="21" y="699"/>
                      <a:pt x="24" y="709"/>
                    </a:cubicBezTo>
                    <a:cubicBezTo>
                      <a:pt x="19" y="709"/>
                      <a:pt x="16" y="712"/>
                      <a:pt x="11" y="717"/>
                    </a:cubicBezTo>
                    <a:cubicBezTo>
                      <a:pt x="13" y="727"/>
                      <a:pt x="29" y="748"/>
                      <a:pt x="39" y="751"/>
                    </a:cubicBezTo>
                    <a:cubicBezTo>
                      <a:pt x="37" y="753"/>
                      <a:pt x="29" y="758"/>
                      <a:pt x="29" y="761"/>
                    </a:cubicBezTo>
                    <a:cubicBezTo>
                      <a:pt x="29" y="777"/>
                      <a:pt x="39" y="766"/>
                      <a:pt x="45" y="774"/>
                    </a:cubicBezTo>
                    <a:cubicBezTo>
                      <a:pt x="47" y="777"/>
                      <a:pt x="55" y="797"/>
                      <a:pt x="52" y="802"/>
                    </a:cubicBezTo>
                    <a:cubicBezTo>
                      <a:pt x="47" y="805"/>
                      <a:pt x="34" y="808"/>
                      <a:pt x="29" y="815"/>
                    </a:cubicBezTo>
                    <a:cubicBezTo>
                      <a:pt x="24" y="821"/>
                      <a:pt x="21" y="834"/>
                      <a:pt x="21" y="841"/>
                    </a:cubicBezTo>
                    <a:cubicBezTo>
                      <a:pt x="21" y="860"/>
                      <a:pt x="32" y="886"/>
                      <a:pt x="45" y="883"/>
                    </a:cubicBezTo>
                    <a:cubicBezTo>
                      <a:pt x="47" y="896"/>
                      <a:pt x="63" y="886"/>
                      <a:pt x="60" y="906"/>
                    </a:cubicBezTo>
                    <a:cubicBezTo>
                      <a:pt x="57" y="909"/>
                      <a:pt x="45" y="922"/>
                      <a:pt x="42" y="925"/>
                    </a:cubicBezTo>
                    <a:cubicBezTo>
                      <a:pt x="37" y="927"/>
                      <a:pt x="39" y="935"/>
                      <a:pt x="39" y="940"/>
                    </a:cubicBezTo>
                    <a:cubicBezTo>
                      <a:pt x="37" y="953"/>
                      <a:pt x="47" y="945"/>
                      <a:pt x="60" y="956"/>
                    </a:cubicBezTo>
                    <a:cubicBezTo>
                      <a:pt x="63" y="958"/>
                      <a:pt x="63" y="966"/>
                      <a:pt x="57" y="969"/>
                    </a:cubicBezTo>
                    <a:cubicBezTo>
                      <a:pt x="60" y="966"/>
                      <a:pt x="76" y="995"/>
                      <a:pt x="76" y="992"/>
                    </a:cubicBezTo>
                    <a:cubicBezTo>
                      <a:pt x="78" y="997"/>
                      <a:pt x="73" y="1000"/>
                      <a:pt x="81" y="1002"/>
                    </a:cubicBezTo>
                    <a:cubicBezTo>
                      <a:pt x="89" y="1002"/>
                      <a:pt x="94" y="1002"/>
                      <a:pt x="89" y="995"/>
                    </a:cubicBezTo>
                    <a:cubicBezTo>
                      <a:pt x="96" y="995"/>
                      <a:pt x="109" y="997"/>
                      <a:pt x="109" y="1002"/>
                    </a:cubicBezTo>
                    <a:cubicBezTo>
                      <a:pt x="112" y="1021"/>
                      <a:pt x="114" y="1005"/>
                      <a:pt x="120" y="1005"/>
                    </a:cubicBezTo>
                    <a:cubicBezTo>
                      <a:pt x="120" y="1005"/>
                      <a:pt x="135" y="1013"/>
                      <a:pt x="140" y="1013"/>
                    </a:cubicBezTo>
                    <a:cubicBezTo>
                      <a:pt x="143" y="1013"/>
                      <a:pt x="143" y="1010"/>
                      <a:pt x="151" y="1008"/>
                    </a:cubicBezTo>
                    <a:cubicBezTo>
                      <a:pt x="151" y="1008"/>
                      <a:pt x="146" y="1005"/>
                      <a:pt x="153" y="1005"/>
                    </a:cubicBezTo>
                    <a:cubicBezTo>
                      <a:pt x="156" y="1005"/>
                      <a:pt x="158" y="1008"/>
                      <a:pt x="161" y="1008"/>
                    </a:cubicBezTo>
                    <a:cubicBezTo>
                      <a:pt x="156" y="1008"/>
                      <a:pt x="166" y="1021"/>
                      <a:pt x="169" y="1021"/>
                    </a:cubicBezTo>
                    <a:cubicBezTo>
                      <a:pt x="174" y="1023"/>
                      <a:pt x="200" y="1036"/>
                      <a:pt x="202" y="1031"/>
                    </a:cubicBezTo>
                    <a:cubicBezTo>
                      <a:pt x="210" y="1023"/>
                      <a:pt x="234" y="1041"/>
                      <a:pt x="241" y="1044"/>
                    </a:cubicBezTo>
                    <a:cubicBezTo>
                      <a:pt x="231" y="1049"/>
                      <a:pt x="234" y="1065"/>
                      <a:pt x="228" y="1073"/>
                    </a:cubicBezTo>
                    <a:cubicBezTo>
                      <a:pt x="223" y="1078"/>
                      <a:pt x="210" y="1075"/>
                      <a:pt x="208" y="1086"/>
                    </a:cubicBezTo>
                    <a:cubicBezTo>
                      <a:pt x="195" y="1104"/>
                      <a:pt x="195" y="1104"/>
                      <a:pt x="195" y="1104"/>
                    </a:cubicBezTo>
                    <a:cubicBezTo>
                      <a:pt x="182" y="1143"/>
                      <a:pt x="182" y="1143"/>
                      <a:pt x="182" y="1143"/>
                    </a:cubicBezTo>
                    <a:cubicBezTo>
                      <a:pt x="184" y="1150"/>
                      <a:pt x="179" y="1161"/>
                      <a:pt x="171" y="1169"/>
                    </a:cubicBezTo>
                    <a:cubicBezTo>
                      <a:pt x="166" y="1176"/>
                      <a:pt x="166" y="1208"/>
                      <a:pt x="164" y="1213"/>
                    </a:cubicBezTo>
                    <a:cubicBezTo>
                      <a:pt x="156" y="1234"/>
                      <a:pt x="151" y="1262"/>
                      <a:pt x="161" y="1278"/>
                    </a:cubicBezTo>
                    <a:cubicBezTo>
                      <a:pt x="164" y="1278"/>
                      <a:pt x="169" y="1280"/>
                      <a:pt x="171" y="1280"/>
                    </a:cubicBezTo>
                    <a:cubicBezTo>
                      <a:pt x="169" y="1280"/>
                      <a:pt x="166" y="1280"/>
                      <a:pt x="166" y="1283"/>
                    </a:cubicBezTo>
                    <a:cubicBezTo>
                      <a:pt x="174" y="1291"/>
                      <a:pt x="187" y="1275"/>
                      <a:pt x="213" y="1285"/>
                    </a:cubicBezTo>
                    <a:cubicBezTo>
                      <a:pt x="223" y="1291"/>
                      <a:pt x="228" y="1275"/>
                      <a:pt x="241" y="1278"/>
                    </a:cubicBezTo>
                    <a:cubicBezTo>
                      <a:pt x="249" y="1278"/>
                      <a:pt x="252" y="1288"/>
                      <a:pt x="267" y="1283"/>
                    </a:cubicBezTo>
                    <a:cubicBezTo>
                      <a:pt x="267" y="1275"/>
                      <a:pt x="272" y="1273"/>
                      <a:pt x="275" y="1280"/>
                    </a:cubicBezTo>
                    <a:cubicBezTo>
                      <a:pt x="293" y="1267"/>
                      <a:pt x="270" y="1273"/>
                      <a:pt x="267" y="1270"/>
                    </a:cubicBezTo>
                    <a:cubicBezTo>
                      <a:pt x="262" y="1267"/>
                      <a:pt x="257" y="1273"/>
                      <a:pt x="257" y="1265"/>
                    </a:cubicBezTo>
                    <a:cubicBezTo>
                      <a:pt x="254" y="1254"/>
                      <a:pt x="270" y="1249"/>
                      <a:pt x="275" y="1247"/>
                    </a:cubicBezTo>
                    <a:cubicBezTo>
                      <a:pt x="275" y="1247"/>
                      <a:pt x="280" y="1244"/>
                      <a:pt x="283" y="1249"/>
                    </a:cubicBezTo>
                    <a:cubicBezTo>
                      <a:pt x="291" y="1244"/>
                      <a:pt x="293" y="1257"/>
                      <a:pt x="298" y="1267"/>
                    </a:cubicBezTo>
                    <a:cubicBezTo>
                      <a:pt x="301" y="1265"/>
                      <a:pt x="301" y="1257"/>
                      <a:pt x="301" y="1254"/>
                    </a:cubicBezTo>
                    <a:cubicBezTo>
                      <a:pt x="306" y="1262"/>
                      <a:pt x="309" y="1270"/>
                      <a:pt x="314" y="1273"/>
                    </a:cubicBezTo>
                    <a:cubicBezTo>
                      <a:pt x="316" y="1273"/>
                      <a:pt x="327" y="1265"/>
                      <a:pt x="335" y="1267"/>
                    </a:cubicBezTo>
                    <a:cubicBezTo>
                      <a:pt x="342" y="1270"/>
                      <a:pt x="353" y="1273"/>
                      <a:pt x="360" y="1275"/>
                    </a:cubicBezTo>
                    <a:cubicBezTo>
                      <a:pt x="379" y="1280"/>
                      <a:pt x="381" y="1291"/>
                      <a:pt x="402" y="1293"/>
                    </a:cubicBezTo>
                    <a:cubicBezTo>
                      <a:pt x="412" y="1293"/>
                      <a:pt x="407" y="1280"/>
                      <a:pt x="417" y="1285"/>
                    </a:cubicBezTo>
                    <a:cubicBezTo>
                      <a:pt x="420" y="1285"/>
                      <a:pt x="433" y="1296"/>
                      <a:pt x="441" y="1304"/>
                    </a:cubicBezTo>
                    <a:cubicBezTo>
                      <a:pt x="449" y="1311"/>
                      <a:pt x="446" y="1311"/>
                      <a:pt x="451" y="1324"/>
                    </a:cubicBezTo>
                    <a:cubicBezTo>
                      <a:pt x="451" y="1322"/>
                      <a:pt x="459" y="1317"/>
                      <a:pt x="461" y="1319"/>
                    </a:cubicBezTo>
                    <a:cubicBezTo>
                      <a:pt x="469" y="1322"/>
                      <a:pt x="459" y="1335"/>
                      <a:pt x="459" y="1337"/>
                    </a:cubicBezTo>
                    <a:cubicBezTo>
                      <a:pt x="469" y="1335"/>
                      <a:pt x="493" y="1324"/>
                      <a:pt x="495" y="1311"/>
                    </a:cubicBezTo>
                    <a:cubicBezTo>
                      <a:pt x="495" y="1299"/>
                      <a:pt x="485" y="1291"/>
                      <a:pt x="495" y="1286"/>
                    </a:cubicBezTo>
                    <a:cubicBezTo>
                      <a:pt x="493" y="1288"/>
                      <a:pt x="498" y="1303"/>
                      <a:pt x="503" y="1291"/>
                    </a:cubicBezTo>
                    <a:cubicBezTo>
                      <a:pt x="508" y="1285"/>
                      <a:pt x="542" y="1293"/>
                      <a:pt x="539" y="1293"/>
                    </a:cubicBezTo>
                    <a:cubicBezTo>
                      <a:pt x="544" y="1296"/>
                      <a:pt x="542" y="1298"/>
                      <a:pt x="539" y="1304"/>
                    </a:cubicBezTo>
                    <a:cubicBezTo>
                      <a:pt x="544" y="1306"/>
                      <a:pt x="550" y="1311"/>
                      <a:pt x="550" y="1319"/>
                    </a:cubicBezTo>
                    <a:cubicBezTo>
                      <a:pt x="563" y="1319"/>
                      <a:pt x="573" y="1317"/>
                      <a:pt x="581" y="1311"/>
                    </a:cubicBezTo>
                    <a:cubicBezTo>
                      <a:pt x="578" y="1319"/>
                      <a:pt x="578" y="1319"/>
                      <a:pt x="578" y="1319"/>
                    </a:cubicBezTo>
                    <a:cubicBezTo>
                      <a:pt x="588" y="1317"/>
                      <a:pt x="591" y="1306"/>
                      <a:pt x="604" y="1311"/>
                    </a:cubicBezTo>
                    <a:cubicBezTo>
                      <a:pt x="604" y="1309"/>
                      <a:pt x="599" y="1306"/>
                      <a:pt x="599" y="1306"/>
                    </a:cubicBezTo>
                    <a:cubicBezTo>
                      <a:pt x="604" y="1298"/>
                      <a:pt x="619" y="1288"/>
                      <a:pt x="625" y="1285"/>
                    </a:cubicBezTo>
                    <a:cubicBezTo>
                      <a:pt x="635" y="1283"/>
                      <a:pt x="648" y="1283"/>
                      <a:pt x="656" y="1280"/>
                    </a:cubicBezTo>
                    <a:cubicBezTo>
                      <a:pt x="661" y="1280"/>
                      <a:pt x="689" y="1283"/>
                      <a:pt x="692" y="1280"/>
                    </a:cubicBezTo>
                    <a:cubicBezTo>
                      <a:pt x="700" y="1273"/>
                      <a:pt x="679" y="1267"/>
                      <a:pt x="697" y="1254"/>
                    </a:cubicBezTo>
                    <a:cubicBezTo>
                      <a:pt x="697" y="1270"/>
                      <a:pt x="697" y="1270"/>
                      <a:pt x="697" y="1270"/>
                    </a:cubicBezTo>
                    <a:cubicBezTo>
                      <a:pt x="710" y="1265"/>
                      <a:pt x="718" y="1270"/>
                      <a:pt x="731" y="1278"/>
                    </a:cubicBezTo>
                    <a:cubicBezTo>
                      <a:pt x="741" y="1285"/>
                      <a:pt x="744" y="1257"/>
                      <a:pt x="762" y="1267"/>
                    </a:cubicBezTo>
                    <a:cubicBezTo>
                      <a:pt x="759" y="1270"/>
                      <a:pt x="757" y="1285"/>
                      <a:pt x="759" y="1288"/>
                    </a:cubicBezTo>
                    <a:cubicBezTo>
                      <a:pt x="762" y="1293"/>
                      <a:pt x="785" y="1304"/>
                      <a:pt x="790" y="1298"/>
                    </a:cubicBezTo>
                    <a:cubicBezTo>
                      <a:pt x="793" y="1293"/>
                      <a:pt x="796" y="1273"/>
                      <a:pt x="796" y="1270"/>
                    </a:cubicBezTo>
                    <a:cubicBezTo>
                      <a:pt x="790" y="1262"/>
                      <a:pt x="788" y="1257"/>
                      <a:pt x="775" y="1262"/>
                    </a:cubicBezTo>
                    <a:cubicBezTo>
                      <a:pt x="777" y="1244"/>
                      <a:pt x="790" y="1241"/>
                      <a:pt x="780" y="1226"/>
                    </a:cubicBezTo>
                    <a:cubicBezTo>
                      <a:pt x="775" y="1215"/>
                      <a:pt x="767" y="1215"/>
                      <a:pt x="765" y="1208"/>
                    </a:cubicBezTo>
                    <a:cubicBezTo>
                      <a:pt x="762" y="1202"/>
                      <a:pt x="746" y="1195"/>
                      <a:pt x="757" y="1189"/>
                    </a:cubicBezTo>
                    <a:cubicBezTo>
                      <a:pt x="767" y="1187"/>
                      <a:pt x="780" y="1166"/>
                      <a:pt x="785" y="1163"/>
                    </a:cubicBezTo>
                    <a:cubicBezTo>
                      <a:pt x="793" y="1161"/>
                      <a:pt x="801" y="1158"/>
                      <a:pt x="809" y="1158"/>
                    </a:cubicBezTo>
                    <a:cubicBezTo>
                      <a:pt x="827" y="1158"/>
                      <a:pt x="834" y="1125"/>
                      <a:pt x="829" y="1114"/>
                    </a:cubicBezTo>
                    <a:cubicBezTo>
                      <a:pt x="840" y="1109"/>
                      <a:pt x="847" y="1109"/>
                      <a:pt x="863" y="1119"/>
                    </a:cubicBezTo>
                    <a:cubicBezTo>
                      <a:pt x="868" y="1112"/>
                      <a:pt x="873" y="1099"/>
                      <a:pt x="873" y="1086"/>
                    </a:cubicBezTo>
                    <a:cubicBezTo>
                      <a:pt x="871" y="1070"/>
                      <a:pt x="858" y="1060"/>
                      <a:pt x="850" y="1047"/>
                    </a:cubicBezTo>
                    <a:cubicBezTo>
                      <a:pt x="842" y="1034"/>
                      <a:pt x="827" y="1052"/>
                      <a:pt x="824" y="1031"/>
                    </a:cubicBezTo>
                    <a:cubicBezTo>
                      <a:pt x="824" y="1021"/>
                      <a:pt x="809" y="1018"/>
                      <a:pt x="801" y="1018"/>
                    </a:cubicBezTo>
                    <a:cubicBezTo>
                      <a:pt x="798" y="1018"/>
                      <a:pt x="775" y="984"/>
                      <a:pt x="757" y="982"/>
                    </a:cubicBezTo>
                    <a:cubicBezTo>
                      <a:pt x="746" y="979"/>
                      <a:pt x="733" y="956"/>
                      <a:pt x="731" y="948"/>
                    </a:cubicBezTo>
                    <a:cubicBezTo>
                      <a:pt x="726" y="940"/>
                      <a:pt x="726" y="930"/>
                      <a:pt x="720" y="922"/>
                    </a:cubicBezTo>
                    <a:cubicBezTo>
                      <a:pt x="718" y="919"/>
                      <a:pt x="708" y="919"/>
                      <a:pt x="708" y="909"/>
                    </a:cubicBezTo>
                    <a:cubicBezTo>
                      <a:pt x="715" y="899"/>
                      <a:pt x="715" y="899"/>
                      <a:pt x="715" y="899"/>
                    </a:cubicBezTo>
                    <a:cubicBezTo>
                      <a:pt x="718" y="899"/>
                      <a:pt x="720" y="886"/>
                      <a:pt x="720" y="880"/>
                    </a:cubicBezTo>
                    <a:cubicBezTo>
                      <a:pt x="718" y="880"/>
                      <a:pt x="715" y="878"/>
                      <a:pt x="713" y="878"/>
                    </a:cubicBezTo>
                    <a:cubicBezTo>
                      <a:pt x="718" y="867"/>
                      <a:pt x="695" y="862"/>
                      <a:pt x="689" y="854"/>
                    </a:cubicBezTo>
                    <a:cubicBezTo>
                      <a:pt x="682" y="844"/>
                      <a:pt x="671" y="828"/>
                      <a:pt x="671" y="815"/>
                    </a:cubicBezTo>
                    <a:cubicBezTo>
                      <a:pt x="676" y="815"/>
                      <a:pt x="676" y="815"/>
                      <a:pt x="676" y="815"/>
                    </a:cubicBezTo>
                    <a:cubicBezTo>
                      <a:pt x="679" y="821"/>
                      <a:pt x="695" y="841"/>
                      <a:pt x="697" y="841"/>
                    </a:cubicBezTo>
                    <a:cubicBezTo>
                      <a:pt x="700" y="839"/>
                      <a:pt x="708" y="815"/>
                      <a:pt x="713" y="808"/>
                    </a:cubicBezTo>
                    <a:cubicBezTo>
                      <a:pt x="718" y="805"/>
                      <a:pt x="720" y="792"/>
                      <a:pt x="736" y="800"/>
                    </a:cubicBezTo>
                    <a:cubicBezTo>
                      <a:pt x="736" y="800"/>
                      <a:pt x="746" y="795"/>
                      <a:pt x="749" y="795"/>
                    </a:cubicBezTo>
                    <a:cubicBezTo>
                      <a:pt x="757" y="790"/>
                      <a:pt x="775" y="805"/>
                      <a:pt x="777" y="782"/>
                    </a:cubicBezTo>
                    <a:cubicBezTo>
                      <a:pt x="783" y="784"/>
                      <a:pt x="788" y="782"/>
                      <a:pt x="793" y="777"/>
                    </a:cubicBezTo>
                    <a:cubicBezTo>
                      <a:pt x="801" y="764"/>
                      <a:pt x="809" y="758"/>
                      <a:pt x="809" y="758"/>
                    </a:cubicBezTo>
                    <a:cubicBezTo>
                      <a:pt x="821" y="771"/>
                      <a:pt x="827" y="745"/>
                      <a:pt x="837" y="740"/>
                    </a:cubicBezTo>
                    <a:cubicBezTo>
                      <a:pt x="842" y="738"/>
                      <a:pt x="863" y="727"/>
                      <a:pt x="871" y="727"/>
                    </a:cubicBezTo>
                    <a:cubicBezTo>
                      <a:pt x="878" y="727"/>
                      <a:pt x="889" y="717"/>
                      <a:pt x="902" y="712"/>
                    </a:cubicBezTo>
                    <a:cubicBezTo>
                      <a:pt x="910" y="706"/>
                      <a:pt x="917" y="712"/>
                      <a:pt x="917" y="701"/>
                    </a:cubicBezTo>
                    <a:cubicBezTo>
                      <a:pt x="917" y="699"/>
                      <a:pt x="904" y="693"/>
                      <a:pt x="902" y="693"/>
                    </a:cubicBezTo>
                    <a:cubicBezTo>
                      <a:pt x="902" y="691"/>
                      <a:pt x="904" y="683"/>
                      <a:pt x="907" y="680"/>
                    </a:cubicBezTo>
                    <a:cubicBezTo>
                      <a:pt x="915" y="686"/>
                      <a:pt x="948" y="683"/>
                      <a:pt x="933" y="704"/>
                    </a:cubicBezTo>
                    <a:cubicBezTo>
                      <a:pt x="935" y="704"/>
                      <a:pt x="943" y="704"/>
                      <a:pt x="946" y="701"/>
                    </a:cubicBezTo>
                    <a:cubicBezTo>
                      <a:pt x="933" y="717"/>
                      <a:pt x="948" y="712"/>
                      <a:pt x="956" y="717"/>
                    </a:cubicBezTo>
                    <a:cubicBezTo>
                      <a:pt x="964" y="722"/>
                      <a:pt x="964" y="706"/>
                      <a:pt x="967" y="704"/>
                    </a:cubicBezTo>
                    <a:cubicBezTo>
                      <a:pt x="974" y="699"/>
                      <a:pt x="979" y="670"/>
                      <a:pt x="979" y="660"/>
                    </a:cubicBezTo>
                    <a:cubicBezTo>
                      <a:pt x="987" y="642"/>
                      <a:pt x="972" y="634"/>
                      <a:pt x="972" y="618"/>
                    </a:cubicBezTo>
                    <a:close/>
                    <a:moveTo>
                      <a:pt x="322" y="174"/>
                    </a:moveTo>
                    <a:cubicBezTo>
                      <a:pt x="322" y="169"/>
                      <a:pt x="322" y="169"/>
                      <a:pt x="322" y="169"/>
                    </a:cubicBezTo>
                    <a:cubicBezTo>
                      <a:pt x="322" y="169"/>
                      <a:pt x="319" y="166"/>
                      <a:pt x="319" y="171"/>
                    </a:cubicBezTo>
                    <a:cubicBezTo>
                      <a:pt x="319" y="177"/>
                      <a:pt x="322" y="174"/>
                      <a:pt x="322" y="174"/>
                    </a:cubicBezTo>
                    <a:close/>
                    <a:moveTo>
                      <a:pt x="138" y="234"/>
                    </a:moveTo>
                    <a:cubicBezTo>
                      <a:pt x="135" y="231"/>
                      <a:pt x="130" y="234"/>
                      <a:pt x="135" y="239"/>
                    </a:cubicBezTo>
                    <a:cubicBezTo>
                      <a:pt x="138" y="242"/>
                      <a:pt x="138" y="234"/>
                      <a:pt x="138" y="234"/>
                    </a:cubicBezTo>
                    <a:close/>
                    <a:moveTo>
                      <a:pt x="329" y="86"/>
                    </a:moveTo>
                    <a:cubicBezTo>
                      <a:pt x="329" y="88"/>
                      <a:pt x="324" y="86"/>
                      <a:pt x="329" y="88"/>
                    </a:cubicBezTo>
                    <a:cubicBezTo>
                      <a:pt x="335" y="88"/>
                      <a:pt x="335" y="88"/>
                      <a:pt x="329" y="86"/>
                    </a:cubicBezTo>
                    <a:close/>
                    <a:moveTo>
                      <a:pt x="247" y="218"/>
                    </a:moveTo>
                    <a:cubicBezTo>
                      <a:pt x="252" y="213"/>
                      <a:pt x="228" y="216"/>
                      <a:pt x="239" y="216"/>
                    </a:cubicBezTo>
                    <a:cubicBezTo>
                      <a:pt x="241" y="218"/>
                      <a:pt x="244" y="218"/>
                      <a:pt x="247" y="218"/>
                    </a:cubicBezTo>
                    <a:close/>
                    <a:moveTo>
                      <a:pt x="244" y="148"/>
                    </a:moveTo>
                    <a:cubicBezTo>
                      <a:pt x="247" y="148"/>
                      <a:pt x="247" y="145"/>
                      <a:pt x="244" y="145"/>
                    </a:cubicBezTo>
                    <a:cubicBezTo>
                      <a:pt x="244" y="145"/>
                      <a:pt x="241" y="148"/>
                      <a:pt x="244" y="148"/>
                    </a:cubicBezTo>
                    <a:close/>
                    <a:moveTo>
                      <a:pt x="288" y="78"/>
                    </a:moveTo>
                    <a:cubicBezTo>
                      <a:pt x="288" y="75"/>
                      <a:pt x="283" y="57"/>
                      <a:pt x="285" y="57"/>
                    </a:cubicBezTo>
                    <a:cubicBezTo>
                      <a:pt x="283" y="57"/>
                      <a:pt x="280" y="65"/>
                      <a:pt x="278" y="68"/>
                    </a:cubicBezTo>
                    <a:cubicBezTo>
                      <a:pt x="278" y="68"/>
                      <a:pt x="285" y="83"/>
                      <a:pt x="288" y="78"/>
                    </a:cubicBezTo>
                    <a:close/>
                    <a:moveTo>
                      <a:pt x="288" y="213"/>
                    </a:moveTo>
                    <a:cubicBezTo>
                      <a:pt x="291" y="210"/>
                      <a:pt x="288" y="208"/>
                      <a:pt x="288" y="208"/>
                    </a:cubicBezTo>
                    <a:cubicBezTo>
                      <a:pt x="283" y="208"/>
                      <a:pt x="283" y="213"/>
                      <a:pt x="288" y="213"/>
                    </a:cubicBezTo>
                    <a:close/>
                    <a:moveTo>
                      <a:pt x="280" y="55"/>
                    </a:moveTo>
                    <a:cubicBezTo>
                      <a:pt x="280" y="52"/>
                      <a:pt x="280" y="52"/>
                      <a:pt x="280" y="52"/>
                    </a:cubicBezTo>
                    <a:cubicBezTo>
                      <a:pt x="280" y="49"/>
                      <a:pt x="280" y="49"/>
                      <a:pt x="280" y="49"/>
                    </a:cubicBezTo>
                    <a:cubicBezTo>
                      <a:pt x="280" y="42"/>
                      <a:pt x="280" y="42"/>
                      <a:pt x="280" y="42"/>
                    </a:cubicBezTo>
                    <a:cubicBezTo>
                      <a:pt x="280" y="42"/>
                      <a:pt x="280" y="36"/>
                      <a:pt x="283" y="36"/>
                    </a:cubicBezTo>
                    <a:cubicBezTo>
                      <a:pt x="283" y="31"/>
                      <a:pt x="283" y="31"/>
                      <a:pt x="283" y="31"/>
                    </a:cubicBezTo>
                    <a:cubicBezTo>
                      <a:pt x="285" y="31"/>
                      <a:pt x="285" y="29"/>
                      <a:pt x="285" y="29"/>
                    </a:cubicBezTo>
                    <a:cubicBezTo>
                      <a:pt x="285" y="31"/>
                      <a:pt x="285" y="36"/>
                      <a:pt x="288" y="36"/>
                    </a:cubicBezTo>
                    <a:cubicBezTo>
                      <a:pt x="291" y="36"/>
                      <a:pt x="296" y="36"/>
                      <a:pt x="298" y="31"/>
                    </a:cubicBezTo>
                    <a:cubicBezTo>
                      <a:pt x="298" y="29"/>
                      <a:pt x="293" y="29"/>
                      <a:pt x="291" y="26"/>
                    </a:cubicBezTo>
                    <a:cubicBezTo>
                      <a:pt x="288" y="26"/>
                      <a:pt x="288" y="21"/>
                      <a:pt x="288" y="21"/>
                    </a:cubicBezTo>
                    <a:cubicBezTo>
                      <a:pt x="288" y="16"/>
                      <a:pt x="288" y="16"/>
                      <a:pt x="288" y="16"/>
                    </a:cubicBezTo>
                    <a:cubicBezTo>
                      <a:pt x="288" y="16"/>
                      <a:pt x="288" y="13"/>
                      <a:pt x="291" y="10"/>
                    </a:cubicBezTo>
                    <a:cubicBezTo>
                      <a:pt x="291" y="10"/>
                      <a:pt x="293" y="8"/>
                      <a:pt x="296" y="8"/>
                    </a:cubicBezTo>
                    <a:cubicBezTo>
                      <a:pt x="296" y="5"/>
                      <a:pt x="293" y="3"/>
                      <a:pt x="293" y="3"/>
                    </a:cubicBezTo>
                    <a:cubicBezTo>
                      <a:pt x="298" y="3"/>
                      <a:pt x="298" y="3"/>
                      <a:pt x="298" y="3"/>
                    </a:cubicBezTo>
                    <a:cubicBezTo>
                      <a:pt x="298" y="3"/>
                      <a:pt x="298" y="0"/>
                      <a:pt x="296" y="0"/>
                    </a:cubicBezTo>
                    <a:cubicBezTo>
                      <a:pt x="291" y="0"/>
                      <a:pt x="291" y="3"/>
                      <a:pt x="291" y="3"/>
                    </a:cubicBezTo>
                    <a:cubicBezTo>
                      <a:pt x="288" y="5"/>
                      <a:pt x="285" y="13"/>
                      <a:pt x="283" y="18"/>
                    </a:cubicBezTo>
                    <a:cubicBezTo>
                      <a:pt x="280" y="23"/>
                      <a:pt x="278" y="36"/>
                      <a:pt x="278" y="36"/>
                    </a:cubicBezTo>
                    <a:cubicBezTo>
                      <a:pt x="278" y="44"/>
                      <a:pt x="278" y="44"/>
                      <a:pt x="278" y="44"/>
                    </a:cubicBezTo>
                    <a:cubicBezTo>
                      <a:pt x="278" y="52"/>
                      <a:pt x="278" y="52"/>
                      <a:pt x="278" y="52"/>
                    </a:cubicBezTo>
                    <a:cubicBezTo>
                      <a:pt x="278" y="55"/>
                      <a:pt x="280" y="55"/>
                      <a:pt x="280" y="55"/>
                    </a:cubicBezTo>
                    <a:close/>
                    <a:moveTo>
                      <a:pt x="265" y="229"/>
                    </a:moveTo>
                    <a:cubicBezTo>
                      <a:pt x="267" y="229"/>
                      <a:pt x="275" y="223"/>
                      <a:pt x="267" y="223"/>
                    </a:cubicBezTo>
                    <a:cubicBezTo>
                      <a:pt x="267" y="223"/>
                      <a:pt x="257" y="229"/>
                      <a:pt x="265" y="229"/>
                    </a:cubicBezTo>
                    <a:close/>
                    <a:moveTo>
                      <a:pt x="252" y="223"/>
                    </a:moveTo>
                    <a:cubicBezTo>
                      <a:pt x="254" y="223"/>
                      <a:pt x="254" y="221"/>
                      <a:pt x="252" y="221"/>
                    </a:cubicBezTo>
                    <a:cubicBezTo>
                      <a:pt x="252" y="221"/>
                      <a:pt x="249" y="223"/>
                      <a:pt x="252" y="223"/>
                    </a:cubicBezTo>
                    <a:close/>
                    <a:moveTo>
                      <a:pt x="241" y="143"/>
                    </a:moveTo>
                    <a:cubicBezTo>
                      <a:pt x="239" y="145"/>
                      <a:pt x="239" y="148"/>
                      <a:pt x="241" y="151"/>
                    </a:cubicBezTo>
                    <a:lnTo>
                      <a:pt x="241" y="143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239" name="France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3451225" y="3937000"/>
                <a:ext cx="1335087" cy="1387475"/>
              </a:xfrm>
              <a:custGeom>
                <a:avLst/>
                <a:gdLst/>
                <a:ahLst/>
                <a:cxnLst>
                  <a:cxn ang="0">
                    <a:pos x="540" y="142"/>
                  </a:cxn>
                  <a:cxn ang="0">
                    <a:pos x="511" y="136"/>
                  </a:cxn>
                  <a:cxn ang="0">
                    <a:pos x="481" y="122"/>
                  </a:cxn>
                  <a:cxn ang="0">
                    <a:pos x="450" y="105"/>
                  </a:cxn>
                  <a:cxn ang="0">
                    <a:pos x="432" y="71"/>
                  </a:cxn>
                  <a:cxn ang="0">
                    <a:pos x="405" y="74"/>
                  </a:cxn>
                  <a:cxn ang="0">
                    <a:pos x="378" y="42"/>
                  </a:cxn>
                  <a:cxn ang="0">
                    <a:pos x="355" y="28"/>
                  </a:cxn>
                  <a:cxn ang="0">
                    <a:pos x="345" y="8"/>
                  </a:cxn>
                  <a:cxn ang="0">
                    <a:pos x="295" y="48"/>
                  </a:cxn>
                  <a:cxn ang="0">
                    <a:pos x="236" y="78"/>
                  </a:cxn>
                  <a:cxn ang="0">
                    <a:pos x="211" y="105"/>
                  </a:cxn>
                  <a:cxn ang="0">
                    <a:pos x="167" y="79"/>
                  </a:cxn>
                  <a:cxn ang="0">
                    <a:pos x="144" y="74"/>
                  </a:cxn>
                  <a:cxn ang="0">
                    <a:pos x="149" y="114"/>
                  </a:cxn>
                  <a:cxn ang="0">
                    <a:pos x="130" y="130"/>
                  </a:cxn>
                  <a:cxn ang="0">
                    <a:pos x="112" y="127"/>
                  </a:cxn>
                  <a:cxn ang="0">
                    <a:pos x="50" y="114"/>
                  </a:cxn>
                  <a:cxn ang="0">
                    <a:pos x="4" y="130"/>
                  </a:cxn>
                  <a:cxn ang="0">
                    <a:pos x="8" y="138"/>
                  </a:cxn>
                  <a:cxn ang="0">
                    <a:pos x="1" y="153"/>
                  </a:cxn>
                  <a:cxn ang="0">
                    <a:pos x="35" y="169"/>
                  </a:cxn>
                  <a:cxn ang="0">
                    <a:pos x="66" y="181"/>
                  </a:cxn>
                  <a:cxn ang="0">
                    <a:pos x="73" y="194"/>
                  </a:cxn>
                  <a:cxn ang="0">
                    <a:pos x="97" y="220"/>
                  </a:cxn>
                  <a:cxn ang="0">
                    <a:pos x="97" y="226"/>
                  </a:cxn>
                  <a:cxn ang="0">
                    <a:pos x="109" y="273"/>
                  </a:cxn>
                  <a:cxn ang="0">
                    <a:pos x="138" y="306"/>
                  </a:cxn>
                  <a:cxn ang="0">
                    <a:pos x="151" y="375"/>
                  </a:cxn>
                  <a:cxn ang="0">
                    <a:pos x="129" y="338"/>
                  </a:cxn>
                  <a:cxn ang="0">
                    <a:pos x="113" y="406"/>
                  </a:cxn>
                  <a:cxn ang="0">
                    <a:pos x="83" y="479"/>
                  </a:cxn>
                  <a:cxn ang="0">
                    <a:pos x="94" y="501"/>
                  </a:cxn>
                  <a:cxn ang="0">
                    <a:pos x="125" y="515"/>
                  </a:cxn>
                  <a:cxn ang="0">
                    <a:pos x="167" y="530"/>
                  </a:cxn>
                  <a:cxn ang="0">
                    <a:pos x="207" y="532"/>
                  </a:cxn>
                  <a:cxn ang="0">
                    <a:pos x="237" y="545"/>
                  </a:cxn>
                  <a:cxn ang="0">
                    <a:pos x="254" y="567"/>
                  </a:cxn>
                  <a:cxn ang="0">
                    <a:pos x="309" y="567"/>
                  </a:cxn>
                  <a:cxn ang="0">
                    <a:pos x="307" y="530"/>
                  </a:cxn>
                  <a:cxn ang="0">
                    <a:pos x="332" y="506"/>
                  </a:cxn>
                  <a:cxn ang="0">
                    <a:pos x="355" y="498"/>
                  </a:cxn>
                  <a:cxn ang="0">
                    <a:pos x="406" y="517"/>
                  </a:cxn>
                  <a:cxn ang="0">
                    <a:pos x="448" y="534"/>
                  </a:cxn>
                  <a:cxn ang="0">
                    <a:pos x="469" y="533"/>
                  </a:cxn>
                  <a:cxn ang="0">
                    <a:pos x="497" y="509"/>
                  </a:cxn>
                  <a:cxn ang="0">
                    <a:pos x="528" y="496"/>
                  </a:cxn>
                  <a:cxn ang="0">
                    <a:pos x="502" y="437"/>
                  </a:cxn>
                  <a:cxn ang="0">
                    <a:pos x="494" y="403"/>
                  </a:cxn>
                  <a:cxn ang="0">
                    <a:pos x="499" y="362"/>
                  </a:cxn>
                  <a:cxn ang="0">
                    <a:pos x="502" y="325"/>
                  </a:cxn>
                  <a:cxn ang="0">
                    <a:pos x="464" y="336"/>
                  </a:cxn>
                  <a:cxn ang="0">
                    <a:pos x="488" y="284"/>
                  </a:cxn>
                  <a:cxn ang="0">
                    <a:pos x="536" y="252"/>
                  </a:cxn>
                  <a:cxn ang="0">
                    <a:pos x="557" y="179"/>
                  </a:cxn>
                  <a:cxn ang="0">
                    <a:pos x="619" y="558"/>
                  </a:cxn>
                  <a:cxn ang="0">
                    <a:pos x="583" y="572"/>
                  </a:cxn>
                  <a:cxn ang="0">
                    <a:pos x="573" y="596"/>
                  </a:cxn>
                  <a:cxn ang="0">
                    <a:pos x="577" y="627"/>
                  </a:cxn>
                  <a:cxn ang="0">
                    <a:pos x="597" y="646"/>
                  </a:cxn>
                  <a:cxn ang="0">
                    <a:pos x="621" y="571"/>
                  </a:cxn>
                  <a:cxn ang="0">
                    <a:pos x="126" y="100"/>
                  </a:cxn>
                  <a:cxn ang="0">
                    <a:pos x="113" y="75"/>
                  </a:cxn>
                </a:cxnLst>
                <a:rect l="0" t="0" r="r" b="b"/>
                <a:pathLst>
                  <a:path w="626" h="652">
                    <a:moveTo>
                      <a:pt x="575" y="156"/>
                    </a:moveTo>
                    <a:cubicBezTo>
                      <a:pt x="572" y="155"/>
                      <a:pt x="563" y="148"/>
                      <a:pt x="560" y="151"/>
                    </a:cubicBezTo>
                    <a:cubicBezTo>
                      <a:pt x="559" y="153"/>
                      <a:pt x="549" y="148"/>
                      <a:pt x="547" y="147"/>
                    </a:cubicBezTo>
                    <a:cubicBezTo>
                      <a:pt x="546" y="147"/>
                      <a:pt x="542" y="142"/>
                      <a:pt x="544" y="142"/>
                    </a:cubicBezTo>
                    <a:cubicBezTo>
                      <a:pt x="543" y="142"/>
                      <a:pt x="542" y="141"/>
                      <a:pt x="541" y="141"/>
                    </a:cubicBezTo>
                    <a:cubicBezTo>
                      <a:pt x="538" y="141"/>
                      <a:pt x="540" y="142"/>
                      <a:pt x="540" y="142"/>
                    </a:cubicBezTo>
                    <a:cubicBezTo>
                      <a:pt x="537" y="143"/>
                      <a:pt x="537" y="144"/>
                      <a:pt x="536" y="144"/>
                    </a:cubicBezTo>
                    <a:cubicBezTo>
                      <a:pt x="534" y="144"/>
                      <a:pt x="528" y="141"/>
                      <a:pt x="528" y="141"/>
                    </a:cubicBezTo>
                    <a:cubicBezTo>
                      <a:pt x="526" y="141"/>
                      <a:pt x="525" y="147"/>
                      <a:pt x="524" y="140"/>
                    </a:cubicBezTo>
                    <a:cubicBezTo>
                      <a:pt x="524" y="138"/>
                      <a:pt x="519" y="137"/>
                      <a:pt x="516" y="137"/>
                    </a:cubicBezTo>
                    <a:cubicBezTo>
                      <a:pt x="518" y="140"/>
                      <a:pt x="516" y="140"/>
                      <a:pt x="513" y="140"/>
                    </a:cubicBezTo>
                    <a:cubicBezTo>
                      <a:pt x="510" y="139"/>
                      <a:pt x="512" y="138"/>
                      <a:pt x="511" y="136"/>
                    </a:cubicBezTo>
                    <a:cubicBezTo>
                      <a:pt x="511" y="137"/>
                      <a:pt x="505" y="126"/>
                      <a:pt x="504" y="127"/>
                    </a:cubicBezTo>
                    <a:cubicBezTo>
                      <a:pt x="506" y="126"/>
                      <a:pt x="506" y="123"/>
                      <a:pt x="505" y="122"/>
                    </a:cubicBezTo>
                    <a:cubicBezTo>
                      <a:pt x="503" y="120"/>
                      <a:pt x="500" y="120"/>
                      <a:pt x="498" y="119"/>
                    </a:cubicBezTo>
                    <a:cubicBezTo>
                      <a:pt x="496" y="120"/>
                      <a:pt x="495" y="120"/>
                      <a:pt x="494" y="120"/>
                    </a:cubicBezTo>
                    <a:cubicBezTo>
                      <a:pt x="492" y="120"/>
                      <a:pt x="492" y="118"/>
                      <a:pt x="489" y="118"/>
                    </a:cubicBezTo>
                    <a:cubicBezTo>
                      <a:pt x="486" y="117"/>
                      <a:pt x="488" y="122"/>
                      <a:pt x="481" y="122"/>
                    </a:cubicBezTo>
                    <a:cubicBezTo>
                      <a:pt x="476" y="123"/>
                      <a:pt x="476" y="117"/>
                      <a:pt x="476" y="117"/>
                    </a:cubicBezTo>
                    <a:cubicBezTo>
                      <a:pt x="471" y="115"/>
                      <a:pt x="471" y="115"/>
                      <a:pt x="471" y="115"/>
                    </a:cubicBezTo>
                    <a:cubicBezTo>
                      <a:pt x="472" y="115"/>
                      <a:pt x="472" y="115"/>
                      <a:pt x="472" y="115"/>
                    </a:cubicBezTo>
                    <a:cubicBezTo>
                      <a:pt x="457" y="116"/>
                      <a:pt x="457" y="116"/>
                      <a:pt x="457" y="116"/>
                    </a:cubicBezTo>
                    <a:cubicBezTo>
                      <a:pt x="450" y="107"/>
                      <a:pt x="450" y="107"/>
                      <a:pt x="450" y="107"/>
                    </a:cubicBezTo>
                    <a:cubicBezTo>
                      <a:pt x="450" y="105"/>
                      <a:pt x="450" y="105"/>
                      <a:pt x="450" y="105"/>
                    </a:cubicBezTo>
                    <a:cubicBezTo>
                      <a:pt x="438" y="95"/>
                      <a:pt x="438" y="95"/>
                      <a:pt x="438" y="95"/>
                    </a:cubicBezTo>
                    <a:cubicBezTo>
                      <a:pt x="431" y="95"/>
                      <a:pt x="431" y="95"/>
                      <a:pt x="431" y="95"/>
                    </a:cubicBezTo>
                    <a:cubicBezTo>
                      <a:pt x="429" y="93"/>
                      <a:pt x="429" y="93"/>
                      <a:pt x="429" y="93"/>
                    </a:cubicBezTo>
                    <a:cubicBezTo>
                      <a:pt x="429" y="93"/>
                      <a:pt x="432" y="88"/>
                      <a:pt x="431" y="86"/>
                    </a:cubicBezTo>
                    <a:cubicBezTo>
                      <a:pt x="431" y="83"/>
                      <a:pt x="429" y="83"/>
                      <a:pt x="429" y="83"/>
                    </a:cubicBezTo>
                    <a:cubicBezTo>
                      <a:pt x="429" y="83"/>
                      <a:pt x="436" y="74"/>
                      <a:pt x="432" y="71"/>
                    </a:cubicBezTo>
                    <a:cubicBezTo>
                      <a:pt x="429" y="68"/>
                      <a:pt x="423" y="81"/>
                      <a:pt x="423" y="81"/>
                    </a:cubicBezTo>
                    <a:cubicBezTo>
                      <a:pt x="420" y="83"/>
                      <a:pt x="420" y="83"/>
                      <a:pt x="420" y="83"/>
                    </a:cubicBezTo>
                    <a:cubicBezTo>
                      <a:pt x="416" y="86"/>
                      <a:pt x="416" y="86"/>
                      <a:pt x="416" y="86"/>
                    </a:cubicBezTo>
                    <a:cubicBezTo>
                      <a:pt x="413" y="83"/>
                      <a:pt x="413" y="83"/>
                      <a:pt x="413" y="83"/>
                    </a:cubicBezTo>
                    <a:cubicBezTo>
                      <a:pt x="413" y="83"/>
                      <a:pt x="408" y="85"/>
                      <a:pt x="403" y="83"/>
                    </a:cubicBezTo>
                    <a:cubicBezTo>
                      <a:pt x="396" y="80"/>
                      <a:pt x="405" y="74"/>
                      <a:pt x="405" y="74"/>
                    </a:cubicBezTo>
                    <a:cubicBezTo>
                      <a:pt x="401" y="70"/>
                      <a:pt x="401" y="70"/>
                      <a:pt x="401" y="70"/>
                    </a:cubicBezTo>
                    <a:cubicBezTo>
                      <a:pt x="401" y="70"/>
                      <a:pt x="404" y="67"/>
                      <a:pt x="404" y="61"/>
                    </a:cubicBezTo>
                    <a:cubicBezTo>
                      <a:pt x="404" y="57"/>
                      <a:pt x="396" y="56"/>
                      <a:pt x="392" y="55"/>
                    </a:cubicBezTo>
                    <a:cubicBezTo>
                      <a:pt x="387" y="54"/>
                      <a:pt x="387" y="59"/>
                      <a:pt x="383" y="59"/>
                    </a:cubicBezTo>
                    <a:cubicBezTo>
                      <a:pt x="381" y="60"/>
                      <a:pt x="384" y="47"/>
                      <a:pt x="384" y="47"/>
                    </a:cubicBezTo>
                    <a:cubicBezTo>
                      <a:pt x="378" y="42"/>
                      <a:pt x="378" y="42"/>
                      <a:pt x="378" y="42"/>
                    </a:cubicBezTo>
                    <a:cubicBezTo>
                      <a:pt x="371" y="45"/>
                      <a:pt x="371" y="45"/>
                      <a:pt x="371" y="45"/>
                    </a:cubicBezTo>
                    <a:cubicBezTo>
                      <a:pt x="368" y="42"/>
                      <a:pt x="368" y="42"/>
                      <a:pt x="368" y="42"/>
                    </a:cubicBezTo>
                    <a:cubicBezTo>
                      <a:pt x="368" y="31"/>
                      <a:pt x="368" y="31"/>
                      <a:pt x="368" y="31"/>
                    </a:cubicBezTo>
                    <a:cubicBezTo>
                      <a:pt x="365" y="24"/>
                      <a:pt x="365" y="24"/>
                      <a:pt x="365" y="24"/>
                    </a:cubicBezTo>
                    <a:cubicBezTo>
                      <a:pt x="358" y="24"/>
                      <a:pt x="358" y="24"/>
                      <a:pt x="358" y="24"/>
                    </a:cubicBezTo>
                    <a:cubicBezTo>
                      <a:pt x="356" y="24"/>
                      <a:pt x="355" y="28"/>
                      <a:pt x="355" y="28"/>
                    </a:cubicBezTo>
                    <a:cubicBezTo>
                      <a:pt x="351" y="27"/>
                      <a:pt x="351" y="27"/>
                      <a:pt x="351" y="27"/>
                    </a:cubicBezTo>
                    <a:cubicBezTo>
                      <a:pt x="351" y="27"/>
                      <a:pt x="349" y="21"/>
                      <a:pt x="346" y="20"/>
                    </a:cubicBezTo>
                    <a:cubicBezTo>
                      <a:pt x="344" y="18"/>
                      <a:pt x="343" y="20"/>
                      <a:pt x="343" y="20"/>
                    </a:cubicBezTo>
                    <a:cubicBezTo>
                      <a:pt x="344" y="13"/>
                      <a:pt x="344" y="13"/>
                      <a:pt x="344" y="13"/>
                    </a:cubicBezTo>
                    <a:cubicBezTo>
                      <a:pt x="345" y="12"/>
                      <a:pt x="345" y="12"/>
                      <a:pt x="345" y="12"/>
                    </a:cubicBezTo>
                    <a:cubicBezTo>
                      <a:pt x="345" y="8"/>
                      <a:pt x="345" y="8"/>
                      <a:pt x="345" y="8"/>
                    </a:cubicBezTo>
                    <a:cubicBezTo>
                      <a:pt x="344" y="8"/>
                      <a:pt x="344" y="8"/>
                      <a:pt x="344" y="8"/>
                    </a:cubicBezTo>
                    <a:cubicBezTo>
                      <a:pt x="344" y="1"/>
                      <a:pt x="344" y="1"/>
                      <a:pt x="344" y="1"/>
                    </a:cubicBezTo>
                    <a:cubicBezTo>
                      <a:pt x="334" y="0"/>
                      <a:pt x="334" y="0"/>
                      <a:pt x="334" y="0"/>
                    </a:cubicBezTo>
                    <a:cubicBezTo>
                      <a:pt x="334" y="0"/>
                      <a:pt x="328" y="5"/>
                      <a:pt x="324" y="5"/>
                    </a:cubicBezTo>
                    <a:cubicBezTo>
                      <a:pt x="318" y="5"/>
                      <a:pt x="306" y="0"/>
                      <a:pt x="302" y="12"/>
                    </a:cubicBezTo>
                    <a:cubicBezTo>
                      <a:pt x="298" y="24"/>
                      <a:pt x="295" y="48"/>
                      <a:pt x="295" y="48"/>
                    </a:cubicBezTo>
                    <a:cubicBezTo>
                      <a:pt x="300" y="54"/>
                      <a:pt x="300" y="54"/>
                      <a:pt x="300" y="54"/>
                    </a:cubicBezTo>
                    <a:cubicBezTo>
                      <a:pt x="300" y="56"/>
                      <a:pt x="300" y="56"/>
                      <a:pt x="300" y="56"/>
                    </a:cubicBezTo>
                    <a:cubicBezTo>
                      <a:pt x="294" y="53"/>
                      <a:pt x="294" y="53"/>
                      <a:pt x="294" y="53"/>
                    </a:cubicBezTo>
                    <a:cubicBezTo>
                      <a:pt x="294" y="53"/>
                      <a:pt x="290" y="65"/>
                      <a:pt x="277" y="69"/>
                    </a:cubicBezTo>
                    <a:cubicBezTo>
                      <a:pt x="264" y="72"/>
                      <a:pt x="252" y="70"/>
                      <a:pt x="252" y="70"/>
                    </a:cubicBezTo>
                    <a:cubicBezTo>
                      <a:pt x="252" y="70"/>
                      <a:pt x="238" y="78"/>
                      <a:pt x="236" y="78"/>
                    </a:cubicBezTo>
                    <a:cubicBezTo>
                      <a:pt x="231" y="78"/>
                      <a:pt x="231" y="78"/>
                      <a:pt x="231" y="78"/>
                    </a:cubicBezTo>
                    <a:cubicBezTo>
                      <a:pt x="231" y="78"/>
                      <a:pt x="221" y="87"/>
                      <a:pt x="225" y="91"/>
                    </a:cubicBezTo>
                    <a:cubicBezTo>
                      <a:pt x="229" y="95"/>
                      <a:pt x="237" y="97"/>
                      <a:pt x="237" y="97"/>
                    </a:cubicBezTo>
                    <a:cubicBezTo>
                      <a:pt x="235" y="99"/>
                      <a:pt x="235" y="99"/>
                      <a:pt x="235" y="99"/>
                    </a:cubicBezTo>
                    <a:cubicBezTo>
                      <a:pt x="231" y="97"/>
                      <a:pt x="231" y="97"/>
                      <a:pt x="231" y="97"/>
                    </a:cubicBezTo>
                    <a:cubicBezTo>
                      <a:pt x="211" y="105"/>
                      <a:pt x="211" y="105"/>
                      <a:pt x="211" y="105"/>
                    </a:cubicBezTo>
                    <a:cubicBezTo>
                      <a:pt x="199" y="99"/>
                      <a:pt x="199" y="99"/>
                      <a:pt x="199" y="99"/>
                    </a:cubicBezTo>
                    <a:cubicBezTo>
                      <a:pt x="195" y="100"/>
                      <a:pt x="195" y="100"/>
                      <a:pt x="195" y="100"/>
                    </a:cubicBezTo>
                    <a:cubicBezTo>
                      <a:pt x="195" y="100"/>
                      <a:pt x="185" y="94"/>
                      <a:pt x="180" y="93"/>
                    </a:cubicBezTo>
                    <a:cubicBezTo>
                      <a:pt x="175" y="92"/>
                      <a:pt x="170" y="94"/>
                      <a:pt x="170" y="94"/>
                    </a:cubicBezTo>
                    <a:cubicBezTo>
                      <a:pt x="170" y="94"/>
                      <a:pt x="169" y="92"/>
                      <a:pt x="168" y="88"/>
                    </a:cubicBezTo>
                    <a:cubicBezTo>
                      <a:pt x="166" y="84"/>
                      <a:pt x="163" y="80"/>
                      <a:pt x="167" y="79"/>
                    </a:cubicBezTo>
                    <a:cubicBezTo>
                      <a:pt x="172" y="78"/>
                      <a:pt x="170" y="76"/>
                      <a:pt x="170" y="76"/>
                    </a:cubicBezTo>
                    <a:cubicBezTo>
                      <a:pt x="170" y="76"/>
                      <a:pt x="168" y="67"/>
                      <a:pt x="163" y="69"/>
                    </a:cubicBezTo>
                    <a:cubicBezTo>
                      <a:pt x="156" y="71"/>
                      <a:pt x="153" y="72"/>
                      <a:pt x="149" y="70"/>
                    </a:cubicBezTo>
                    <a:cubicBezTo>
                      <a:pt x="145" y="68"/>
                      <a:pt x="143" y="63"/>
                      <a:pt x="143" y="63"/>
                    </a:cubicBezTo>
                    <a:cubicBezTo>
                      <a:pt x="143" y="63"/>
                      <a:pt x="142" y="65"/>
                      <a:pt x="141" y="67"/>
                    </a:cubicBezTo>
                    <a:cubicBezTo>
                      <a:pt x="139" y="67"/>
                      <a:pt x="145" y="73"/>
                      <a:pt x="144" y="74"/>
                    </a:cubicBezTo>
                    <a:cubicBezTo>
                      <a:pt x="143" y="75"/>
                      <a:pt x="141" y="78"/>
                      <a:pt x="141" y="78"/>
                    </a:cubicBezTo>
                    <a:cubicBezTo>
                      <a:pt x="141" y="78"/>
                      <a:pt x="144" y="88"/>
                      <a:pt x="146" y="90"/>
                    </a:cubicBezTo>
                    <a:cubicBezTo>
                      <a:pt x="148" y="92"/>
                      <a:pt x="148" y="97"/>
                      <a:pt x="148" y="97"/>
                    </a:cubicBezTo>
                    <a:cubicBezTo>
                      <a:pt x="148" y="97"/>
                      <a:pt x="151" y="97"/>
                      <a:pt x="151" y="100"/>
                    </a:cubicBezTo>
                    <a:cubicBezTo>
                      <a:pt x="151" y="102"/>
                      <a:pt x="146" y="106"/>
                      <a:pt x="146" y="106"/>
                    </a:cubicBezTo>
                    <a:cubicBezTo>
                      <a:pt x="146" y="106"/>
                      <a:pt x="149" y="111"/>
                      <a:pt x="149" y="114"/>
                    </a:cubicBezTo>
                    <a:cubicBezTo>
                      <a:pt x="149" y="116"/>
                      <a:pt x="144" y="122"/>
                      <a:pt x="146" y="126"/>
                    </a:cubicBezTo>
                    <a:cubicBezTo>
                      <a:pt x="148" y="131"/>
                      <a:pt x="153" y="136"/>
                      <a:pt x="153" y="136"/>
                    </a:cubicBezTo>
                    <a:cubicBezTo>
                      <a:pt x="153" y="136"/>
                      <a:pt x="151" y="138"/>
                      <a:pt x="150" y="138"/>
                    </a:cubicBezTo>
                    <a:cubicBezTo>
                      <a:pt x="148" y="138"/>
                      <a:pt x="146" y="136"/>
                      <a:pt x="142" y="136"/>
                    </a:cubicBezTo>
                    <a:cubicBezTo>
                      <a:pt x="137" y="137"/>
                      <a:pt x="132" y="139"/>
                      <a:pt x="134" y="135"/>
                    </a:cubicBezTo>
                    <a:cubicBezTo>
                      <a:pt x="135" y="132"/>
                      <a:pt x="134" y="130"/>
                      <a:pt x="130" y="130"/>
                    </a:cubicBezTo>
                    <a:cubicBezTo>
                      <a:pt x="127" y="130"/>
                      <a:pt x="127" y="133"/>
                      <a:pt x="127" y="133"/>
                    </a:cubicBezTo>
                    <a:cubicBezTo>
                      <a:pt x="128" y="139"/>
                      <a:pt x="128" y="139"/>
                      <a:pt x="128" y="139"/>
                    </a:cubicBezTo>
                    <a:cubicBezTo>
                      <a:pt x="126" y="139"/>
                      <a:pt x="126" y="139"/>
                      <a:pt x="126" y="139"/>
                    </a:cubicBezTo>
                    <a:cubicBezTo>
                      <a:pt x="123" y="133"/>
                      <a:pt x="123" y="133"/>
                      <a:pt x="123" y="133"/>
                    </a:cubicBezTo>
                    <a:cubicBezTo>
                      <a:pt x="123" y="133"/>
                      <a:pt x="118" y="138"/>
                      <a:pt x="116" y="135"/>
                    </a:cubicBezTo>
                    <a:cubicBezTo>
                      <a:pt x="115" y="132"/>
                      <a:pt x="115" y="127"/>
                      <a:pt x="112" y="127"/>
                    </a:cubicBezTo>
                    <a:cubicBezTo>
                      <a:pt x="109" y="128"/>
                      <a:pt x="96" y="136"/>
                      <a:pt x="96" y="136"/>
                    </a:cubicBezTo>
                    <a:cubicBezTo>
                      <a:pt x="96" y="136"/>
                      <a:pt x="90" y="122"/>
                      <a:pt x="88" y="120"/>
                    </a:cubicBezTo>
                    <a:cubicBezTo>
                      <a:pt x="86" y="117"/>
                      <a:pt x="81" y="109"/>
                      <a:pt x="81" y="109"/>
                    </a:cubicBezTo>
                    <a:cubicBezTo>
                      <a:pt x="63" y="108"/>
                      <a:pt x="63" y="108"/>
                      <a:pt x="63" y="108"/>
                    </a:cubicBezTo>
                    <a:cubicBezTo>
                      <a:pt x="60" y="117"/>
                      <a:pt x="60" y="117"/>
                      <a:pt x="60" y="117"/>
                    </a:cubicBezTo>
                    <a:cubicBezTo>
                      <a:pt x="50" y="114"/>
                      <a:pt x="50" y="114"/>
                      <a:pt x="50" y="114"/>
                    </a:cubicBezTo>
                    <a:cubicBezTo>
                      <a:pt x="50" y="114"/>
                      <a:pt x="50" y="117"/>
                      <a:pt x="49" y="117"/>
                    </a:cubicBezTo>
                    <a:cubicBezTo>
                      <a:pt x="47" y="117"/>
                      <a:pt x="40" y="116"/>
                      <a:pt x="40" y="116"/>
                    </a:cubicBezTo>
                    <a:cubicBezTo>
                      <a:pt x="40" y="111"/>
                      <a:pt x="40" y="111"/>
                      <a:pt x="40" y="111"/>
                    </a:cubicBezTo>
                    <a:cubicBezTo>
                      <a:pt x="40" y="111"/>
                      <a:pt x="32" y="110"/>
                      <a:pt x="21" y="114"/>
                    </a:cubicBezTo>
                    <a:cubicBezTo>
                      <a:pt x="10" y="116"/>
                      <a:pt x="5" y="120"/>
                      <a:pt x="5" y="120"/>
                    </a:cubicBezTo>
                    <a:cubicBezTo>
                      <a:pt x="5" y="120"/>
                      <a:pt x="3" y="128"/>
                      <a:pt x="4" y="130"/>
                    </a:cubicBezTo>
                    <a:cubicBezTo>
                      <a:pt x="5" y="132"/>
                      <a:pt x="17" y="130"/>
                      <a:pt x="17" y="130"/>
                    </a:cubicBezTo>
                    <a:cubicBezTo>
                      <a:pt x="19" y="134"/>
                      <a:pt x="19" y="134"/>
                      <a:pt x="19" y="134"/>
                    </a:cubicBezTo>
                    <a:cubicBezTo>
                      <a:pt x="27" y="137"/>
                      <a:pt x="27" y="137"/>
                      <a:pt x="27" y="137"/>
                    </a:cubicBezTo>
                    <a:cubicBezTo>
                      <a:pt x="25" y="140"/>
                      <a:pt x="25" y="140"/>
                      <a:pt x="25" y="140"/>
                    </a:cubicBezTo>
                    <a:cubicBezTo>
                      <a:pt x="11" y="135"/>
                      <a:pt x="11" y="135"/>
                      <a:pt x="11" y="135"/>
                    </a:cubicBezTo>
                    <a:cubicBezTo>
                      <a:pt x="8" y="138"/>
                      <a:pt x="8" y="138"/>
                      <a:pt x="8" y="138"/>
                    </a:cubicBezTo>
                    <a:cubicBezTo>
                      <a:pt x="11" y="139"/>
                      <a:pt x="11" y="139"/>
                      <a:pt x="11" y="139"/>
                    </a:cubicBezTo>
                    <a:cubicBezTo>
                      <a:pt x="10" y="142"/>
                      <a:pt x="10" y="142"/>
                      <a:pt x="10" y="142"/>
                    </a:cubicBezTo>
                    <a:cubicBezTo>
                      <a:pt x="10" y="142"/>
                      <a:pt x="16" y="140"/>
                      <a:pt x="19" y="142"/>
                    </a:cubicBezTo>
                    <a:cubicBezTo>
                      <a:pt x="21" y="146"/>
                      <a:pt x="24" y="149"/>
                      <a:pt x="20" y="149"/>
                    </a:cubicBezTo>
                    <a:cubicBezTo>
                      <a:pt x="0" y="149"/>
                      <a:pt x="0" y="149"/>
                      <a:pt x="0" y="149"/>
                    </a:cubicBezTo>
                    <a:cubicBezTo>
                      <a:pt x="1" y="153"/>
                      <a:pt x="1" y="153"/>
                      <a:pt x="1" y="153"/>
                    </a:cubicBezTo>
                    <a:cubicBezTo>
                      <a:pt x="1" y="153"/>
                      <a:pt x="12" y="152"/>
                      <a:pt x="13" y="157"/>
                    </a:cubicBezTo>
                    <a:cubicBezTo>
                      <a:pt x="15" y="164"/>
                      <a:pt x="15" y="168"/>
                      <a:pt x="15" y="168"/>
                    </a:cubicBezTo>
                    <a:cubicBezTo>
                      <a:pt x="20" y="170"/>
                      <a:pt x="20" y="170"/>
                      <a:pt x="20" y="170"/>
                    </a:cubicBezTo>
                    <a:cubicBezTo>
                      <a:pt x="20" y="170"/>
                      <a:pt x="25" y="157"/>
                      <a:pt x="27" y="160"/>
                    </a:cubicBezTo>
                    <a:cubicBezTo>
                      <a:pt x="28" y="165"/>
                      <a:pt x="27" y="167"/>
                      <a:pt x="27" y="167"/>
                    </a:cubicBezTo>
                    <a:cubicBezTo>
                      <a:pt x="35" y="169"/>
                      <a:pt x="35" y="169"/>
                      <a:pt x="35" y="169"/>
                    </a:cubicBezTo>
                    <a:cubicBezTo>
                      <a:pt x="35" y="174"/>
                      <a:pt x="35" y="174"/>
                      <a:pt x="35" y="174"/>
                    </a:cubicBezTo>
                    <a:cubicBezTo>
                      <a:pt x="54" y="184"/>
                      <a:pt x="54" y="184"/>
                      <a:pt x="54" y="184"/>
                    </a:cubicBezTo>
                    <a:cubicBezTo>
                      <a:pt x="60" y="181"/>
                      <a:pt x="60" y="181"/>
                      <a:pt x="60" y="181"/>
                    </a:cubicBezTo>
                    <a:cubicBezTo>
                      <a:pt x="57" y="184"/>
                      <a:pt x="57" y="184"/>
                      <a:pt x="57" y="184"/>
                    </a:cubicBezTo>
                    <a:cubicBezTo>
                      <a:pt x="60" y="187"/>
                      <a:pt x="60" y="187"/>
                      <a:pt x="60" y="187"/>
                    </a:cubicBezTo>
                    <a:cubicBezTo>
                      <a:pt x="60" y="187"/>
                      <a:pt x="66" y="180"/>
                      <a:pt x="66" y="181"/>
                    </a:cubicBezTo>
                    <a:cubicBezTo>
                      <a:pt x="65" y="182"/>
                      <a:pt x="68" y="183"/>
                      <a:pt x="67" y="183"/>
                    </a:cubicBezTo>
                    <a:cubicBezTo>
                      <a:pt x="66" y="184"/>
                      <a:pt x="62" y="188"/>
                      <a:pt x="62" y="188"/>
                    </a:cubicBezTo>
                    <a:cubicBezTo>
                      <a:pt x="62" y="188"/>
                      <a:pt x="62" y="193"/>
                      <a:pt x="64" y="193"/>
                    </a:cubicBezTo>
                    <a:cubicBezTo>
                      <a:pt x="67" y="193"/>
                      <a:pt x="71" y="194"/>
                      <a:pt x="71" y="194"/>
                    </a:cubicBezTo>
                    <a:cubicBezTo>
                      <a:pt x="72" y="189"/>
                      <a:pt x="72" y="189"/>
                      <a:pt x="72" y="189"/>
                    </a:cubicBezTo>
                    <a:cubicBezTo>
                      <a:pt x="73" y="194"/>
                      <a:pt x="73" y="194"/>
                      <a:pt x="73" y="194"/>
                    </a:cubicBezTo>
                    <a:cubicBezTo>
                      <a:pt x="73" y="194"/>
                      <a:pt x="78" y="189"/>
                      <a:pt x="81" y="193"/>
                    </a:cubicBezTo>
                    <a:cubicBezTo>
                      <a:pt x="83" y="195"/>
                      <a:pt x="74" y="197"/>
                      <a:pt x="74" y="197"/>
                    </a:cubicBezTo>
                    <a:cubicBezTo>
                      <a:pt x="74" y="200"/>
                      <a:pt x="74" y="200"/>
                      <a:pt x="74" y="200"/>
                    </a:cubicBezTo>
                    <a:cubicBezTo>
                      <a:pt x="92" y="201"/>
                      <a:pt x="92" y="201"/>
                      <a:pt x="92" y="201"/>
                    </a:cubicBezTo>
                    <a:cubicBezTo>
                      <a:pt x="92" y="201"/>
                      <a:pt x="83" y="213"/>
                      <a:pt x="86" y="216"/>
                    </a:cubicBezTo>
                    <a:cubicBezTo>
                      <a:pt x="88" y="219"/>
                      <a:pt x="97" y="220"/>
                      <a:pt x="97" y="220"/>
                    </a:cubicBezTo>
                    <a:cubicBezTo>
                      <a:pt x="97" y="220"/>
                      <a:pt x="104" y="216"/>
                      <a:pt x="110" y="218"/>
                    </a:cubicBezTo>
                    <a:cubicBezTo>
                      <a:pt x="114" y="219"/>
                      <a:pt x="118" y="225"/>
                      <a:pt x="118" y="225"/>
                    </a:cubicBezTo>
                    <a:cubicBezTo>
                      <a:pt x="118" y="225"/>
                      <a:pt x="111" y="220"/>
                      <a:pt x="106" y="220"/>
                    </a:cubicBezTo>
                    <a:cubicBezTo>
                      <a:pt x="103" y="221"/>
                      <a:pt x="100" y="222"/>
                      <a:pt x="100" y="222"/>
                    </a:cubicBezTo>
                    <a:cubicBezTo>
                      <a:pt x="102" y="225"/>
                      <a:pt x="102" y="225"/>
                      <a:pt x="102" y="225"/>
                    </a:cubicBezTo>
                    <a:cubicBezTo>
                      <a:pt x="97" y="226"/>
                      <a:pt x="97" y="226"/>
                      <a:pt x="97" y="226"/>
                    </a:cubicBezTo>
                    <a:cubicBezTo>
                      <a:pt x="98" y="230"/>
                      <a:pt x="98" y="230"/>
                      <a:pt x="98" y="230"/>
                    </a:cubicBezTo>
                    <a:cubicBezTo>
                      <a:pt x="98" y="230"/>
                      <a:pt x="110" y="234"/>
                      <a:pt x="106" y="237"/>
                    </a:cubicBezTo>
                    <a:cubicBezTo>
                      <a:pt x="102" y="241"/>
                      <a:pt x="97" y="246"/>
                      <a:pt x="97" y="246"/>
                    </a:cubicBezTo>
                    <a:cubicBezTo>
                      <a:pt x="97" y="251"/>
                      <a:pt x="97" y="251"/>
                      <a:pt x="97" y="251"/>
                    </a:cubicBezTo>
                    <a:cubicBezTo>
                      <a:pt x="97" y="251"/>
                      <a:pt x="108" y="261"/>
                      <a:pt x="108" y="266"/>
                    </a:cubicBezTo>
                    <a:cubicBezTo>
                      <a:pt x="109" y="270"/>
                      <a:pt x="109" y="273"/>
                      <a:pt x="109" y="273"/>
                    </a:cubicBezTo>
                    <a:cubicBezTo>
                      <a:pt x="122" y="284"/>
                      <a:pt x="122" y="284"/>
                      <a:pt x="122" y="284"/>
                    </a:cubicBezTo>
                    <a:cubicBezTo>
                      <a:pt x="134" y="291"/>
                      <a:pt x="134" y="291"/>
                      <a:pt x="134" y="291"/>
                    </a:cubicBezTo>
                    <a:cubicBezTo>
                      <a:pt x="138" y="288"/>
                      <a:pt x="138" y="288"/>
                      <a:pt x="138" y="288"/>
                    </a:cubicBezTo>
                    <a:cubicBezTo>
                      <a:pt x="138" y="288"/>
                      <a:pt x="142" y="290"/>
                      <a:pt x="141" y="290"/>
                    </a:cubicBezTo>
                    <a:cubicBezTo>
                      <a:pt x="139" y="290"/>
                      <a:pt x="135" y="292"/>
                      <a:pt x="134" y="295"/>
                    </a:cubicBezTo>
                    <a:cubicBezTo>
                      <a:pt x="133" y="297"/>
                      <a:pt x="138" y="306"/>
                      <a:pt x="138" y="306"/>
                    </a:cubicBezTo>
                    <a:cubicBezTo>
                      <a:pt x="138" y="306"/>
                      <a:pt x="141" y="314"/>
                      <a:pt x="135" y="317"/>
                    </a:cubicBezTo>
                    <a:cubicBezTo>
                      <a:pt x="131" y="320"/>
                      <a:pt x="126" y="323"/>
                      <a:pt x="126" y="323"/>
                    </a:cubicBezTo>
                    <a:cubicBezTo>
                      <a:pt x="126" y="328"/>
                      <a:pt x="126" y="328"/>
                      <a:pt x="126" y="328"/>
                    </a:cubicBezTo>
                    <a:cubicBezTo>
                      <a:pt x="126" y="328"/>
                      <a:pt x="135" y="331"/>
                      <a:pt x="139" y="339"/>
                    </a:cubicBezTo>
                    <a:cubicBezTo>
                      <a:pt x="144" y="346"/>
                      <a:pt x="148" y="356"/>
                      <a:pt x="148" y="356"/>
                    </a:cubicBezTo>
                    <a:cubicBezTo>
                      <a:pt x="151" y="375"/>
                      <a:pt x="151" y="375"/>
                      <a:pt x="151" y="375"/>
                    </a:cubicBezTo>
                    <a:cubicBezTo>
                      <a:pt x="150" y="376"/>
                      <a:pt x="150" y="376"/>
                      <a:pt x="150" y="376"/>
                    </a:cubicBezTo>
                    <a:cubicBezTo>
                      <a:pt x="147" y="372"/>
                      <a:pt x="147" y="372"/>
                      <a:pt x="147" y="372"/>
                    </a:cubicBezTo>
                    <a:cubicBezTo>
                      <a:pt x="145" y="357"/>
                      <a:pt x="145" y="357"/>
                      <a:pt x="145" y="357"/>
                    </a:cubicBezTo>
                    <a:cubicBezTo>
                      <a:pt x="135" y="344"/>
                      <a:pt x="135" y="344"/>
                      <a:pt x="135" y="344"/>
                    </a:cubicBezTo>
                    <a:cubicBezTo>
                      <a:pt x="134" y="338"/>
                      <a:pt x="134" y="338"/>
                      <a:pt x="134" y="338"/>
                    </a:cubicBezTo>
                    <a:cubicBezTo>
                      <a:pt x="129" y="338"/>
                      <a:pt x="129" y="338"/>
                      <a:pt x="129" y="338"/>
                    </a:cubicBezTo>
                    <a:cubicBezTo>
                      <a:pt x="129" y="338"/>
                      <a:pt x="127" y="349"/>
                      <a:pt x="127" y="352"/>
                    </a:cubicBezTo>
                    <a:cubicBezTo>
                      <a:pt x="127" y="354"/>
                      <a:pt x="116" y="395"/>
                      <a:pt x="116" y="395"/>
                    </a:cubicBezTo>
                    <a:cubicBezTo>
                      <a:pt x="116" y="395"/>
                      <a:pt x="121" y="387"/>
                      <a:pt x="123" y="388"/>
                    </a:cubicBezTo>
                    <a:cubicBezTo>
                      <a:pt x="126" y="389"/>
                      <a:pt x="128" y="394"/>
                      <a:pt x="128" y="394"/>
                    </a:cubicBezTo>
                    <a:cubicBezTo>
                      <a:pt x="122" y="394"/>
                      <a:pt x="122" y="394"/>
                      <a:pt x="122" y="394"/>
                    </a:cubicBezTo>
                    <a:cubicBezTo>
                      <a:pt x="122" y="394"/>
                      <a:pt x="115" y="400"/>
                      <a:pt x="113" y="406"/>
                    </a:cubicBezTo>
                    <a:cubicBezTo>
                      <a:pt x="112" y="411"/>
                      <a:pt x="105" y="437"/>
                      <a:pt x="103" y="438"/>
                    </a:cubicBezTo>
                    <a:cubicBezTo>
                      <a:pt x="102" y="439"/>
                      <a:pt x="96" y="461"/>
                      <a:pt x="96" y="461"/>
                    </a:cubicBezTo>
                    <a:cubicBezTo>
                      <a:pt x="85" y="472"/>
                      <a:pt x="85" y="472"/>
                      <a:pt x="85" y="472"/>
                    </a:cubicBezTo>
                    <a:cubicBezTo>
                      <a:pt x="85" y="472"/>
                      <a:pt x="78" y="473"/>
                      <a:pt x="77" y="474"/>
                    </a:cubicBezTo>
                    <a:cubicBezTo>
                      <a:pt x="76" y="474"/>
                      <a:pt x="79" y="479"/>
                      <a:pt x="79" y="479"/>
                    </a:cubicBezTo>
                    <a:cubicBezTo>
                      <a:pt x="83" y="479"/>
                      <a:pt x="83" y="479"/>
                      <a:pt x="83" y="479"/>
                    </a:cubicBezTo>
                    <a:cubicBezTo>
                      <a:pt x="83" y="479"/>
                      <a:pt x="82" y="482"/>
                      <a:pt x="84" y="483"/>
                    </a:cubicBezTo>
                    <a:cubicBezTo>
                      <a:pt x="86" y="484"/>
                      <a:pt x="89" y="482"/>
                      <a:pt x="89" y="482"/>
                    </a:cubicBezTo>
                    <a:cubicBezTo>
                      <a:pt x="95" y="484"/>
                      <a:pt x="95" y="484"/>
                      <a:pt x="95" y="484"/>
                    </a:cubicBezTo>
                    <a:cubicBezTo>
                      <a:pt x="95" y="484"/>
                      <a:pt x="96" y="493"/>
                      <a:pt x="93" y="493"/>
                    </a:cubicBezTo>
                    <a:cubicBezTo>
                      <a:pt x="89" y="494"/>
                      <a:pt x="86" y="495"/>
                      <a:pt x="88" y="497"/>
                    </a:cubicBezTo>
                    <a:cubicBezTo>
                      <a:pt x="90" y="500"/>
                      <a:pt x="94" y="501"/>
                      <a:pt x="94" y="501"/>
                    </a:cubicBezTo>
                    <a:cubicBezTo>
                      <a:pt x="99" y="495"/>
                      <a:pt x="99" y="495"/>
                      <a:pt x="99" y="495"/>
                    </a:cubicBezTo>
                    <a:cubicBezTo>
                      <a:pt x="99" y="499"/>
                      <a:pt x="99" y="499"/>
                      <a:pt x="99" y="499"/>
                    </a:cubicBezTo>
                    <a:cubicBezTo>
                      <a:pt x="116" y="510"/>
                      <a:pt x="116" y="510"/>
                      <a:pt x="116" y="510"/>
                    </a:cubicBezTo>
                    <a:cubicBezTo>
                      <a:pt x="125" y="508"/>
                      <a:pt x="125" y="508"/>
                      <a:pt x="125" y="508"/>
                    </a:cubicBezTo>
                    <a:cubicBezTo>
                      <a:pt x="127" y="509"/>
                      <a:pt x="127" y="509"/>
                      <a:pt x="127" y="509"/>
                    </a:cubicBezTo>
                    <a:cubicBezTo>
                      <a:pt x="125" y="515"/>
                      <a:pt x="125" y="515"/>
                      <a:pt x="125" y="515"/>
                    </a:cubicBezTo>
                    <a:cubicBezTo>
                      <a:pt x="131" y="524"/>
                      <a:pt x="131" y="524"/>
                      <a:pt x="131" y="524"/>
                    </a:cubicBezTo>
                    <a:cubicBezTo>
                      <a:pt x="135" y="520"/>
                      <a:pt x="135" y="520"/>
                      <a:pt x="135" y="520"/>
                    </a:cubicBezTo>
                    <a:cubicBezTo>
                      <a:pt x="136" y="521"/>
                      <a:pt x="136" y="521"/>
                      <a:pt x="136" y="521"/>
                    </a:cubicBezTo>
                    <a:cubicBezTo>
                      <a:pt x="144" y="520"/>
                      <a:pt x="144" y="520"/>
                      <a:pt x="144" y="520"/>
                    </a:cubicBezTo>
                    <a:cubicBezTo>
                      <a:pt x="154" y="532"/>
                      <a:pt x="154" y="532"/>
                      <a:pt x="154" y="532"/>
                    </a:cubicBezTo>
                    <a:cubicBezTo>
                      <a:pt x="154" y="532"/>
                      <a:pt x="165" y="528"/>
                      <a:pt x="167" y="530"/>
                    </a:cubicBezTo>
                    <a:cubicBezTo>
                      <a:pt x="170" y="532"/>
                      <a:pt x="170" y="535"/>
                      <a:pt x="171" y="535"/>
                    </a:cubicBezTo>
                    <a:cubicBezTo>
                      <a:pt x="174" y="535"/>
                      <a:pt x="175" y="531"/>
                      <a:pt x="175" y="531"/>
                    </a:cubicBezTo>
                    <a:cubicBezTo>
                      <a:pt x="175" y="531"/>
                      <a:pt x="181" y="540"/>
                      <a:pt x="186" y="536"/>
                    </a:cubicBezTo>
                    <a:cubicBezTo>
                      <a:pt x="191" y="534"/>
                      <a:pt x="185" y="527"/>
                      <a:pt x="191" y="527"/>
                    </a:cubicBezTo>
                    <a:cubicBezTo>
                      <a:pt x="196" y="527"/>
                      <a:pt x="200" y="531"/>
                      <a:pt x="200" y="531"/>
                    </a:cubicBezTo>
                    <a:cubicBezTo>
                      <a:pt x="200" y="531"/>
                      <a:pt x="205" y="530"/>
                      <a:pt x="207" y="532"/>
                    </a:cubicBezTo>
                    <a:cubicBezTo>
                      <a:pt x="208" y="533"/>
                      <a:pt x="213" y="540"/>
                      <a:pt x="213" y="540"/>
                    </a:cubicBezTo>
                    <a:cubicBezTo>
                      <a:pt x="213" y="540"/>
                      <a:pt x="220" y="537"/>
                      <a:pt x="223" y="538"/>
                    </a:cubicBezTo>
                    <a:cubicBezTo>
                      <a:pt x="226" y="541"/>
                      <a:pt x="227" y="545"/>
                      <a:pt x="227" y="545"/>
                    </a:cubicBezTo>
                    <a:cubicBezTo>
                      <a:pt x="231" y="543"/>
                      <a:pt x="231" y="543"/>
                      <a:pt x="231" y="543"/>
                    </a:cubicBezTo>
                    <a:cubicBezTo>
                      <a:pt x="235" y="546"/>
                      <a:pt x="235" y="546"/>
                      <a:pt x="235" y="546"/>
                    </a:cubicBezTo>
                    <a:cubicBezTo>
                      <a:pt x="237" y="545"/>
                      <a:pt x="237" y="545"/>
                      <a:pt x="237" y="545"/>
                    </a:cubicBezTo>
                    <a:cubicBezTo>
                      <a:pt x="242" y="548"/>
                      <a:pt x="242" y="548"/>
                      <a:pt x="242" y="548"/>
                    </a:cubicBezTo>
                    <a:cubicBezTo>
                      <a:pt x="238" y="554"/>
                      <a:pt x="238" y="554"/>
                      <a:pt x="238" y="554"/>
                    </a:cubicBezTo>
                    <a:cubicBezTo>
                      <a:pt x="245" y="559"/>
                      <a:pt x="245" y="559"/>
                      <a:pt x="245" y="559"/>
                    </a:cubicBezTo>
                    <a:cubicBezTo>
                      <a:pt x="245" y="559"/>
                      <a:pt x="251" y="554"/>
                      <a:pt x="251" y="556"/>
                    </a:cubicBezTo>
                    <a:cubicBezTo>
                      <a:pt x="251" y="557"/>
                      <a:pt x="249" y="563"/>
                      <a:pt x="249" y="563"/>
                    </a:cubicBezTo>
                    <a:cubicBezTo>
                      <a:pt x="249" y="563"/>
                      <a:pt x="250" y="567"/>
                      <a:pt x="254" y="567"/>
                    </a:cubicBezTo>
                    <a:cubicBezTo>
                      <a:pt x="259" y="567"/>
                      <a:pt x="266" y="560"/>
                      <a:pt x="270" y="564"/>
                    </a:cubicBezTo>
                    <a:cubicBezTo>
                      <a:pt x="274" y="568"/>
                      <a:pt x="277" y="571"/>
                      <a:pt x="277" y="571"/>
                    </a:cubicBezTo>
                    <a:cubicBezTo>
                      <a:pt x="282" y="571"/>
                      <a:pt x="282" y="571"/>
                      <a:pt x="282" y="571"/>
                    </a:cubicBezTo>
                    <a:cubicBezTo>
                      <a:pt x="284" y="571"/>
                      <a:pt x="287" y="561"/>
                      <a:pt x="295" y="562"/>
                    </a:cubicBezTo>
                    <a:cubicBezTo>
                      <a:pt x="301" y="564"/>
                      <a:pt x="302" y="567"/>
                      <a:pt x="302" y="567"/>
                    </a:cubicBezTo>
                    <a:cubicBezTo>
                      <a:pt x="309" y="567"/>
                      <a:pt x="309" y="567"/>
                      <a:pt x="309" y="567"/>
                    </a:cubicBezTo>
                    <a:cubicBezTo>
                      <a:pt x="309" y="567"/>
                      <a:pt x="308" y="562"/>
                      <a:pt x="307" y="561"/>
                    </a:cubicBezTo>
                    <a:cubicBezTo>
                      <a:pt x="305" y="560"/>
                      <a:pt x="305" y="552"/>
                      <a:pt x="306" y="549"/>
                    </a:cubicBezTo>
                    <a:cubicBezTo>
                      <a:pt x="307" y="546"/>
                      <a:pt x="306" y="541"/>
                      <a:pt x="306" y="541"/>
                    </a:cubicBezTo>
                    <a:cubicBezTo>
                      <a:pt x="301" y="542"/>
                      <a:pt x="301" y="542"/>
                      <a:pt x="301" y="542"/>
                    </a:cubicBezTo>
                    <a:cubicBezTo>
                      <a:pt x="301" y="542"/>
                      <a:pt x="301" y="537"/>
                      <a:pt x="303" y="536"/>
                    </a:cubicBezTo>
                    <a:cubicBezTo>
                      <a:pt x="306" y="536"/>
                      <a:pt x="307" y="531"/>
                      <a:pt x="307" y="530"/>
                    </a:cubicBezTo>
                    <a:cubicBezTo>
                      <a:pt x="307" y="529"/>
                      <a:pt x="301" y="526"/>
                      <a:pt x="303" y="525"/>
                    </a:cubicBezTo>
                    <a:cubicBezTo>
                      <a:pt x="306" y="522"/>
                      <a:pt x="307" y="525"/>
                      <a:pt x="307" y="525"/>
                    </a:cubicBezTo>
                    <a:cubicBezTo>
                      <a:pt x="311" y="525"/>
                      <a:pt x="311" y="525"/>
                      <a:pt x="311" y="525"/>
                    </a:cubicBezTo>
                    <a:cubicBezTo>
                      <a:pt x="311" y="525"/>
                      <a:pt x="312" y="518"/>
                      <a:pt x="318" y="515"/>
                    </a:cubicBezTo>
                    <a:cubicBezTo>
                      <a:pt x="325" y="512"/>
                      <a:pt x="326" y="516"/>
                      <a:pt x="330" y="514"/>
                    </a:cubicBezTo>
                    <a:cubicBezTo>
                      <a:pt x="334" y="512"/>
                      <a:pt x="332" y="506"/>
                      <a:pt x="332" y="506"/>
                    </a:cubicBezTo>
                    <a:cubicBezTo>
                      <a:pt x="332" y="506"/>
                      <a:pt x="339" y="499"/>
                      <a:pt x="339" y="502"/>
                    </a:cubicBezTo>
                    <a:cubicBezTo>
                      <a:pt x="340" y="504"/>
                      <a:pt x="335" y="508"/>
                      <a:pt x="335" y="508"/>
                    </a:cubicBezTo>
                    <a:cubicBezTo>
                      <a:pt x="340" y="509"/>
                      <a:pt x="340" y="509"/>
                      <a:pt x="340" y="509"/>
                    </a:cubicBezTo>
                    <a:cubicBezTo>
                      <a:pt x="343" y="505"/>
                      <a:pt x="343" y="505"/>
                      <a:pt x="343" y="505"/>
                    </a:cubicBezTo>
                    <a:cubicBezTo>
                      <a:pt x="343" y="502"/>
                      <a:pt x="343" y="502"/>
                      <a:pt x="343" y="502"/>
                    </a:cubicBezTo>
                    <a:cubicBezTo>
                      <a:pt x="343" y="502"/>
                      <a:pt x="349" y="498"/>
                      <a:pt x="355" y="498"/>
                    </a:cubicBezTo>
                    <a:cubicBezTo>
                      <a:pt x="360" y="498"/>
                      <a:pt x="363" y="503"/>
                      <a:pt x="363" y="503"/>
                    </a:cubicBezTo>
                    <a:cubicBezTo>
                      <a:pt x="363" y="503"/>
                      <a:pt x="382" y="508"/>
                      <a:pt x="382" y="509"/>
                    </a:cubicBezTo>
                    <a:cubicBezTo>
                      <a:pt x="382" y="510"/>
                      <a:pt x="383" y="515"/>
                      <a:pt x="383" y="515"/>
                    </a:cubicBezTo>
                    <a:cubicBezTo>
                      <a:pt x="396" y="516"/>
                      <a:pt x="396" y="516"/>
                      <a:pt x="396" y="516"/>
                    </a:cubicBezTo>
                    <a:cubicBezTo>
                      <a:pt x="396" y="516"/>
                      <a:pt x="396" y="506"/>
                      <a:pt x="397" y="508"/>
                    </a:cubicBezTo>
                    <a:cubicBezTo>
                      <a:pt x="398" y="509"/>
                      <a:pt x="406" y="517"/>
                      <a:pt x="406" y="517"/>
                    </a:cubicBezTo>
                    <a:cubicBezTo>
                      <a:pt x="418" y="516"/>
                      <a:pt x="418" y="516"/>
                      <a:pt x="418" y="516"/>
                    </a:cubicBezTo>
                    <a:cubicBezTo>
                      <a:pt x="418" y="516"/>
                      <a:pt x="422" y="518"/>
                      <a:pt x="422" y="519"/>
                    </a:cubicBezTo>
                    <a:cubicBezTo>
                      <a:pt x="422" y="520"/>
                      <a:pt x="418" y="526"/>
                      <a:pt x="421" y="527"/>
                    </a:cubicBezTo>
                    <a:cubicBezTo>
                      <a:pt x="423" y="528"/>
                      <a:pt x="430" y="528"/>
                      <a:pt x="432" y="529"/>
                    </a:cubicBezTo>
                    <a:cubicBezTo>
                      <a:pt x="433" y="530"/>
                      <a:pt x="438" y="538"/>
                      <a:pt x="441" y="538"/>
                    </a:cubicBezTo>
                    <a:cubicBezTo>
                      <a:pt x="445" y="537"/>
                      <a:pt x="448" y="534"/>
                      <a:pt x="448" y="534"/>
                    </a:cubicBezTo>
                    <a:cubicBezTo>
                      <a:pt x="454" y="536"/>
                      <a:pt x="454" y="536"/>
                      <a:pt x="454" y="536"/>
                    </a:cubicBezTo>
                    <a:cubicBezTo>
                      <a:pt x="456" y="542"/>
                      <a:pt x="456" y="542"/>
                      <a:pt x="456" y="542"/>
                    </a:cubicBezTo>
                    <a:cubicBezTo>
                      <a:pt x="459" y="540"/>
                      <a:pt x="459" y="540"/>
                      <a:pt x="459" y="540"/>
                    </a:cubicBezTo>
                    <a:cubicBezTo>
                      <a:pt x="461" y="534"/>
                      <a:pt x="461" y="534"/>
                      <a:pt x="461" y="534"/>
                    </a:cubicBezTo>
                    <a:cubicBezTo>
                      <a:pt x="467" y="536"/>
                      <a:pt x="467" y="536"/>
                      <a:pt x="467" y="536"/>
                    </a:cubicBezTo>
                    <a:cubicBezTo>
                      <a:pt x="469" y="533"/>
                      <a:pt x="469" y="533"/>
                      <a:pt x="469" y="533"/>
                    </a:cubicBezTo>
                    <a:cubicBezTo>
                      <a:pt x="477" y="532"/>
                      <a:pt x="477" y="532"/>
                      <a:pt x="477" y="532"/>
                    </a:cubicBezTo>
                    <a:cubicBezTo>
                      <a:pt x="482" y="533"/>
                      <a:pt x="482" y="533"/>
                      <a:pt x="482" y="533"/>
                    </a:cubicBezTo>
                    <a:cubicBezTo>
                      <a:pt x="482" y="529"/>
                      <a:pt x="482" y="529"/>
                      <a:pt x="482" y="529"/>
                    </a:cubicBezTo>
                    <a:cubicBezTo>
                      <a:pt x="482" y="529"/>
                      <a:pt x="479" y="520"/>
                      <a:pt x="483" y="519"/>
                    </a:cubicBezTo>
                    <a:cubicBezTo>
                      <a:pt x="488" y="517"/>
                      <a:pt x="491" y="519"/>
                      <a:pt x="493" y="518"/>
                    </a:cubicBezTo>
                    <a:cubicBezTo>
                      <a:pt x="495" y="517"/>
                      <a:pt x="493" y="508"/>
                      <a:pt x="497" y="509"/>
                    </a:cubicBezTo>
                    <a:cubicBezTo>
                      <a:pt x="500" y="509"/>
                      <a:pt x="505" y="513"/>
                      <a:pt x="507" y="509"/>
                    </a:cubicBezTo>
                    <a:cubicBezTo>
                      <a:pt x="509" y="504"/>
                      <a:pt x="503" y="501"/>
                      <a:pt x="512" y="501"/>
                    </a:cubicBezTo>
                    <a:cubicBezTo>
                      <a:pt x="521" y="501"/>
                      <a:pt x="520" y="499"/>
                      <a:pt x="520" y="499"/>
                    </a:cubicBezTo>
                    <a:cubicBezTo>
                      <a:pt x="520" y="499"/>
                      <a:pt x="516" y="495"/>
                      <a:pt x="520" y="495"/>
                    </a:cubicBezTo>
                    <a:cubicBezTo>
                      <a:pt x="522" y="494"/>
                      <a:pt x="525" y="497"/>
                      <a:pt x="525" y="497"/>
                    </a:cubicBezTo>
                    <a:cubicBezTo>
                      <a:pt x="528" y="496"/>
                      <a:pt x="528" y="496"/>
                      <a:pt x="528" y="496"/>
                    </a:cubicBezTo>
                    <a:cubicBezTo>
                      <a:pt x="524" y="487"/>
                      <a:pt x="524" y="487"/>
                      <a:pt x="524" y="487"/>
                    </a:cubicBezTo>
                    <a:cubicBezTo>
                      <a:pt x="524" y="487"/>
                      <a:pt x="531" y="486"/>
                      <a:pt x="535" y="478"/>
                    </a:cubicBezTo>
                    <a:cubicBezTo>
                      <a:pt x="537" y="470"/>
                      <a:pt x="535" y="468"/>
                      <a:pt x="534" y="468"/>
                    </a:cubicBezTo>
                    <a:cubicBezTo>
                      <a:pt x="531" y="468"/>
                      <a:pt x="523" y="472"/>
                      <a:pt x="518" y="470"/>
                    </a:cubicBezTo>
                    <a:cubicBezTo>
                      <a:pt x="511" y="468"/>
                      <a:pt x="506" y="465"/>
                      <a:pt x="502" y="456"/>
                    </a:cubicBezTo>
                    <a:cubicBezTo>
                      <a:pt x="496" y="448"/>
                      <a:pt x="499" y="439"/>
                      <a:pt x="502" y="437"/>
                    </a:cubicBezTo>
                    <a:cubicBezTo>
                      <a:pt x="505" y="436"/>
                      <a:pt x="506" y="433"/>
                      <a:pt x="506" y="433"/>
                    </a:cubicBezTo>
                    <a:cubicBezTo>
                      <a:pt x="505" y="421"/>
                      <a:pt x="505" y="421"/>
                      <a:pt x="505" y="421"/>
                    </a:cubicBezTo>
                    <a:cubicBezTo>
                      <a:pt x="505" y="421"/>
                      <a:pt x="498" y="425"/>
                      <a:pt x="496" y="419"/>
                    </a:cubicBezTo>
                    <a:cubicBezTo>
                      <a:pt x="493" y="411"/>
                      <a:pt x="493" y="410"/>
                      <a:pt x="493" y="410"/>
                    </a:cubicBezTo>
                    <a:cubicBezTo>
                      <a:pt x="493" y="410"/>
                      <a:pt x="488" y="416"/>
                      <a:pt x="489" y="409"/>
                    </a:cubicBezTo>
                    <a:cubicBezTo>
                      <a:pt x="489" y="404"/>
                      <a:pt x="494" y="403"/>
                      <a:pt x="494" y="403"/>
                    </a:cubicBezTo>
                    <a:cubicBezTo>
                      <a:pt x="498" y="404"/>
                      <a:pt x="498" y="404"/>
                      <a:pt x="498" y="404"/>
                    </a:cubicBezTo>
                    <a:cubicBezTo>
                      <a:pt x="498" y="404"/>
                      <a:pt x="511" y="401"/>
                      <a:pt x="512" y="394"/>
                    </a:cubicBezTo>
                    <a:cubicBezTo>
                      <a:pt x="514" y="387"/>
                      <a:pt x="514" y="386"/>
                      <a:pt x="512" y="384"/>
                    </a:cubicBezTo>
                    <a:cubicBezTo>
                      <a:pt x="509" y="382"/>
                      <a:pt x="507" y="384"/>
                      <a:pt x="507" y="382"/>
                    </a:cubicBezTo>
                    <a:cubicBezTo>
                      <a:pt x="507" y="370"/>
                      <a:pt x="507" y="370"/>
                      <a:pt x="507" y="370"/>
                    </a:cubicBezTo>
                    <a:cubicBezTo>
                      <a:pt x="507" y="370"/>
                      <a:pt x="496" y="369"/>
                      <a:pt x="499" y="362"/>
                    </a:cubicBezTo>
                    <a:cubicBezTo>
                      <a:pt x="503" y="356"/>
                      <a:pt x="511" y="359"/>
                      <a:pt x="511" y="353"/>
                    </a:cubicBezTo>
                    <a:cubicBezTo>
                      <a:pt x="511" y="345"/>
                      <a:pt x="505" y="343"/>
                      <a:pt x="505" y="343"/>
                    </a:cubicBezTo>
                    <a:cubicBezTo>
                      <a:pt x="504" y="340"/>
                      <a:pt x="504" y="340"/>
                      <a:pt x="504" y="340"/>
                    </a:cubicBezTo>
                    <a:cubicBezTo>
                      <a:pt x="500" y="340"/>
                      <a:pt x="500" y="340"/>
                      <a:pt x="500" y="340"/>
                    </a:cubicBezTo>
                    <a:cubicBezTo>
                      <a:pt x="500" y="340"/>
                      <a:pt x="503" y="336"/>
                      <a:pt x="504" y="331"/>
                    </a:cubicBezTo>
                    <a:cubicBezTo>
                      <a:pt x="505" y="327"/>
                      <a:pt x="502" y="325"/>
                      <a:pt x="502" y="325"/>
                    </a:cubicBezTo>
                    <a:cubicBezTo>
                      <a:pt x="503" y="320"/>
                      <a:pt x="503" y="320"/>
                      <a:pt x="503" y="320"/>
                    </a:cubicBezTo>
                    <a:cubicBezTo>
                      <a:pt x="503" y="320"/>
                      <a:pt x="497" y="315"/>
                      <a:pt x="489" y="316"/>
                    </a:cubicBezTo>
                    <a:cubicBezTo>
                      <a:pt x="480" y="317"/>
                      <a:pt x="475" y="323"/>
                      <a:pt x="475" y="326"/>
                    </a:cubicBezTo>
                    <a:cubicBezTo>
                      <a:pt x="475" y="328"/>
                      <a:pt x="477" y="329"/>
                      <a:pt x="477" y="329"/>
                    </a:cubicBezTo>
                    <a:cubicBezTo>
                      <a:pt x="471" y="336"/>
                      <a:pt x="471" y="336"/>
                      <a:pt x="471" y="336"/>
                    </a:cubicBezTo>
                    <a:cubicBezTo>
                      <a:pt x="464" y="336"/>
                      <a:pt x="464" y="336"/>
                      <a:pt x="464" y="336"/>
                    </a:cubicBezTo>
                    <a:cubicBezTo>
                      <a:pt x="463" y="330"/>
                      <a:pt x="463" y="330"/>
                      <a:pt x="463" y="330"/>
                    </a:cubicBezTo>
                    <a:cubicBezTo>
                      <a:pt x="467" y="330"/>
                      <a:pt x="467" y="330"/>
                      <a:pt x="467" y="330"/>
                    </a:cubicBezTo>
                    <a:cubicBezTo>
                      <a:pt x="472" y="323"/>
                      <a:pt x="472" y="323"/>
                      <a:pt x="472" y="323"/>
                    </a:cubicBezTo>
                    <a:cubicBezTo>
                      <a:pt x="472" y="323"/>
                      <a:pt x="465" y="320"/>
                      <a:pt x="470" y="312"/>
                    </a:cubicBezTo>
                    <a:cubicBezTo>
                      <a:pt x="474" y="306"/>
                      <a:pt x="485" y="303"/>
                      <a:pt x="487" y="297"/>
                    </a:cubicBezTo>
                    <a:cubicBezTo>
                      <a:pt x="489" y="291"/>
                      <a:pt x="486" y="285"/>
                      <a:pt x="488" y="284"/>
                    </a:cubicBezTo>
                    <a:cubicBezTo>
                      <a:pt x="491" y="282"/>
                      <a:pt x="495" y="283"/>
                      <a:pt x="498" y="280"/>
                    </a:cubicBezTo>
                    <a:cubicBezTo>
                      <a:pt x="502" y="277"/>
                      <a:pt x="514" y="261"/>
                      <a:pt x="514" y="261"/>
                    </a:cubicBezTo>
                    <a:cubicBezTo>
                      <a:pt x="509" y="260"/>
                      <a:pt x="509" y="260"/>
                      <a:pt x="509" y="260"/>
                    </a:cubicBezTo>
                    <a:cubicBezTo>
                      <a:pt x="509" y="260"/>
                      <a:pt x="511" y="248"/>
                      <a:pt x="515" y="249"/>
                    </a:cubicBezTo>
                    <a:cubicBezTo>
                      <a:pt x="521" y="249"/>
                      <a:pt x="520" y="256"/>
                      <a:pt x="524" y="257"/>
                    </a:cubicBezTo>
                    <a:cubicBezTo>
                      <a:pt x="528" y="257"/>
                      <a:pt x="536" y="252"/>
                      <a:pt x="536" y="252"/>
                    </a:cubicBezTo>
                    <a:cubicBezTo>
                      <a:pt x="536" y="249"/>
                      <a:pt x="536" y="249"/>
                      <a:pt x="536" y="249"/>
                    </a:cubicBezTo>
                    <a:cubicBezTo>
                      <a:pt x="543" y="244"/>
                      <a:pt x="543" y="244"/>
                      <a:pt x="543" y="244"/>
                    </a:cubicBezTo>
                    <a:cubicBezTo>
                      <a:pt x="540" y="237"/>
                      <a:pt x="542" y="228"/>
                      <a:pt x="545" y="221"/>
                    </a:cubicBezTo>
                    <a:cubicBezTo>
                      <a:pt x="546" y="219"/>
                      <a:pt x="546" y="207"/>
                      <a:pt x="548" y="204"/>
                    </a:cubicBezTo>
                    <a:cubicBezTo>
                      <a:pt x="551" y="201"/>
                      <a:pt x="553" y="197"/>
                      <a:pt x="552" y="194"/>
                    </a:cubicBezTo>
                    <a:cubicBezTo>
                      <a:pt x="557" y="179"/>
                      <a:pt x="557" y="179"/>
                      <a:pt x="557" y="179"/>
                    </a:cubicBezTo>
                    <a:cubicBezTo>
                      <a:pt x="562" y="172"/>
                      <a:pt x="562" y="172"/>
                      <a:pt x="562" y="172"/>
                    </a:cubicBezTo>
                    <a:cubicBezTo>
                      <a:pt x="563" y="168"/>
                      <a:pt x="568" y="169"/>
                      <a:pt x="570" y="167"/>
                    </a:cubicBezTo>
                    <a:cubicBezTo>
                      <a:pt x="572" y="164"/>
                      <a:pt x="571" y="158"/>
                      <a:pt x="575" y="156"/>
                    </a:cubicBezTo>
                    <a:close/>
                    <a:moveTo>
                      <a:pt x="621" y="571"/>
                    </a:moveTo>
                    <a:cubicBezTo>
                      <a:pt x="617" y="569"/>
                      <a:pt x="617" y="569"/>
                      <a:pt x="617" y="569"/>
                    </a:cubicBezTo>
                    <a:cubicBezTo>
                      <a:pt x="617" y="569"/>
                      <a:pt x="618" y="561"/>
                      <a:pt x="619" y="558"/>
                    </a:cubicBezTo>
                    <a:cubicBezTo>
                      <a:pt x="620" y="553"/>
                      <a:pt x="618" y="545"/>
                      <a:pt x="618" y="545"/>
                    </a:cubicBezTo>
                    <a:cubicBezTo>
                      <a:pt x="612" y="544"/>
                      <a:pt x="612" y="544"/>
                      <a:pt x="612" y="544"/>
                    </a:cubicBezTo>
                    <a:cubicBezTo>
                      <a:pt x="612" y="544"/>
                      <a:pt x="614" y="565"/>
                      <a:pt x="610" y="565"/>
                    </a:cubicBezTo>
                    <a:cubicBezTo>
                      <a:pt x="606" y="566"/>
                      <a:pt x="606" y="563"/>
                      <a:pt x="601" y="563"/>
                    </a:cubicBezTo>
                    <a:cubicBezTo>
                      <a:pt x="595" y="563"/>
                      <a:pt x="596" y="568"/>
                      <a:pt x="596" y="568"/>
                    </a:cubicBezTo>
                    <a:cubicBezTo>
                      <a:pt x="596" y="568"/>
                      <a:pt x="588" y="569"/>
                      <a:pt x="583" y="572"/>
                    </a:cubicBezTo>
                    <a:cubicBezTo>
                      <a:pt x="577" y="575"/>
                      <a:pt x="578" y="579"/>
                      <a:pt x="578" y="579"/>
                    </a:cubicBezTo>
                    <a:cubicBezTo>
                      <a:pt x="577" y="583"/>
                      <a:pt x="577" y="583"/>
                      <a:pt x="577" y="583"/>
                    </a:cubicBezTo>
                    <a:cubicBezTo>
                      <a:pt x="573" y="585"/>
                      <a:pt x="573" y="585"/>
                      <a:pt x="573" y="585"/>
                    </a:cubicBezTo>
                    <a:cubicBezTo>
                      <a:pt x="573" y="590"/>
                      <a:pt x="573" y="590"/>
                      <a:pt x="573" y="590"/>
                    </a:cubicBezTo>
                    <a:cubicBezTo>
                      <a:pt x="577" y="592"/>
                      <a:pt x="577" y="592"/>
                      <a:pt x="577" y="592"/>
                    </a:cubicBezTo>
                    <a:cubicBezTo>
                      <a:pt x="573" y="596"/>
                      <a:pt x="573" y="596"/>
                      <a:pt x="573" y="596"/>
                    </a:cubicBezTo>
                    <a:cubicBezTo>
                      <a:pt x="574" y="601"/>
                      <a:pt x="574" y="601"/>
                      <a:pt x="574" y="601"/>
                    </a:cubicBezTo>
                    <a:cubicBezTo>
                      <a:pt x="574" y="601"/>
                      <a:pt x="576" y="604"/>
                      <a:pt x="578" y="604"/>
                    </a:cubicBezTo>
                    <a:cubicBezTo>
                      <a:pt x="581" y="605"/>
                      <a:pt x="578" y="609"/>
                      <a:pt x="578" y="609"/>
                    </a:cubicBezTo>
                    <a:cubicBezTo>
                      <a:pt x="574" y="616"/>
                      <a:pt x="574" y="616"/>
                      <a:pt x="574" y="616"/>
                    </a:cubicBezTo>
                    <a:cubicBezTo>
                      <a:pt x="574" y="616"/>
                      <a:pt x="584" y="615"/>
                      <a:pt x="584" y="619"/>
                    </a:cubicBezTo>
                    <a:cubicBezTo>
                      <a:pt x="585" y="622"/>
                      <a:pt x="577" y="627"/>
                      <a:pt x="577" y="627"/>
                    </a:cubicBezTo>
                    <a:cubicBezTo>
                      <a:pt x="577" y="629"/>
                      <a:pt x="577" y="629"/>
                      <a:pt x="577" y="629"/>
                    </a:cubicBezTo>
                    <a:cubicBezTo>
                      <a:pt x="577" y="629"/>
                      <a:pt x="584" y="627"/>
                      <a:pt x="586" y="628"/>
                    </a:cubicBezTo>
                    <a:cubicBezTo>
                      <a:pt x="588" y="630"/>
                      <a:pt x="590" y="632"/>
                      <a:pt x="590" y="632"/>
                    </a:cubicBezTo>
                    <a:cubicBezTo>
                      <a:pt x="583" y="636"/>
                      <a:pt x="583" y="636"/>
                      <a:pt x="583" y="636"/>
                    </a:cubicBezTo>
                    <a:cubicBezTo>
                      <a:pt x="585" y="643"/>
                      <a:pt x="585" y="643"/>
                      <a:pt x="585" y="643"/>
                    </a:cubicBezTo>
                    <a:cubicBezTo>
                      <a:pt x="585" y="643"/>
                      <a:pt x="594" y="646"/>
                      <a:pt x="597" y="646"/>
                    </a:cubicBezTo>
                    <a:cubicBezTo>
                      <a:pt x="601" y="647"/>
                      <a:pt x="598" y="652"/>
                      <a:pt x="598" y="652"/>
                    </a:cubicBezTo>
                    <a:cubicBezTo>
                      <a:pt x="603" y="651"/>
                      <a:pt x="603" y="651"/>
                      <a:pt x="603" y="651"/>
                    </a:cubicBezTo>
                    <a:cubicBezTo>
                      <a:pt x="603" y="651"/>
                      <a:pt x="609" y="636"/>
                      <a:pt x="611" y="631"/>
                    </a:cubicBezTo>
                    <a:cubicBezTo>
                      <a:pt x="612" y="626"/>
                      <a:pt x="614" y="615"/>
                      <a:pt x="614" y="614"/>
                    </a:cubicBezTo>
                    <a:cubicBezTo>
                      <a:pt x="614" y="612"/>
                      <a:pt x="622" y="607"/>
                      <a:pt x="624" y="600"/>
                    </a:cubicBezTo>
                    <a:cubicBezTo>
                      <a:pt x="626" y="595"/>
                      <a:pt x="621" y="571"/>
                      <a:pt x="621" y="571"/>
                    </a:cubicBezTo>
                    <a:close/>
                    <a:moveTo>
                      <a:pt x="56" y="207"/>
                    </a:moveTo>
                    <a:cubicBezTo>
                      <a:pt x="56" y="212"/>
                      <a:pt x="56" y="212"/>
                      <a:pt x="56" y="212"/>
                    </a:cubicBezTo>
                    <a:cubicBezTo>
                      <a:pt x="61" y="215"/>
                      <a:pt x="64" y="213"/>
                      <a:pt x="64" y="213"/>
                    </a:cubicBezTo>
                    <a:cubicBezTo>
                      <a:pt x="57" y="204"/>
                      <a:pt x="57" y="204"/>
                      <a:pt x="57" y="204"/>
                    </a:cubicBezTo>
                    <a:lnTo>
                      <a:pt x="56" y="207"/>
                    </a:lnTo>
                    <a:close/>
                    <a:moveTo>
                      <a:pt x="126" y="100"/>
                    </a:moveTo>
                    <a:cubicBezTo>
                      <a:pt x="130" y="103"/>
                      <a:pt x="135" y="100"/>
                      <a:pt x="129" y="94"/>
                    </a:cubicBezTo>
                    <a:cubicBezTo>
                      <a:pt x="122" y="90"/>
                      <a:pt x="120" y="93"/>
                      <a:pt x="120" y="93"/>
                    </a:cubicBezTo>
                    <a:cubicBezTo>
                      <a:pt x="121" y="99"/>
                      <a:pt x="121" y="99"/>
                      <a:pt x="121" y="99"/>
                    </a:cubicBezTo>
                    <a:lnTo>
                      <a:pt x="126" y="100"/>
                    </a:lnTo>
                    <a:close/>
                    <a:moveTo>
                      <a:pt x="112" y="79"/>
                    </a:moveTo>
                    <a:cubicBezTo>
                      <a:pt x="116" y="79"/>
                      <a:pt x="121" y="74"/>
                      <a:pt x="113" y="75"/>
                    </a:cubicBezTo>
                    <a:cubicBezTo>
                      <a:pt x="104" y="76"/>
                      <a:pt x="112" y="79"/>
                      <a:pt x="112" y="79"/>
                    </a:cubicBez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240" name="Finland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5473700" y="1279525"/>
                <a:ext cx="814387" cy="1435100"/>
              </a:xfrm>
              <a:custGeom>
                <a:avLst/>
                <a:gdLst/>
                <a:ahLst/>
                <a:cxnLst>
                  <a:cxn ang="0">
                    <a:pos x="318" y="380"/>
                  </a:cxn>
                  <a:cxn ang="0">
                    <a:pos x="302" y="312"/>
                  </a:cxn>
                  <a:cxn ang="0">
                    <a:pos x="283" y="281"/>
                  </a:cxn>
                  <a:cxn ang="0">
                    <a:pos x="264" y="225"/>
                  </a:cxn>
                  <a:cxn ang="0">
                    <a:pos x="205" y="113"/>
                  </a:cxn>
                  <a:cxn ang="0">
                    <a:pos x="202" y="27"/>
                  </a:cxn>
                  <a:cxn ang="0">
                    <a:pos x="124" y="29"/>
                  </a:cxn>
                  <a:cxn ang="0">
                    <a:pos x="105" y="103"/>
                  </a:cxn>
                  <a:cxn ang="0">
                    <a:pos x="51" y="107"/>
                  </a:cxn>
                  <a:cxn ang="0">
                    <a:pos x="2" y="90"/>
                  </a:cxn>
                  <a:cxn ang="0">
                    <a:pos x="23" y="108"/>
                  </a:cxn>
                  <a:cxn ang="0">
                    <a:pos x="63" y="131"/>
                  </a:cxn>
                  <a:cxn ang="0">
                    <a:pos x="86" y="186"/>
                  </a:cxn>
                  <a:cxn ang="0">
                    <a:pos x="106" y="229"/>
                  </a:cxn>
                  <a:cxn ang="0">
                    <a:pos x="116" y="275"/>
                  </a:cxn>
                  <a:cxn ang="0">
                    <a:pos x="147" y="294"/>
                  </a:cxn>
                  <a:cxn ang="0">
                    <a:pos x="163" y="331"/>
                  </a:cxn>
                  <a:cxn ang="0">
                    <a:pos x="147" y="355"/>
                  </a:cxn>
                  <a:cxn ang="0">
                    <a:pos x="131" y="401"/>
                  </a:cxn>
                  <a:cxn ang="0">
                    <a:pos x="108" y="414"/>
                  </a:cxn>
                  <a:cxn ang="0">
                    <a:pos x="111" y="430"/>
                  </a:cxn>
                  <a:cxn ang="0">
                    <a:pos x="96" y="438"/>
                  </a:cxn>
                  <a:cxn ang="0">
                    <a:pos x="80" y="462"/>
                  </a:cxn>
                  <a:cxn ang="0">
                    <a:pos x="77" y="486"/>
                  </a:cxn>
                  <a:cxn ang="0">
                    <a:pos x="80" y="523"/>
                  </a:cxn>
                  <a:cxn ang="0">
                    <a:pos x="91" y="559"/>
                  </a:cxn>
                  <a:cxn ang="0">
                    <a:pos x="93" y="572"/>
                  </a:cxn>
                  <a:cxn ang="0">
                    <a:pos x="95" y="598"/>
                  </a:cxn>
                  <a:cxn ang="0">
                    <a:pos x="95" y="613"/>
                  </a:cxn>
                  <a:cxn ang="0">
                    <a:pos x="104" y="635"/>
                  </a:cxn>
                  <a:cxn ang="0">
                    <a:pos x="118" y="635"/>
                  </a:cxn>
                  <a:cxn ang="0">
                    <a:pos x="144" y="645"/>
                  </a:cxn>
                  <a:cxn ang="0">
                    <a:pos x="157" y="656"/>
                  </a:cxn>
                  <a:cxn ang="0">
                    <a:pos x="161" y="666"/>
                  </a:cxn>
                  <a:cxn ang="0">
                    <a:pos x="189" y="654"/>
                  </a:cxn>
                  <a:cxn ang="0">
                    <a:pos x="206" y="645"/>
                  </a:cxn>
                  <a:cxn ang="0">
                    <a:pos x="248" y="626"/>
                  </a:cxn>
                  <a:cxn ang="0">
                    <a:pos x="260" y="617"/>
                  </a:cxn>
                  <a:cxn ang="0">
                    <a:pos x="293" y="603"/>
                  </a:cxn>
                  <a:cxn ang="0">
                    <a:pos x="328" y="554"/>
                  </a:cxn>
                  <a:cxn ang="0">
                    <a:pos x="382" y="418"/>
                  </a:cxn>
                  <a:cxn ang="0">
                    <a:pos x="60" y="653"/>
                  </a:cxn>
                  <a:cxn ang="0">
                    <a:pos x="45" y="651"/>
                  </a:cxn>
                  <a:cxn ang="0">
                    <a:pos x="50" y="670"/>
                  </a:cxn>
                  <a:cxn ang="0">
                    <a:pos x="39" y="658"/>
                  </a:cxn>
                  <a:cxn ang="0">
                    <a:pos x="55" y="670"/>
                  </a:cxn>
                  <a:cxn ang="0">
                    <a:pos x="107" y="657"/>
                  </a:cxn>
                  <a:cxn ang="0">
                    <a:pos x="113" y="654"/>
                  </a:cxn>
                  <a:cxn ang="0">
                    <a:pos x="148" y="643"/>
                  </a:cxn>
                  <a:cxn ang="0">
                    <a:pos x="136" y="655"/>
                  </a:cxn>
                  <a:cxn ang="0">
                    <a:pos x="147" y="649"/>
                  </a:cxn>
                  <a:cxn ang="0">
                    <a:pos x="112" y="643"/>
                  </a:cxn>
                  <a:cxn ang="0">
                    <a:pos x="99" y="634"/>
                  </a:cxn>
                  <a:cxn ang="0">
                    <a:pos x="94" y="628"/>
                  </a:cxn>
                  <a:cxn ang="0">
                    <a:pos x="175" y="667"/>
                  </a:cxn>
                  <a:cxn ang="0">
                    <a:pos x="62" y="461"/>
                  </a:cxn>
                  <a:cxn ang="0">
                    <a:pos x="72" y="456"/>
                  </a:cxn>
                  <a:cxn ang="0">
                    <a:pos x="157" y="329"/>
                  </a:cxn>
                  <a:cxn ang="0">
                    <a:pos x="153" y="336"/>
                  </a:cxn>
                  <a:cxn ang="0">
                    <a:pos x="243" y="631"/>
                  </a:cxn>
                  <a:cxn ang="0">
                    <a:pos x="265" y="614"/>
                  </a:cxn>
                </a:cxnLst>
                <a:rect l="0" t="0" r="r" b="b"/>
                <a:pathLst>
                  <a:path w="382" h="674">
                    <a:moveTo>
                      <a:pt x="382" y="418"/>
                    </a:moveTo>
                    <a:cubicBezTo>
                      <a:pt x="381" y="412"/>
                      <a:pt x="369" y="412"/>
                      <a:pt x="369" y="412"/>
                    </a:cubicBezTo>
                    <a:cubicBezTo>
                      <a:pt x="366" y="404"/>
                      <a:pt x="366" y="404"/>
                      <a:pt x="366" y="404"/>
                    </a:cubicBezTo>
                    <a:cubicBezTo>
                      <a:pt x="350" y="396"/>
                      <a:pt x="350" y="396"/>
                      <a:pt x="350" y="396"/>
                    </a:cubicBezTo>
                    <a:cubicBezTo>
                      <a:pt x="339" y="394"/>
                      <a:pt x="339" y="394"/>
                      <a:pt x="339" y="394"/>
                    </a:cubicBezTo>
                    <a:cubicBezTo>
                      <a:pt x="318" y="380"/>
                      <a:pt x="318" y="380"/>
                      <a:pt x="318" y="380"/>
                    </a:cubicBezTo>
                    <a:cubicBezTo>
                      <a:pt x="327" y="374"/>
                      <a:pt x="327" y="374"/>
                      <a:pt x="327" y="374"/>
                    </a:cubicBezTo>
                    <a:cubicBezTo>
                      <a:pt x="326" y="370"/>
                      <a:pt x="326" y="370"/>
                      <a:pt x="326" y="370"/>
                    </a:cubicBezTo>
                    <a:cubicBezTo>
                      <a:pt x="326" y="370"/>
                      <a:pt x="331" y="355"/>
                      <a:pt x="327" y="346"/>
                    </a:cubicBezTo>
                    <a:cubicBezTo>
                      <a:pt x="323" y="338"/>
                      <a:pt x="313" y="344"/>
                      <a:pt x="308" y="335"/>
                    </a:cubicBezTo>
                    <a:cubicBezTo>
                      <a:pt x="301" y="326"/>
                      <a:pt x="307" y="320"/>
                      <a:pt x="307" y="320"/>
                    </a:cubicBezTo>
                    <a:cubicBezTo>
                      <a:pt x="302" y="312"/>
                      <a:pt x="302" y="312"/>
                      <a:pt x="302" y="312"/>
                    </a:cubicBezTo>
                    <a:cubicBezTo>
                      <a:pt x="292" y="317"/>
                      <a:pt x="292" y="317"/>
                      <a:pt x="292" y="317"/>
                    </a:cubicBezTo>
                    <a:cubicBezTo>
                      <a:pt x="285" y="301"/>
                      <a:pt x="285" y="301"/>
                      <a:pt x="285" y="301"/>
                    </a:cubicBezTo>
                    <a:cubicBezTo>
                      <a:pt x="292" y="296"/>
                      <a:pt x="292" y="296"/>
                      <a:pt x="292" y="296"/>
                    </a:cubicBezTo>
                    <a:cubicBezTo>
                      <a:pt x="291" y="291"/>
                      <a:pt x="291" y="291"/>
                      <a:pt x="291" y="291"/>
                    </a:cubicBezTo>
                    <a:cubicBezTo>
                      <a:pt x="280" y="293"/>
                      <a:pt x="280" y="293"/>
                      <a:pt x="280" y="293"/>
                    </a:cubicBezTo>
                    <a:cubicBezTo>
                      <a:pt x="283" y="281"/>
                      <a:pt x="283" y="281"/>
                      <a:pt x="283" y="281"/>
                    </a:cubicBezTo>
                    <a:cubicBezTo>
                      <a:pt x="280" y="272"/>
                      <a:pt x="280" y="272"/>
                      <a:pt x="280" y="272"/>
                    </a:cubicBezTo>
                    <a:cubicBezTo>
                      <a:pt x="284" y="267"/>
                      <a:pt x="284" y="267"/>
                      <a:pt x="284" y="267"/>
                    </a:cubicBezTo>
                    <a:cubicBezTo>
                      <a:pt x="277" y="265"/>
                      <a:pt x="277" y="265"/>
                      <a:pt x="277" y="265"/>
                    </a:cubicBezTo>
                    <a:cubicBezTo>
                      <a:pt x="288" y="259"/>
                      <a:pt x="288" y="259"/>
                      <a:pt x="288" y="259"/>
                    </a:cubicBezTo>
                    <a:cubicBezTo>
                      <a:pt x="288" y="259"/>
                      <a:pt x="286" y="249"/>
                      <a:pt x="281" y="240"/>
                    </a:cubicBezTo>
                    <a:cubicBezTo>
                      <a:pt x="277" y="232"/>
                      <a:pt x="264" y="225"/>
                      <a:pt x="264" y="225"/>
                    </a:cubicBezTo>
                    <a:cubicBezTo>
                      <a:pt x="261" y="223"/>
                      <a:pt x="262" y="214"/>
                      <a:pt x="254" y="208"/>
                    </a:cubicBezTo>
                    <a:cubicBezTo>
                      <a:pt x="248" y="204"/>
                      <a:pt x="237" y="187"/>
                      <a:pt x="237" y="187"/>
                    </a:cubicBezTo>
                    <a:cubicBezTo>
                      <a:pt x="237" y="187"/>
                      <a:pt x="252" y="152"/>
                      <a:pt x="251" y="142"/>
                    </a:cubicBezTo>
                    <a:cubicBezTo>
                      <a:pt x="250" y="133"/>
                      <a:pt x="238" y="133"/>
                      <a:pt x="238" y="133"/>
                    </a:cubicBezTo>
                    <a:cubicBezTo>
                      <a:pt x="226" y="117"/>
                      <a:pt x="226" y="117"/>
                      <a:pt x="226" y="117"/>
                    </a:cubicBezTo>
                    <a:cubicBezTo>
                      <a:pt x="205" y="113"/>
                      <a:pt x="205" y="113"/>
                      <a:pt x="205" y="113"/>
                    </a:cubicBezTo>
                    <a:cubicBezTo>
                      <a:pt x="196" y="90"/>
                      <a:pt x="196" y="90"/>
                      <a:pt x="196" y="90"/>
                    </a:cubicBezTo>
                    <a:cubicBezTo>
                      <a:pt x="199" y="70"/>
                      <a:pt x="199" y="70"/>
                      <a:pt x="199" y="70"/>
                    </a:cubicBezTo>
                    <a:cubicBezTo>
                      <a:pt x="188" y="68"/>
                      <a:pt x="188" y="68"/>
                      <a:pt x="188" y="68"/>
                    </a:cubicBezTo>
                    <a:cubicBezTo>
                      <a:pt x="197" y="57"/>
                      <a:pt x="197" y="57"/>
                      <a:pt x="197" y="57"/>
                    </a:cubicBezTo>
                    <a:cubicBezTo>
                      <a:pt x="197" y="57"/>
                      <a:pt x="194" y="52"/>
                      <a:pt x="194" y="46"/>
                    </a:cubicBezTo>
                    <a:cubicBezTo>
                      <a:pt x="194" y="41"/>
                      <a:pt x="202" y="27"/>
                      <a:pt x="202" y="27"/>
                    </a:cubicBezTo>
                    <a:cubicBezTo>
                      <a:pt x="195" y="16"/>
                      <a:pt x="195" y="16"/>
                      <a:pt x="195" y="16"/>
                    </a:cubicBezTo>
                    <a:cubicBezTo>
                      <a:pt x="172" y="13"/>
                      <a:pt x="172" y="13"/>
                      <a:pt x="172" y="13"/>
                    </a:cubicBezTo>
                    <a:cubicBezTo>
                      <a:pt x="172" y="13"/>
                      <a:pt x="163" y="0"/>
                      <a:pt x="157" y="1"/>
                    </a:cubicBezTo>
                    <a:cubicBezTo>
                      <a:pt x="151" y="2"/>
                      <a:pt x="142" y="14"/>
                      <a:pt x="142" y="14"/>
                    </a:cubicBezTo>
                    <a:cubicBezTo>
                      <a:pt x="142" y="14"/>
                      <a:pt x="135" y="12"/>
                      <a:pt x="129" y="15"/>
                    </a:cubicBezTo>
                    <a:cubicBezTo>
                      <a:pt x="123" y="17"/>
                      <a:pt x="124" y="29"/>
                      <a:pt x="124" y="29"/>
                    </a:cubicBezTo>
                    <a:cubicBezTo>
                      <a:pt x="121" y="33"/>
                      <a:pt x="121" y="33"/>
                      <a:pt x="121" y="33"/>
                    </a:cubicBezTo>
                    <a:cubicBezTo>
                      <a:pt x="119" y="66"/>
                      <a:pt x="119" y="66"/>
                      <a:pt x="119" y="66"/>
                    </a:cubicBezTo>
                    <a:cubicBezTo>
                      <a:pt x="119" y="66"/>
                      <a:pt x="121" y="75"/>
                      <a:pt x="122" y="80"/>
                    </a:cubicBezTo>
                    <a:cubicBezTo>
                      <a:pt x="122" y="86"/>
                      <a:pt x="119" y="90"/>
                      <a:pt x="117" y="93"/>
                    </a:cubicBezTo>
                    <a:cubicBezTo>
                      <a:pt x="114" y="97"/>
                      <a:pt x="112" y="110"/>
                      <a:pt x="112" y="110"/>
                    </a:cubicBezTo>
                    <a:cubicBezTo>
                      <a:pt x="105" y="103"/>
                      <a:pt x="105" y="103"/>
                      <a:pt x="105" y="103"/>
                    </a:cubicBezTo>
                    <a:cubicBezTo>
                      <a:pt x="93" y="102"/>
                      <a:pt x="93" y="102"/>
                      <a:pt x="93" y="102"/>
                    </a:cubicBezTo>
                    <a:cubicBezTo>
                      <a:pt x="93" y="102"/>
                      <a:pt x="91" y="97"/>
                      <a:pt x="86" y="97"/>
                    </a:cubicBezTo>
                    <a:cubicBezTo>
                      <a:pt x="80" y="97"/>
                      <a:pt x="78" y="105"/>
                      <a:pt x="78" y="105"/>
                    </a:cubicBezTo>
                    <a:cubicBezTo>
                      <a:pt x="69" y="111"/>
                      <a:pt x="69" y="111"/>
                      <a:pt x="69" y="111"/>
                    </a:cubicBezTo>
                    <a:cubicBezTo>
                      <a:pt x="62" y="107"/>
                      <a:pt x="62" y="107"/>
                      <a:pt x="62" y="107"/>
                    </a:cubicBezTo>
                    <a:cubicBezTo>
                      <a:pt x="51" y="107"/>
                      <a:pt x="51" y="107"/>
                      <a:pt x="51" y="107"/>
                    </a:cubicBezTo>
                    <a:cubicBezTo>
                      <a:pt x="46" y="108"/>
                      <a:pt x="46" y="108"/>
                      <a:pt x="46" y="108"/>
                    </a:cubicBezTo>
                    <a:cubicBezTo>
                      <a:pt x="46" y="108"/>
                      <a:pt x="44" y="99"/>
                      <a:pt x="37" y="93"/>
                    </a:cubicBezTo>
                    <a:cubicBezTo>
                      <a:pt x="32" y="88"/>
                      <a:pt x="25" y="78"/>
                      <a:pt x="25" y="78"/>
                    </a:cubicBezTo>
                    <a:cubicBezTo>
                      <a:pt x="25" y="78"/>
                      <a:pt x="16" y="75"/>
                      <a:pt x="12" y="80"/>
                    </a:cubicBezTo>
                    <a:cubicBezTo>
                      <a:pt x="6" y="84"/>
                      <a:pt x="14" y="91"/>
                      <a:pt x="13" y="93"/>
                    </a:cubicBezTo>
                    <a:cubicBezTo>
                      <a:pt x="11" y="95"/>
                      <a:pt x="2" y="90"/>
                      <a:pt x="2" y="90"/>
                    </a:cubicBezTo>
                    <a:cubicBezTo>
                      <a:pt x="0" y="95"/>
                      <a:pt x="0" y="95"/>
                      <a:pt x="0" y="95"/>
                    </a:cubicBezTo>
                    <a:cubicBezTo>
                      <a:pt x="5" y="95"/>
                      <a:pt x="5" y="95"/>
                      <a:pt x="5" y="95"/>
                    </a:cubicBezTo>
                    <a:cubicBezTo>
                      <a:pt x="8" y="98"/>
                      <a:pt x="8" y="98"/>
                      <a:pt x="8" y="98"/>
                    </a:cubicBezTo>
                    <a:cubicBezTo>
                      <a:pt x="9" y="104"/>
                      <a:pt x="9" y="104"/>
                      <a:pt x="9" y="104"/>
                    </a:cubicBezTo>
                    <a:cubicBezTo>
                      <a:pt x="19" y="108"/>
                      <a:pt x="19" y="108"/>
                      <a:pt x="19" y="108"/>
                    </a:cubicBezTo>
                    <a:cubicBezTo>
                      <a:pt x="23" y="108"/>
                      <a:pt x="23" y="108"/>
                      <a:pt x="23" y="108"/>
                    </a:cubicBezTo>
                    <a:cubicBezTo>
                      <a:pt x="25" y="115"/>
                      <a:pt x="25" y="115"/>
                      <a:pt x="25" y="115"/>
                    </a:cubicBezTo>
                    <a:cubicBezTo>
                      <a:pt x="30" y="117"/>
                      <a:pt x="30" y="117"/>
                      <a:pt x="30" y="117"/>
                    </a:cubicBezTo>
                    <a:cubicBezTo>
                      <a:pt x="32" y="120"/>
                      <a:pt x="32" y="120"/>
                      <a:pt x="32" y="120"/>
                    </a:cubicBezTo>
                    <a:cubicBezTo>
                      <a:pt x="36" y="120"/>
                      <a:pt x="36" y="120"/>
                      <a:pt x="36" y="120"/>
                    </a:cubicBezTo>
                    <a:cubicBezTo>
                      <a:pt x="40" y="124"/>
                      <a:pt x="40" y="124"/>
                      <a:pt x="40" y="124"/>
                    </a:cubicBezTo>
                    <a:cubicBezTo>
                      <a:pt x="40" y="124"/>
                      <a:pt x="53" y="126"/>
                      <a:pt x="63" y="131"/>
                    </a:cubicBezTo>
                    <a:cubicBezTo>
                      <a:pt x="72" y="136"/>
                      <a:pt x="73" y="146"/>
                      <a:pt x="73" y="146"/>
                    </a:cubicBezTo>
                    <a:cubicBezTo>
                      <a:pt x="77" y="143"/>
                      <a:pt x="77" y="143"/>
                      <a:pt x="77" y="143"/>
                    </a:cubicBezTo>
                    <a:cubicBezTo>
                      <a:pt x="77" y="143"/>
                      <a:pt x="86" y="152"/>
                      <a:pt x="88" y="155"/>
                    </a:cubicBezTo>
                    <a:cubicBezTo>
                      <a:pt x="90" y="158"/>
                      <a:pt x="85" y="158"/>
                      <a:pt x="84" y="162"/>
                    </a:cubicBezTo>
                    <a:cubicBezTo>
                      <a:pt x="83" y="167"/>
                      <a:pt x="85" y="170"/>
                      <a:pt x="86" y="174"/>
                    </a:cubicBezTo>
                    <a:cubicBezTo>
                      <a:pt x="88" y="180"/>
                      <a:pt x="86" y="186"/>
                      <a:pt x="86" y="186"/>
                    </a:cubicBezTo>
                    <a:cubicBezTo>
                      <a:pt x="97" y="188"/>
                      <a:pt x="97" y="188"/>
                      <a:pt x="97" y="188"/>
                    </a:cubicBezTo>
                    <a:cubicBezTo>
                      <a:pt x="98" y="194"/>
                      <a:pt x="98" y="194"/>
                      <a:pt x="98" y="194"/>
                    </a:cubicBezTo>
                    <a:cubicBezTo>
                      <a:pt x="95" y="197"/>
                      <a:pt x="95" y="197"/>
                      <a:pt x="95" y="197"/>
                    </a:cubicBezTo>
                    <a:cubicBezTo>
                      <a:pt x="95" y="197"/>
                      <a:pt x="94" y="199"/>
                      <a:pt x="94" y="204"/>
                    </a:cubicBezTo>
                    <a:cubicBezTo>
                      <a:pt x="94" y="210"/>
                      <a:pt x="103" y="215"/>
                      <a:pt x="105" y="218"/>
                    </a:cubicBezTo>
                    <a:cubicBezTo>
                      <a:pt x="107" y="222"/>
                      <a:pt x="106" y="229"/>
                      <a:pt x="106" y="229"/>
                    </a:cubicBezTo>
                    <a:cubicBezTo>
                      <a:pt x="106" y="229"/>
                      <a:pt x="108" y="233"/>
                      <a:pt x="110" y="237"/>
                    </a:cubicBezTo>
                    <a:cubicBezTo>
                      <a:pt x="111" y="240"/>
                      <a:pt x="106" y="243"/>
                      <a:pt x="103" y="248"/>
                    </a:cubicBezTo>
                    <a:cubicBezTo>
                      <a:pt x="101" y="252"/>
                      <a:pt x="106" y="253"/>
                      <a:pt x="106" y="253"/>
                    </a:cubicBezTo>
                    <a:cubicBezTo>
                      <a:pt x="106" y="253"/>
                      <a:pt x="106" y="254"/>
                      <a:pt x="105" y="260"/>
                    </a:cubicBezTo>
                    <a:cubicBezTo>
                      <a:pt x="105" y="264"/>
                      <a:pt x="112" y="265"/>
                      <a:pt x="114" y="266"/>
                    </a:cubicBezTo>
                    <a:cubicBezTo>
                      <a:pt x="116" y="268"/>
                      <a:pt x="115" y="271"/>
                      <a:pt x="116" y="275"/>
                    </a:cubicBezTo>
                    <a:cubicBezTo>
                      <a:pt x="117" y="279"/>
                      <a:pt x="122" y="281"/>
                      <a:pt x="122" y="281"/>
                    </a:cubicBezTo>
                    <a:cubicBezTo>
                      <a:pt x="123" y="288"/>
                      <a:pt x="123" y="288"/>
                      <a:pt x="123" y="288"/>
                    </a:cubicBezTo>
                    <a:cubicBezTo>
                      <a:pt x="128" y="286"/>
                      <a:pt x="128" y="286"/>
                      <a:pt x="128" y="286"/>
                    </a:cubicBezTo>
                    <a:cubicBezTo>
                      <a:pt x="139" y="293"/>
                      <a:pt x="139" y="293"/>
                      <a:pt x="139" y="293"/>
                    </a:cubicBezTo>
                    <a:cubicBezTo>
                      <a:pt x="139" y="295"/>
                      <a:pt x="139" y="295"/>
                      <a:pt x="139" y="295"/>
                    </a:cubicBezTo>
                    <a:cubicBezTo>
                      <a:pt x="147" y="294"/>
                      <a:pt x="147" y="294"/>
                      <a:pt x="147" y="294"/>
                    </a:cubicBezTo>
                    <a:cubicBezTo>
                      <a:pt x="154" y="297"/>
                      <a:pt x="154" y="297"/>
                      <a:pt x="154" y="297"/>
                    </a:cubicBezTo>
                    <a:cubicBezTo>
                      <a:pt x="154" y="297"/>
                      <a:pt x="159" y="301"/>
                      <a:pt x="162" y="308"/>
                    </a:cubicBezTo>
                    <a:cubicBezTo>
                      <a:pt x="166" y="314"/>
                      <a:pt x="162" y="324"/>
                      <a:pt x="162" y="324"/>
                    </a:cubicBezTo>
                    <a:cubicBezTo>
                      <a:pt x="166" y="325"/>
                      <a:pt x="166" y="325"/>
                      <a:pt x="166" y="325"/>
                    </a:cubicBezTo>
                    <a:cubicBezTo>
                      <a:pt x="169" y="334"/>
                      <a:pt x="169" y="334"/>
                      <a:pt x="169" y="334"/>
                    </a:cubicBezTo>
                    <a:cubicBezTo>
                      <a:pt x="163" y="331"/>
                      <a:pt x="163" y="331"/>
                      <a:pt x="163" y="331"/>
                    </a:cubicBezTo>
                    <a:cubicBezTo>
                      <a:pt x="162" y="334"/>
                      <a:pt x="162" y="334"/>
                      <a:pt x="162" y="334"/>
                    </a:cubicBezTo>
                    <a:cubicBezTo>
                      <a:pt x="170" y="339"/>
                      <a:pt x="170" y="339"/>
                      <a:pt x="170" y="339"/>
                    </a:cubicBezTo>
                    <a:cubicBezTo>
                      <a:pt x="167" y="342"/>
                      <a:pt x="167" y="342"/>
                      <a:pt x="167" y="342"/>
                    </a:cubicBezTo>
                    <a:cubicBezTo>
                      <a:pt x="167" y="342"/>
                      <a:pt x="160" y="340"/>
                      <a:pt x="154" y="341"/>
                    </a:cubicBezTo>
                    <a:cubicBezTo>
                      <a:pt x="150" y="342"/>
                      <a:pt x="147" y="346"/>
                      <a:pt x="147" y="346"/>
                    </a:cubicBezTo>
                    <a:cubicBezTo>
                      <a:pt x="147" y="355"/>
                      <a:pt x="147" y="355"/>
                      <a:pt x="147" y="355"/>
                    </a:cubicBezTo>
                    <a:cubicBezTo>
                      <a:pt x="145" y="357"/>
                      <a:pt x="145" y="357"/>
                      <a:pt x="145" y="357"/>
                    </a:cubicBezTo>
                    <a:cubicBezTo>
                      <a:pt x="145" y="366"/>
                      <a:pt x="145" y="366"/>
                      <a:pt x="145" y="366"/>
                    </a:cubicBezTo>
                    <a:cubicBezTo>
                      <a:pt x="142" y="367"/>
                      <a:pt x="142" y="367"/>
                      <a:pt x="142" y="367"/>
                    </a:cubicBezTo>
                    <a:cubicBezTo>
                      <a:pt x="137" y="376"/>
                      <a:pt x="137" y="376"/>
                      <a:pt x="137" y="376"/>
                    </a:cubicBezTo>
                    <a:cubicBezTo>
                      <a:pt x="129" y="395"/>
                      <a:pt x="129" y="395"/>
                      <a:pt x="129" y="395"/>
                    </a:cubicBezTo>
                    <a:cubicBezTo>
                      <a:pt x="131" y="401"/>
                      <a:pt x="131" y="401"/>
                      <a:pt x="131" y="401"/>
                    </a:cubicBezTo>
                    <a:cubicBezTo>
                      <a:pt x="123" y="399"/>
                      <a:pt x="123" y="399"/>
                      <a:pt x="123" y="399"/>
                    </a:cubicBezTo>
                    <a:cubicBezTo>
                      <a:pt x="124" y="409"/>
                      <a:pt x="124" y="409"/>
                      <a:pt x="124" y="409"/>
                    </a:cubicBezTo>
                    <a:cubicBezTo>
                      <a:pt x="117" y="413"/>
                      <a:pt x="117" y="413"/>
                      <a:pt x="117" y="413"/>
                    </a:cubicBezTo>
                    <a:cubicBezTo>
                      <a:pt x="114" y="418"/>
                      <a:pt x="114" y="418"/>
                      <a:pt x="114" y="418"/>
                    </a:cubicBezTo>
                    <a:cubicBezTo>
                      <a:pt x="112" y="413"/>
                      <a:pt x="112" y="413"/>
                      <a:pt x="112" y="413"/>
                    </a:cubicBezTo>
                    <a:cubicBezTo>
                      <a:pt x="108" y="414"/>
                      <a:pt x="108" y="414"/>
                      <a:pt x="108" y="414"/>
                    </a:cubicBezTo>
                    <a:cubicBezTo>
                      <a:pt x="108" y="417"/>
                      <a:pt x="108" y="417"/>
                      <a:pt x="108" y="417"/>
                    </a:cubicBezTo>
                    <a:cubicBezTo>
                      <a:pt x="106" y="418"/>
                      <a:pt x="106" y="418"/>
                      <a:pt x="106" y="418"/>
                    </a:cubicBezTo>
                    <a:cubicBezTo>
                      <a:pt x="105" y="421"/>
                      <a:pt x="105" y="421"/>
                      <a:pt x="105" y="421"/>
                    </a:cubicBezTo>
                    <a:cubicBezTo>
                      <a:pt x="111" y="421"/>
                      <a:pt x="111" y="421"/>
                      <a:pt x="111" y="421"/>
                    </a:cubicBezTo>
                    <a:cubicBezTo>
                      <a:pt x="113" y="422"/>
                      <a:pt x="113" y="422"/>
                      <a:pt x="113" y="422"/>
                    </a:cubicBezTo>
                    <a:cubicBezTo>
                      <a:pt x="111" y="430"/>
                      <a:pt x="111" y="430"/>
                      <a:pt x="111" y="430"/>
                    </a:cubicBezTo>
                    <a:cubicBezTo>
                      <a:pt x="111" y="430"/>
                      <a:pt x="107" y="426"/>
                      <a:pt x="104" y="428"/>
                    </a:cubicBezTo>
                    <a:cubicBezTo>
                      <a:pt x="100" y="430"/>
                      <a:pt x="102" y="436"/>
                      <a:pt x="102" y="436"/>
                    </a:cubicBezTo>
                    <a:cubicBezTo>
                      <a:pt x="102" y="439"/>
                      <a:pt x="102" y="439"/>
                      <a:pt x="102" y="439"/>
                    </a:cubicBezTo>
                    <a:cubicBezTo>
                      <a:pt x="101" y="441"/>
                      <a:pt x="100" y="442"/>
                      <a:pt x="100" y="442"/>
                    </a:cubicBezTo>
                    <a:cubicBezTo>
                      <a:pt x="97" y="437"/>
                      <a:pt x="97" y="437"/>
                      <a:pt x="97" y="437"/>
                    </a:cubicBezTo>
                    <a:cubicBezTo>
                      <a:pt x="96" y="438"/>
                      <a:pt x="96" y="438"/>
                      <a:pt x="96" y="438"/>
                    </a:cubicBezTo>
                    <a:cubicBezTo>
                      <a:pt x="98" y="444"/>
                      <a:pt x="98" y="444"/>
                      <a:pt x="98" y="444"/>
                    </a:cubicBezTo>
                    <a:cubicBezTo>
                      <a:pt x="95" y="444"/>
                      <a:pt x="95" y="444"/>
                      <a:pt x="95" y="444"/>
                    </a:cubicBezTo>
                    <a:cubicBezTo>
                      <a:pt x="95" y="444"/>
                      <a:pt x="99" y="455"/>
                      <a:pt x="98" y="457"/>
                    </a:cubicBezTo>
                    <a:cubicBezTo>
                      <a:pt x="97" y="460"/>
                      <a:pt x="91" y="458"/>
                      <a:pt x="89" y="458"/>
                    </a:cubicBezTo>
                    <a:cubicBezTo>
                      <a:pt x="82" y="458"/>
                      <a:pt x="82" y="458"/>
                      <a:pt x="82" y="458"/>
                    </a:cubicBezTo>
                    <a:cubicBezTo>
                      <a:pt x="82" y="458"/>
                      <a:pt x="82" y="462"/>
                      <a:pt x="80" y="462"/>
                    </a:cubicBezTo>
                    <a:cubicBezTo>
                      <a:pt x="79" y="462"/>
                      <a:pt x="77" y="459"/>
                      <a:pt x="77" y="459"/>
                    </a:cubicBezTo>
                    <a:cubicBezTo>
                      <a:pt x="75" y="467"/>
                      <a:pt x="75" y="467"/>
                      <a:pt x="75" y="467"/>
                    </a:cubicBezTo>
                    <a:cubicBezTo>
                      <a:pt x="83" y="475"/>
                      <a:pt x="83" y="475"/>
                      <a:pt x="83" y="475"/>
                    </a:cubicBezTo>
                    <a:cubicBezTo>
                      <a:pt x="77" y="474"/>
                      <a:pt x="77" y="474"/>
                      <a:pt x="77" y="474"/>
                    </a:cubicBezTo>
                    <a:cubicBezTo>
                      <a:pt x="75" y="482"/>
                      <a:pt x="75" y="482"/>
                      <a:pt x="75" y="482"/>
                    </a:cubicBezTo>
                    <a:cubicBezTo>
                      <a:pt x="75" y="482"/>
                      <a:pt x="77" y="484"/>
                      <a:pt x="77" y="486"/>
                    </a:cubicBezTo>
                    <a:cubicBezTo>
                      <a:pt x="77" y="487"/>
                      <a:pt x="72" y="487"/>
                      <a:pt x="72" y="487"/>
                    </a:cubicBezTo>
                    <a:cubicBezTo>
                      <a:pt x="69" y="492"/>
                      <a:pt x="69" y="492"/>
                      <a:pt x="69" y="492"/>
                    </a:cubicBezTo>
                    <a:cubicBezTo>
                      <a:pt x="68" y="504"/>
                      <a:pt x="68" y="504"/>
                      <a:pt x="68" y="504"/>
                    </a:cubicBezTo>
                    <a:cubicBezTo>
                      <a:pt x="72" y="504"/>
                      <a:pt x="72" y="504"/>
                      <a:pt x="72" y="504"/>
                    </a:cubicBezTo>
                    <a:cubicBezTo>
                      <a:pt x="72" y="504"/>
                      <a:pt x="69" y="508"/>
                      <a:pt x="70" y="513"/>
                    </a:cubicBezTo>
                    <a:cubicBezTo>
                      <a:pt x="70" y="517"/>
                      <a:pt x="78" y="519"/>
                      <a:pt x="80" y="523"/>
                    </a:cubicBezTo>
                    <a:cubicBezTo>
                      <a:pt x="83" y="528"/>
                      <a:pt x="80" y="534"/>
                      <a:pt x="80" y="534"/>
                    </a:cubicBezTo>
                    <a:cubicBezTo>
                      <a:pt x="80" y="543"/>
                      <a:pt x="80" y="543"/>
                      <a:pt x="80" y="543"/>
                    </a:cubicBezTo>
                    <a:cubicBezTo>
                      <a:pt x="83" y="546"/>
                      <a:pt x="83" y="546"/>
                      <a:pt x="83" y="546"/>
                    </a:cubicBezTo>
                    <a:cubicBezTo>
                      <a:pt x="86" y="544"/>
                      <a:pt x="86" y="544"/>
                      <a:pt x="86" y="544"/>
                    </a:cubicBezTo>
                    <a:cubicBezTo>
                      <a:pt x="86" y="544"/>
                      <a:pt x="86" y="550"/>
                      <a:pt x="87" y="552"/>
                    </a:cubicBezTo>
                    <a:cubicBezTo>
                      <a:pt x="88" y="555"/>
                      <a:pt x="91" y="559"/>
                      <a:pt x="91" y="559"/>
                    </a:cubicBezTo>
                    <a:cubicBezTo>
                      <a:pt x="90" y="561"/>
                      <a:pt x="90" y="561"/>
                      <a:pt x="90" y="561"/>
                    </a:cubicBezTo>
                    <a:cubicBezTo>
                      <a:pt x="94" y="562"/>
                      <a:pt x="94" y="562"/>
                      <a:pt x="94" y="562"/>
                    </a:cubicBezTo>
                    <a:cubicBezTo>
                      <a:pt x="95" y="567"/>
                      <a:pt x="95" y="567"/>
                      <a:pt x="95" y="567"/>
                    </a:cubicBezTo>
                    <a:cubicBezTo>
                      <a:pt x="90" y="566"/>
                      <a:pt x="90" y="566"/>
                      <a:pt x="90" y="566"/>
                    </a:cubicBezTo>
                    <a:cubicBezTo>
                      <a:pt x="90" y="569"/>
                      <a:pt x="90" y="569"/>
                      <a:pt x="90" y="569"/>
                    </a:cubicBezTo>
                    <a:cubicBezTo>
                      <a:pt x="93" y="572"/>
                      <a:pt x="93" y="572"/>
                      <a:pt x="93" y="572"/>
                    </a:cubicBezTo>
                    <a:cubicBezTo>
                      <a:pt x="89" y="572"/>
                      <a:pt x="89" y="572"/>
                      <a:pt x="89" y="572"/>
                    </a:cubicBezTo>
                    <a:cubicBezTo>
                      <a:pt x="93" y="577"/>
                      <a:pt x="93" y="577"/>
                      <a:pt x="93" y="577"/>
                    </a:cubicBezTo>
                    <a:cubicBezTo>
                      <a:pt x="90" y="578"/>
                      <a:pt x="90" y="578"/>
                      <a:pt x="90" y="578"/>
                    </a:cubicBezTo>
                    <a:cubicBezTo>
                      <a:pt x="95" y="584"/>
                      <a:pt x="95" y="584"/>
                      <a:pt x="95" y="584"/>
                    </a:cubicBezTo>
                    <a:cubicBezTo>
                      <a:pt x="95" y="584"/>
                      <a:pt x="96" y="588"/>
                      <a:pt x="94" y="591"/>
                    </a:cubicBezTo>
                    <a:cubicBezTo>
                      <a:pt x="91" y="593"/>
                      <a:pt x="95" y="598"/>
                      <a:pt x="95" y="598"/>
                    </a:cubicBezTo>
                    <a:cubicBezTo>
                      <a:pt x="95" y="598"/>
                      <a:pt x="90" y="599"/>
                      <a:pt x="90" y="603"/>
                    </a:cubicBezTo>
                    <a:cubicBezTo>
                      <a:pt x="91" y="607"/>
                      <a:pt x="94" y="610"/>
                      <a:pt x="94" y="610"/>
                    </a:cubicBezTo>
                    <a:cubicBezTo>
                      <a:pt x="91" y="610"/>
                      <a:pt x="91" y="610"/>
                      <a:pt x="91" y="610"/>
                    </a:cubicBezTo>
                    <a:cubicBezTo>
                      <a:pt x="88" y="607"/>
                      <a:pt x="88" y="607"/>
                      <a:pt x="88" y="607"/>
                    </a:cubicBezTo>
                    <a:cubicBezTo>
                      <a:pt x="87" y="613"/>
                      <a:pt x="87" y="613"/>
                      <a:pt x="87" y="613"/>
                    </a:cubicBezTo>
                    <a:cubicBezTo>
                      <a:pt x="95" y="613"/>
                      <a:pt x="95" y="613"/>
                      <a:pt x="95" y="613"/>
                    </a:cubicBezTo>
                    <a:cubicBezTo>
                      <a:pt x="93" y="614"/>
                      <a:pt x="93" y="614"/>
                      <a:pt x="93" y="614"/>
                    </a:cubicBezTo>
                    <a:cubicBezTo>
                      <a:pt x="94" y="619"/>
                      <a:pt x="94" y="619"/>
                      <a:pt x="94" y="619"/>
                    </a:cubicBezTo>
                    <a:cubicBezTo>
                      <a:pt x="97" y="622"/>
                      <a:pt x="97" y="622"/>
                      <a:pt x="97" y="622"/>
                    </a:cubicBezTo>
                    <a:cubicBezTo>
                      <a:pt x="97" y="622"/>
                      <a:pt x="95" y="624"/>
                      <a:pt x="97" y="628"/>
                    </a:cubicBezTo>
                    <a:cubicBezTo>
                      <a:pt x="99" y="632"/>
                      <a:pt x="101" y="632"/>
                      <a:pt x="101" y="632"/>
                    </a:cubicBezTo>
                    <a:cubicBezTo>
                      <a:pt x="104" y="635"/>
                      <a:pt x="104" y="635"/>
                      <a:pt x="104" y="635"/>
                    </a:cubicBezTo>
                    <a:cubicBezTo>
                      <a:pt x="104" y="630"/>
                      <a:pt x="104" y="630"/>
                      <a:pt x="104" y="630"/>
                    </a:cubicBezTo>
                    <a:cubicBezTo>
                      <a:pt x="110" y="626"/>
                      <a:pt x="110" y="626"/>
                      <a:pt x="110" y="626"/>
                    </a:cubicBezTo>
                    <a:cubicBezTo>
                      <a:pt x="110" y="635"/>
                      <a:pt x="110" y="635"/>
                      <a:pt x="110" y="635"/>
                    </a:cubicBezTo>
                    <a:cubicBezTo>
                      <a:pt x="112" y="635"/>
                      <a:pt x="112" y="635"/>
                      <a:pt x="112" y="635"/>
                    </a:cubicBezTo>
                    <a:cubicBezTo>
                      <a:pt x="113" y="631"/>
                      <a:pt x="113" y="631"/>
                      <a:pt x="113" y="631"/>
                    </a:cubicBezTo>
                    <a:cubicBezTo>
                      <a:pt x="118" y="635"/>
                      <a:pt x="118" y="635"/>
                      <a:pt x="118" y="635"/>
                    </a:cubicBezTo>
                    <a:cubicBezTo>
                      <a:pt x="124" y="635"/>
                      <a:pt x="124" y="635"/>
                      <a:pt x="124" y="635"/>
                    </a:cubicBezTo>
                    <a:cubicBezTo>
                      <a:pt x="131" y="638"/>
                      <a:pt x="131" y="638"/>
                      <a:pt x="131" y="638"/>
                    </a:cubicBezTo>
                    <a:cubicBezTo>
                      <a:pt x="137" y="638"/>
                      <a:pt x="137" y="638"/>
                      <a:pt x="137" y="638"/>
                    </a:cubicBezTo>
                    <a:cubicBezTo>
                      <a:pt x="135" y="646"/>
                      <a:pt x="135" y="646"/>
                      <a:pt x="135" y="646"/>
                    </a:cubicBezTo>
                    <a:cubicBezTo>
                      <a:pt x="137" y="648"/>
                      <a:pt x="137" y="648"/>
                      <a:pt x="137" y="648"/>
                    </a:cubicBezTo>
                    <a:cubicBezTo>
                      <a:pt x="144" y="645"/>
                      <a:pt x="144" y="645"/>
                      <a:pt x="144" y="645"/>
                    </a:cubicBezTo>
                    <a:cubicBezTo>
                      <a:pt x="151" y="639"/>
                      <a:pt x="151" y="639"/>
                      <a:pt x="151" y="639"/>
                    </a:cubicBezTo>
                    <a:cubicBezTo>
                      <a:pt x="152" y="640"/>
                      <a:pt x="152" y="640"/>
                      <a:pt x="152" y="640"/>
                    </a:cubicBezTo>
                    <a:cubicBezTo>
                      <a:pt x="149" y="649"/>
                      <a:pt x="149" y="649"/>
                      <a:pt x="149" y="649"/>
                    </a:cubicBezTo>
                    <a:cubicBezTo>
                      <a:pt x="154" y="653"/>
                      <a:pt x="154" y="653"/>
                      <a:pt x="154" y="653"/>
                    </a:cubicBezTo>
                    <a:cubicBezTo>
                      <a:pt x="153" y="657"/>
                      <a:pt x="153" y="657"/>
                      <a:pt x="153" y="657"/>
                    </a:cubicBezTo>
                    <a:cubicBezTo>
                      <a:pt x="157" y="656"/>
                      <a:pt x="157" y="656"/>
                      <a:pt x="157" y="656"/>
                    </a:cubicBezTo>
                    <a:cubicBezTo>
                      <a:pt x="157" y="658"/>
                      <a:pt x="157" y="658"/>
                      <a:pt x="157" y="658"/>
                    </a:cubicBezTo>
                    <a:cubicBezTo>
                      <a:pt x="150" y="664"/>
                      <a:pt x="150" y="664"/>
                      <a:pt x="150" y="664"/>
                    </a:cubicBezTo>
                    <a:cubicBezTo>
                      <a:pt x="151" y="666"/>
                      <a:pt x="151" y="666"/>
                      <a:pt x="151" y="666"/>
                    </a:cubicBezTo>
                    <a:cubicBezTo>
                      <a:pt x="156" y="666"/>
                      <a:pt x="156" y="666"/>
                      <a:pt x="156" y="666"/>
                    </a:cubicBezTo>
                    <a:cubicBezTo>
                      <a:pt x="159" y="662"/>
                      <a:pt x="159" y="662"/>
                      <a:pt x="159" y="662"/>
                    </a:cubicBezTo>
                    <a:cubicBezTo>
                      <a:pt x="159" y="662"/>
                      <a:pt x="161" y="664"/>
                      <a:pt x="161" y="666"/>
                    </a:cubicBezTo>
                    <a:cubicBezTo>
                      <a:pt x="162" y="669"/>
                      <a:pt x="152" y="674"/>
                      <a:pt x="152" y="674"/>
                    </a:cubicBezTo>
                    <a:cubicBezTo>
                      <a:pt x="163" y="671"/>
                      <a:pt x="163" y="671"/>
                      <a:pt x="163" y="671"/>
                    </a:cubicBezTo>
                    <a:cubicBezTo>
                      <a:pt x="171" y="655"/>
                      <a:pt x="171" y="655"/>
                      <a:pt x="171" y="655"/>
                    </a:cubicBezTo>
                    <a:cubicBezTo>
                      <a:pt x="169" y="663"/>
                      <a:pt x="169" y="663"/>
                      <a:pt x="169" y="663"/>
                    </a:cubicBezTo>
                    <a:cubicBezTo>
                      <a:pt x="181" y="660"/>
                      <a:pt x="181" y="660"/>
                      <a:pt x="181" y="660"/>
                    </a:cubicBezTo>
                    <a:cubicBezTo>
                      <a:pt x="189" y="654"/>
                      <a:pt x="189" y="654"/>
                      <a:pt x="189" y="654"/>
                    </a:cubicBezTo>
                    <a:cubicBezTo>
                      <a:pt x="192" y="654"/>
                      <a:pt x="192" y="654"/>
                      <a:pt x="192" y="654"/>
                    </a:cubicBezTo>
                    <a:cubicBezTo>
                      <a:pt x="198" y="649"/>
                      <a:pt x="198" y="649"/>
                      <a:pt x="198" y="649"/>
                    </a:cubicBezTo>
                    <a:cubicBezTo>
                      <a:pt x="201" y="650"/>
                      <a:pt x="201" y="650"/>
                      <a:pt x="201" y="650"/>
                    </a:cubicBezTo>
                    <a:cubicBezTo>
                      <a:pt x="203" y="655"/>
                      <a:pt x="203" y="655"/>
                      <a:pt x="203" y="655"/>
                    </a:cubicBezTo>
                    <a:cubicBezTo>
                      <a:pt x="206" y="653"/>
                      <a:pt x="206" y="653"/>
                      <a:pt x="206" y="653"/>
                    </a:cubicBezTo>
                    <a:cubicBezTo>
                      <a:pt x="206" y="645"/>
                      <a:pt x="206" y="645"/>
                      <a:pt x="206" y="645"/>
                    </a:cubicBezTo>
                    <a:cubicBezTo>
                      <a:pt x="221" y="638"/>
                      <a:pt x="221" y="638"/>
                      <a:pt x="221" y="638"/>
                    </a:cubicBezTo>
                    <a:cubicBezTo>
                      <a:pt x="222" y="635"/>
                      <a:pt x="222" y="635"/>
                      <a:pt x="222" y="635"/>
                    </a:cubicBezTo>
                    <a:cubicBezTo>
                      <a:pt x="235" y="629"/>
                      <a:pt x="235" y="629"/>
                      <a:pt x="235" y="629"/>
                    </a:cubicBezTo>
                    <a:cubicBezTo>
                      <a:pt x="235" y="622"/>
                      <a:pt x="235" y="622"/>
                      <a:pt x="235" y="622"/>
                    </a:cubicBezTo>
                    <a:cubicBezTo>
                      <a:pt x="235" y="622"/>
                      <a:pt x="237" y="628"/>
                      <a:pt x="241" y="628"/>
                    </a:cubicBezTo>
                    <a:cubicBezTo>
                      <a:pt x="244" y="628"/>
                      <a:pt x="248" y="626"/>
                      <a:pt x="248" y="626"/>
                    </a:cubicBezTo>
                    <a:cubicBezTo>
                      <a:pt x="245" y="624"/>
                      <a:pt x="245" y="624"/>
                      <a:pt x="245" y="624"/>
                    </a:cubicBezTo>
                    <a:cubicBezTo>
                      <a:pt x="246" y="620"/>
                      <a:pt x="246" y="620"/>
                      <a:pt x="246" y="620"/>
                    </a:cubicBezTo>
                    <a:cubicBezTo>
                      <a:pt x="251" y="624"/>
                      <a:pt x="251" y="624"/>
                      <a:pt x="251" y="624"/>
                    </a:cubicBezTo>
                    <a:cubicBezTo>
                      <a:pt x="251" y="622"/>
                      <a:pt x="251" y="622"/>
                      <a:pt x="251" y="622"/>
                    </a:cubicBezTo>
                    <a:cubicBezTo>
                      <a:pt x="245" y="613"/>
                      <a:pt x="245" y="613"/>
                      <a:pt x="245" y="613"/>
                    </a:cubicBezTo>
                    <a:cubicBezTo>
                      <a:pt x="245" y="613"/>
                      <a:pt x="254" y="619"/>
                      <a:pt x="260" y="617"/>
                    </a:cubicBezTo>
                    <a:cubicBezTo>
                      <a:pt x="264" y="614"/>
                      <a:pt x="262" y="611"/>
                      <a:pt x="262" y="611"/>
                    </a:cubicBezTo>
                    <a:cubicBezTo>
                      <a:pt x="268" y="610"/>
                      <a:pt x="268" y="610"/>
                      <a:pt x="268" y="610"/>
                    </a:cubicBezTo>
                    <a:cubicBezTo>
                      <a:pt x="273" y="608"/>
                      <a:pt x="273" y="608"/>
                      <a:pt x="273" y="608"/>
                    </a:cubicBezTo>
                    <a:cubicBezTo>
                      <a:pt x="279" y="608"/>
                      <a:pt x="279" y="608"/>
                      <a:pt x="279" y="608"/>
                    </a:cubicBezTo>
                    <a:cubicBezTo>
                      <a:pt x="283" y="602"/>
                      <a:pt x="283" y="602"/>
                      <a:pt x="283" y="602"/>
                    </a:cubicBezTo>
                    <a:cubicBezTo>
                      <a:pt x="293" y="603"/>
                      <a:pt x="293" y="603"/>
                      <a:pt x="293" y="603"/>
                    </a:cubicBezTo>
                    <a:cubicBezTo>
                      <a:pt x="304" y="598"/>
                      <a:pt x="304" y="598"/>
                      <a:pt x="304" y="598"/>
                    </a:cubicBezTo>
                    <a:cubicBezTo>
                      <a:pt x="304" y="597"/>
                      <a:pt x="304" y="597"/>
                      <a:pt x="304" y="597"/>
                    </a:cubicBezTo>
                    <a:cubicBezTo>
                      <a:pt x="312" y="581"/>
                      <a:pt x="312" y="581"/>
                      <a:pt x="312" y="581"/>
                    </a:cubicBezTo>
                    <a:cubicBezTo>
                      <a:pt x="323" y="566"/>
                      <a:pt x="323" y="566"/>
                      <a:pt x="323" y="566"/>
                    </a:cubicBezTo>
                    <a:cubicBezTo>
                      <a:pt x="327" y="563"/>
                      <a:pt x="327" y="563"/>
                      <a:pt x="327" y="563"/>
                    </a:cubicBezTo>
                    <a:cubicBezTo>
                      <a:pt x="328" y="554"/>
                      <a:pt x="328" y="554"/>
                      <a:pt x="328" y="554"/>
                    </a:cubicBezTo>
                    <a:cubicBezTo>
                      <a:pt x="341" y="540"/>
                      <a:pt x="341" y="540"/>
                      <a:pt x="341" y="540"/>
                    </a:cubicBezTo>
                    <a:cubicBezTo>
                      <a:pt x="341" y="540"/>
                      <a:pt x="346" y="527"/>
                      <a:pt x="349" y="521"/>
                    </a:cubicBezTo>
                    <a:cubicBezTo>
                      <a:pt x="352" y="516"/>
                      <a:pt x="360" y="496"/>
                      <a:pt x="363" y="485"/>
                    </a:cubicBezTo>
                    <a:cubicBezTo>
                      <a:pt x="366" y="473"/>
                      <a:pt x="375" y="460"/>
                      <a:pt x="375" y="460"/>
                    </a:cubicBezTo>
                    <a:cubicBezTo>
                      <a:pt x="375" y="460"/>
                      <a:pt x="377" y="456"/>
                      <a:pt x="378" y="452"/>
                    </a:cubicBezTo>
                    <a:cubicBezTo>
                      <a:pt x="380" y="448"/>
                      <a:pt x="382" y="424"/>
                      <a:pt x="382" y="418"/>
                    </a:cubicBezTo>
                    <a:close/>
                    <a:moveTo>
                      <a:pt x="52" y="662"/>
                    </a:moveTo>
                    <a:cubicBezTo>
                      <a:pt x="52" y="658"/>
                      <a:pt x="52" y="658"/>
                      <a:pt x="52" y="658"/>
                    </a:cubicBezTo>
                    <a:cubicBezTo>
                      <a:pt x="54" y="657"/>
                      <a:pt x="54" y="657"/>
                      <a:pt x="54" y="657"/>
                    </a:cubicBezTo>
                    <a:cubicBezTo>
                      <a:pt x="54" y="657"/>
                      <a:pt x="54" y="659"/>
                      <a:pt x="55" y="661"/>
                    </a:cubicBezTo>
                    <a:cubicBezTo>
                      <a:pt x="56" y="662"/>
                      <a:pt x="61" y="660"/>
                      <a:pt x="61" y="660"/>
                    </a:cubicBezTo>
                    <a:cubicBezTo>
                      <a:pt x="60" y="653"/>
                      <a:pt x="60" y="653"/>
                      <a:pt x="60" y="653"/>
                    </a:cubicBezTo>
                    <a:cubicBezTo>
                      <a:pt x="55" y="653"/>
                      <a:pt x="55" y="653"/>
                      <a:pt x="55" y="653"/>
                    </a:cubicBezTo>
                    <a:cubicBezTo>
                      <a:pt x="55" y="650"/>
                      <a:pt x="55" y="650"/>
                      <a:pt x="55" y="650"/>
                    </a:cubicBezTo>
                    <a:cubicBezTo>
                      <a:pt x="51" y="651"/>
                      <a:pt x="51" y="651"/>
                      <a:pt x="51" y="651"/>
                    </a:cubicBezTo>
                    <a:cubicBezTo>
                      <a:pt x="51" y="651"/>
                      <a:pt x="50" y="649"/>
                      <a:pt x="50" y="647"/>
                    </a:cubicBezTo>
                    <a:cubicBezTo>
                      <a:pt x="50" y="646"/>
                      <a:pt x="47" y="644"/>
                      <a:pt x="45" y="648"/>
                    </a:cubicBezTo>
                    <a:cubicBezTo>
                      <a:pt x="45" y="651"/>
                      <a:pt x="45" y="651"/>
                      <a:pt x="45" y="651"/>
                    </a:cubicBezTo>
                    <a:cubicBezTo>
                      <a:pt x="48" y="657"/>
                      <a:pt x="48" y="657"/>
                      <a:pt x="48" y="657"/>
                    </a:cubicBezTo>
                    <a:cubicBezTo>
                      <a:pt x="45" y="659"/>
                      <a:pt x="45" y="659"/>
                      <a:pt x="45" y="659"/>
                    </a:cubicBezTo>
                    <a:cubicBezTo>
                      <a:pt x="44" y="655"/>
                      <a:pt x="44" y="655"/>
                      <a:pt x="44" y="655"/>
                    </a:cubicBezTo>
                    <a:cubicBezTo>
                      <a:pt x="41" y="658"/>
                      <a:pt x="41" y="658"/>
                      <a:pt x="41" y="658"/>
                    </a:cubicBezTo>
                    <a:cubicBezTo>
                      <a:pt x="46" y="669"/>
                      <a:pt x="46" y="669"/>
                      <a:pt x="46" y="669"/>
                    </a:cubicBezTo>
                    <a:cubicBezTo>
                      <a:pt x="50" y="670"/>
                      <a:pt x="50" y="670"/>
                      <a:pt x="50" y="670"/>
                    </a:cubicBezTo>
                    <a:cubicBezTo>
                      <a:pt x="54" y="666"/>
                      <a:pt x="54" y="666"/>
                      <a:pt x="54" y="666"/>
                    </a:cubicBezTo>
                    <a:cubicBezTo>
                      <a:pt x="54" y="662"/>
                      <a:pt x="54" y="662"/>
                      <a:pt x="54" y="662"/>
                    </a:cubicBezTo>
                    <a:lnTo>
                      <a:pt x="52" y="662"/>
                    </a:lnTo>
                    <a:close/>
                    <a:moveTo>
                      <a:pt x="37" y="666"/>
                    </a:moveTo>
                    <a:cubicBezTo>
                      <a:pt x="41" y="664"/>
                      <a:pt x="41" y="664"/>
                      <a:pt x="41" y="664"/>
                    </a:cubicBezTo>
                    <a:cubicBezTo>
                      <a:pt x="39" y="658"/>
                      <a:pt x="39" y="658"/>
                      <a:pt x="39" y="658"/>
                    </a:cubicBezTo>
                    <a:lnTo>
                      <a:pt x="37" y="666"/>
                    </a:lnTo>
                    <a:close/>
                    <a:moveTo>
                      <a:pt x="55" y="670"/>
                    </a:moveTo>
                    <a:cubicBezTo>
                      <a:pt x="61" y="674"/>
                      <a:pt x="61" y="674"/>
                      <a:pt x="61" y="674"/>
                    </a:cubicBezTo>
                    <a:cubicBezTo>
                      <a:pt x="63" y="671"/>
                      <a:pt x="63" y="671"/>
                      <a:pt x="63" y="671"/>
                    </a:cubicBezTo>
                    <a:cubicBezTo>
                      <a:pt x="56" y="667"/>
                      <a:pt x="56" y="667"/>
                      <a:pt x="56" y="667"/>
                    </a:cubicBezTo>
                    <a:lnTo>
                      <a:pt x="55" y="670"/>
                    </a:lnTo>
                    <a:close/>
                    <a:moveTo>
                      <a:pt x="63" y="663"/>
                    </a:moveTo>
                    <a:cubicBezTo>
                      <a:pt x="61" y="664"/>
                      <a:pt x="61" y="667"/>
                      <a:pt x="64" y="667"/>
                    </a:cubicBezTo>
                    <a:cubicBezTo>
                      <a:pt x="66" y="666"/>
                      <a:pt x="66" y="662"/>
                      <a:pt x="63" y="663"/>
                    </a:cubicBezTo>
                    <a:close/>
                    <a:moveTo>
                      <a:pt x="107" y="657"/>
                    </a:moveTo>
                    <a:cubicBezTo>
                      <a:pt x="104" y="657"/>
                      <a:pt x="100" y="662"/>
                      <a:pt x="106" y="661"/>
                    </a:cubicBezTo>
                    <a:cubicBezTo>
                      <a:pt x="106" y="661"/>
                      <a:pt x="111" y="657"/>
                      <a:pt x="107" y="657"/>
                    </a:cubicBezTo>
                    <a:close/>
                    <a:moveTo>
                      <a:pt x="113" y="654"/>
                    </a:moveTo>
                    <a:cubicBezTo>
                      <a:pt x="111" y="655"/>
                      <a:pt x="112" y="657"/>
                      <a:pt x="112" y="657"/>
                    </a:cubicBezTo>
                    <a:cubicBezTo>
                      <a:pt x="110" y="659"/>
                      <a:pt x="110" y="659"/>
                      <a:pt x="110" y="659"/>
                    </a:cubicBezTo>
                    <a:cubicBezTo>
                      <a:pt x="111" y="660"/>
                      <a:pt x="111" y="660"/>
                      <a:pt x="111" y="660"/>
                    </a:cubicBezTo>
                    <a:cubicBezTo>
                      <a:pt x="117" y="655"/>
                      <a:pt x="117" y="655"/>
                      <a:pt x="117" y="655"/>
                    </a:cubicBezTo>
                    <a:cubicBezTo>
                      <a:pt x="117" y="655"/>
                      <a:pt x="115" y="653"/>
                      <a:pt x="113" y="654"/>
                    </a:cubicBezTo>
                    <a:close/>
                    <a:moveTo>
                      <a:pt x="119" y="654"/>
                    </a:moveTo>
                    <a:cubicBezTo>
                      <a:pt x="120" y="657"/>
                      <a:pt x="120" y="657"/>
                      <a:pt x="120" y="657"/>
                    </a:cubicBezTo>
                    <a:cubicBezTo>
                      <a:pt x="122" y="656"/>
                      <a:pt x="122" y="656"/>
                      <a:pt x="122" y="656"/>
                    </a:cubicBezTo>
                    <a:cubicBezTo>
                      <a:pt x="122" y="654"/>
                      <a:pt x="122" y="654"/>
                      <a:pt x="122" y="654"/>
                    </a:cubicBezTo>
                    <a:lnTo>
                      <a:pt x="119" y="654"/>
                    </a:lnTo>
                    <a:close/>
                    <a:moveTo>
                      <a:pt x="148" y="643"/>
                    </a:moveTo>
                    <a:cubicBezTo>
                      <a:pt x="146" y="647"/>
                      <a:pt x="146" y="647"/>
                      <a:pt x="146" y="647"/>
                    </a:cubicBezTo>
                    <a:cubicBezTo>
                      <a:pt x="142" y="648"/>
                      <a:pt x="142" y="648"/>
                      <a:pt x="142" y="648"/>
                    </a:cubicBezTo>
                    <a:cubicBezTo>
                      <a:pt x="139" y="650"/>
                      <a:pt x="139" y="650"/>
                      <a:pt x="139" y="650"/>
                    </a:cubicBezTo>
                    <a:cubicBezTo>
                      <a:pt x="134" y="651"/>
                      <a:pt x="134" y="651"/>
                      <a:pt x="134" y="651"/>
                    </a:cubicBezTo>
                    <a:cubicBezTo>
                      <a:pt x="133" y="655"/>
                      <a:pt x="133" y="655"/>
                      <a:pt x="133" y="655"/>
                    </a:cubicBezTo>
                    <a:cubicBezTo>
                      <a:pt x="136" y="655"/>
                      <a:pt x="136" y="655"/>
                      <a:pt x="136" y="655"/>
                    </a:cubicBezTo>
                    <a:cubicBezTo>
                      <a:pt x="133" y="659"/>
                      <a:pt x="133" y="659"/>
                      <a:pt x="133" y="659"/>
                    </a:cubicBezTo>
                    <a:cubicBezTo>
                      <a:pt x="133" y="664"/>
                      <a:pt x="133" y="664"/>
                      <a:pt x="133" y="664"/>
                    </a:cubicBezTo>
                    <a:cubicBezTo>
                      <a:pt x="139" y="661"/>
                      <a:pt x="139" y="661"/>
                      <a:pt x="139" y="661"/>
                    </a:cubicBezTo>
                    <a:cubicBezTo>
                      <a:pt x="145" y="661"/>
                      <a:pt x="145" y="661"/>
                      <a:pt x="145" y="661"/>
                    </a:cubicBezTo>
                    <a:cubicBezTo>
                      <a:pt x="149" y="654"/>
                      <a:pt x="149" y="654"/>
                      <a:pt x="149" y="654"/>
                    </a:cubicBezTo>
                    <a:cubicBezTo>
                      <a:pt x="147" y="649"/>
                      <a:pt x="147" y="649"/>
                      <a:pt x="147" y="649"/>
                    </a:cubicBezTo>
                    <a:cubicBezTo>
                      <a:pt x="149" y="644"/>
                      <a:pt x="149" y="644"/>
                      <a:pt x="149" y="644"/>
                    </a:cubicBezTo>
                    <a:lnTo>
                      <a:pt x="148" y="643"/>
                    </a:lnTo>
                    <a:close/>
                    <a:moveTo>
                      <a:pt x="111" y="639"/>
                    </a:moveTo>
                    <a:cubicBezTo>
                      <a:pt x="112" y="640"/>
                      <a:pt x="112" y="640"/>
                      <a:pt x="112" y="640"/>
                    </a:cubicBezTo>
                    <a:cubicBezTo>
                      <a:pt x="110" y="643"/>
                      <a:pt x="110" y="643"/>
                      <a:pt x="110" y="643"/>
                    </a:cubicBezTo>
                    <a:cubicBezTo>
                      <a:pt x="112" y="643"/>
                      <a:pt x="112" y="643"/>
                      <a:pt x="112" y="643"/>
                    </a:cubicBezTo>
                    <a:cubicBezTo>
                      <a:pt x="114" y="642"/>
                      <a:pt x="114" y="642"/>
                      <a:pt x="114" y="642"/>
                    </a:cubicBezTo>
                    <a:cubicBezTo>
                      <a:pt x="117" y="644"/>
                      <a:pt x="117" y="644"/>
                      <a:pt x="117" y="644"/>
                    </a:cubicBezTo>
                    <a:cubicBezTo>
                      <a:pt x="118" y="641"/>
                      <a:pt x="118" y="641"/>
                      <a:pt x="118" y="641"/>
                    </a:cubicBezTo>
                    <a:cubicBezTo>
                      <a:pt x="113" y="638"/>
                      <a:pt x="113" y="638"/>
                      <a:pt x="113" y="638"/>
                    </a:cubicBezTo>
                    <a:lnTo>
                      <a:pt x="111" y="639"/>
                    </a:lnTo>
                    <a:close/>
                    <a:moveTo>
                      <a:pt x="99" y="634"/>
                    </a:moveTo>
                    <a:cubicBezTo>
                      <a:pt x="95" y="631"/>
                      <a:pt x="94" y="630"/>
                      <a:pt x="95" y="632"/>
                    </a:cubicBezTo>
                    <a:cubicBezTo>
                      <a:pt x="97" y="637"/>
                      <a:pt x="97" y="637"/>
                      <a:pt x="97" y="637"/>
                    </a:cubicBezTo>
                    <a:cubicBezTo>
                      <a:pt x="102" y="637"/>
                      <a:pt x="102" y="637"/>
                      <a:pt x="99" y="634"/>
                    </a:cubicBezTo>
                    <a:close/>
                    <a:moveTo>
                      <a:pt x="90" y="628"/>
                    </a:moveTo>
                    <a:cubicBezTo>
                      <a:pt x="93" y="631"/>
                      <a:pt x="93" y="631"/>
                      <a:pt x="93" y="631"/>
                    </a:cubicBezTo>
                    <a:cubicBezTo>
                      <a:pt x="94" y="628"/>
                      <a:pt x="94" y="628"/>
                      <a:pt x="94" y="628"/>
                    </a:cubicBezTo>
                    <a:cubicBezTo>
                      <a:pt x="91" y="627"/>
                      <a:pt x="91" y="627"/>
                      <a:pt x="91" y="627"/>
                    </a:cubicBezTo>
                    <a:lnTo>
                      <a:pt x="90" y="628"/>
                    </a:lnTo>
                    <a:close/>
                    <a:moveTo>
                      <a:pt x="175" y="667"/>
                    </a:moveTo>
                    <a:cubicBezTo>
                      <a:pt x="175" y="664"/>
                      <a:pt x="175" y="664"/>
                      <a:pt x="175" y="664"/>
                    </a:cubicBezTo>
                    <a:cubicBezTo>
                      <a:pt x="170" y="666"/>
                      <a:pt x="170" y="666"/>
                      <a:pt x="170" y="666"/>
                    </a:cubicBezTo>
                    <a:lnTo>
                      <a:pt x="175" y="667"/>
                    </a:lnTo>
                    <a:close/>
                    <a:moveTo>
                      <a:pt x="74" y="466"/>
                    </a:moveTo>
                    <a:cubicBezTo>
                      <a:pt x="72" y="462"/>
                      <a:pt x="72" y="462"/>
                      <a:pt x="72" y="462"/>
                    </a:cubicBezTo>
                    <a:cubicBezTo>
                      <a:pt x="72" y="462"/>
                      <a:pt x="69" y="464"/>
                      <a:pt x="68" y="464"/>
                    </a:cubicBezTo>
                    <a:cubicBezTo>
                      <a:pt x="66" y="464"/>
                      <a:pt x="67" y="461"/>
                      <a:pt x="67" y="461"/>
                    </a:cubicBezTo>
                    <a:cubicBezTo>
                      <a:pt x="66" y="459"/>
                      <a:pt x="66" y="459"/>
                      <a:pt x="66" y="459"/>
                    </a:cubicBezTo>
                    <a:cubicBezTo>
                      <a:pt x="62" y="461"/>
                      <a:pt x="62" y="461"/>
                      <a:pt x="62" y="461"/>
                    </a:cubicBezTo>
                    <a:cubicBezTo>
                      <a:pt x="66" y="468"/>
                      <a:pt x="66" y="468"/>
                      <a:pt x="66" y="468"/>
                    </a:cubicBezTo>
                    <a:cubicBezTo>
                      <a:pt x="71" y="469"/>
                      <a:pt x="74" y="466"/>
                      <a:pt x="74" y="466"/>
                    </a:cubicBezTo>
                    <a:close/>
                    <a:moveTo>
                      <a:pt x="72" y="456"/>
                    </a:moveTo>
                    <a:cubicBezTo>
                      <a:pt x="67" y="457"/>
                      <a:pt x="67" y="457"/>
                      <a:pt x="67" y="457"/>
                    </a:cubicBezTo>
                    <a:cubicBezTo>
                      <a:pt x="70" y="460"/>
                      <a:pt x="70" y="460"/>
                      <a:pt x="70" y="460"/>
                    </a:cubicBezTo>
                    <a:lnTo>
                      <a:pt x="72" y="456"/>
                    </a:lnTo>
                    <a:close/>
                    <a:moveTo>
                      <a:pt x="93" y="452"/>
                    </a:moveTo>
                    <a:cubicBezTo>
                      <a:pt x="90" y="456"/>
                      <a:pt x="90" y="456"/>
                      <a:pt x="90" y="456"/>
                    </a:cubicBezTo>
                    <a:cubicBezTo>
                      <a:pt x="94" y="456"/>
                      <a:pt x="94" y="456"/>
                      <a:pt x="94" y="456"/>
                    </a:cubicBezTo>
                    <a:cubicBezTo>
                      <a:pt x="97" y="454"/>
                      <a:pt x="97" y="454"/>
                      <a:pt x="97" y="454"/>
                    </a:cubicBezTo>
                    <a:lnTo>
                      <a:pt x="93" y="452"/>
                    </a:lnTo>
                    <a:close/>
                    <a:moveTo>
                      <a:pt x="157" y="329"/>
                    </a:moveTo>
                    <a:cubicBezTo>
                      <a:pt x="153" y="331"/>
                      <a:pt x="153" y="331"/>
                      <a:pt x="153" y="331"/>
                    </a:cubicBezTo>
                    <a:cubicBezTo>
                      <a:pt x="152" y="328"/>
                      <a:pt x="152" y="328"/>
                      <a:pt x="152" y="328"/>
                    </a:cubicBezTo>
                    <a:cubicBezTo>
                      <a:pt x="145" y="331"/>
                      <a:pt x="145" y="331"/>
                      <a:pt x="145" y="331"/>
                    </a:cubicBezTo>
                    <a:cubicBezTo>
                      <a:pt x="145" y="335"/>
                      <a:pt x="145" y="335"/>
                      <a:pt x="145" y="335"/>
                    </a:cubicBezTo>
                    <a:cubicBezTo>
                      <a:pt x="145" y="336"/>
                      <a:pt x="147" y="338"/>
                      <a:pt x="147" y="338"/>
                    </a:cubicBezTo>
                    <a:cubicBezTo>
                      <a:pt x="153" y="336"/>
                      <a:pt x="153" y="336"/>
                      <a:pt x="153" y="336"/>
                    </a:cubicBezTo>
                    <a:cubicBezTo>
                      <a:pt x="152" y="332"/>
                      <a:pt x="152" y="332"/>
                      <a:pt x="152" y="332"/>
                    </a:cubicBezTo>
                    <a:cubicBezTo>
                      <a:pt x="157" y="331"/>
                      <a:pt x="157" y="331"/>
                      <a:pt x="157" y="331"/>
                    </a:cubicBezTo>
                    <a:lnTo>
                      <a:pt x="157" y="329"/>
                    </a:lnTo>
                    <a:close/>
                    <a:moveTo>
                      <a:pt x="244" y="634"/>
                    </a:moveTo>
                    <a:cubicBezTo>
                      <a:pt x="247" y="630"/>
                      <a:pt x="247" y="630"/>
                      <a:pt x="247" y="630"/>
                    </a:cubicBezTo>
                    <a:cubicBezTo>
                      <a:pt x="243" y="631"/>
                      <a:pt x="243" y="631"/>
                      <a:pt x="243" y="631"/>
                    </a:cubicBezTo>
                    <a:lnTo>
                      <a:pt x="244" y="634"/>
                    </a:lnTo>
                    <a:close/>
                    <a:moveTo>
                      <a:pt x="260" y="618"/>
                    </a:moveTo>
                    <a:cubicBezTo>
                      <a:pt x="265" y="619"/>
                      <a:pt x="265" y="619"/>
                      <a:pt x="265" y="619"/>
                    </a:cubicBezTo>
                    <a:cubicBezTo>
                      <a:pt x="263" y="616"/>
                      <a:pt x="263" y="616"/>
                      <a:pt x="263" y="616"/>
                    </a:cubicBezTo>
                    <a:lnTo>
                      <a:pt x="260" y="618"/>
                    </a:lnTo>
                    <a:close/>
                    <a:moveTo>
                      <a:pt x="265" y="614"/>
                    </a:moveTo>
                    <a:cubicBezTo>
                      <a:pt x="267" y="617"/>
                      <a:pt x="267" y="617"/>
                      <a:pt x="267" y="617"/>
                    </a:cubicBezTo>
                    <a:cubicBezTo>
                      <a:pt x="271" y="615"/>
                      <a:pt x="271" y="615"/>
                      <a:pt x="271" y="615"/>
                    </a:cubicBezTo>
                    <a:cubicBezTo>
                      <a:pt x="270" y="613"/>
                      <a:pt x="270" y="613"/>
                      <a:pt x="270" y="613"/>
                    </a:cubicBezTo>
                    <a:lnTo>
                      <a:pt x="265" y="614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241" name="Faroe Islands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3732213" y="2273300"/>
                <a:ext cx="109537" cy="131762"/>
              </a:xfrm>
              <a:custGeom>
                <a:avLst/>
                <a:gdLst/>
                <a:ahLst/>
                <a:cxnLst>
                  <a:cxn ang="0">
                    <a:pos x="7" y="13"/>
                  </a:cxn>
                  <a:cxn ang="0">
                    <a:pos x="0" y="11"/>
                  </a:cxn>
                  <a:cxn ang="0">
                    <a:pos x="32" y="30"/>
                  </a:cxn>
                  <a:cxn ang="0">
                    <a:pos x="29" y="30"/>
                  </a:cxn>
                  <a:cxn ang="0">
                    <a:pos x="21" y="22"/>
                  </a:cxn>
                  <a:cxn ang="0">
                    <a:pos x="21" y="26"/>
                  </a:cxn>
                  <a:cxn ang="0">
                    <a:pos x="19" y="40"/>
                  </a:cxn>
                  <a:cxn ang="0">
                    <a:pos x="21" y="37"/>
                  </a:cxn>
                  <a:cxn ang="0">
                    <a:pos x="20" y="30"/>
                  </a:cxn>
                  <a:cxn ang="0">
                    <a:pos x="23" y="34"/>
                  </a:cxn>
                  <a:cxn ang="0">
                    <a:pos x="28" y="36"/>
                  </a:cxn>
                  <a:cxn ang="0">
                    <a:pos x="20" y="30"/>
                  </a:cxn>
                  <a:cxn ang="0">
                    <a:pos x="19" y="16"/>
                  </a:cxn>
                  <a:cxn ang="0">
                    <a:pos x="14" y="13"/>
                  </a:cxn>
                  <a:cxn ang="0">
                    <a:pos x="10" y="11"/>
                  </a:cxn>
                  <a:cxn ang="0">
                    <a:pos x="11" y="17"/>
                  </a:cxn>
                  <a:cxn ang="0">
                    <a:pos x="27" y="21"/>
                  </a:cxn>
                  <a:cxn ang="0">
                    <a:pos x="23" y="11"/>
                  </a:cxn>
                  <a:cxn ang="0">
                    <a:pos x="19" y="6"/>
                  </a:cxn>
                  <a:cxn ang="0">
                    <a:pos x="22" y="16"/>
                  </a:cxn>
                  <a:cxn ang="0">
                    <a:pos x="27" y="30"/>
                  </a:cxn>
                  <a:cxn ang="0">
                    <a:pos x="27" y="21"/>
                  </a:cxn>
                  <a:cxn ang="0">
                    <a:pos x="28" y="15"/>
                  </a:cxn>
                  <a:cxn ang="0">
                    <a:pos x="30" y="16"/>
                  </a:cxn>
                  <a:cxn ang="0">
                    <a:pos x="34" y="14"/>
                  </a:cxn>
                  <a:cxn ang="0">
                    <a:pos x="32" y="9"/>
                  </a:cxn>
                  <a:cxn ang="0">
                    <a:pos x="28" y="6"/>
                  </a:cxn>
                  <a:cxn ang="0">
                    <a:pos x="29" y="2"/>
                  </a:cxn>
                  <a:cxn ang="0">
                    <a:pos x="24" y="10"/>
                  </a:cxn>
                  <a:cxn ang="0">
                    <a:pos x="31" y="14"/>
                  </a:cxn>
                  <a:cxn ang="0">
                    <a:pos x="30" y="20"/>
                  </a:cxn>
                  <a:cxn ang="0">
                    <a:pos x="35" y="18"/>
                  </a:cxn>
                  <a:cxn ang="0">
                    <a:pos x="31" y="14"/>
                  </a:cxn>
                  <a:cxn ang="0">
                    <a:pos x="38" y="10"/>
                  </a:cxn>
                  <a:cxn ang="0">
                    <a:pos x="37" y="14"/>
                  </a:cxn>
                  <a:cxn ang="0">
                    <a:pos x="42" y="13"/>
                  </a:cxn>
                  <a:cxn ang="0">
                    <a:pos x="38" y="5"/>
                  </a:cxn>
                  <a:cxn ang="0">
                    <a:pos x="44" y="9"/>
                  </a:cxn>
                  <a:cxn ang="0">
                    <a:pos x="42" y="1"/>
                  </a:cxn>
                  <a:cxn ang="0">
                    <a:pos x="38" y="1"/>
                  </a:cxn>
                  <a:cxn ang="0">
                    <a:pos x="36" y="8"/>
                  </a:cxn>
                  <a:cxn ang="0">
                    <a:pos x="38" y="1"/>
                  </a:cxn>
                  <a:cxn ang="0">
                    <a:pos x="32" y="2"/>
                  </a:cxn>
                  <a:cxn ang="0">
                    <a:pos x="34" y="2"/>
                  </a:cxn>
                  <a:cxn ang="0">
                    <a:pos x="45" y="14"/>
                  </a:cxn>
                  <a:cxn ang="0">
                    <a:pos x="47" y="11"/>
                  </a:cxn>
                  <a:cxn ang="0">
                    <a:pos x="48" y="9"/>
                  </a:cxn>
                  <a:cxn ang="0">
                    <a:pos x="48" y="5"/>
                  </a:cxn>
                  <a:cxn ang="0">
                    <a:pos x="48" y="5"/>
                  </a:cxn>
                  <a:cxn ang="0">
                    <a:pos x="16" y="49"/>
                  </a:cxn>
                  <a:cxn ang="0">
                    <a:pos x="14" y="45"/>
                  </a:cxn>
                  <a:cxn ang="0">
                    <a:pos x="13" y="55"/>
                  </a:cxn>
                  <a:cxn ang="0">
                    <a:pos x="18" y="62"/>
                  </a:cxn>
                  <a:cxn ang="0">
                    <a:pos x="17" y="57"/>
                  </a:cxn>
                  <a:cxn ang="0">
                    <a:pos x="19" y="53"/>
                  </a:cxn>
                </a:cxnLst>
                <a:rect l="0" t="0" r="r" b="b"/>
                <a:pathLst>
                  <a:path w="51" h="62">
                    <a:moveTo>
                      <a:pt x="0" y="11"/>
                    </a:moveTo>
                    <a:cubicBezTo>
                      <a:pt x="7" y="13"/>
                      <a:pt x="7" y="13"/>
                      <a:pt x="7" y="13"/>
                    </a:cubicBezTo>
                    <a:cubicBezTo>
                      <a:pt x="6" y="10"/>
                      <a:pt x="6" y="10"/>
                      <a:pt x="6" y="10"/>
                    </a:cubicBezTo>
                    <a:lnTo>
                      <a:pt x="0" y="11"/>
                    </a:lnTo>
                    <a:close/>
                    <a:moveTo>
                      <a:pt x="29" y="30"/>
                    </a:moveTo>
                    <a:cubicBezTo>
                      <a:pt x="32" y="30"/>
                      <a:pt x="32" y="30"/>
                      <a:pt x="32" y="30"/>
                    </a:cubicBezTo>
                    <a:cubicBezTo>
                      <a:pt x="30" y="24"/>
                      <a:pt x="30" y="24"/>
                      <a:pt x="30" y="24"/>
                    </a:cubicBezTo>
                    <a:lnTo>
                      <a:pt x="29" y="30"/>
                    </a:lnTo>
                    <a:close/>
                    <a:moveTo>
                      <a:pt x="22" y="27"/>
                    </a:moveTo>
                    <a:cubicBezTo>
                      <a:pt x="21" y="22"/>
                      <a:pt x="21" y="22"/>
                      <a:pt x="21" y="22"/>
                    </a:cubicBezTo>
                    <a:cubicBezTo>
                      <a:pt x="19" y="23"/>
                      <a:pt x="19" y="23"/>
                      <a:pt x="19" y="23"/>
                    </a:cubicBezTo>
                    <a:cubicBezTo>
                      <a:pt x="21" y="26"/>
                      <a:pt x="21" y="26"/>
                      <a:pt x="21" y="26"/>
                    </a:cubicBezTo>
                    <a:lnTo>
                      <a:pt x="22" y="27"/>
                    </a:lnTo>
                    <a:close/>
                    <a:moveTo>
                      <a:pt x="19" y="40"/>
                    </a:moveTo>
                    <a:cubicBezTo>
                      <a:pt x="21" y="39"/>
                      <a:pt x="21" y="39"/>
                      <a:pt x="21" y="39"/>
                    </a:cubicBezTo>
                    <a:cubicBezTo>
                      <a:pt x="21" y="37"/>
                      <a:pt x="21" y="37"/>
                      <a:pt x="21" y="37"/>
                    </a:cubicBezTo>
                    <a:lnTo>
                      <a:pt x="19" y="40"/>
                    </a:lnTo>
                    <a:close/>
                    <a:moveTo>
                      <a:pt x="20" y="30"/>
                    </a:moveTo>
                    <a:cubicBezTo>
                      <a:pt x="20" y="34"/>
                      <a:pt x="20" y="34"/>
                      <a:pt x="20" y="34"/>
                    </a:cubicBezTo>
                    <a:cubicBezTo>
                      <a:pt x="23" y="34"/>
                      <a:pt x="23" y="34"/>
                      <a:pt x="23" y="34"/>
                    </a:cubicBezTo>
                    <a:cubicBezTo>
                      <a:pt x="24" y="40"/>
                      <a:pt x="24" y="40"/>
                      <a:pt x="24" y="40"/>
                    </a:cubicBezTo>
                    <a:cubicBezTo>
                      <a:pt x="28" y="36"/>
                      <a:pt x="28" y="36"/>
                      <a:pt x="28" y="36"/>
                    </a:cubicBezTo>
                    <a:cubicBezTo>
                      <a:pt x="28" y="36"/>
                      <a:pt x="27" y="34"/>
                      <a:pt x="24" y="32"/>
                    </a:cubicBezTo>
                    <a:cubicBezTo>
                      <a:pt x="23" y="31"/>
                      <a:pt x="20" y="30"/>
                      <a:pt x="20" y="30"/>
                    </a:cubicBezTo>
                    <a:close/>
                    <a:moveTo>
                      <a:pt x="15" y="20"/>
                    </a:moveTo>
                    <a:cubicBezTo>
                      <a:pt x="18" y="19"/>
                      <a:pt x="19" y="16"/>
                      <a:pt x="19" y="16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4" y="13"/>
                      <a:pt x="14" y="13"/>
                      <a:pt x="14" y="13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10" y="11"/>
                      <a:pt x="10" y="11"/>
                      <a:pt x="10" y="11"/>
                    </a:cubicBezTo>
                    <a:cubicBezTo>
                      <a:pt x="10" y="11"/>
                      <a:pt x="12" y="13"/>
                      <a:pt x="11" y="14"/>
                    </a:cubicBezTo>
                    <a:cubicBezTo>
                      <a:pt x="11" y="17"/>
                      <a:pt x="11" y="17"/>
                      <a:pt x="11" y="17"/>
                    </a:cubicBezTo>
                    <a:cubicBezTo>
                      <a:pt x="11" y="17"/>
                      <a:pt x="12" y="20"/>
                      <a:pt x="15" y="20"/>
                    </a:cubicBezTo>
                    <a:close/>
                    <a:moveTo>
                      <a:pt x="27" y="21"/>
                    </a:moveTo>
                    <a:cubicBezTo>
                      <a:pt x="27" y="21"/>
                      <a:pt x="28" y="19"/>
                      <a:pt x="27" y="18"/>
                    </a:cubicBezTo>
                    <a:cubicBezTo>
                      <a:pt x="26" y="17"/>
                      <a:pt x="23" y="11"/>
                      <a:pt x="23" y="11"/>
                    </a:cubicBezTo>
                    <a:cubicBezTo>
                      <a:pt x="23" y="11"/>
                      <a:pt x="23" y="3"/>
                      <a:pt x="21" y="3"/>
                    </a:cubicBezTo>
                    <a:cubicBezTo>
                      <a:pt x="20" y="3"/>
                      <a:pt x="19" y="6"/>
                      <a:pt x="19" y="6"/>
                    </a:cubicBezTo>
                    <a:cubicBezTo>
                      <a:pt x="18" y="10"/>
                      <a:pt x="18" y="10"/>
                      <a:pt x="18" y="10"/>
                    </a:cubicBezTo>
                    <a:cubicBezTo>
                      <a:pt x="19" y="14"/>
                      <a:pt x="22" y="13"/>
                      <a:pt x="22" y="16"/>
                    </a:cubicBezTo>
                    <a:cubicBezTo>
                      <a:pt x="22" y="19"/>
                      <a:pt x="23" y="25"/>
                      <a:pt x="24" y="26"/>
                    </a:cubicBezTo>
                    <a:cubicBezTo>
                      <a:pt x="26" y="26"/>
                      <a:pt x="27" y="30"/>
                      <a:pt x="27" y="30"/>
                    </a:cubicBezTo>
                    <a:cubicBezTo>
                      <a:pt x="27" y="30"/>
                      <a:pt x="29" y="26"/>
                      <a:pt x="29" y="24"/>
                    </a:cubicBezTo>
                    <a:cubicBezTo>
                      <a:pt x="28" y="22"/>
                      <a:pt x="27" y="21"/>
                      <a:pt x="27" y="21"/>
                    </a:cubicBezTo>
                    <a:close/>
                    <a:moveTo>
                      <a:pt x="28" y="13"/>
                    </a:moveTo>
                    <a:cubicBezTo>
                      <a:pt x="28" y="15"/>
                      <a:pt x="28" y="15"/>
                      <a:pt x="28" y="15"/>
                    </a:cubicBezTo>
                    <a:cubicBezTo>
                      <a:pt x="30" y="18"/>
                      <a:pt x="30" y="18"/>
                      <a:pt x="30" y="18"/>
                    </a:cubicBezTo>
                    <a:cubicBezTo>
                      <a:pt x="30" y="16"/>
                      <a:pt x="30" y="16"/>
                      <a:pt x="30" y="16"/>
                    </a:cubicBezTo>
                    <a:cubicBezTo>
                      <a:pt x="30" y="14"/>
                      <a:pt x="30" y="14"/>
                      <a:pt x="30" y="14"/>
                    </a:cubicBezTo>
                    <a:cubicBezTo>
                      <a:pt x="34" y="14"/>
                      <a:pt x="34" y="14"/>
                      <a:pt x="34" y="14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32" y="9"/>
                      <a:pt x="32" y="9"/>
                      <a:pt x="32" y="9"/>
                    </a:cubicBezTo>
                    <a:cubicBezTo>
                      <a:pt x="30" y="6"/>
                      <a:pt x="30" y="6"/>
                      <a:pt x="30" y="6"/>
                    </a:cubicBezTo>
                    <a:cubicBezTo>
                      <a:pt x="28" y="6"/>
                      <a:pt x="28" y="6"/>
                      <a:pt x="28" y="6"/>
                    </a:cubicBezTo>
                    <a:cubicBezTo>
                      <a:pt x="29" y="4"/>
                      <a:pt x="29" y="4"/>
                      <a:pt x="29" y="4"/>
                    </a:cubicBezTo>
                    <a:cubicBezTo>
                      <a:pt x="29" y="2"/>
                      <a:pt x="29" y="2"/>
                      <a:pt x="29" y="2"/>
                    </a:cubicBezTo>
                    <a:cubicBezTo>
                      <a:pt x="24" y="2"/>
                      <a:pt x="24" y="2"/>
                      <a:pt x="24" y="2"/>
                    </a:cubicBezTo>
                    <a:cubicBezTo>
                      <a:pt x="24" y="10"/>
                      <a:pt x="24" y="10"/>
                      <a:pt x="24" y="10"/>
                    </a:cubicBezTo>
                    <a:lnTo>
                      <a:pt x="28" y="13"/>
                    </a:lnTo>
                    <a:close/>
                    <a:moveTo>
                      <a:pt x="31" y="14"/>
                    </a:moveTo>
                    <a:cubicBezTo>
                      <a:pt x="32" y="17"/>
                      <a:pt x="32" y="17"/>
                      <a:pt x="32" y="17"/>
                    </a:cubicBezTo>
                    <a:cubicBezTo>
                      <a:pt x="30" y="20"/>
                      <a:pt x="30" y="20"/>
                      <a:pt x="30" y="20"/>
                    </a:cubicBezTo>
                    <a:cubicBezTo>
                      <a:pt x="32" y="21"/>
                      <a:pt x="32" y="21"/>
                      <a:pt x="32" y="21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3" y="15"/>
                      <a:pt x="33" y="15"/>
                      <a:pt x="33" y="15"/>
                    </a:cubicBezTo>
                    <a:lnTo>
                      <a:pt x="31" y="14"/>
                    </a:lnTo>
                    <a:close/>
                    <a:moveTo>
                      <a:pt x="38" y="5"/>
                    </a:moveTo>
                    <a:cubicBezTo>
                      <a:pt x="38" y="10"/>
                      <a:pt x="38" y="10"/>
                      <a:pt x="38" y="10"/>
                    </a:cubicBezTo>
                    <a:cubicBezTo>
                      <a:pt x="37" y="11"/>
                      <a:pt x="37" y="11"/>
                      <a:pt x="37" y="11"/>
                    </a:cubicBezTo>
                    <a:cubicBezTo>
                      <a:pt x="37" y="14"/>
                      <a:pt x="37" y="14"/>
                      <a:pt x="37" y="14"/>
                    </a:cubicBezTo>
                    <a:cubicBezTo>
                      <a:pt x="40" y="16"/>
                      <a:pt x="40" y="16"/>
                      <a:pt x="40" y="16"/>
                    </a:cubicBezTo>
                    <a:cubicBezTo>
                      <a:pt x="42" y="13"/>
                      <a:pt x="42" y="13"/>
                      <a:pt x="42" y="13"/>
                    </a:cubicBezTo>
                    <a:cubicBezTo>
                      <a:pt x="39" y="5"/>
                      <a:pt x="39" y="5"/>
                      <a:pt x="39" y="5"/>
                    </a:cubicBezTo>
                    <a:lnTo>
                      <a:pt x="38" y="5"/>
                    </a:lnTo>
                    <a:close/>
                    <a:moveTo>
                      <a:pt x="43" y="8"/>
                    </a:moveTo>
                    <a:cubicBezTo>
                      <a:pt x="44" y="9"/>
                      <a:pt x="44" y="9"/>
                      <a:pt x="44" y="9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42" y="1"/>
                      <a:pt x="42" y="1"/>
                      <a:pt x="42" y="1"/>
                    </a:cubicBezTo>
                    <a:lnTo>
                      <a:pt x="43" y="8"/>
                    </a:lnTo>
                    <a:close/>
                    <a:moveTo>
                      <a:pt x="38" y="1"/>
                    </a:moveTo>
                    <a:cubicBezTo>
                      <a:pt x="36" y="2"/>
                      <a:pt x="36" y="2"/>
                      <a:pt x="36" y="2"/>
                    </a:cubicBezTo>
                    <a:cubicBezTo>
                      <a:pt x="36" y="8"/>
                      <a:pt x="36" y="8"/>
                      <a:pt x="36" y="8"/>
                    </a:cubicBezTo>
                    <a:cubicBezTo>
                      <a:pt x="37" y="8"/>
                      <a:pt x="37" y="8"/>
                      <a:pt x="37" y="8"/>
                    </a:cubicBezTo>
                    <a:lnTo>
                      <a:pt x="38" y="1"/>
                    </a:lnTo>
                    <a:close/>
                    <a:moveTo>
                      <a:pt x="34" y="2"/>
                    </a:moveTo>
                    <a:cubicBezTo>
                      <a:pt x="32" y="2"/>
                      <a:pt x="32" y="2"/>
                      <a:pt x="32" y="2"/>
                    </a:cubicBezTo>
                    <a:cubicBezTo>
                      <a:pt x="34" y="9"/>
                      <a:pt x="34" y="9"/>
                      <a:pt x="34" y="9"/>
                    </a:cubicBezTo>
                    <a:lnTo>
                      <a:pt x="34" y="2"/>
                    </a:lnTo>
                    <a:close/>
                    <a:moveTo>
                      <a:pt x="45" y="11"/>
                    </a:moveTo>
                    <a:cubicBezTo>
                      <a:pt x="45" y="14"/>
                      <a:pt x="45" y="14"/>
                      <a:pt x="45" y="14"/>
                    </a:cubicBezTo>
                    <a:cubicBezTo>
                      <a:pt x="47" y="15"/>
                      <a:pt x="47" y="15"/>
                      <a:pt x="47" y="15"/>
                    </a:cubicBezTo>
                    <a:cubicBezTo>
                      <a:pt x="47" y="11"/>
                      <a:pt x="47" y="11"/>
                      <a:pt x="47" y="11"/>
                    </a:cubicBezTo>
                    <a:cubicBezTo>
                      <a:pt x="49" y="10"/>
                      <a:pt x="49" y="10"/>
                      <a:pt x="49" y="10"/>
                    </a:cubicBezTo>
                    <a:cubicBezTo>
                      <a:pt x="48" y="9"/>
                      <a:pt x="48" y="9"/>
                      <a:pt x="48" y="9"/>
                    </a:cubicBezTo>
                    <a:lnTo>
                      <a:pt x="45" y="11"/>
                    </a:lnTo>
                    <a:close/>
                    <a:moveTo>
                      <a:pt x="48" y="5"/>
                    </a:moveTo>
                    <a:cubicBezTo>
                      <a:pt x="45" y="6"/>
                      <a:pt x="48" y="7"/>
                      <a:pt x="48" y="7"/>
                    </a:cubicBezTo>
                    <a:cubicBezTo>
                      <a:pt x="50" y="7"/>
                      <a:pt x="51" y="4"/>
                      <a:pt x="48" y="5"/>
                    </a:cubicBezTo>
                    <a:close/>
                    <a:moveTo>
                      <a:pt x="20" y="51"/>
                    </a:moveTo>
                    <a:cubicBezTo>
                      <a:pt x="18" y="50"/>
                      <a:pt x="16" y="50"/>
                      <a:pt x="16" y="49"/>
                    </a:cubicBezTo>
                    <a:cubicBezTo>
                      <a:pt x="16" y="48"/>
                      <a:pt x="17" y="47"/>
                      <a:pt x="17" y="46"/>
                    </a:cubicBezTo>
                    <a:cubicBezTo>
                      <a:pt x="17" y="45"/>
                      <a:pt x="15" y="42"/>
                      <a:pt x="14" y="45"/>
                    </a:cubicBezTo>
                    <a:cubicBezTo>
                      <a:pt x="13" y="47"/>
                      <a:pt x="14" y="53"/>
                      <a:pt x="14" y="53"/>
                    </a:cubicBezTo>
                    <a:cubicBezTo>
                      <a:pt x="13" y="55"/>
                      <a:pt x="13" y="55"/>
                      <a:pt x="13" y="55"/>
                    </a:cubicBezTo>
                    <a:cubicBezTo>
                      <a:pt x="17" y="62"/>
                      <a:pt x="17" y="62"/>
                      <a:pt x="17" y="62"/>
                    </a:cubicBezTo>
                    <a:cubicBezTo>
                      <a:pt x="18" y="62"/>
                      <a:pt x="18" y="62"/>
                      <a:pt x="18" y="62"/>
                    </a:cubicBezTo>
                    <a:cubicBezTo>
                      <a:pt x="19" y="58"/>
                      <a:pt x="19" y="58"/>
                      <a:pt x="19" y="58"/>
                    </a:cubicBezTo>
                    <a:cubicBezTo>
                      <a:pt x="17" y="57"/>
                      <a:pt x="17" y="57"/>
                      <a:pt x="17" y="57"/>
                    </a:cubicBezTo>
                    <a:cubicBezTo>
                      <a:pt x="19" y="57"/>
                      <a:pt x="19" y="57"/>
                      <a:pt x="19" y="57"/>
                    </a:cubicBezTo>
                    <a:cubicBezTo>
                      <a:pt x="19" y="53"/>
                      <a:pt x="19" y="53"/>
                      <a:pt x="19" y="53"/>
                    </a:cubicBezTo>
                    <a:cubicBezTo>
                      <a:pt x="19" y="53"/>
                      <a:pt x="21" y="53"/>
                      <a:pt x="20" y="51"/>
                    </a:cubicBez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242" name="Estonia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5753100" y="2689225"/>
                <a:ext cx="458787" cy="290512"/>
              </a:xfrm>
              <a:custGeom>
                <a:avLst/>
                <a:gdLst/>
                <a:ahLst/>
                <a:cxnLst>
                  <a:cxn ang="0">
                    <a:pos x="199" y="82"/>
                  </a:cxn>
                  <a:cxn ang="0">
                    <a:pos x="192" y="42"/>
                  </a:cxn>
                  <a:cxn ang="0">
                    <a:pos x="198" y="11"/>
                  </a:cxn>
                  <a:cxn ang="0">
                    <a:pos x="194" y="5"/>
                  </a:cxn>
                  <a:cxn ang="0">
                    <a:pos x="150" y="5"/>
                  </a:cxn>
                  <a:cxn ang="0">
                    <a:pos x="133" y="7"/>
                  </a:cxn>
                  <a:cxn ang="0">
                    <a:pos x="129" y="8"/>
                  </a:cxn>
                  <a:cxn ang="0">
                    <a:pos x="124" y="7"/>
                  </a:cxn>
                  <a:cxn ang="0">
                    <a:pos x="118" y="3"/>
                  </a:cxn>
                  <a:cxn ang="0">
                    <a:pos x="114" y="8"/>
                  </a:cxn>
                  <a:cxn ang="0">
                    <a:pos x="103" y="17"/>
                  </a:cxn>
                  <a:cxn ang="0">
                    <a:pos x="91" y="24"/>
                  </a:cxn>
                  <a:cxn ang="0">
                    <a:pos x="75" y="30"/>
                  </a:cxn>
                  <a:cxn ang="0">
                    <a:pos x="66" y="31"/>
                  </a:cxn>
                  <a:cxn ang="0">
                    <a:pos x="67" y="39"/>
                  </a:cxn>
                  <a:cxn ang="0">
                    <a:pos x="56" y="44"/>
                  </a:cxn>
                  <a:cxn ang="0">
                    <a:pos x="51" y="45"/>
                  </a:cxn>
                  <a:cxn ang="0">
                    <a:pos x="52" y="50"/>
                  </a:cxn>
                  <a:cxn ang="0">
                    <a:pos x="52" y="61"/>
                  </a:cxn>
                  <a:cxn ang="0">
                    <a:pos x="51" y="65"/>
                  </a:cxn>
                  <a:cxn ang="0">
                    <a:pos x="58" y="72"/>
                  </a:cxn>
                  <a:cxn ang="0">
                    <a:pos x="56" y="77"/>
                  </a:cxn>
                  <a:cxn ang="0">
                    <a:pos x="57" y="88"/>
                  </a:cxn>
                  <a:cxn ang="0">
                    <a:pos x="69" y="101"/>
                  </a:cxn>
                  <a:cxn ang="0">
                    <a:pos x="78" y="99"/>
                  </a:cxn>
                  <a:cxn ang="0">
                    <a:pos x="87" y="94"/>
                  </a:cxn>
                  <a:cxn ang="0">
                    <a:pos x="97" y="112"/>
                  </a:cxn>
                  <a:cxn ang="0">
                    <a:pos x="98" y="126"/>
                  </a:cxn>
                  <a:cxn ang="0">
                    <a:pos x="105" y="122"/>
                  </a:cxn>
                  <a:cxn ang="0">
                    <a:pos x="119" y="108"/>
                  </a:cxn>
                  <a:cxn ang="0">
                    <a:pos x="127" y="108"/>
                  </a:cxn>
                  <a:cxn ang="0">
                    <a:pos x="140" y="117"/>
                  </a:cxn>
                  <a:cxn ang="0">
                    <a:pos x="154" y="117"/>
                  </a:cxn>
                  <a:cxn ang="0">
                    <a:pos x="164" y="131"/>
                  </a:cxn>
                  <a:cxn ang="0">
                    <a:pos x="188" y="126"/>
                  </a:cxn>
                  <a:cxn ang="0">
                    <a:pos x="202" y="123"/>
                  </a:cxn>
                  <a:cxn ang="0">
                    <a:pos x="205" y="108"/>
                  </a:cxn>
                  <a:cxn ang="0">
                    <a:pos x="28" y="91"/>
                  </a:cxn>
                  <a:cxn ang="0">
                    <a:pos x="15" y="93"/>
                  </a:cxn>
                  <a:cxn ang="0">
                    <a:pos x="11" y="104"/>
                  </a:cxn>
                  <a:cxn ang="0">
                    <a:pos x="0" y="99"/>
                  </a:cxn>
                  <a:cxn ang="0">
                    <a:pos x="6" y="108"/>
                  </a:cxn>
                  <a:cxn ang="0">
                    <a:pos x="16" y="119"/>
                  </a:cxn>
                  <a:cxn ang="0">
                    <a:pos x="13" y="125"/>
                  </a:cxn>
                  <a:cxn ang="0">
                    <a:pos x="13" y="137"/>
                  </a:cxn>
                  <a:cxn ang="0">
                    <a:pos x="24" y="114"/>
                  </a:cxn>
                  <a:cxn ang="0">
                    <a:pos x="44" y="99"/>
                  </a:cxn>
                  <a:cxn ang="0">
                    <a:pos x="28" y="91"/>
                  </a:cxn>
                  <a:cxn ang="0">
                    <a:pos x="18" y="77"/>
                  </a:cxn>
                  <a:cxn ang="0">
                    <a:pos x="26" y="80"/>
                  </a:cxn>
                  <a:cxn ang="0">
                    <a:pos x="32" y="76"/>
                  </a:cxn>
                  <a:cxn ang="0">
                    <a:pos x="32" y="65"/>
                  </a:cxn>
                  <a:cxn ang="0">
                    <a:pos x="19" y="57"/>
                  </a:cxn>
                  <a:cxn ang="0">
                    <a:pos x="8" y="71"/>
                  </a:cxn>
                  <a:cxn ang="0">
                    <a:pos x="9" y="75"/>
                  </a:cxn>
                  <a:cxn ang="0">
                    <a:pos x="45" y="83"/>
                  </a:cxn>
                  <a:cxn ang="0">
                    <a:pos x="45" y="88"/>
                  </a:cxn>
                  <a:cxn ang="0">
                    <a:pos x="51" y="83"/>
                  </a:cxn>
                  <a:cxn ang="0">
                    <a:pos x="45" y="58"/>
                  </a:cxn>
                </a:cxnLst>
                <a:rect l="0" t="0" r="r" b="b"/>
                <a:pathLst>
                  <a:path w="215" h="137">
                    <a:moveTo>
                      <a:pt x="205" y="96"/>
                    </a:moveTo>
                    <a:cubicBezTo>
                      <a:pt x="205" y="96"/>
                      <a:pt x="205" y="93"/>
                      <a:pt x="204" y="89"/>
                    </a:cubicBezTo>
                    <a:cubicBezTo>
                      <a:pt x="204" y="86"/>
                      <a:pt x="199" y="82"/>
                      <a:pt x="199" y="82"/>
                    </a:cubicBezTo>
                    <a:cubicBezTo>
                      <a:pt x="199" y="82"/>
                      <a:pt x="198" y="72"/>
                      <a:pt x="195" y="65"/>
                    </a:cubicBezTo>
                    <a:cubicBezTo>
                      <a:pt x="192" y="59"/>
                      <a:pt x="186" y="47"/>
                      <a:pt x="186" y="47"/>
                    </a:cubicBezTo>
                    <a:cubicBezTo>
                      <a:pt x="186" y="47"/>
                      <a:pt x="189" y="44"/>
                      <a:pt x="192" y="42"/>
                    </a:cubicBezTo>
                    <a:cubicBezTo>
                      <a:pt x="193" y="40"/>
                      <a:pt x="197" y="30"/>
                      <a:pt x="197" y="30"/>
                    </a:cubicBezTo>
                    <a:cubicBezTo>
                      <a:pt x="200" y="14"/>
                      <a:pt x="200" y="14"/>
                      <a:pt x="200" y="14"/>
                    </a:cubicBezTo>
                    <a:cubicBezTo>
                      <a:pt x="200" y="14"/>
                      <a:pt x="198" y="12"/>
                      <a:pt x="198" y="11"/>
                    </a:cubicBezTo>
                    <a:cubicBezTo>
                      <a:pt x="198" y="9"/>
                      <a:pt x="204" y="5"/>
                      <a:pt x="204" y="5"/>
                    </a:cubicBez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0"/>
                      <a:pt x="197" y="4"/>
                      <a:pt x="194" y="5"/>
                    </a:cubicBezTo>
                    <a:cubicBezTo>
                      <a:pt x="191" y="8"/>
                      <a:pt x="184" y="4"/>
                      <a:pt x="178" y="5"/>
                    </a:cubicBezTo>
                    <a:cubicBezTo>
                      <a:pt x="171" y="7"/>
                      <a:pt x="175" y="10"/>
                      <a:pt x="167" y="10"/>
                    </a:cubicBezTo>
                    <a:cubicBezTo>
                      <a:pt x="159" y="10"/>
                      <a:pt x="150" y="5"/>
                      <a:pt x="150" y="5"/>
                    </a:cubicBezTo>
                    <a:cubicBezTo>
                      <a:pt x="147" y="8"/>
                      <a:pt x="147" y="8"/>
                      <a:pt x="147" y="8"/>
                    </a:cubicBezTo>
                    <a:cubicBezTo>
                      <a:pt x="139" y="5"/>
                      <a:pt x="139" y="5"/>
                      <a:pt x="139" y="5"/>
                    </a:cubicBezTo>
                    <a:cubicBezTo>
                      <a:pt x="133" y="7"/>
                      <a:pt x="133" y="7"/>
                      <a:pt x="133" y="7"/>
                    </a:cubicBezTo>
                    <a:cubicBezTo>
                      <a:pt x="131" y="3"/>
                      <a:pt x="131" y="3"/>
                      <a:pt x="131" y="3"/>
                    </a:cubicBezTo>
                    <a:cubicBezTo>
                      <a:pt x="128" y="4"/>
                      <a:pt x="128" y="4"/>
                      <a:pt x="128" y="4"/>
                    </a:cubicBezTo>
                    <a:cubicBezTo>
                      <a:pt x="129" y="8"/>
                      <a:pt x="129" y="8"/>
                      <a:pt x="129" y="8"/>
                    </a:cubicBezTo>
                    <a:cubicBezTo>
                      <a:pt x="126" y="8"/>
                      <a:pt x="126" y="8"/>
                      <a:pt x="126" y="8"/>
                    </a:cubicBezTo>
                    <a:cubicBezTo>
                      <a:pt x="126" y="7"/>
                      <a:pt x="126" y="7"/>
                      <a:pt x="126" y="7"/>
                    </a:cubicBezTo>
                    <a:cubicBezTo>
                      <a:pt x="124" y="7"/>
                      <a:pt x="124" y="7"/>
                      <a:pt x="124" y="7"/>
                    </a:cubicBezTo>
                    <a:cubicBezTo>
                      <a:pt x="124" y="10"/>
                      <a:pt x="124" y="10"/>
                      <a:pt x="124" y="10"/>
                    </a:cubicBezTo>
                    <a:cubicBezTo>
                      <a:pt x="122" y="10"/>
                      <a:pt x="122" y="10"/>
                      <a:pt x="122" y="10"/>
                    </a:cubicBezTo>
                    <a:cubicBezTo>
                      <a:pt x="118" y="3"/>
                      <a:pt x="118" y="3"/>
                      <a:pt x="118" y="3"/>
                    </a:cubicBezTo>
                    <a:cubicBezTo>
                      <a:pt x="117" y="4"/>
                      <a:pt x="117" y="4"/>
                      <a:pt x="117" y="4"/>
                    </a:cubicBezTo>
                    <a:cubicBezTo>
                      <a:pt x="117" y="4"/>
                      <a:pt x="119" y="10"/>
                      <a:pt x="118" y="11"/>
                    </a:cubicBezTo>
                    <a:cubicBezTo>
                      <a:pt x="117" y="11"/>
                      <a:pt x="114" y="8"/>
                      <a:pt x="114" y="8"/>
                    </a:cubicBezTo>
                    <a:cubicBezTo>
                      <a:pt x="114" y="14"/>
                      <a:pt x="114" y="14"/>
                      <a:pt x="114" y="14"/>
                    </a:cubicBezTo>
                    <a:cubicBezTo>
                      <a:pt x="114" y="14"/>
                      <a:pt x="114" y="15"/>
                      <a:pt x="112" y="16"/>
                    </a:cubicBezTo>
                    <a:cubicBezTo>
                      <a:pt x="110" y="17"/>
                      <a:pt x="103" y="17"/>
                      <a:pt x="103" y="17"/>
                    </a:cubicBezTo>
                    <a:cubicBezTo>
                      <a:pt x="103" y="17"/>
                      <a:pt x="98" y="20"/>
                      <a:pt x="97" y="20"/>
                    </a:cubicBezTo>
                    <a:cubicBezTo>
                      <a:pt x="96" y="20"/>
                      <a:pt x="90" y="15"/>
                      <a:pt x="89" y="16"/>
                    </a:cubicBezTo>
                    <a:cubicBezTo>
                      <a:pt x="88" y="17"/>
                      <a:pt x="91" y="24"/>
                      <a:pt x="91" y="24"/>
                    </a:cubicBezTo>
                    <a:cubicBezTo>
                      <a:pt x="87" y="26"/>
                      <a:pt x="87" y="26"/>
                      <a:pt x="87" y="26"/>
                    </a:cubicBezTo>
                    <a:cubicBezTo>
                      <a:pt x="87" y="26"/>
                      <a:pt x="80" y="24"/>
                      <a:pt x="78" y="25"/>
                    </a:cubicBezTo>
                    <a:cubicBezTo>
                      <a:pt x="75" y="26"/>
                      <a:pt x="75" y="30"/>
                      <a:pt x="75" y="30"/>
                    </a:cubicBezTo>
                    <a:cubicBezTo>
                      <a:pt x="72" y="30"/>
                      <a:pt x="72" y="30"/>
                      <a:pt x="72" y="30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66" y="31"/>
                      <a:pt x="66" y="31"/>
                      <a:pt x="66" y="31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6" y="33"/>
                      <a:pt x="70" y="39"/>
                      <a:pt x="69" y="40"/>
                    </a:cubicBezTo>
                    <a:cubicBezTo>
                      <a:pt x="68" y="41"/>
                      <a:pt x="67" y="39"/>
                      <a:pt x="67" y="39"/>
                    </a:cubicBezTo>
                    <a:cubicBezTo>
                      <a:pt x="60" y="40"/>
                      <a:pt x="60" y="40"/>
                      <a:pt x="60" y="40"/>
                    </a:cubicBezTo>
                    <a:cubicBezTo>
                      <a:pt x="57" y="41"/>
                      <a:pt x="57" y="41"/>
                      <a:pt x="57" y="41"/>
                    </a:cubicBezTo>
                    <a:cubicBezTo>
                      <a:pt x="56" y="44"/>
                      <a:pt x="56" y="44"/>
                      <a:pt x="56" y="44"/>
                    </a:cubicBezTo>
                    <a:cubicBezTo>
                      <a:pt x="55" y="44"/>
                      <a:pt x="55" y="44"/>
                      <a:pt x="55" y="44"/>
                    </a:cubicBezTo>
                    <a:cubicBezTo>
                      <a:pt x="51" y="46"/>
                      <a:pt x="51" y="46"/>
                      <a:pt x="51" y="46"/>
                    </a:cubicBezTo>
                    <a:cubicBezTo>
                      <a:pt x="51" y="45"/>
                      <a:pt x="51" y="45"/>
                      <a:pt x="51" y="45"/>
                    </a:cubicBezTo>
                    <a:cubicBezTo>
                      <a:pt x="50" y="45"/>
                      <a:pt x="50" y="45"/>
                      <a:pt x="50" y="45"/>
                    </a:cubicBezTo>
                    <a:cubicBezTo>
                      <a:pt x="50" y="48"/>
                      <a:pt x="50" y="48"/>
                      <a:pt x="50" y="48"/>
                    </a:cubicBezTo>
                    <a:cubicBezTo>
                      <a:pt x="52" y="50"/>
                      <a:pt x="52" y="50"/>
                      <a:pt x="52" y="50"/>
                    </a:cubicBezTo>
                    <a:cubicBezTo>
                      <a:pt x="51" y="55"/>
                      <a:pt x="51" y="55"/>
                      <a:pt x="51" y="55"/>
                    </a:cubicBezTo>
                    <a:cubicBezTo>
                      <a:pt x="51" y="55"/>
                      <a:pt x="49" y="55"/>
                      <a:pt x="49" y="57"/>
                    </a:cubicBezTo>
                    <a:cubicBezTo>
                      <a:pt x="49" y="59"/>
                      <a:pt x="51" y="61"/>
                      <a:pt x="52" y="61"/>
                    </a:cubicBezTo>
                    <a:cubicBezTo>
                      <a:pt x="54" y="61"/>
                      <a:pt x="55" y="59"/>
                      <a:pt x="55" y="59"/>
                    </a:cubicBezTo>
                    <a:cubicBezTo>
                      <a:pt x="56" y="60"/>
                      <a:pt x="56" y="60"/>
                      <a:pt x="56" y="60"/>
                    </a:cubicBezTo>
                    <a:cubicBezTo>
                      <a:pt x="56" y="60"/>
                      <a:pt x="51" y="63"/>
                      <a:pt x="51" y="65"/>
                    </a:cubicBezTo>
                    <a:cubicBezTo>
                      <a:pt x="50" y="67"/>
                      <a:pt x="54" y="71"/>
                      <a:pt x="54" y="71"/>
                    </a:cubicBezTo>
                    <a:cubicBezTo>
                      <a:pt x="53" y="75"/>
                      <a:pt x="53" y="75"/>
                      <a:pt x="53" y="75"/>
                    </a:cubicBezTo>
                    <a:cubicBezTo>
                      <a:pt x="58" y="72"/>
                      <a:pt x="58" y="72"/>
                      <a:pt x="58" y="72"/>
                    </a:cubicBezTo>
                    <a:cubicBezTo>
                      <a:pt x="64" y="73"/>
                      <a:pt x="64" y="73"/>
                      <a:pt x="64" y="73"/>
                    </a:cubicBezTo>
                    <a:cubicBezTo>
                      <a:pt x="63" y="76"/>
                      <a:pt x="63" y="76"/>
                      <a:pt x="63" y="76"/>
                    </a:cubicBezTo>
                    <a:cubicBezTo>
                      <a:pt x="56" y="77"/>
                      <a:pt x="56" y="77"/>
                      <a:pt x="56" y="77"/>
                    </a:cubicBezTo>
                    <a:cubicBezTo>
                      <a:pt x="57" y="78"/>
                      <a:pt x="57" y="78"/>
                      <a:pt x="57" y="78"/>
                    </a:cubicBezTo>
                    <a:cubicBezTo>
                      <a:pt x="55" y="79"/>
                      <a:pt x="55" y="79"/>
                      <a:pt x="55" y="79"/>
                    </a:cubicBezTo>
                    <a:cubicBezTo>
                      <a:pt x="57" y="88"/>
                      <a:pt x="57" y="88"/>
                      <a:pt x="57" y="88"/>
                    </a:cubicBezTo>
                    <a:cubicBezTo>
                      <a:pt x="57" y="88"/>
                      <a:pt x="61" y="87"/>
                      <a:pt x="63" y="89"/>
                    </a:cubicBezTo>
                    <a:cubicBezTo>
                      <a:pt x="65" y="91"/>
                      <a:pt x="66" y="94"/>
                      <a:pt x="67" y="96"/>
                    </a:cubicBezTo>
                    <a:cubicBezTo>
                      <a:pt x="68" y="98"/>
                      <a:pt x="69" y="101"/>
                      <a:pt x="69" y="101"/>
                    </a:cubicBezTo>
                    <a:cubicBezTo>
                      <a:pt x="71" y="99"/>
                      <a:pt x="71" y="99"/>
                      <a:pt x="71" y="99"/>
                    </a:cubicBezTo>
                    <a:cubicBezTo>
                      <a:pt x="73" y="102"/>
                      <a:pt x="73" y="102"/>
                      <a:pt x="73" y="102"/>
                    </a:cubicBezTo>
                    <a:cubicBezTo>
                      <a:pt x="78" y="99"/>
                      <a:pt x="78" y="99"/>
                      <a:pt x="78" y="99"/>
                    </a:cubicBezTo>
                    <a:cubicBezTo>
                      <a:pt x="83" y="104"/>
                      <a:pt x="83" y="104"/>
                      <a:pt x="83" y="104"/>
                    </a:cubicBezTo>
                    <a:cubicBezTo>
                      <a:pt x="86" y="101"/>
                      <a:pt x="86" y="101"/>
                      <a:pt x="86" y="101"/>
                    </a:cubicBezTo>
                    <a:cubicBezTo>
                      <a:pt x="86" y="101"/>
                      <a:pt x="86" y="95"/>
                      <a:pt x="87" y="94"/>
                    </a:cubicBezTo>
                    <a:cubicBezTo>
                      <a:pt x="89" y="93"/>
                      <a:pt x="95" y="94"/>
                      <a:pt x="96" y="96"/>
                    </a:cubicBezTo>
                    <a:cubicBezTo>
                      <a:pt x="98" y="97"/>
                      <a:pt x="94" y="103"/>
                      <a:pt x="94" y="103"/>
                    </a:cubicBezTo>
                    <a:cubicBezTo>
                      <a:pt x="97" y="112"/>
                      <a:pt x="97" y="112"/>
                      <a:pt x="97" y="112"/>
                    </a:cubicBezTo>
                    <a:cubicBezTo>
                      <a:pt x="95" y="120"/>
                      <a:pt x="95" y="120"/>
                      <a:pt x="95" y="120"/>
                    </a:cubicBezTo>
                    <a:cubicBezTo>
                      <a:pt x="96" y="126"/>
                      <a:pt x="96" y="126"/>
                      <a:pt x="96" y="126"/>
                    </a:cubicBezTo>
                    <a:cubicBezTo>
                      <a:pt x="98" y="126"/>
                      <a:pt x="98" y="126"/>
                      <a:pt x="98" y="126"/>
                    </a:cubicBezTo>
                    <a:cubicBezTo>
                      <a:pt x="99" y="122"/>
                      <a:pt x="99" y="122"/>
                      <a:pt x="99" y="122"/>
                    </a:cubicBezTo>
                    <a:cubicBezTo>
                      <a:pt x="102" y="119"/>
                      <a:pt x="102" y="119"/>
                      <a:pt x="102" y="119"/>
                    </a:cubicBezTo>
                    <a:cubicBezTo>
                      <a:pt x="105" y="122"/>
                      <a:pt x="105" y="122"/>
                      <a:pt x="105" y="122"/>
                    </a:cubicBezTo>
                    <a:cubicBezTo>
                      <a:pt x="108" y="115"/>
                      <a:pt x="108" y="115"/>
                      <a:pt x="108" y="115"/>
                    </a:cubicBezTo>
                    <a:cubicBezTo>
                      <a:pt x="114" y="117"/>
                      <a:pt x="114" y="117"/>
                      <a:pt x="114" y="117"/>
                    </a:cubicBezTo>
                    <a:cubicBezTo>
                      <a:pt x="119" y="108"/>
                      <a:pt x="119" y="108"/>
                      <a:pt x="119" y="108"/>
                    </a:cubicBezTo>
                    <a:cubicBezTo>
                      <a:pt x="122" y="108"/>
                      <a:pt x="122" y="108"/>
                      <a:pt x="122" y="108"/>
                    </a:cubicBezTo>
                    <a:cubicBezTo>
                      <a:pt x="126" y="113"/>
                      <a:pt x="126" y="113"/>
                      <a:pt x="126" y="113"/>
                    </a:cubicBezTo>
                    <a:cubicBezTo>
                      <a:pt x="127" y="108"/>
                      <a:pt x="127" y="108"/>
                      <a:pt x="127" y="108"/>
                    </a:cubicBezTo>
                    <a:cubicBezTo>
                      <a:pt x="133" y="112"/>
                      <a:pt x="133" y="112"/>
                      <a:pt x="133" y="112"/>
                    </a:cubicBezTo>
                    <a:cubicBezTo>
                      <a:pt x="137" y="112"/>
                      <a:pt x="137" y="112"/>
                      <a:pt x="137" y="112"/>
                    </a:cubicBezTo>
                    <a:cubicBezTo>
                      <a:pt x="140" y="117"/>
                      <a:pt x="140" y="117"/>
                      <a:pt x="140" y="117"/>
                    </a:cubicBezTo>
                    <a:cubicBezTo>
                      <a:pt x="144" y="114"/>
                      <a:pt x="144" y="114"/>
                      <a:pt x="144" y="114"/>
                    </a:cubicBezTo>
                    <a:cubicBezTo>
                      <a:pt x="144" y="114"/>
                      <a:pt x="146" y="119"/>
                      <a:pt x="148" y="119"/>
                    </a:cubicBezTo>
                    <a:cubicBezTo>
                      <a:pt x="150" y="119"/>
                      <a:pt x="154" y="117"/>
                      <a:pt x="154" y="117"/>
                    </a:cubicBezTo>
                    <a:cubicBezTo>
                      <a:pt x="154" y="121"/>
                      <a:pt x="154" y="121"/>
                      <a:pt x="154" y="121"/>
                    </a:cubicBezTo>
                    <a:cubicBezTo>
                      <a:pt x="154" y="121"/>
                      <a:pt x="159" y="123"/>
                      <a:pt x="161" y="124"/>
                    </a:cubicBezTo>
                    <a:cubicBezTo>
                      <a:pt x="163" y="126"/>
                      <a:pt x="162" y="131"/>
                      <a:pt x="164" y="131"/>
                    </a:cubicBezTo>
                    <a:cubicBezTo>
                      <a:pt x="173" y="131"/>
                      <a:pt x="173" y="131"/>
                      <a:pt x="173" y="131"/>
                    </a:cubicBezTo>
                    <a:cubicBezTo>
                      <a:pt x="177" y="134"/>
                      <a:pt x="177" y="134"/>
                      <a:pt x="177" y="134"/>
                    </a:cubicBezTo>
                    <a:cubicBezTo>
                      <a:pt x="188" y="126"/>
                      <a:pt x="188" y="126"/>
                      <a:pt x="188" y="126"/>
                    </a:cubicBezTo>
                    <a:cubicBezTo>
                      <a:pt x="188" y="126"/>
                      <a:pt x="196" y="129"/>
                      <a:pt x="199" y="128"/>
                    </a:cubicBezTo>
                    <a:cubicBezTo>
                      <a:pt x="200" y="128"/>
                      <a:pt x="202" y="128"/>
                      <a:pt x="203" y="127"/>
                    </a:cubicBezTo>
                    <a:cubicBezTo>
                      <a:pt x="202" y="123"/>
                      <a:pt x="202" y="123"/>
                      <a:pt x="202" y="123"/>
                    </a:cubicBezTo>
                    <a:cubicBezTo>
                      <a:pt x="203" y="117"/>
                      <a:pt x="203" y="117"/>
                      <a:pt x="203" y="117"/>
                    </a:cubicBezTo>
                    <a:cubicBezTo>
                      <a:pt x="203" y="117"/>
                      <a:pt x="206" y="117"/>
                      <a:pt x="208" y="114"/>
                    </a:cubicBezTo>
                    <a:cubicBezTo>
                      <a:pt x="208" y="112"/>
                      <a:pt x="205" y="108"/>
                      <a:pt x="205" y="108"/>
                    </a:cubicBezTo>
                    <a:cubicBezTo>
                      <a:pt x="205" y="108"/>
                      <a:pt x="214" y="106"/>
                      <a:pt x="215" y="104"/>
                    </a:cubicBezTo>
                    <a:cubicBezTo>
                      <a:pt x="215" y="102"/>
                      <a:pt x="205" y="96"/>
                      <a:pt x="205" y="96"/>
                    </a:cubicBezTo>
                    <a:close/>
                    <a:moveTo>
                      <a:pt x="28" y="91"/>
                    </a:moveTo>
                    <a:cubicBezTo>
                      <a:pt x="24" y="88"/>
                      <a:pt x="24" y="88"/>
                      <a:pt x="24" y="88"/>
                    </a:cubicBezTo>
                    <a:cubicBezTo>
                      <a:pt x="24" y="88"/>
                      <a:pt x="22" y="90"/>
                      <a:pt x="21" y="91"/>
                    </a:cubicBezTo>
                    <a:cubicBezTo>
                      <a:pt x="20" y="92"/>
                      <a:pt x="15" y="93"/>
                      <a:pt x="15" y="93"/>
                    </a:cubicBezTo>
                    <a:cubicBezTo>
                      <a:pt x="15" y="93"/>
                      <a:pt x="18" y="98"/>
                      <a:pt x="16" y="99"/>
                    </a:cubicBezTo>
                    <a:cubicBezTo>
                      <a:pt x="14" y="99"/>
                      <a:pt x="12" y="94"/>
                      <a:pt x="12" y="94"/>
                    </a:cubicBezTo>
                    <a:cubicBezTo>
                      <a:pt x="11" y="104"/>
                      <a:pt x="11" y="104"/>
                      <a:pt x="11" y="104"/>
                    </a:cubicBezTo>
                    <a:cubicBezTo>
                      <a:pt x="6" y="102"/>
                      <a:pt x="6" y="102"/>
                      <a:pt x="6" y="102"/>
                    </a:cubicBezTo>
                    <a:cubicBezTo>
                      <a:pt x="6" y="99"/>
                      <a:pt x="6" y="99"/>
                      <a:pt x="6" y="99"/>
                    </a:cubicBezTo>
                    <a:cubicBezTo>
                      <a:pt x="0" y="99"/>
                      <a:pt x="0" y="99"/>
                      <a:pt x="0" y="99"/>
                    </a:cubicBezTo>
                    <a:cubicBezTo>
                      <a:pt x="0" y="102"/>
                      <a:pt x="0" y="102"/>
                      <a:pt x="0" y="102"/>
                    </a:cubicBezTo>
                    <a:cubicBezTo>
                      <a:pt x="4" y="105"/>
                      <a:pt x="4" y="105"/>
                      <a:pt x="4" y="105"/>
                    </a:cubicBezTo>
                    <a:cubicBezTo>
                      <a:pt x="6" y="108"/>
                      <a:pt x="6" y="108"/>
                      <a:pt x="6" y="108"/>
                    </a:cubicBezTo>
                    <a:cubicBezTo>
                      <a:pt x="2" y="114"/>
                      <a:pt x="2" y="114"/>
                      <a:pt x="2" y="114"/>
                    </a:cubicBezTo>
                    <a:cubicBezTo>
                      <a:pt x="2" y="114"/>
                      <a:pt x="7" y="117"/>
                      <a:pt x="9" y="118"/>
                    </a:cubicBezTo>
                    <a:cubicBezTo>
                      <a:pt x="12" y="120"/>
                      <a:pt x="16" y="119"/>
                      <a:pt x="16" y="119"/>
                    </a:cubicBezTo>
                    <a:cubicBezTo>
                      <a:pt x="16" y="119"/>
                      <a:pt x="17" y="120"/>
                      <a:pt x="17" y="123"/>
                    </a:cubicBezTo>
                    <a:cubicBezTo>
                      <a:pt x="17" y="125"/>
                      <a:pt x="16" y="126"/>
                      <a:pt x="16" y="126"/>
                    </a:cubicBezTo>
                    <a:cubicBezTo>
                      <a:pt x="13" y="125"/>
                      <a:pt x="13" y="125"/>
                      <a:pt x="13" y="125"/>
                    </a:cubicBezTo>
                    <a:cubicBezTo>
                      <a:pt x="13" y="129"/>
                      <a:pt x="13" y="129"/>
                      <a:pt x="13" y="129"/>
                    </a:cubicBezTo>
                    <a:cubicBezTo>
                      <a:pt x="13" y="131"/>
                      <a:pt x="9" y="134"/>
                      <a:pt x="9" y="134"/>
                    </a:cubicBezTo>
                    <a:cubicBezTo>
                      <a:pt x="13" y="137"/>
                      <a:pt x="13" y="137"/>
                      <a:pt x="13" y="137"/>
                    </a:cubicBezTo>
                    <a:cubicBezTo>
                      <a:pt x="13" y="137"/>
                      <a:pt x="16" y="134"/>
                      <a:pt x="18" y="130"/>
                    </a:cubicBezTo>
                    <a:cubicBezTo>
                      <a:pt x="20" y="126"/>
                      <a:pt x="20" y="118"/>
                      <a:pt x="20" y="118"/>
                    </a:cubicBezTo>
                    <a:cubicBezTo>
                      <a:pt x="20" y="118"/>
                      <a:pt x="23" y="115"/>
                      <a:pt x="24" y="114"/>
                    </a:cubicBezTo>
                    <a:cubicBezTo>
                      <a:pt x="25" y="114"/>
                      <a:pt x="32" y="112"/>
                      <a:pt x="32" y="112"/>
                    </a:cubicBezTo>
                    <a:cubicBezTo>
                      <a:pt x="41" y="103"/>
                      <a:pt x="41" y="103"/>
                      <a:pt x="41" y="103"/>
                    </a:cubicBezTo>
                    <a:cubicBezTo>
                      <a:pt x="44" y="99"/>
                      <a:pt x="44" y="99"/>
                      <a:pt x="44" y="99"/>
                    </a:cubicBezTo>
                    <a:cubicBezTo>
                      <a:pt x="48" y="93"/>
                      <a:pt x="48" y="93"/>
                      <a:pt x="48" y="93"/>
                    </a:cubicBezTo>
                    <a:cubicBezTo>
                      <a:pt x="48" y="93"/>
                      <a:pt x="39" y="87"/>
                      <a:pt x="34" y="87"/>
                    </a:cubicBezTo>
                    <a:cubicBezTo>
                      <a:pt x="30" y="87"/>
                      <a:pt x="28" y="91"/>
                      <a:pt x="28" y="91"/>
                    </a:cubicBezTo>
                    <a:close/>
                    <a:moveTo>
                      <a:pt x="14" y="72"/>
                    </a:moveTo>
                    <a:cubicBezTo>
                      <a:pt x="19" y="75"/>
                      <a:pt x="19" y="75"/>
                      <a:pt x="19" y="75"/>
                    </a:cubicBezTo>
                    <a:cubicBezTo>
                      <a:pt x="18" y="77"/>
                      <a:pt x="18" y="77"/>
                      <a:pt x="18" y="77"/>
                    </a:cubicBezTo>
                    <a:cubicBezTo>
                      <a:pt x="21" y="83"/>
                      <a:pt x="21" y="83"/>
                      <a:pt x="21" y="83"/>
                    </a:cubicBezTo>
                    <a:cubicBezTo>
                      <a:pt x="24" y="83"/>
                      <a:pt x="24" y="83"/>
                      <a:pt x="24" y="83"/>
                    </a:cubicBezTo>
                    <a:cubicBezTo>
                      <a:pt x="26" y="80"/>
                      <a:pt x="26" y="80"/>
                      <a:pt x="26" y="80"/>
                    </a:cubicBezTo>
                    <a:cubicBezTo>
                      <a:pt x="28" y="78"/>
                      <a:pt x="28" y="78"/>
                      <a:pt x="28" y="78"/>
                    </a:cubicBezTo>
                    <a:cubicBezTo>
                      <a:pt x="30" y="78"/>
                      <a:pt x="30" y="78"/>
                      <a:pt x="30" y="78"/>
                    </a:cubicBezTo>
                    <a:cubicBezTo>
                      <a:pt x="32" y="76"/>
                      <a:pt x="32" y="76"/>
                      <a:pt x="32" y="76"/>
                    </a:cubicBezTo>
                    <a:cubicBezTo>
                      <a:pt x="31" y="73"/>
                      <a:pt x="31" y="73"/>
                      <a:pt x="31" y="73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38" y="72"/>
                      <a:pt x="34" y="67"/>
                      <a:pt x="32" y="65"/>
                    </a:cubicBezTo>
                    <a:cubicBezTo>
                      <a:pt x="29" y="63"/>
                      <a:pt x="26" y="63"/>
                      <a:pt x="26" y="63"/>
                    </a:cubicBezTo>
                    <a:cubicBezTo>
                      <a:pt x="22" y="59"/>
                      <a:pt x="22" y="59"/>
                      <a:pt x="22" y="59"/>
                    </a:cubicBezTo>
                    <a:cubicBezTo>
                      <a:pt x="19" y="57"/>
                      <a:pt x="19" y="57"/>
                      <a:pt x="19" y="57"/>
                    </a:cubicBezTo>
                    <a:cubicBezTo>
                      <a:pt x="20" y="62"/>
                      <a:pt x="20" y="62"/>
                      <a:pt x="20" y="62"/>
                    </a:cubicBezTo>
                    <a:cubicBezTo>
                      <a:pt x="16" y="68"/>
                      <a:pt x="16" y="68"/>
                      <a:pt x="16" y="68"/>
                    </a:cubicBezTo>
                    <a:cubicBezTo>
                      <a:pt x="8" y="71"/>
                      <a:pt x="8" y="71"/>
                      <a:pt x="8" y="71"/>
                    </a:cubicBezTo>
                    <a:cubicBezTo>
                      <a:pt x="6" y="70"/>
                      <a:pt x="6" y="70"/>
                      <a:pt x="6" y="70"/>
                    </a:cubicBezTo>
                    <a:cubicBezTo>
                      <a:pt x="2" y="72"/>
                      <a:pt x="2" y="72"/>
                      <a:pt x="2" y="72"/>
                    </a:cubicBezTo>
                    <a:cubicBezTo>
                      <a:pt x="9" y="75"/>
                      <a:pt x="9" y="75"/>
                      <a:pt x="9" y="75"/>
                    </a:cubicBezTo>
                    <a:lnTo>
                      <a:pt x="14" y="72"/>
                    </a:lnTo>
                    <a:close/>
                    <a:moveTo>
                      <a:pt x="45" y="80"/>
                    </a:moveTo>
                    <a:cubicBezTo>
                      <a:pt x="45" y="83"/>
                      <a:pt x="45" y="83"/>
                      <a:pt x="45" y="83"/>
                    </a:cubicBezTo>
                    <a:cubicBezTo>
                      <a:pt x="41" y="86"/>
                      <a:pt x="41" y="86"/>
                      <a:pt x="41" y="86"/>
                    </a:cubicBezTo>
                    <a:cubicBezTo>
                      <a:pt x="44" y="88"/>
                      <a:pt x="44" y="88"/>
                      <a:pt x="44" y="88"/>
                    </a:cubicBezTo>
                    <a:cubicBezTo>
                      <a:pt x="45" y="88"/>
                      <a:pt x="45" y="88"/>
                      <a:pt x="45" y="88"/>
                    </a:cubicBezTo>
                    <a:cubicBezTo>
                      <a:pt x="48" y="91"/>
                      <a:pt x="48" y="91"/>
                      <a:pt x="48" y="91"/>
                    </a:cubicBezTo>
                    <a:cubicBezTo>
                      <a:pt x="53" y="89"/>
                      <a:pt x="53" y="89"/>
                      <a:pt x="53" y="89"/>
                    </a:cubicBezTo>
                    <a:cubicBezTo>
                      <a:pt x="51" y="83"/>
                      <a:pt x="51" y="83"/>
                      <a:pt x="51" y="83"/>
                    </a:cubicBezTo>
                    <a:lnTo>
                      <a:pt x="45" y="80"/>
                    </a:lnTo>
                    <a:close/>
                    <a:moveTo>
                      <a:pt x="42" y="62"/>
                    </a:moveTo>
                    <a:cubicBezTo>
                      <a:pt x="53" y="65"/>
                      <a:pt x="48" y="58"/>
                      <a:pt x="45" y="58"/>
                    </a:cubicBezTo>
                    <a:cubicBezTo>
                      <a:pt x="41" y="58"/>
                      <a:pt x="35" y="60"/>
                      <a:pt x="42" y="62"/>
                    </a:cubicBez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243" name="Denmark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4700588" y="3048000"/>
                <a:ext cx="571500" cy="436562"/>
              </a:xfrm>
              <a:custGeom>
                <a:avLst/>
                <a:gdLst/>
                <a:ahLst/>
                <a:cxnLst>
                  <a:cxn ang="0">
                    <a:pos x="148" y="197"/>
                  </a:cxn>
                  <a:cxn ang="0">
                    <a:pos x="162" y="174"/>
                  </a:cxn>
                  <a:cxn ang="0">
                    <a:pos x="155" y="185"/>
                  </a:cxn>
                  <a:cxn ang="0">
                    <a:pos x="81" y="186"/>
                  </a:cxn>
                  <a:cxn ang="0">
                    <a:pos x="98" y="185"/>
                  </a:cxn>
                  <a:cxn ang="0">
                    <a:pos x="97" y="176"/>
                  </a:cxn>
                  <a:cxn ang="0">
                    <a:pos x="84" y="179"/>
                  </a:cxn>
                  <a:cxn ang="0">
                    <a:pos x="65" y="179"/>
                  </a:cxn>
                  <a:cxn ang="0">
                    <a:pos x="68" y="176"/>
                  </a:cxn>
                  <a:cxn ang="0">
                    <a:pos x="99" y="173"/>
                  </a:cxn>
                  <a:cxn ang="0">
                    <a:pos x="94" y="137"/>
                  </a:cxn>
                  <a:cxn ang="0">
                    <a:pos x="84" y="138"/>
                  </a:cxn>
                  <a:cxn ang="0">
                    <a:pos x="63" y="150"/>
                  </a:cxn>
                  <a:cxn ang="0">
                    <a:pos x="75" y="165"/>
                  </a:cxn>
                  <a:cxn ang="0">
                    <a:pos x="93" y="113"/>
                  </a:cxn>
                  <a:cxn ang="0">
                    <a:pos x="127" y="188"/>
                  </a:cxn>
                  <a:cxn ang="0">
                    <a:pos x="108" y="187"/>
                  </a:cxn>
                  <a:cxn ang="0">
                    <a:pos x="132" y="200"/>
                  </a:cxn>
                  <a:cxn ang="0">
                    <a:pos x="17" y="66"/>
                  </a:cxn>
                  <a:cxn ang="0">
                    <a:pos x="35" y="48"/>
                  </a:cxn>
                  <a:cxn ang="0">
                    <a:pos x="66" y="43"/>
                  </a:cxn>
                  <a:cxn ang="0">
                    <a:pos x="89" y="13"/>
                  </a:cxn>
                  <a:cxn ang="0">
                    <a:pos x="63" y="28"/>
                  </a:cxn>
                  <a:cxn ang="0">
                    <a:pos x="10" y="63"/>
                  </a:cxn>
                  <a:cxn ang="0">
                    <a:pos x="20" y="67"/>
                  </a:cxn>
                  <a:cxn ang="0">
                    <a:pos x="20" y="64"/>
                  </a:cxn>
                  <a:cxn ang="0">
                    <a:pos x="120" y="123"/>
                  </a:cxn>
                  <a:cxn ang="0">
                    <a:pos x="107" y="29"/>
                  </a:cxn>
                  <a:cxn ang="0">
                    <a:pos x="15" y="163"/>
                  </a:cxn>
                  <a:cxn ang="0">
                    <a:pos x="50" y="175"/>
                  </a:cxn>
                  <a:cxn ang="0">
                    <a:pos x="59" y="159"/>
                  </a:cxn>
                  <a:cxn ang="0">
                    <a:pos x="59" y="133"/>
                  </a:cxn>
                  <a:cxn ang="0">
                    <a:pos x="73" y="120"/>
                  </a:cxn>
                  <a:cxn ang="0">
                    <a:pos x="89" y="95"/>
                  </a:cxn>
                  <a:cxn ang="0">
                    <a:pos x="96" y="99"/>
                  </a:cxn>
                  <a:cxn ang="0">
                    <a:pos x="106" y="86"/>
                  </a:cxn>
                  <a:cxn ang="0">
                    <a:pos x="82" y="78"/>
                  </a:cxn>
                  <a:cxn ang="0">
                    <a:pos x="84" y="54"/>
                  </a:cxn>
                  <a:cxn ang="0">
                    <a:pos x="57" y="48"/>
                  </a:cxn>
                  <a:cxn ang="0">
                    <a:pos x="48" y="76"/>
                  </a:cxn>
                  <a:cxn ang="0">
                    <a:pos x="39" y="76"/>
                  </a:cxn>
                  <a:cxn ang="0">
                    <a:pos x="24" y="75"/>
                  </a:cxn>
                  <a:cxn ang="0">
                    <a:pos x="5" y="70"/>
                  </a:cxn>
                  <a:cxn ang="0">
                    <a:pos x="5" y="95"/>
                  </a:cxn>
                  <a:cxn ang="0">
                    <a:pos x="8" y="107"/>
                  </a:cxn>
                  <a:cxn ang="0">
                    <a:pos x="2" y="132"/>
                  </a:cxn>
                  <a:cxn ang="0">
                    <a:pos x="17" y="147"/>
                  </a:cxn>
                  <a:cxn ang="0">
                    <a:pos x="39" y="185"/>
                  </a:cxn>
                  <a:cxn ang="0">
                    <a:pos x="61" y="188"/>
                  </a:cxn>
                  <a:cxn ang="0">
                    <a:pos x="157" y="104"/>
                  </a:cxn>
                  <a:cxn ang="0">
                    <a:pos x="151" y="133"/>
                  </a:cxn>
                  <a:cxn ang="0">
                    <a:pos x="145" y="122"/>
                  </a:cxn>
                  <a:cxn ang="0">
                    <a:pos x="133" y="125"/>
                  </a:cxn>
                  <a:cxn ang="0">
                    <a:pos x="130" y="117"/>
                  </a:cxn>
                  <a:cxn ang="0">
                    <a:pos x="108" y="131"/>
                  </a:cxn>
                  <a:cxn ang="0">
                    <a:pos x="114" y="144"/>
                  </a:cxn>
                  <a:cxn ang="0">
                    <a:pos x="137" y="166"/>
                  </a:cxn>
                  <a:cxn ang="0">
                    <a:pos x="142" y="177"/>
                  </a:cxn>
                  <a:cxn ang="0">
                    <a:pos x="165" y="158"/>
                  </a:cxn>
                  <a:cxn ang="0">
                    <a:pos x="169" y="142"/>
                  </a:cxn>
                  <a:cxn ang="0">
                    <a:pos x="12" y="151"/>
                  </a:cxn>
                  <a:cxn ang="0">
                    <a:pos x="249" y="169"/>
                  </a:cxn>
                  <a:cxn ang="0">
                    <a:pos x="174" y="134"/>
                  </a:cxn>
                </a:cxnLst>
                <a:rect l="0" t="0" r="r" b="b"/>
                <a:pathLst>
                  <a:path w="268" h="205">
                    <a:moveTo>
                      <a:pt x="143" y="181"/>
                    </a:moveTo>
                    <a:cubicBezTo>
                      <a:pt x="142" y="179"/>
                      <a:pt x="142" y="179"/>
                      <a:pt x="142" y="179"/>
                    </a:cubicBezTo>
                    <a:cubicBezTo>
                      <a:pt x="142" y="179"/>
                      <a:pt x="138" y="178"/>
                      <a:pt x="137" y="179"/>
                    </a:cubicBezTo>
                    <a:cubicBezTo>
                      <a:pt x="137" y="179"/>
                      <a:pt x="138" y="185"/>
                      <a:pt x="140" y="187"/>
                    </a:cubicBezTo>
                    <a:cubicBezTo>
                      <a:pt x="142" y="190"/>
                      <a:pt x="143" y="192"/>
                      <a:pt x="143" y="192"/>
                    </a:cubicBezTo>
                    <a:cubicBezTo>
                      <a:pt x="143" y="205"/>
                      <a:pt x="143" y="205"/>
                      <a:pt x="143" y="205"/>
                    </a:cubicBezTo>
                    <a:cubicBezTo>
                      <a:pt x="147" y="205"/>
                      <a:pt x="147" y="205"/>
                      <a:pt x="147" y="205"/>
                    </a:cubicBezTo>
                    <a:cubicBezTo>
                      <a:pt x="148" y="197"/>
                      <a:pt x="148" y="197"/>
                      <a:pt x="148" y="197"/>
                    </a:cubicBezTo>
                    <a:cubicBezTo>
                      <a:pt x="154" y="186"/>
                      <a:pt x="154" y="186"/>
                      <a:pt x="154" y="186"/>
                    </a:cubicBezTo>
                    <a:cubicBezTo>
                      <a:pt x="147" y="180"/>
                      <a:pt x="147" y="180"/>
                      <a:pt x="147" y="180"/>
                    </a:cubicBezTo>
                    <a:lnTo>
                      <a:pt x="143" y="181"/>
                    </a:lnTo>
                    <a:close/>
                    <a:moveTo>
                      <a:pt x="131" y="178"/>
                    </a:moveTo>
                    <a:cubicBezTo>
                      <a:pt x="131" y="176"/>
                      <a:pt x="129" y="177"/>
                      <a:pt x="129" y="178"/>
                    </a:cubicBezTo>
                    <a:cubicBezTo>
                      <a:pt x="130" y="180"/>
                      <a:pt x="131" y="178"/>
                      <a:pt x="131" y="178"/>
                    </a:cubicBezTo>
                    <a:close/>
                    <a:moveTo>
                      <a:pt x="166" y="175"/>
                    </a:moveTo>
                    <a:cubicBezTo>
                      <a:pt x="165" y="175"/>
                      <a:pt x="162" y="175"/>
                      <a:pt x="162" y="174"/>
                    </a:cubicBezTo>
                    <a:cubicBezTo>
                      <a:pt x="161" y="174"/>
                      <a:pt x="157" y="173"/>
                      <a:pt x="157" y="173"/>
                    </a:cubicBezTo>
                    <a:cubicBezTo>
                      <a:pt x="156" y="173"/>
                      <a:pt x="156" y="173"/>
                      <a:pt x="156" y="173"/>
                    </a:cubicBezTo>
                    <a:cubicBezTo>
                      <a:pt x="158" y="175"/>
                      <a:pt x="158" y="175"/>
                      <a:pt x="158" y="175"/>
                    </a:cubicBezTo>
                    <a:cubicBezTo>
                      <a:pt x="158" y="175"/>
                      <a:pt x="161" y="177"/>
                      <a:pt x="158" y="177"/>
                    </a:cubicBezTo>
                    <a:cubicBezTo>
                      <a:pt x="157" y="178"/>
                      <a:pt x="154" y="178"/>
                      <a:pt x="154" y="178"/>
                    </a:cubicBezTo>
                    <a:cubicBezTo>
                      <a:pt x="152" y="179"/>
                      <a:pt x="152" y="179"/>
                      <a:pt x="152" y="179"/>
                    </a:cubicBezTo>
                    <a:cubicBezTo>
                      <a:pt x="153" y="182"/>
                      <a:pt x="153" y="182"/>
                      <a:pt x="153" y="182"/>
                    </a:cubicBezTo>
                    <a:cubicBezTo>
                      <a:pt x="154" y="185"/>
                      <a:pt x="155" y="185"/>
                      <a:pt x="155" y="185"/>
                    </a:cubicBezTo>
                    <a:cubicBezTo>
                      <a:pt x="157" y="181"/>
                      <a:pt x="157" y="181"/>
                      <a:pt x="157" y="181"/>
                    </a:cubicBezTo>
                    <a:cubicBezTo>
                      <a:pt x="157" y="181"/>
                      <a:pt x="161" y="179"/>
                      <a:pt x="162" y="179"/>
                    </a:cubicBezTo>
                    <a:cubicBezTo>
                      <a:pt x="163" y="179"/>
                      <a:pt x="165" y="181"/>
                      <a:pt x="168" y="180"/>
                    </a:cubicBezTo>
                    <a:cubicBezTo>
                      <a:pt x="170" y="179"/>
                      <a:pt x="168" y="175"/>
                      <a:pt x="166" y="175"/>
                    </a:cubicBezTo>
                    <a:close/>
                    <a:moveTo>
                      <a:pt x="84" y="185"/>
                    </a:moveTo>
                    <a:cubicBezTo>
                      <a:pt x="84" y="185"/>
                      <a:pt x="84" y="183"/>
                      <a:pt x="82" y="181"/>
                    </a:cubicBezTo>
                    <a:cubicBezTo>
                      <a:pt x="81" y="180"/>
                      <a:pt x="79" y="179"/>
                      <a:pt x="79" y="179"/>
                    </a:cubicBezTo>
                    <a:cubicBezTo>
                      <a:pt x="79" y="179"/>
                      <a:pt x="80" y="185"/>
                      <a:pt x="81" y="186"/>
                    </a:cubicBezTo>
                    <a:cubicBezTo>
                      <a:pt x="83" y="187"/>
                      <a:pt x="84" y="189"/>
                      <a:pt x="84" y="189"/>
                    </a:cubicBezTo>
                    <a:cubicBezTo>
                      <a:pt x="90" y="188"/>
                      <a:pt x="90" y="188"/>
                      <a:pt x="90" y="188"/>
                    </a:cubicBezTo>
                    <a:cubicBezTo>
                      <a:pt x="86" y="185"/>
                      <a:pt x="86" y="185"/>
                      <a:pt x="86" y="185"/>
                    </a:cubicBezTo>
                    <a:lnTo>
                      <a:pt x="84" y="185"/>
                    </a:lnTo>
                    <a:close/>
                    <a:moveTo>
                      <a:pt x="106" y="167"/>
                    </a:moveTo>
                    <a:cubicBezTo>
                      <a:pt x="103" y="175"/>
                      <a:pt x="103" y="175"/>
                      <a:pt x="103" y="175"/>
                    </a:cubicBezTo>
                    <a:cubicBezTo>
                      <a:pt x="96" y="183"/>
                      <a:pt x="96" y="183"/>
                      <a:pt x="96" y="183"/>
                    </a:cubicBezTo>
                    <a:cubicBezTo>
                      <a:pt x="98" y="185"/>
                      <a:pt x="98" y="185"/>
                      <a:pt x="98" y="185"/>
                    </a:cubicBezTo>
                    <a:cubicBezTo>
                      <a:pt x="93" y="188"/>
                      <a:pt x="93" y="188"/>
                      <a:pt x="93" y="188"/>
                    </a:cubicBezTo>
                    <a:cubicBezTo>
                      <a:pt x="98" y="196"/>
                      <a:pt x="98" y="196"/>
                      <a:pt x="98" y="196"/>
                    </a:cubicBezTo>
                    <a:cubicBezTo>
                      <a:pt x="106" y="175"/>
                      <a:pt x="106" y="175"/>
                      <a:pt x="106" y="175"/>
                    </a:cubicBezTo>
                    <a:cubicBezTo>
                      <a:pt x="107" y="174"/>
                      <a:pt x="107" y="167"/>
                      <a:pt x="107" y="167"/>
                    </a:cubicBezTo>
                    <a:lnTo>
                      <a:pt x="106" y="167"/>
                    </a:lnTo>
                    <a:close/>
                    <a:moveTo>
                      <a:pt x="97" y="177"/>
                    </a:moveTo>
                    <a:cubicBezTo>
                      <a:pt x="94" y="177"/>
                      <a:pt x="94" y="177"/>
                      <a:pt x="94" y="177"/>
                    </a:cubicBezTo>
                    <a:cubicBezTo>
                      <a:pt x="97" y="176"/>
                      <a:pt x="97" y="176"/>
                      <a:pt x="97" y="176"/>
                    </a:cubicBezTo>
                    <a:cubicBezTo>
                      <a:pt x="97" y="176"/>
                      <a:pt x="96" y="175"/>
                      <a:pt x="94" y="175"/>
                    </a:cubicBezTo>
                    <a:cubicBezTo>
                      <a:pt x="90" y="177"/>
                      <a:pt x="90" y="177"/>
                      <a:pt x="90" y="177"/>
                    </a:cubicBezTo>
                    <a:cubicBezTo>
                      <a:pt x="91" y="181"/>
                      <a:pt x="91" y="181"/>
                      <a:pt x="91" y="181"/>
                    </a:cubicBezTo>
                    <a:cubicBezTo>
                      <a:pt x="91" y="181"/>
                      <a:pt x="96" y="180"/>
                      <a:pt x="97" y="180"/>
                    </a:cubicBezTo>
                    <a:cubicBezTo>
                      <a:pt x="98" y="179"/>
                      <a:pt x="97" y="177"/>
                      <a:pt x="97" y="177"/>
                    </a:cubicBezTo>
                    <a:close/>
                    <a:moveTo>
                      <a:pt x="87" y="180"/>
                    </a:moveTo>
                    <a:cubicBezTo>
                      <a:pt x="88" y="180"/>
                      <a:pt x="88" y="179"/>
                      <a:pt x="88" y="179"/>
                    </a:cubicBezTo>
                    <a:cubicBezTo>
                      <a:pt x="84" y="179"/>
                      <a:pt x="84" y="179"/>
                      <a:pt x="84" y="179"/>
                    </a:cubicBezTo>
                    <a:lnTo>
                      <a:pt x="87" y="180"/>
                    </a:lnTo>
                    <a:close/>
                    <a:moveTo>
                      <a:pt x="126" y="181"/>
                    </a:moveTo>
                    <a:cubicBezTo>
                      <a:pt x="129" y="180"/>
                      <a:pt x="129" y="179"/>
                      <a:pt x="125" y="179"/>
                    </a:cubicBezTo>
                    <a:cubicBezTo>
                      <a:pt x="125" y="179"/>
                      <a:pt x="123" y="179"/>
                      <a:pt x="123" y="180"/>
                    </a:cubicBezTo>
                    <a:cubicBezTo>
                      <a:pt x="123" y="181"/>
                      <a:pt x="124" y="182"/>
                      <a:pt x="126" y="181"/>
                    </a:cubicBezTo>
                    <a:close/>
                    <a:moveTo>
                      <a:pt x="61" y="172"/>
                    </a:moveTo>
                    <a:cubicBezTo>
                      <a:pt x="60" y="172"/>
                      <a:pt x="58" y="173"/>
                      <a:pt x="58" y="175"/>
                    </a:cubicBezTo>
                    <a:cubicBezTo>
                      <a:pt x="58" y="176"/>
                      <a:pt x="64" y="178"/>
                      <a:pt x="65" y="179"/>
                    </a:cubicBezTo>
                    <a:cubicBezTo>
                      <a:pt x="67" y="180"/>
                      <a:pt x="65" y="181"/>
                      <a:pt x="65" y="181"/>
                    </a:cubicBezTo>
                    <a:cubicBezTo>
                      <a:pt x="64" y="180"/>
                      <a:pt x="64" y="180"/>
                      <a:pt x="64" y="180"/>
                    </a:cubicBezTo>
                    <a:cubicBezTo>
                      <a:pt x="63" y="180"/>
                      <a:pt x="63" y="180"/>
                      <a:pt x="63" y="180"/>
                    </a:cubicBezTo>
                    <a:cubicBezTo>
                      <a:pt x="64" y="183"/>
                      <a:pt x="64" y="183"/>
                      <a:pt x="64" y="183"/>
                    </a:cubicBezTo>
                    <a:cubicBezTo>
                      <a:pt x="66" y="183"/>
                      <a:pt x="66" y="183"/>
                      <a:pt x="66" y="183"/>
                    </a:cubicBezTo>
                    <a:cubicBezTo>
                      <a:pt x="69" y="187"/>
                      <a:pt x="69" y="187"/>
                      <a:pt x="69" y="187"/>
                    </a:cubicBezTo>
                    <a:cubicBezTo>
                      <a:pt x="73" y="186"/>
                      <a:pt x="73" y="186"/>
                      <a:pt x="73" y="186"/>
                    </a:cubicBezTo>
                    <a:cubicBezTo>
                      <a:pt x="73" y="186"/>
                      <a:pt x="71" y="180"/>
                      <a:pt x="68" y="176"/>
                    </a:cubicBezTo>
                    <a:cubicBezTo>
                      <a:pt x="68" y="176"/>
                      <a:pt x="64" y="172"/>
                      <a:pt x="61" y="172"/>
                    </a:cubicBezTo>
                    <a:close/>
                    <a:moveTo>
                      <a:pt x="77" y="169"/>
                    </a:moveTo>
                    <a:cubicBezTo>
                      <a:pt x="74" y="171"/>
                      <a:pt x="74" y="171"/>
                      <a:pt x="74" y="171"/>
                    </a:cubicBezTo>
                    <a:cubicBezTo>
                      <a:pt x="79" y="173"/>
                      <a:pt x="79" y="173"/>
                      <a:pt x="79" y="173"/>
                    </a:cubicBezTo>
                    <a:cubicBezTo>
                      <a:pt x="80" y="172"/>
                      <a:pt x="80" y="172"/>
                      <a:pt x="80" y="172"/>
                    </a:cubicBezTo>
                    <a:cubicBezTo>
                      <a:pt x="80" y="172"/>
                      <a:pt x="81" y="174"/>
                      <a:pt x="86" y="175"/>
                    </a:cubicBezTo>
                    <a:cubicBezTo>
                      <a:pt x="91" y="176"/>
                      <a:pt x="92" y="172"/>
                      <a:pt x="92" y="172"/>
                    </a:cubicBezTo>
                    <a:cubicBezTo>
                      <a:pt x="92" y="172"/>
                      <a:pt x="98" y="175"/>
                      <a:pt x="99" y="173"/>
                    </a:cubicBezTo>
                    <a:cubicBezTo>
                      <a:pt x="101" y="170"/>
                      <a:pt x="103" y="163"/>
                      <a:pt x="103" y="163"/>
                    </a:cubicBezTo>
                    <a:cubicBezTo>
                      <a:pt x="103" y="163"/>
                      <a:pt x="100" y="161"/>
                      <a:pt x="101" y="159"/>
                    </a:cubicBezTo>
                    <a:cubicBezTo>
                      <a:pt x="101" y="158"/>
                      <a:pt x="102" y="158"/>
                      <a:pt x="102" y="158"/>
                    </a:cubicBezTo>
                    <a:cubicBezTo>
                      <a:pt x="99" y="149"/>
                      <a:pt x="99" y="149"/>
                      <a:pt x="99" y="149"/>
                    </a:cubicBezTo>
                    <a:cubicBezTo>
                      <a:pt x="92" y="149"/>
                      <a:pt x="92" y="149"/>
                      <a:pt x="92" y="149"/>
                    </a:cubicBezTo>
                    <a:cubicBezTo>
                      <a:pt x="94" y="148"/>
                      <a:pt x="97" y="148"/>
                      <a:pt x="98" y="147"/>
                    </a:cubicBezTo>
                    <a:cubicBezTo>
                      <a:pt x="99" y="145"/>
                      <a:pt x="100" y="145"/>
                      <a:pt x="99" y="143"/>
                    </a:cubicBezTo>
                    <a:cubicBezTo>
                      <a:pt x="97" y="141"/>
                      <a:pt x="94" y="137"/>
                      <a:pt x="94" y="137"/>
                    </a:cubicBezTo>
                    <a:cubicBezTo>
                      <a:pt x="93" y="138"/>
                      <a:pt x="93" y="138"/>
                      <a:pt x="93" y="138"/>
                    </a:cubicBezTo>
                    <a:cubicBezTo>
                      <a:pt x="94" y="142"/>
                      <a:pt x="94" y="142"/>
                      <a:pt x="94" y="142"/>
                    </a:cubicBezTo>
                    <a:cubicBezTo>
                      <a:pt x="93" y="143"/>
                      <a:pt x="93" y="143"/>
                      <a:pt x="93" y="143"/>
                    </a:cubicBezTo>
                    <a:cubicBezTo>
                      <a:pt x="94" y="145"/>
                      <a:pt x="94" y="145"/>
                      <a:pt x="94" y="145"/>
                    </a:cubicBezTo>
                    <a:cubicBezTo>
                      <a:pt x="89" y="149"/>
                      <a:pt x="89" y="149"/>
                      <a:pt x="89" y="149"/>
                    </a:cubicBezTo>
                    <a:cubicBezTo>
                      <a:pt x="88" y="147"/>
                      <a:pt x="88" y="147"/>
                      <a:pt x="88" y="147"/>
                    </a:cubicBezTo>
                    <a:cubicBezTo>
                      <a:pt x="91" y="144"/>
                      <a:pt x="91" y="144"/>
                      <a:pt x="91" y="144"/>
                    </a:cubicBezTo>
                    <a:cubicBezTo>
                      <a:pt x="84" y="138"/>
                      <a:pt x="84" y="138"/>
                      <a:pt x="84" y="138"/>
                    </a:cubicBezTo>
                    <a:cubicBezTo>
                      <a:pt x="83" y="140"/>
                      <a:pt x="83" y="140"/>
                      <a:pt x="83" y="140"/>
                    </a:cubicBezTo>
                    <a:cubicBezTo>
                      <a:pt x="81" y="138"/>
                      <a:pt x="81" y="138"/>
                      <a:pt x="81" y="138"/>
                    </a:cubicBezTo>
                    <a:cubicBezTo>
                      <a:pt x="67" y="144"/>
                      <a:pt x="67" y="144"/>
                      <a:pt x="67" y="144"/>
                    </a:cubicBezTo>
                    <a:cubicBezTo>
                      <a:pt x="65" y="142"/>
                      <a:pt x="65" y="142"/>
                      <a:pt x="65" y="142"/>
                    </a:cubicBezTo>
                    <a:cubicBezTo>
                      <a:pt x="61" y="145"/>
                      <a:pt x="61" y="145"/>
                      <a:pt x="61" y="145"/>
                    </a:cubicBezTo>
                    <a:cubicBezTo>
                      <a:pt x="64" y="147"/>
                      <a:pt x="64" y="147"/>
                      <a:pt x="64" y="147"/>
                    </a:cubicBezTo>
                    <a:cubicBezTo>
                      <a:pt x="61" y="147"/>
                      <a:pt x="61" y="147"/>
                      <a:pt x="61" y="147"/>
                    </a:cubicBezTo>
                    <a:cubicBezTo>
                      <a:pt x="63" y="150"/>
                      <a:pt x="63" y="150"/>
                      <a:pt x="63" y="150"/>
                    </a:cubicBezTo>
                    <a:cubicBezTo>
                      <a:pt x="65" y="150"/>
                      <a:pt x="65" y="150"/>
                      <a:pt x="65" y="150"/>
                    </a:cubicBezTo>
                    <a:cubicBezTo>
                      <a:pt x="64" y="154"/>
                      <a:pt x="64" y="154"/>
                      <a:pt x="64" y="154"/>
                    </a:cubicBezTo>
                    <a:cubicBezTo>
                      <a:pt x="67" y="155"/>
                      <a:pt x="67" y="155"/>
                      <a:pt x="67" y="155"/>
                    </a:cubicBezTo>
                    <a:cubicBezTo>
                      <a:pt x="67" y="155"/>
                      <a:pt x="66" y="161"/>
                      <a:pt x="68" y="162"/>
                    </a:cubicBezTo>
                    <a:cubicBezTo>
                      <a:pt x="70" y="163"/>
                      <a:pt x="71" y="170"/>
                      <a:pt x="71" y="170"/>
                    </a:cubicBezTo>
                    <a:cubicBezTo>
                      <a:pt x="72" y="170"/>
                      <a:pt x="72" y="170"/>
                      <a:pt x="72" y="170"/>
                    </a:cubicBezTo>
                    <a:cubicBezTo>
                      <a:pt x="72" y="165"/>
                      <a:pt x="72" y="165"/>
                      <a:pt x="72" y="165"/>
                    </a:cubicBezTo>
                    <a:cubicBezTo>
                      <a:pt x="75" y="165"/>
                      <a:pt x="75" y="165"/>
                      <a:pt x="75" y="165"/>
                    </a:cubicBezTo>
                    <a:lnTo>
                      <a:pt x="77" y="169"/>
                    </a:lnTo>
                    <a:close/>
                    <a:moveTo>
                      <a:pt x="91" y="123"/>
                    </a:moveTo>
                    <a:cubicBezTo>
                      <a:pt x="91" y="125"/>
                      <a:pt x="92" y="127"/>
                      <a:pt x="92" y="127"/>
                    </a:cubicBezTo>
                    <a:cubicBezTo>
                      <a:pt x="96" y="129"/>
                      <a:pt x="96" y="129"/>
                      <a:pt x="96" y="129"/>
                    </a:cubicBezTo>
                    <a:cubicBezTo>
                      <a:pt x="98" y="127"/>
                      <a:pt x="99" y="126"/>
                      <a:pt x="99" y="124"/>
                    </a:cubicBezTo>
                    <a:cubicBezTo>
                      <a:pt x="99" y="123"/>
                      <a:pt x="97" y="118"/>
                      <a:pt x="97" y="118"/>
                    </a:cubicBezTo>
                    <a:cubicBezTo>
                      <a:pt x="97" y="118"/>
                      <a:pt x="96" y="119"/>
                      <a:pt x="94" y="117"/>
                    </a:cubicBezTo>
                    <a:cubicBezTo>
                      <a:pt x="94" y="115"/>
                      <a:pt x="93" y="113"/>
                      <a:pt x="93" y="113"/>
                    </a:cubicBezTo>
                    <a:cubicBezTo>
                      <a:pt x="91" y="113"/>
                      <a:pt x="91" y="113"/>
                      <a:pt x="91" y="113"/>
                    </a:cubicBezTo>
                    <a:cubicBezTo>
                      <a:pt x="93" y="119"/>
                      <a:pt x="93" y="119"/>
                      <a:pt x="93" y="119"/>
                    </a:cubicBezTo>
                    <a:cubicBezTo>
                      <a:pt x="93" y="119"/>
                      <a:pt x="91" y="120"/>
                      <a:pt x="91" y="123"/>
                    </a:cubicBezTo>
                    <a:close/>
                    <a:moveTo>
                      <a:pt x="140" y="190"/>
                    </a:moveTo>
                    <a:cubicBezTo>
                      <a:pt x="139" y="188"/>
                      <a:pt x="135" y="182"/>
                      <a:pt x="135" y="182"/>
                    </a:cubicBezTo>
                    <a:cubicBezTo>
                      <a:pt x="133" y="182"/>
                      <a:pt x="133" y="182"/>
                      <a:pt x="133" y="182"/>
                    </a:cubicBezTo>
                    <a:cubicBezTo>
                      <a:pt x="133" y="186"/>
                      <a:pt x="133" y="186"/>
                      <a:pt x="133" y="186"/>
                    </a:cubicBezTo>
                    <a:cubicBezTo>
                      <a:pt x="127" y="188"/>
                      <a:pt x="127" y="188"/>
                      <a:pt x="127" y="188"/>
                    </a:cubicBezTo>
                    <a:cubicBezTo>
                      <a:pt x="127" y="186"/>
                      <a:pt x="127" y="186"/>
                      <a:pt x="127" y="186"/>
                    </a:cubicBezTo>
                    <a:cubicBezTo>
                      <a:pt x="125" y="185"/>
                      <a:pt x="125" y="185"/>
                      <a:pt x="125" y="185"/>
                    </a:cubicBezTo>
                    <a:cubicBezTo>
                      <a:pt x="125" y="185"/>
                      <a:pt x="124" y="180"/>
                      <a:pt x="118" y="180"/>
                    </a:cubicBezTo>
                    <a:cubicBezTo>
                      <a:pt x="112" y="179"/>
                      <a:pt x="109" y="183"/>
                      <a:pt x="109" y="183"/>
                    </a:cubicBezTo>
                    <a:cubicBezTo>
                      <a:pt x="114" y="188"/>
                      <a:pt x="114" y="188"/>
                      <a:pt x="114" y="188"/>
                    </a:cubicBezTo>
                    <a:cubicBezTo>
                      <a:pt x="110" y="190"/>
                      <a:pt x="110" y="190"/>
                      <a:pt x="110" y="190"/>
                    </a:cubicBezTo>
                    <a:cubicBezTo>
                      <a:pt x="108" y="189"/>
                      <a:pt x="108" y="189"/>
                      <a:pt x="108" y="189"/>
                    </a:cubicBezTo>
                    <a:cubicBezTo>
                      <a:pt x="108" y="187"/>
                      <a:pt x="108" y="187"/>
                      <a:pt x="108" y="187"/>
                    </a:cubicBezTo>
                    <a:cubicBezTo>
                      <a:pt x="107" y="188"/>
                      <a:pt x="107" y="188"/>
                      <a:pt x="107" y="188"/>
                    </a:cubicBezTo>
                    <a:cubicBezTo>
                      <a:pt x="107" y="192"/>
                      <a:pt x="107" y="192"/>
                      <a:pt x="107" y="192"/>
                    </a:cubicBezTo>
                    <a:cubicBezTo>
                      <a:pt x="121" y="196"/>
                      <a:pt x="121" y="196"/>
                      <a:pt x="121" y="196"/>
                    </a:cubicBezTo>
                    <a:cubicBezTo>
                      <a:pt x="121" y="196"/>
                      <a:pt x="122" y="198"/>
                      <a:pt x="123" y="200"/>
                    </a:cubicBezTo>
                    <a:cubicBezTo>
                      <a:pt x="123" y="202"/>
                      <a:pt x="126" y="204"/>
                      <a:pt x="126" y="204"/>
                    </a:cubicBezTo>
                    <a:cubicBezTo>
                      <a:pt x="129" y="203"/>
                      <a:pt x="129" y="203"/>
                      <a:pt x="129" y="203"/>
                    </a:cubicBezTo>
                    <a:cubicBezTo>
                      <a:pt x="129" y="201"/>
                      <a:pt x="129" y="201"/>
                      <a:pt x="129" y="201"/>
                    </a:cubicBezTo>
                    <a:cubicBezTo>
                      <a:pt x="129" y="201"/>
                      <a:pt x="130" y="200"/>
                      <a:pt x="132" y="200"/>
                    </a:cubicBezTo>
                    <a:cubicBezTo>
                      <a:pt x="134" y="200"/>
                      <a:pt x="140" y="198"/>
                      <a:pt x="140" y="198"/>
                    </a:cubicBezTo>
                    <a:cubicBezTo>
                      <a:pt x="141" y="196"/>
                      <a:pt x="141" y="196"/>
                      <a:pt x="141" y="196"/>
                    </a:cubicBezTo>
                    <a:cubicBezTo>
                      <a:pt x="140" y="194"/>
                      <a:pt x="140" y="194"/>
                      <a:pt x="140" y="194"/>
                    </a:cubicBezTo>
                    <a:cubicBezTo>
                      <a:pt x="140" y="194"/>
                      <a:pt x="141" y="192"/>
                      <a:pt x="140" y="190"/>
                    </a:cubicBezTo>
                    <a:close/>
                    <a:moveTo>
                      <a:pt x="10" y="63"/>
                    </a:moveTo>
                    <a:cubicBezTo>
                      <a:pt x="11" y="67"/>
                      <a:pt x="11" y="67"/>
                      <a:pt x="11" y="67"/>
                    </a:cubicBezTo>
                    <a:cubicBezTo>
                      <a:pt x="11" y="67"/>
                      <a:pt x="14" y="68"/>
                      <a:pt x="15" y="68"/>
                    </a:cubicBezTo>
                    <a:cubicBezTo>
                      <a:pt x="16" y="68"/>
                      <a:pt x="17" y="66"/>
                      <a:pt x="17" y="66"/>
                    </a:cubicBezTo>
                    <a:cubicBezTo>
                      <a:pt x="19" y="65"/>
                      <a:pt x="19" y="65"/>
                      <a:pt x="19" y="65"/>
                    </a:cubicBezTo>
                    <a:cubicBezTo>
                      <a:pt x="19" y="65"/>
                      <a:pt x="18" y="63"/>
                      <a:pt x="17" y="62"/>
                    </a:cubicBezTo>
                    <a:cubicBezTo>
                      <a:pt x="17" y="60"/>
                      <a:pt x="21" y="58"/>
                      <a:pt x="22" y="56"/>
                    </a:cubicBezTo>
                    <a:cubicBezTo>
                      <a:pt x="23" y="55"/>
                      <a:pt x="25" y="51"/>
                      <a:pt x="25" y="51"/>
                    </a:cubicBezTo>
                    <a:cubicBezTo>
                      <a:pt x="32" y="49"/>
                      <a:pt x="32" y="49"/>
                      <a:pt x="32" y="49"/>
                    </a:cubicBezTo>
                    <a:cubicBezTo>
                      <a:pt x="32" y="47"/>
                      <a:pt x="32" y="47"/>
                      <a:pt x="32" y="47"/>
                    </a:cubicBezTo>
                    <a:cubicBezTo>
                      <a:pt x="33" y="48"/>
                      <a:pt x="33" y="48"/>
                      <a:pt x="33" y="48"/>
                    </a:cubicBezTo>
                    <a:cubicBezTo>
                      <a:pt x="35" y="48"/>
                      <a:pt x="35" y="48"/>
                      <a:pt x="35" y="48"/>
                    </a:cubicBezTo>
                    <a:cubicBezTo>
                      <a:pt x="35" y="47"/>
                      <a:pt x="35" y="47"/>
                      <a:pt x="35" y="47"/>
                    </a:cubicBezTo>
                    <a:cubicBezTo>
                      <a:pt x="42" y="46"/>
                      <a:pt x="42" y="46"/>
                      <a:pt x="42" y="46"/>
                    </a:cubicBezTo>
                    <a:cubicBezTo>
                      <a:pt x="42" y="46"/>
                      <a:pt x="44" y="47"/>
                      <a:pt x="47" y="48"/>
                    </a:cubicBezTo>
                    <a:cubicBezTo>
                      <a:pt x="48" y="48"/>
                      <a:pt x="53" y="45"/>
                      <a:pt x="53" y="45"/>
                    </a:cubicBezTo>
                    <a:cubicBezTo>
                      <a:pt x="60" y="45"/>
                      <a:pt x="60" y="45"/>
                      <a:pt x="60" y="45"/>
                    </a:cubicBezTo>
                    <a:cubicBezTo>
                      <a:pt x="60" y="45"/>
                      <a:pt x="60" y="41"/>
                      <a:pt x="61" y="41"/>
                    </a:cubicBezTo>
                    <a:cubicBezTo>
                      <a:pt x="64" y="41"/>
                      <a:pt x="63" y="44"/>
                      <a:pt x="63" y="44"/>
                    </a:cubicBezTo>
                    <a:cubicBezTo>
                      <a:pt x="63" y="44"/>
                      <a:pt x="64" y="44"/>
                      <a:pt x="66" y="43"/>
                    </a:cubicBezTo>
                    <a:cubicBezTo>
                      <a:pt x="72" y="43"/>
                      <a:pt x="72" y="43"/>
                      <a:pt x="72" y="43"/>
                    </a:cubicBezTo>
                    <a:cubicBezTo>
                      <a:pt x="74" y="43"/>
                      <a:pt x="79" y="46"/>
                      <a:pt x="80" y="47"/>
                    </a:cubicBezTo>
                    <a:cubicBezTo>
                      <a:pt x="82" y="48"/>
                      <a:pt x="83" y="49"/>
                      <a:pt x="85" y="48"/>
                    </a:cubicBezTo>
                    <a:cubicBezTo>
                      <a:pt x="87" y="48"/>
                      <a:pt x="89" y="39"/>
                      <a:pt x="89" y="39"/>
                    </a:cubicBezTo>
                    <a:cubicBezTo>
                      <a:pt x="94" y="32"/>
                      <a:pt x="94" y="32"/>
                      <a:pt x="94" y="32"/>
                    </a:cubicBezTo>
                    <a:cubicBezTo>
                      <a:pt x="94" y="32"/>
                      <a:pt x="93" y="30"/>
                      <a:pt x="93" y="29"/>
                    </a:cubicBezTo>
                    <a:cubicBezTo>
                      <a:pt x="92" y="28"/>
                      <a:pt x="94" y="23"/>
                      <a:pt x="93" y="19"/>
                    </a:cubicBezTo>
                    <a:cubicBezTo>
                      <a:pt x="93" y="14"/>
                      <a:pt x="90" y="15"/>
                      <a:pt x="89" y="13"/>
                    </a:cubicBezTo>
                    <a:cubicBezTo>
                      <a:pt x="89" y="12"/>
                      <a:pt x="93" y="4"/>
                      <a:pt x="94" y="3"/>
                    </a:cubicBezTo>
                    <a:cubicBezTo>
                      <a:pt x="96" y="2"/>
                      <a:pt x="99" y="1"/>
                      <a:pt x="99" y="1"/>
                    </a:cubicBezTo>
                    <a:cubicBezTo>
                      <a:pt x="98" y="0"/>
                      <a:pt x="98" y="0"/>
                      <a:pt x="98" y="0"/>
                    </a:cubicBezTo>
                    <a:cubicBezTo>
                      <a:pt x="93" y="1"/>
                      <a:pt x="93" y="1"/>
                      <a:pt x="93" y="1"/>
                    </a:cubicBezTo>
                    <a:cubicBezTo>
                      <a:pt x="93" y="1"/>
                      <a:pt x="91" y="3"/>
                      <a:pt x="90" y="4"/>
                    </a:cubicBezTo>
                    <a:cubicBezTo>
                      <a:pt x="88" y="6"/>
                      <a:pt x="83" y="11"/>
                      <a:pt x="83" y="11"/>
                    </a:cubicBezTo>
                    <a:cubicBezTo>
                      <a:pt x="83" y="11"/>
                      <a:pt x="73" y="11"/>
                      <a:pt x="72" y="12"/>
                    </a:cubicBezTo>
                    <a:cubicBezTo>
                      <a:pt x="70" y="12"/>
                      <a:pt x="64" y="24"/>
                      <a:pt x="63" y="28"/>
                    </a:cubicBezTo>
                    <a:cubicBezTo>
                      <a:pt x="61" y="30"/>
                      <a:pt x="55" y="37"/>
                      <a:pt x="50" y="38"/>
                    </a:cubicBezTo>
                    <a:cubicBezTo>
                      <a:pt x="43" y="39"/>
                      <a:pt x="40" y="37"/>
                      <a:pt x="38" y="37"/>
                    </a:cubicBezTo>
                    <a:cubicBezTo>
                      <a:pt x="35" y="37"/>
                      <a:pt x="34" y="39"/>
                      <a:pt x="34" y="39"/>
                    </a:cubicBezTo>
                    <a:cubicBezTo>
                      <a:pt x="34" y="39"/>
                      <a:pt x="28" y="40"/>
                      <a:pt x="27" y="40"/>
                    </a:cubicBezTo>
                    <a:cubicBezTo>
                      <a:pt x="27" y="40"/>
                      <a:pt x="26" y="38"/>
                      <a:pt x="23" y="38"/>
                    </a:cubicBezTo>
                    <a:cubicBezTo>
                      <a:pt x="21" y="39"/>
                      <a:pt x="16" y="48"/>
                      <a:pt x="12" y="52"/>
                    </a:cubicBezTo>
                    <a:cubicBezTo>
                      <a:pt x="9" y="56"/>
                      <a:pt x="8" y="63"/>
                      <a:pt x="8" y="63"/>
                    </a:cubicBezTo>
                    <a:lnTo>
                      <a:pt x="10" y="63"/>
                    </a:lnTo>
                    <a:close/>
                    <a:moveTo>
                      <a:pt x="20" y="67"/>
                    </a:moveTo>
                    <a:cubicBezTo>
                      <a:pt x="18" y="67"/>
                      <a:pt x="18" y="67"/>
                      <a:pt x="18" y="67"/>
                    </a:cubicBezTo>
                    <a:cubicBezTo>
                      <a:pt x="18" y="68"/>
                      <a:pt x="18" y="68"/>
                      <a:pt x="18" y="68"/>
                    </a:cubicBezTo>
                    <a:cubicBezTo>
                      <a:pt x="16" y="69"/>
                      <a:pt x="16" y="69"/>
                      <a:pt x="16" y="69"/>
                    </a:cubicBezTo>
                    <a:cubicBezTo>
                      <a:pt x="16" y="69"/>
                      <a:pt x="17" y="70"/>
                      <a:pt x="18" y="71"/>
                    </a:cubicBezTo>
                    <a:cubicBezTo>
                      <a:pt x="19" y="71"/>
                      <a:pt x="22" y="71"/>
                      <a:pt x="23" y="70"/>
                    </a:cubicBezTo>
                    <a:cubicBezTo>
                      <a:pt x="24" y="69"/>
                      <a:pt x="21" y="69"/>
                      <a:pt x="21" y="69"/>
                    </a:cubicBezTo>
                    <a:lnTo>
                      <a:pt x="20" y="67"/>
                    </a:lnTo>
                    <a:close/>
                    <a:moveTo>
                      <a:pt x="34" y="55"/>
                    </a:moveTo>
                    <a:cubicBezTo>
                      <a:pt x="36" y="55"/>
                      <a:pt x="35" y="51"/>
                      <a:pt x="35" y="51"/>
                    </a:cubicBezTo>
                    <a:cubicBezTo>
                      <a:pt x="33" y="51"/>
                      <a:pt x="33" y="51"/>
                      <a:pt x="33" y="51"/>
                    </a:cubicBezTo>
                    <a:cubicBezTo>
                      <a:pt x="31" y="53"/>
                      <a:pt x="31" y="53"/>
                      <a:pt x="31" y="53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4" y="60"/>
                      <a:pt x="24" y="60"/>
                      <a:pt x="24" y="60"/>
                    </a:cubicBezTo>
                    <a:cubicBezTo>
                      <a:pt x="22" y="61"/>
                      <a:pt x="22" y="61"/>
                      <a:pt x="22" y="61"/>
                    </a:cubicBezTo>
                    <a:cubicBezTo>
                      <a:pt x="20" y="64"/>
                      <a:pt x="20" y="64"/>
                      <a:pt x="20" y="64"/>
                    </a:cubicBezTo>
                    <a:cubicBezTo>
                      <a:pt x="20" y="64"/>
                      <a:pt x="22" y="65"/>
                      <a:pt x="22" y="66"/>
                    </a:cubicBezTo>
                    <a:cubicBezTo>
                      <a:pt x="23" y="66"/>
                      <a:pt x="24" y="67"/>
                      <a:pt x="24" y="67"/>
                    </a:cubicBezTo>
                    <a:cubicBezTo>
                      <a:pt x="28" y="65"/>
                      <a:pt x="28" y="65"/>
                      <a:pt x="28" y="65"/>
                    </a:cubicBezTo>
                    <a:cubicBezTo>
                      <a:pt x="28" y="65"/>
                      <a:pt x="33" y="61"/>
                      <a:pt x="33" y="60"/>
                    </a:cubicBezTo>
                    <a:cubicBezTo>
                      <a:pt x="33" y="60"/>
                      <a:pt x="31" y="56"/>
                      <a:pt x="32" y="55"/>
                    </a:cubicBezTo>
                    <a:cubicBezTo>
                      <a:pt x="33" y="54"/>
                      <a:pt x="33" y="56"/>
                      <a:pt x="34" y="55"/>
                    </a:cubicBezTo>
                    <a:close/>
                    <a:moveTo>
                      <a:pt x="116" y="120"/>
                    </a:moveTo>
                    <a:cubicBezTo>
                      <a:pt x="117" y="122"/>
                      <a:pt x="120" y="123"/>
                      <a:pt x="120" y="123"/>
                    </a:cubicBezTo>
                    <a:cubicBezTo>
                      <a:pt x="120" y="123"/>
                      <a:pt x="118" y="120"/>
                      <a:pt x="117" y="119"/>
                    </a:cubicBezTo>
                    <a:cubicBezTo>
                      <a:pt x="116" y="118"/>
                      <a:pt x="113" y="117"/>
                      <a:pt x="113" y="117"/>
                    </a:cubicBezTo>
                    <a:cubicBezTo>
                      <a:pt x="113" y="117"/>
                      <a:pt x="114" y="120"/>
                      <a:pt x="116" y="120"/>
                    </a:cubicBezTo>
                    <a:close/>
                    <a:moveTo>
                      <a:pt x="112" y="34"/>
                    </a:moveTo>
                    <a:cubicBezTo>
                      <a:pt x="113" y="34"/>
                      <a:pt x="112" y="33"/>
                      <a:pt x="113" y="31"/>
                    </a:cubicBezTo>
                    <a:cubicBezTo>
                      <a:pt x="115" y="30"/>
                      <a:pt x="117" y="30"/>
                      <a:pt x="117" y="30"/>
                    </a:cubicBezTo>
                    <a:cubicBezTo>
                      <a:pt x="116" y="25"/>
                      <a:pt x="116" y="25"/>
                      <a:pt x="116" y="25"/>
                    </a:cubicBezTo>
                    <a:cubicBezTo>
                      <a:pt x="116" y="25"/>
                      <a:pt x="109" y="27"/>
                      <a:pt x="107" y="29"/>
                    </a:cubicBezTo>
                    <a:cubicBezTo>
                      <a:pt x="106" y="30"/>
                      <a:pt x="105" y="32"/>
                      <a:pt x="105" y="32"/>
                    </a:cubicBezTo>
                    <a:cubicBezTo>
                      <a:pt x="108" y="33"/>
                      <a:pt x="108" y="33"/>
                      <a:pt x="108" y="33"/>
                    </a:cubicBezTo>
                    <a:cubicBezTo>
                      <a:pt x="108" y="33"/>
                      <a:pt x="109" y="35"/>
                      <a:pt x="112" y="34"/>
                    </a:cubicBezTo>
                    <a:close/>
                    <a:moveTo>
                      <a:pt x="41" y="58"/>
                    </a:moveTo>
                    <a:cubicBezTo>
                      <a:pt x="35" y="59"/>
                      <a:pt x="35" y="59"/>
                      <a:pt x="35" y="59"/>
                    </a:cubicBezTo>
                    <a:cubicBezTo>
                      <a:pt x="37" y="60"/>
                      <a:pt x="37" y="60"/>
                      <a:pt x="37" y="60"/>
                    </a:cubicBezTo>
                    <a:lnTo>
                      <a:pt x="41" y="58"/>
                    </a:lnTo>
                    <a:close/>
                    <a:moveTo>
                      <a:pt x="15" y="163"/>
                    </a:moveTo>
                    <a:cubicBezTo>
                      <a:pt x="15" y="163"/>
                      <a:pt x="12" y="164"/>
                      <a:pt x="12" y="167"/>
                    </a:cubicBezTo>
                    <a:cubicBezTo>
                      <a:pt x="12" y="170"/>
                      <a:pt x="15" y="172"/>
                      <a:pt x="16" y="172"/>
                    </a:cubicBezTo>
                    <a:cubicBezTo>
                      <a:pt x="17" y="172"/>
                      <a:pt x="16" y="167"/>
                      <a:pt x="16" y="167"/>
                    </a:cubicBezTo>
                    <a:cubicBezTo>
                      <a:pt x="16" y="167"/>
                      <a:pt x="18" y="163"/>
                      <a:pt x="15" y="163"/>
                    </a:cubicBezTo>
                    <a:close/>
                    <a:moveTo>
                      <a:pt x="61" y="183"/>
                    </a:moveTo>
                    <a:cubicBezTo>
                      <a:pt x="59" y="178"/>
                      <a:pt x="59" y="178"/>
                      <a:pt x="59" y="178"/>
                    </a:cubicBezTo>
                    <a:cubicBezTo>
                      <a:pt x="53" y="174"/>
                      <a:pt x="53" y="174"/>
                      <a:pt x="53" y="174"/>
                    </a:cubicBezTo>
                    <a:cubicBezTo>
                      <a:pt x="50" y="175"/>
                      <a:pt x="50" y="175"/>
                      <a:pt x="50" y="175"/>
                    </a:cubicBezTo>
                    <a:cubicBezTo>
                      <a:pt x="50" y="175"/>
                      <a:pt x="52" y="173"/>
                      <a:pt x="53" y="173"/>
                    </a:cubicBezTo>
                    <a:cubicBezTo>
                      <a:pt x="54" y="172"/>
                      <a:pt x="53" y="170"/>
                      <a:pt x="53" y="170"/>
                    </a:cubicBezTo>
                    <a:cubicBezTo>
                      <a:pt x="52" y="170"/>
                      <a:pt x="52" y="170"/>
                      <a:pt x="52" y="170"/>
                    </a:cubicBezTo>
                    <a:cubicBezTo>
                      <a:pt x="56" y="165"/>
                      <a:pt x="56" y="165"/>
                      <a:pt x="56" y="165"/>
                    </a:cubicBezTo>
                    <a:cubicBezTo>
                      <a:pt x="56" y="165"/>
                      <a:pt x="58" y="165"/>
                      <a:pt x="59" y="164"/>
                    </a:cubicBezTo>
                    <a:cubicBezTo>
                      <a:pt x="60" y="163"/>
                      <a:pt x="59" y="159"/>
                      <a:pt x="59" y="159"/>
                    </a:cubicBezTo>
                    <a:cubicBezTo>
                      <a:pt x="57" y="160"/>
                      <a:pt x="57" y="160"/>
                      <a:pt x="57" y="160"/>
                    </a:cubicBezTo>
                    <a:cubicBezTo>
                      <a:pt x="59" y="159"/>
                      <a:pt x="59" y="159"/>
                      <a:pt x="59" y="159"/>
                    </a:cubicBezTo>
                    <a:cubicBezTo>
                      <a:pt x="59" y="159"/>
                      <a:pt x="57" y="155"/>
                      <a:pt x="57" y="154"/>
                    </a:cubicBezTo>
                    <a:cubicBezTo>
                      <a:pt x="57" y="151"/>
                      <a:pt x="59" y="148"/>
                      <a:pt x="59" y="148"/>
                    </a:cubicBezTo>
                    <a:cubicBezTo>
                      <a:pt x="58" y="145"/>
                      <a:pt x="58" y="145"/>
                      <a:pt x="58" y="145"/>
                    </a:cubicBezTo>
                    <a:cubicBezTo>
                      <a:pt x="58" y="145"/>
                      <a:pt x="53" y="146"/>
                      <a:pt x="53" y="145"/>
                    </a:cubicBezTo>
                    <a:cubicBezTo>
                      <a:pt x="54" y="144"/>
                      <a:pt x="59" y="143"/>
                      <a:pt x="59" y="143"/>
                    </a:cubicBezTo>
                    <a:cubicBezTo>
                      <a:pt x="67" y="137"/>
                      <a:pt x="67" y="137"/>
                      <a:pt x="67" y="137"/>
                    </a:cubicBezTo>
                    <a:cubicBezTo>
                      <a:pt x="63" y="137"/>
                      <a:pt x="63" y="137"/>
                      <a:pt x="63" y="137"/>
                    </a:cubicBezTo>
                    <a:cubicBezTo>
                      <a:pt x="63" y="137"/>
                      <a:pt x="60" y="133"/>
                      <a:pt x="59" y="133"/>
                    </a:cubicBezTo>
                    <a:cubicBezTo>
                      <a:pt x="56" y="132"/>
                      <a:pt x="56" y="132"/>
                      <a:pt x="56" y="132"/>
                    </a:cubicBezTo>
                    <a:cubicBezTo>
                      <a:pt x="56" y="132"/>
                      <a:pt x="57" y="131"/>
                      <a:pt x="59" y="131"/>
                    </a:cubicBezTo>
                    <a:cubicBezTo>
                      <a:pt x="60" y="131"/>
                      <a:pt x="65" y="134"/>
                      <a:pt x="68" y="133"/>
                    </a:cubicBezTo>
                    <a:cubicBezTo>
                      <a:pt x="71" y="132"/>
                      <a:pt x="73" y="128"/>
                      <a:pt x="73" y="128"/>
                    </a:cubicBezTo>
                    <a:cubicBezTo>
                      <a:pt x="73" y="125"/>
                      <a:pt x="73" y="125"/>
                      <a:pt x="73" y="125"/>
                    </a:cubicBezTo>
                    <a:cubicBezTo>
                      <a:pt x="73" y="124"/>
                      <a:pt x="67" y="122"/>
                      <a:pt x="67" y="122"/>
                    </a:cubicBezTo>
                    <a:cubicBezTo>
                      <a:pt x="67" y="120"/>
                      <a:pt x="70" y="122"/>
                      <a:pt x="70" y="122"/>
                    </a:cubicBezTo>
                    <a:cubicBezTo>
                      <a:pt x="73" y="120"/>
                      <a:pt x="73" y="120"/>
                      <a:pt x="73" y="120"/>
                    </a:cubicBezTo>
                    <a:cubicBezTo>
                      <a:pt x="77" y="120"/>
                      <a:pt x="77" y="120"/>
                      <a:pt x="77" y="120"/>
                    </a:cubicBezTo>
                    <a:cubicBezTo>
                      <a:pt x="79" y="123"/>
                      <a:pt x="79" y="123"/>
                      <a:pt x="79" y="123"/>
                    </a:cubicBezTo>
                    <a:cubicBezTo>
                      <a:pt x="80" y="123"/>
                      <a:pt x="80" y="123"/>
                      <a:pt x="80" y="123"/>
                    </a:cubicBezTo>
                    <a:cubicBezTo>
                      <a:pt x="80" y="123"/>
                      <a:pt x="81" y="119"/>
                      <a:pt x="81" y="118"/>
                    </a:cubicBezTo>
                    <a:cubicBezTo>
                      <a:pt x="82" y="117"/>
                      <a:pt x="83" y="116"/>
                      <a:pt x="83" y="116"/>
                    </a:cubicBezTo>
                    <a:cubicBezTo>
                      <a:pt x="83" y="110"/>
                      <a:pt x="83" y="110"/>
                      <a:pt x="83" y="110"/>
                    </a:cubicBezTo>
                    <a:cubicBezTo>
                      <a:pt x="83" y="109"/>
                      <a:pt x="81" y="104"/>
                      <a:pt x="81" y="103"/>
                    </a:cubicBezTo>
                    <a:cubicBezTo>
                      <a:pt x="81" y="102"/>
                      <a:pt x="87" y="95"/>
                      <a:pt x="89" y="95"/>
                    </a:cubicBezTo>
                    <a:cubicBezTo>
                      <a:pt x="90" y="95"/>
                      <a:pt x="90" y="97"/>
                      <a:pt x="90" y="97"/>
                    </a:cubicBezTo>
                    <a:cubicBezTo>
                      <a:pt x="87" y="101"/>
                      <a:pt x="87" y="101"/>
                      <a:pt x="87" y="101"/>
                    </a:cubicBezTo>
                    <a:cubicBezTo>
                      <a:pt x="87" y="103"/>
                      <a:pt x="87" y="103"/>
                      <a:pt x="87" y="103"/>
                    </a:cubicBezTo>
                    <a:cubicBezTo>
                      <a:pt x="87" y="103"/>
                      <a:pt x="90" y="102"/>
                      <a:pt x="91" y="102"/>
                    </a:cubicBezTo>
                    <a:cubicBezTo>
                      <a:pt x="92" y="103"/>
                      <a:pt x="91" y="104"/>
                      <a:pt x="90" y="106"/>
                    </a:cubicBezTo>
                    <a:cubicBezTo>
                      <a:pt x="89" y="106"/>
                      <a:pt x="92" y="107"/>
                      <a:pt x="93" y="107"/>
                    </a:cubicBezTo>
                    <a:cubicBezTo>
                      <a:pt x="94" y="106"/>
                      <a:pt x="93" y="102"/>
                      <a:pt x="93" y="102"/>
                    </a:cubicBezTo>
                    <a:cubicBezTo>
                      <a:pt x="93" y="102"/>
                      <a:pt x="94" y="99"/>
                      <a:pt x="96" y="99"/>
                    </a:cubicBezTo>
                    <a:cubicBezTo>
                      <a:pt x="97" y="99"/>
                      <a:pt x="98" y="101"/>
                      <a:pt x="97" y="101"/>
                    </a:cubicBezTo>
                    <a:cubicBezTo>
                      <a:pt x="96" y="102"/>
                      <a:pt x="96" y="103"/>
                      <a:pt x="97" y="104"/>
                    </a:cubicBezTo>
                    <a:cubicBezTo>
                      <a:pt x="98" y="104"/>
                      <a:pt x="100" y="103"/>
                      <a:pt x="100" y="103"/>
                    </a:cubicBezTo>
                    <a:cubicBezTo>
                      <a:pt x="100" y="100"/>
                      <a:pt x="100" y="100"/>
                      <a:pt x="100" y="100"/>
                    </a:cubicBezTo>
                    <a:cubicBezTo>
                      <a:pt x="103" y="97"/>
                      <a:pt x="103" y="97"/>
                      <a:pt x="103" y="97"/>
                    </a:cubicBezTo>
                    <a:cubicBezTo>
                      <a:pt x="103" y="96"/>
                      <a:pt x="103" y="96"/>
                      <a:pt x="103" y="96"/>
                    </a:cubicBezTo>
                    <a:cubicBezTo>
                      <a:pt x="107" y="92"/>
                      <a:pt x="107" y="92"/>
                      <a:pt x="107" y="92"/>
                    </a:cubicBezTo>
                    <a:cubicBezTo>
                      <a:pt x="106" y="86"/>
                      <a:pt x="106" y="86"/>
                      <a:pt x="106" y="86"/>
                    </a:cubicBezTo>
                    <a:cubicBezTo>
                      <a:pt x="107" y="85"/>
                      <a:pt x="107" y="85"/>
                      <a:pt x="107" y="85"/>
                    </a:cubicBezTo>
                    <a:cubicBezTo>
                      <a:pt x="107" y="82"/>
                      <a:pt x="107" y="82"/>
                      <a:pt x="107" y="82"/>
                    </a:cubicBezTo>
                    <a:cubicBezTo>
                      <a:pt x="107" y="80"/>
                      <a:pt x="103" y="78"/>
                      <a:pt x="103" y="78"/>
                    </a:cubicBezTo>
                    <a:cubicBezTo>
                      <a:pt x="91" y="80"/>
                      <a:pt x="91" y="80"/>
                      <a:pt x="91" y="80"/>
                    </a:cubicBezTo>
                    <a:cubicBezTo>
                      <a:pt x="87" y="78"/>
                      <a:pt x="87" y="78"/>
                      <a:pt x="87" y="78"/>
                    </a:cubicBezTo>
                    <a:cubicBezTo>
                      <a:pt x="87" y="78"/>
                      <a:pt x="86" y="75"/>
                      <a:pt x="85" y="75"/>
                    </a:cubicBezTo>
                    <a:cubicBezTo>
                      <a:pt x="84" y="74"/>
                      <a:pt x="82" y="76"/>
                      <a:pt x="82" y="76"/>
                    </a:cubicBezTo>
                    <a:cubicBezTo>
                      <a:pt x="82" y="78"/>
                      <a:pt x="82" y="78"/>
                      <a:pt x="82" y="78"/>
                    </a:cubicBezTo>
                    <a:cubicBezTo>
                      <a:pt x="81" y="76"/>
                      <a:pt x="81" y="76"/>
                      <a:pt x="81" y="76"/>
                    </a:cubicBezTo>
                    <a:cubicBezTo>
                      <a:pt x="84" y="72"/>
                      <a:pt x="84" y="72"/>
                      <a:pt x="84" y="72"/>
                    </a:cubicBezTo>
                    <a:cubicBezTo>
                      <a:pt x="85" y="72"/>
                      <a:pt x="85" y="72"/>
                      <a:pt x="85" y="72"/>
                    </a:cubicBezTo>
                    <a:cubicBezTo>
                      <a:pt x="87" y="69"/>
                      <a:pt x="87" y="69"/>
                      <a:pt x="87" y="69"/>
                    </a:cubicBezTo>
                    <a:cubicBezTo>
                      <a:pt x="85" y="68"/>
                      <a:pt x="85" y="68"/>
                      <a:pt x="85" y="68"/>
                    </a:cubicBezTo>
                    <a:cubicBezTo>
                      <a:pt x="86" y="65"/>
                      <a:pt x="86" y="65"/>
                      <a:pt x="86" y="65"/>
                    </a:cubicBezTo>
                    <a:cubicBezTo>
                      <a:pt x="85" y="63"/>
                      <a:pt x="85" y="63"/>
                      <a:pt x="85" y="63"/>
                    </a:cubicBezTo>
                    <a:cubicBezTo>
                      <a:pt x="84" y="54"/>
                      <a:pt x="84" y="54"/>
                      <a:pt x="84" y="54"/>
                    </a:cubicBezTo>
                    <a:cubicBezTo>
                      <a:pt x="85" y="51"/>
                      <a:pt x="85" y="51"/>
                      <a:pt x="85" y="51"/>
                    </a:cubicBezTo>
                    <a:cubicBezTo>
                      <a:pt x="85" y="50"/>
                      <a:pt x="81" y="50"/>
                      <a:pt x="81" y="50"/>
                    </a:cubicBezTo>
                    <a:cubicBezTo>
                      <a:pt x="74" y="45"/>
                      <a:pt x="74" y="45"/>
                      <a:pt x="74" y="45"/>
                    </a:cubicBezTo>
                    <a:cubicBezTo>
                      <a:pt x="72" y="45"/>
                      <a:pt x="72" y="45"/>
                      <a:pt x="72" y="45"/>
                    </a:cubicBezTo>
                    <a:cubicBezTo>
                      <a:pt x="64" y="46"/>
                      <a:pt x="64" y="46"/>
                      <a:pt x="64" y="46"/>
                    </a:cubicBezTo>
                    <a:cubicBezTo>
                      <a:pt x="64" y="46"/>
                      <a:pt x="60" y="48"/>
                      <a:pt x="60" y="49"/>
                    </a:cubicBezTo>
                    <a:cubicBezTo>
                      <a:pt x="59" y="50"/>
                      <a:pt x="57" y="52"/>
                      <a:pt x="56" y="51"/>
                    </a:cubicBezTo>
                    <a:cubicBezTo>
                      <a:pt x="56" y="50"/>
                      <a:pt x="58" y="49"/>
                      <a:pt x="57" y="48"/>
                    </a:cubicBezTo>
                    <a:cubicBezTo>
                      <a:pt x="57" y="46"/>
                      <a:pt x="49" y="48"/>
                      <a:pt x="49" y="48"/>
                    </a:cubicBezTo>
                    <a:cubicBezTo>
                      <a:pt x="43" y="54"/>
                      <a:pt x="43" y="54"/>
                      <a:pt x="43" y="54"/>
                    </a:cubicBezTo>
                    <a:cubicBezTo>
                      <a:pt x="43" y="54"/>
                      <a:pt x="44" y="62"/>
                      <a:pt x="44" y="63"/>
                    </a:cubicBezTo>
                    <a:cubicBezTo>
                      <a:pt x="43" y="63"/>
                      <a:pt x="45" y="64"/>
                      <a:pt x="45" y="64"/>
                    </a:cubicBezTo>
                    <a:cubicBezTo>
                      <a:pt x="45" y="64"/>
                      <a:pt x="45" y="65"/>
                      <a:pt x="44" y="65"/>
                    </a:cubicBezTo>
                    <a:cubicBezTo>
                      <a:pt x="43" y="66"/>
                      <a:pt x="44" y="68"/>
                      <a:pt x="44" y="68"/>
                    </a:cubicBezTo>
                    <a:cubicBezTo>
                      <a:pt x="45" y="68"/>
                      <a:pt x="48" y="69"/>
                      <a:pt x="48" y="69"/>
                    </a:cubicBezTo>
                    <a:cubicBezTo>
                      <a:pt x="48" y="76"/>
                      <a:pt x="48" y="76"/>
                      <a:pt x="48" y="76"/>
                    </a:cubicBezTo>
                    <a:cubicBezTo>
                      <a:pt x="51" y="76"/>
                      <a:pt x="51" y="76"/>
                      <a:pt x="51" y="76"/>
                    </a:cubicBezTo>
                    <a:cubicBezTo>
                      <a:pt x="51" y="76"/>
                      <a:pt x="50" y="78"/>
                      <a:pt x="48" y="78"/>
                    </a:cubicBezTo>
                    <a:cubicBezTo>
                      <a:pt x="45" y="79"/>
                      <a:pt x="45" y="76"/>
                      <a:pt x="45" y="76"/>
                    </a:cubicBezTo>
                    <a:cubicBezTo>
                      <a:pt x="47" y="72"/>
                      <a:pt x="47" y="72"/>
                      <a:pt x="47" y="72"/>
                    </a:cubicBezTo>
                    <a:cubicBezTo>
                      <a:pt x="43" y="70"/>
                      <a:pt x="43" y="70"/>
                      <a:pt x="43" y="70"/>
                    </a:cubicBezTo>
                    <a:cubicBezTo>
                      <a:pt x="43" y="70"/>
                      <a:pt x="41" y="72"/>
                      <a:pt x="40" y="72"/>
                    </a:cubicBezTo>
                    <a:cubicBezTo>
                      <a:pt x="40" y="76"/>
                      <a:pt x="40" y="76"/>
                      <a:pt x="40" y="76"/>
                    </a:cubicBezTo>
                    <a:cubicBezTo>
                      <a:pt x="39" y="76"/>
                      <a:pt x="39" y="76"/>
                      <a:pt x="39" y="76"/>
                    </a:cubicBezTo>
                    <a:cubicBezTo>
                      <a:pt x="38" y="74"/>
                      <a:pt x="38" y="74"/>
                      <a:pt x="38" y="74"/>
                    </a:cubicBezTo>
                    <a:cubicBezTo>
                      <a:pt x="42" y="67"/>
                      <a:pt x="42" y="67"/>
                      <a:pt x="42" y="67"/>
                    </a:cubicBezTo>
                    <a:cubicBezTo>
                      <a:pt x="40" y="62"/>
                      <a:pt x="40" y="62"/>
                      <a:pt x="40" y="62"/>
                    </a:cubicBezTo>
                    <a:cubicBezTo>
                      <a:pt x="35" y="62"/>
                      <a:pt x="35" y="62"/>
                      <a:pt x="35" y="62"/>
                    </a:cubicBezTo>
                    <a:cubicBezTo>
                      <a:pt x="33" y="62"/>
                      <a:pt x="32" y="64"/>
                      <a:pt x="32" y="66"/>
                    </a:cubicBezTo>
                    <a:cubicBezTo>
                      <a:pt x="31" y="67"/>
                      <a:pt x="33" y="67"/>
                      <a:pt x="33" y="67"/>
                    </a:cubicBezTo>
                    <a:cubicBezTo>
                      <a:pt x="30" y="68"/>
                      <a:pt x="30" y="68"/>
                      <a:pt x="30" y="68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27" y="77"/>
                      <a:pt x="27" y="79"/>
                    </a:cubicBezTo>
                    <a:cubicBezTo>
                      <a:pt x="27" y="82"/>
                      <a:pt x="22" y="81"/>
                      <a:pt x="22" y="81"/>
                    </a:cubicBezTo>
                    <a:cubicBezTo>
                      <a:pt x="20" y="76"/>
                      <a:pt x="20" y="76"/>
                      <a:pt x="20" y="76"/>
                    </a:cubicBezTo>
                    <a:cubicBezTo>
                      <a:pt x="20" y="76"/>
                      <a:pt x="12" y="75"/>
                      <a:pt x="9" y="74"/>
                    </a:cubicBezTo>
                    <a:cubicBezTo>
                      <a:pt x="6" y="72"/>
                      <a:pt x="7" y="70"/>
                      <a:pt x="7" y="68"/>
                    </a:cubicBezTo>
                    <a:cubicBezTo>
                      <a:pt x="7" y="67"/>
                      <a:pt x="8" y="66"/>
                      <a:pt x="8" y="66"/>
                    </a:cubicBezTo>
                    <a:cubicBezTo>
                      <a:pt x="7" y="64"/>
                      <a:pt x="7" y="64"/>
                      <a:pt x="7" y="64"/>
                    </a:cubicBezTo>
                    <a:cubicBezTo>
                      <a:pt x="5" y="70"/>
                      <a:pt x="5" y="70"/>
                      <a:pt x="5" y="70"/>
                    </a:cubicBezTo>
                    <a:cubicBezTo>
                      <a:pt x="4" y="74"/>
                      <a:pt x="3" y="85"/>
                      <a:pt x="3" y="85"/>
                    </a:cubicBezTo>
                    <a:cubicBezTo>
                      <a:pt x="4" y="84"/>
                      <a:pt x="4" y="84"/>
                      <a:pt x="4" y="84"/>
                    </a:cubicBezTo>
                    <a:cubicBezTo>
                      <a:pt x="9" y="92"/>
                      <a:pt x="9" y="92"/>
                      <a:pt x="9" y="92"/>
                    </a:cubicBezTo>
                    <a:cubicBezTo>
                      <a:pt x="7" y="92"/>
                      <a:pt x="7" y="92"/>
                      <a:pt x="7" y="92"/>
                    </a:cubicBezTo>
                    <a:cubicBezTo>
                      <a:pt x="6" y="90"/>
                      <a:pt x="6" y="90"/>
                      <a:pt x="6" y="90"/>
                    </a:cubicBezTo>
                    <a:cubicBezTo>
                      <a:pt x="4" y="88"/>
                      <a:pt x="4" y="88"/>
                      <a:pt x="4" y="88"/>
                    </a:cubicBezTo>
                    <a:cubicBezTo>
                      <a:pt x="3" y="96"/>
                      <a:pt x="3" y="96"/>
                      <a:pt x="3" y="96"/>
                    </a:cubicBezTo>
                    <a:cubicBezTo>
                      <a:pt x="5" y="95"/>
                      <a:pt x="5" y="95"/>
                      <a:pt x="5" y="95"/>
                    </a:cubicBezTo>
                    <a:cubicBezTo>
                      <a:pt x="7" y="99"/>
                      <a:pt x="7" y="99"/>
                      <a:pt x="7" y="99"/>
                    </a:cubicBezTo>
                    <a:cubicBezTo>
                      <a:pt x="5" y="100"/>
                      <a:pt x="5" y="100"/>
                      <a:pt x="5" y="100"/>
                    </a:cubicBezTo>
                    <a:cubicBezTo>
                      <a:pt x="4" y="98"/>
                      <a:pt x="4" y="98"/>
                      <a:pt x="4" y="98"/>
                    </a:cubicBezTo>
                    <a:cubicBezTo>
                      <a:pt x="2" y="99"/>
                      <a:pt x="2" y="99"/>
                      <a:pt x="2" y="99"/>
                    </a:cubicBezTo>
                    <a:cubicBezTo>
                      <a:pt x="1" y="110"/>
                      <a:pt x="1" y="110"/>
                      <a:pt x="1" y="110"/>
                    </a:cubicBezTo>
                    <a:cubicBezTo>
                      <a:pt x="2" y="109"/>
                      <a:pt x="2" y="109"/>
                      <a:pt x="2" y="109"/>
                    </a:cubicBezTo>
                    <a:cubicBezTo>
                      <a:pt x="4" y="104"/>
                      <a:pt x="4" y="104"/>
                      <a:pt x="4" y="104"/>
                    </a:cubicBezTo>
                    <a:cubicBezTo>
                      <a:pt x="8" y="107"/>
                      <a:pt x="8" y="107"/>
                      <a:pt x="8" y="107"/>
                    </a:cubicBezTo>
                    <a:cubicBezTo>
                      <a:pt x="8" y="113"/>
                      <a:pt x="8" y="113"/>
                      <a:pt x="8" y="113"/>
                    </a:cubicBezTo>
                    <a:cubicBezTo>
                      <a:pt x="8" y="113"/>
                      <a:pt x="12" y="115"/>
                      <a:pt x="11" y="117"/>
                    </a:cubicBezTo>
                    <a:cubicBezTo>
                      <a:pt x="10" y="119"/>
                      <a:pt x="8" y="122"/>
                      <a:pt x="6" y="120"/>
                    </a:cubicBezTo>
                    <a:cubicBezTo>
                      <a:pt x="3" y="119"/>
                      <a:pt x="4" y="112"/>
                      <a:pt x="4" y="112"/>
                    </a:cubicBezTo>
                    <a:cubicBezTo>
                      <a:pt x="3" y="112"/>
                      <a:pt x="3" y="112"/>
                      <a:pt x="3" y="112"/>
                    </a:cubicBezTo>
                    <a:cubicBezTo>
                      <a:pt x="3" y="112"/>
                      <a:pt x="4" y="122"/>
                      <a:pt x="4" y="124"/>
                    </a:cubicBezTo>
                    <a:cubicBezTo>
                      <a:pt x="4" y="127"/>
                      <a:pt x="1" y="131"/>
                      <a:pt x="1" y="131"/>
                    </a:cubicBezTo>
                    <a:cubicBezTo>
                      <a:pt x="2" y="132"/>
                      <a:pt x="2" y="132"/>
                      <a:pt x="2" y="132"/>
                    </a:cubicBezTo>
                    <a:cubicBezTo>
                      <a:pt x="0" y="140"/>
                      <a:pt x="0" y="140"/>
                      <a:pt x="0" y="140"/>
                    </a:cubicBezTo>
                    <a:cubicBezTo>
                      <a:pt x="2" y="141"/>
                      <a:pt x="2" y="141"/>
                      <a:pt x="2" y="141"/>
                    </a:cubicBezTo>
                    <a:cubicBezTo>
                      <a:pt x="7" y="145"/>
                      <a:pt x="7" y="145"/>
                      <a:pt x="7" y="145"/>
                    </a:cubicBezTo>
                    <a:cubicBezTo>
                      <a:pt x="5" y="138"/>
                      <a:pt x="5" y="138"/>
                      <a:pt x="5" y="138"/>
                    </a:cubicBezTo>
                    <a:cubicBezTo>
                      <a:pt x="7" y="138"/>
                      <a:pt x="7" y="138"/>
                      <a:pt x="7" y="138"/>
                    </a:cubicBezTo>
                    <a:cubicBezTo>
                      <a:pt x="9" y="145"/>
                      <a:pt x="9" y="145"/>
                      <a:pt x="9" y="145"/>
                    </a:cubicBezTo>
                    <a:cubicBezTo>
                      <a:pt x="15" y="147"/>
                      <a:pt x="15" y="147"/>
                      <a:pt x="15" y="147"/>
                    </a:cubicBezTo>
                    <a:cubicBezTo>
                      <a:pt x="17" y="147"/>
                      <a:pt x="17" y="147"/>
                      <a:pt x="17" y="147"/>
                    </a:cubicBezTo>
                    <a:cubicBezTo>
                      <a:pt x="21" y="156"/>
                      <a:pt x="21" y="156"/>
                      <a:pt x="21" y="156"/>
                    </a:cubicBezTo>
                    <a:cubicBezTo>
                      <a:pt x="20" y="159"/>
                      <a:pt x="20" y="159"/>
                      <a:pt x="20" y="159"/>
                    </a:cubicBezTo>
                    <a:cubicBezTo>
                      <a:pt x="20" y="159"/>
                      <a:pt x="21" y="163"/>
                      <a:pt x="21" y="166"/>
                    </a:cubicBezTo>
                    <a:cubicBezTo>
                      <a:pt x="21" y="169"/>
                      <a:pt x="18" y="173"/>
                      <a:pt x="18" y="175"/>
                    </a:cubicBezTo>
                    <a:cubicBezTo>
                      <a:pt x="18" y="177"/>
                      <a:pt x="20" y="178"/>
                      <a:pt x="20" y="179"/>
                    </a:cubicBezTo>
                    <a:cubicBezTo>
                      <a:pt x="19" y="179"/>
                      <a:pt x="19" y="180"/>
                      <a:pt x="19" y="181"/>
                    </a:cubicBezTo>
                    <a:cubicBezTo>
                      <a:pt x="20" y="181"/>
                      <a:pt x="21" y="182"/>
                      <a:pt x="22" y="182"/>
                    </a:cubicBezTo>
                    <a:cubicBezTo>
                      <a:pt x="28" y="181"/>
                      <a:pt x="33" y="183"/>
                      <a:pt x="39" y="185"/>
                    </a:cubicBezTo>
                    <a:cubicBezTo>
                      <a:pt x="41" y="185"/>
                      <a:pt x="40" y="190"/>
                      <a:pt x="44" y="189"/>
                    </a:cubicBezTo>
                    <a:cubicBezTo>
                      <a:pt x="47" y="187"/>
                      <a:pt x="48" y="183"/>
                      <a:pt x="49" y="189"/>
                    </a:cubicBezTo>
                    <a:cubicBezTo>
                      <a:pt x="49" y="189"/>
                      <a:pt x="49" y="188"/>
                      <a:pt x="50" y="188"/>
                    </a:cubicBezTo>
                    <a:cubicBezTo>
                      <a:pt x="50" y="186"/>
                      <a:pt x="50" y="186"/>
                      <a:pt x="50" y="186"/>
                    </a:cubicBezTo>
                    <a:cubicBezTo>
                      <a:pt x="54" y="183"/>
                      <a:pt x="54" y="183"/>
                      <a:pt x="54" y="183"/>
                    </a:cubicBezTo>
                    <a:cubicBezTo>
                      <a:pt x="54" y="183"/>
                      <a:pt x="56" y="181"/>
                      <a:pt x="57" y="181"/>
                    </a:cubicBezTo>
                    <a:cubicBezTo>
                      <a:pt x="58" y="181"/>
                      <a:pt x="57" y="185"/>
                      <a:pt x="57" y="186"/>
                    </a:cubicBezTo>
                    <a:cubicBezTo>
                      <a:pt x="57" y="187"/>
                      <a:pt x="59" y="188"/>
                      <a:pt x="61" y="188"/>
                    </a:cubicBezTo>
                    <a:cubicBezTo>
                      <a:pt x="63" y="187"/>
                      <a:pt x="60" y="186"/>
                      <a:pt x="59" y="185"/>
                    </a:cubicBezTo>
                    <a:cubicBezTo>
                      <a:pt x="59" y="183"/>
                      <a:pt x="61" y="183"/>
                      <a:pt x="61" y="183"/>
                    </a:cubicBezTo>
                    <a:close/>
                    <a:moveTo>
                      <a:pt x="170" y="130"/>
                    </a:moveTo>
                    <a:cubicBezTo>
                      <a:pt x="170" y="129"/>
                      <a:pt x="169" y="126"/>
                      <a:pt x="169" y="125"/>
                    </a:cubicBezTo>
                    <a:cubicBezTo>
                      <a:pt x="167" y="116"/>
                      <a:pt x="167" y="116"/>
                      <a:pt x="167" y="116"/>
                    </a:cubicBezTo>
                    <a:cubicBezTo>
                      <a:pt x="167" y="116"/>
                      <a:pt x="167" y="112"/>
                      <a:pt x="168" y="111"/>
                    </a:cubicBezTo>
                    <a:cubicBezTo>
                      <a:pt x="170" y="111"/>
                      <a:pt x="171" y="109"/>
                      <a:pt x="169" y="108"/>
                    </a:cubicBezTo>
                    <a:cubicBezTo>
                      <a:pt x="167" y="107"/>
                      <a:pt x="157" y="104"/>
                      <a:pt x="157" y="104"/>
                    </a:cubicBezTo>
                    <a:cubicBezTo>
                      <a:pt x="157" y="104"/>
                      <a:pt x="152" y="108"/>
                      <a:pt x="149" y="110"/>
                    </a:cubicBezTo>
                    <a:cubicBezTo>
                      <a:pt x="146" y="111"/>
                      <a:pt x="142" y="112"/>
                      <a:pt x="142" y="112"/>
                    </a:cubicBezTo>
                    <a:cubicBezTo>
                      <a:pt x="142" y="114"/>
                      <a:pt x="142" y="114"/>
                      <a:pt x="142" y="114"/>
                    </a:cubicBezTo>
                    <a:cubicBezTo>
                      <a:pt x="142" y="114"/>
                      <a:pt x="147" y="113"/>
                      <a:pt x="148" y="114"/>
                    </a:cubicBezTo>
                    <a:cubicBezTo>
                      <a:pt x="149" y="116"/>
                      <a:pt x="149" y="120"/>
                      <a:pt x="149" y="120"/>
                    </a:cubicBezTo>
                    <a:cubicBezTo>
                      <a:pt x="151" y="126"/>
                      <a:pt x="151" y="126"/>
                      <a:pt x="151" y="126"/>
                    </a:cubicBezTo>
                    <a:cubicBezTo>
                      <a:pt x="150" y="131"/>
                      <a:pt x="150" y="131"/>
                      <a:pt x="150" y="131"/>
                    </a:cubicBezTo>
                    <a:cubicBezTo>
                      <a:pt x="151" y="133"/>
                      <a:pt x="151" y="133"/>
                      <a:pt x="151" y="133"/>
                    </a:cubicBezTo>
                    <a:cubicBezTo>
                      <a:pt x="148" y="132"/>
                      <a:pt x="148" y="132"/>
                      <a:pt x="148" y="132"/>
                    </a:cubicBezTo>
                    <a:cubicBezTo>
                      <a:pt x="143" y="133"/>
                      <a:pt x="143" y="133"/>
                      <a:pt x="143" y="133"/>
                    </a:cubicBezTo>
                    <a:cubicBezTo>
                      <a:pt x="146" y="129"/>
                      <a:pt x="146" y="129"/>
                      <a:pt x="146" y="129"/>
                    </a:cubicBezTo>
                    <a:cubicBezTo>
                      <a:pt x="149" y="129"/>
                      <a:pt x="149" y="129"/>
                      <a:pt x="149" y="129"/>
                    </a:cubicBezTo>
                    <a:cubicBezTo>
                      <a:pt x="149" y="128"/>
                      <a:pt x="149" y="125"/>
                      <a:pt x="148" y="124"/>
                    </a:cubicBezTo>
                    <a:cubicBezTo>
                      <a:pt x="148" y="117"/>
                      <a:pt x="148" y="117"/>
                      <a:pt x="148" y="117"/>
                    </a:cubicBezTo>
                    <a:cubicBezTo>
                      <a:pt x="148" y="117"/>
                      <a:pt x="146" y="115"/>
                      <a:pt x="145" y="116"/>
                    </a:cubicBezTo>
                    <a:cubicBezTo>
                      <a:pt x="142" y="117"/>
                      <a:pt x="145" y="122"/>
                      <a:pt x="145" y="122"/>
                    </a:cubicBezTo>
                    <a:cubicBezTo>
                      <a:pt x="145" y="122"/>
                      <a:pt x="142" y="123"/>
                      <a:pt x="142" y="125"/>
                    </a:cubicBezTo>
                    <a:cubicBezTo>
                      <a:pt x="142" y="130"/>
                      <a:pt x="142" y="130"/>
                      <a:pt x="142" y="130"/>
                    </a:cubicBezTo>
                    <a:cubicBezTo>
                      <a:pt x="139" y="134"/>
                      <a:pt x="139" y="134"/>
                      <a:pt x="139" y="134"/>
                    </a:cubicBezTo>
                    <a:cubicBezTo>
                      <a:pt x="140" y="130"/>
                      <a:pt x="140" y="130"/>
                      <a:pt x="140" y="130"/>
                    </a:cubicBezTo>
                    <a:cubicBezTo>
                      <a:pt x="135" y="130"/>
                      <a:pt x="135" y="130"/>
                      <a:pt x="135" y="130"/>
                    </a:cubicBezTo>
                    <a:cubicBezTo>
                      <a:pt x="138" y="128"/>
                      <a:pt x="138" y="128"/>
                      <a:pt x="138" y="128"/>
                    </a:cubicBezTo>
                    <a:cubicBezTo>
                      <a:pt x="136" y="125"/>
                      <a:pt x="136" y="125"/>
                      <a:pt x="136" y="125"/>
                    </a:cubicBezTo>
                    <a:cubicBezTo>
                      <a:pt x="133" y="125"/>
                      <a:pt x="133" y="125"/>
                      <a:pt x="133" y="125"/>
                    </a:cubicBezTo>
                    <a:cubicBezTo>
                      <a:pt x="133" y="125"/>
                      <a:pt x="137" y="122"/>
                      <a:pt x="137" y="120"/>
                    </a:cubicBezTo>
                    <a:cubicBezTo>
                      <a:pt x="137" y="118"/>
                      <a:pt x="137" y="117"/>
                      <a:pt x="138" y="116"/>
                    </a:cubicBezTo>
                    <a:cubicBezTo>
                      <a:pt x="139" y="116"/>
                      <a:pt x="140" y="114"/>
                      <a:pt x="140" y="114"/>
                    </a:cubicBezTo>
                    <a:cubicBezTo>
                      <a:pt x="139" y="113"/>
                      <a:pt x="139" y="113"/>
                      <a:pt x="139" y="113"/>
                    </a:cubicBezTo>
                    <a:cubicBezTo>
                      <a:pt x="139" y="113"/>
                      <a:pt x="131" y="115"/>
                      <a:pt x="129" y="114"/>
                    </a:cubicBezTo>
                    <a:cubicBezTo>
                      <a:pt x="125" y="113"/>
                      <a:pt x="120" y="110"/>
                      <a:pt x="120" y="110"/>
                    </a:cubicBezTo>
                    <a:cubicBezTo>
                      <a:pt x="121" y="113"/>
                      <a:pt x="121" y="113"/>
                      <a:pt x="121" y="113"/>
                    </a:cubicBezTo>
                    <a:cubicBezTo>
                      <a:pt x="121" y="113"/>
                      <a:pt x="127" y="115"/>
                      <a:pt x="130" y="117"/>
                    </a:cubicBezTo>
                    <a:cubicBezTo>
                      <a:pt x="131" y="119"/>
                      <a:pt x="123" y="122"/>
                      <a:pt x="123" y="122"/>
                    </a:cubicBezTo>
                    <a:cubicBezTo>
                      <a:pt x="123" y="122"/>
                      <a:pt x="123" y="127"/>
                      <a:pt x="121" y="128"/>
                    </a:cubicBezTo>
                    <a:cubicBezTo>
                      <a:pt x="119" y="129"/>
                      <a:pt x="115" y="127"/>
                      <a:pt x="115" y="127"/>
                    </a:cubicBezTo>
                    <a:cubicBezTo>
                      <a:pt x="113" y="129"/>
                      <a:pt x="113" y="129"/>
                      <a:pt x="113" y="129"/>
                    </a:cubicBezTo>
                    <a:cubicBezTo>
                      <a:pt x="109" y="128"/>
                      <a:pt x="109" y="128"/>
                      <a:pt x="109" y="128"/>
                    </a:cubicBezTo>
                    <a:cubicBezTo>
                      <a:pt x="105" y="128"/>
                      <a:pt x="105" y="128"/>
                      <a:pt x="105" y="128"/>
                    </a:cubicBezTo>
                    <a:cubicBezTo>
                      <a:pt x="105" y="130"/>
                      <a:pt x="105" y="130"/>
                      <a:pt x="105" y="130"/>
                    </a:cubicBezTo>
                    <a:cubicBezTo>
                      <a:pt x="108" y="131"/>
                      <a:pt x="108" y="131"/>
                      <a:pt x="108" y="131"/>
                    </a:cubicBezTo>
                    <a:cubicBezTo>
                      <a:pt x="110" y="132"/>
                      <a:pt x="110" y="132"/>
                      <a:pt x="110" y="132"/>
                    </a:cubicBezTo>
                    <a:cubicBezTo>
                      <a:pt x="107" y="132"/>
                      <a:pt x="107" y="132"/>
                      <a:pt x="107" y="132"/>
                    </a:cubicBezTo>
                    <a:cubicBezTo>
                      <a:pt x="107" y="134"/>
                      <a:pt x="107" y="134"/>
                      <a:pt x="107" y="134"/>
                    </a:cubicBezTo>
                    <a:cubicBezTo>
                      <a:pt x="109" y="134"/>
                      <a:pt x="109" y="134"/>
                      <a:pt x="109" y="134"/>
                    </a:cubicBezTo>
                    <a:cubicBezTo>
                      <a:pt x="115" y="138"/>
                      <a:pt x="115" y="138"/>
                      <a:pt x="115" y="138"/>
                    </a:cubicBezTo>
                    <a:cubicBezTo>
                      <a:pt x="115" y="141"/>
                      <a:pt x="115" y="141"/>
                      <a:pt x="115" y="141"/>
                    </a:cubicBezTo>
                    <a:cubicBezTo>
                      <a:pt x="113" y="142"/>
                      <a:pt x="113" y="142"/>
                      <a:pt x="113" y="142"/>
                    </a:cubicBezTo>
                    <a:cubicBezTo>
                      <a:pt x="114" y="144"/>
                      <a:pt x="114" y="144"/>
                      <a:pt x="114" y="144"/>
                    </a:cubicBezTo>
                    <a:cubicBezTo>
                      <a:pt x="117" y="145"/>
                      <a:pt x="117" y="145"/>
                      <a:pt x="117" y="145"/>
                    </a:cubicBezTo>
                    <a:cubicBezTo>
                      <a:pt x="117" y="151"/>
                      <a:pt x="117" y="151"/>
                      <a:pt x="117" y="151"/>
                    </a:cubicBezTo>
                    <a:cubicBezTo>
                      <a:pt x="113" y="155"/>
                      <a:pt x="113" y="155"/>
                      <a:pt x="113" y="155"/>
                    </a:cubicBezTo>
                    <a:cubicBezTo>
                      <a:pt x="121" y="163"/>
                      <a:pt x="121" y="163"/>
                      <a:pt x="121" y="163"/>
                    </a:cubicBezTo>
                    <a:cubicBezTo>
                      <a:pt x="121" y="163"/>
                      <a:pt x="125" y="162"/>
                      <a:pt x="127" y="162"/>
                    </a:cubicBezTo>
                    <a:cubicBezTo>
                      <a:pt x="129" y="162"/>
                      <a:pt x="130" y="165"/>
                      <a:pt x="132" y="164"/>
                    </a:cubicBezTo>
                    <a:cubicBezTo>
                      <a:pt x="134" y="164"/>
                      <a:pt x="135" y="161"/>
                      <a:pt x="137" y="162"/>
                    </a:cubicBezTo>
                    <a:cubicBezTo>
                      <a:pt x="138" y="164"/>
                      <a:pt x="137" y="166"/>
                      <a:pt x="137" y="166"/>
                    </a:cubicBezTo>
                    <a:cubicBezTo>
                      <a:pt x="139" y="166"/>
                      <a:pt x="139" y="166"/>
                      <a:pt x="139" y="166"/>
                    </a:cubicBezTo>
                    <a:cubicBezTo>
                      <a:pt x="137" y="169"/>
                      <a:pt x="137" y="169"/>
                      <a:pt x="137" y="169"/>
                    </a:cubicBezTo>
                    <a:cubicBezTo>
                      <a:pt x="138" y="171"/>
                      <a:pt x="138" y="171"/>
                      <a:pt x="138" y="171"/>
                    </a:cubicBezTo>
                    <a:cubicBezTo>
                      <a:pt x="139" y="171"/>
                      <a:pt x="139" y="171"/>
                      <a:pt x="139" y="171"/>
                    </a:cubicBezTo>
                    <a:cubicBezTo>
                      <a:pt x="139" y="173"/>
                      <a:pt x="139" y="173"/>
                      <a:pt x="139" y="173"/>
                    </a:cubicBezTo>
                    <a:cubicBezTo>
                      <a:pt x="134" y="171"/>
                      <a:pt x="134" y="171"/>
                      <a:pt x="134" y="171"/>
                    </a:cubicBezTo>
                    <a:cubicBezTo>
                      <a:pt x="134" y="172"/>
                      <a:pt x="134" y="172"/>
                      <a:pt x="134" y="172"/>
                    </a:cubicBezTo>
                    <a:cubicBezTo>
                      <a:pt x="142" y="177"/>
                      <a:pt x="142" y="177"/>
                      <a:pt x="142" y="177"/>
                    </a:cubicBezTo>
                    <a:cubicBezTo>
                      <a:pt x="147" y="176"/>
                      <a:pt x="147" y="176"/>
                      <a:pt x="147" y="176"/>
                    </a:cubicBezTo>
                    <a:cubicBezTo>
                      <a:pt x="149" y="179"/>
                      <a:pt x="149" y="179"/>
                      <a:pt x="149" y="179"/>
                    </a:cubicBezTo>
                    <a:cubicBezTo>
                      <a:pt x="154" y="177"/>
                      <a:pt x="154" y="177"/>
                      <a:pt x="154" y="177"/>
                    </a:cubicBezTo>
                    <a:cubicBezTo>
                      <a:pt x="154" y="177"/>
                      <a:pt x="151" y="175"/>
                      <a:pt x="153" y="174"/>
                    </a:cubicBezTo>
                    <a:cubicBezTo>
                      <a:pt x="154" y="173"/>
                      <a:pt x="156" y="171"/>
                      <a:pt x="154" y="170"/>
                    </a:cubicBezTo>
                    <a:cubicBezTo>
                      <a:pt x="151" y="170"/>
                      <a:pt x="148" y="170"/>
                      <a:pt x="148" y="167"/>
                    </a:cubicBezTo>
                    <a:cubicBezTo>
                      <a:pt x="149" y="166"/>
                      <a:pt x="155" y="161"/>
                      <a:pt x="158" y="161"/>
                    </a:cubicBezTo>
                    <a:cubicBezTo>
                      <a:pt x="161" y="161"/>
                      <a:pt x="164" y="161"/>
                      <a:pt x="165" y="158"/>
                    </a:cubicBezTo>
                    <a:cubicBezTo>
                      <a:pt x="165" y="155"/>
                      <a:pt x="162" y="150"/>
                      <a:pt x="159" y="150"/>
                    </a:cubicBezTo>
                    <a:cubicBezTo>
                      <a:pt x="157" y="149"/>
                      <a:pt x="153" y="148"/>
                      <a:pt x="154" y="147"/>
                    </a:cubicBezTo>
                    <a:cubicBezTo>
                      <a:pt x="155" y="146"/>
                      <a:pt x="155" y="142"/>
                      <a:pt x="155" y="142"/>
                    </a:cubicBezTo>
                    <a:cubicBezTo>
                      <a:pt x="155" y="142"/>
                      <a:pt x="157" y="138"/>
                      <a:pt x="158" y="138"/>
                    </a:cubicBezTo>
                    <a:cubicBezTo>
                      <a:pt x="159" y="137"/>
                      <a:pt x="164" y="137"/>
                      <a:pt x="164" y="137"/>
                    </a:cubicBezTo>
                    <a:cubicBezTo>
                      <a:pt x="164" y="137"/>
                      <a:pt x="165" y="133"/>
                      <a:pt x="166" y="134"/>
                    </a:cubicBezTo>
                    <a:cubicBezTo>
                      <a:pt x="168" y="134"/>
                      <a:pt x="166" y="134"/>
                      <a:pt x="166" y="137"/>
                    </a:cubicBezTo>
                    <a:cubicBezTo>
                      <a:pt x="166" y="138"/>
                      <a:pt x="167" y="143"/>
                      <a:pt x="169" y="142"/>
                    </a:cubicBezTo>
                    <a:cubicBezTo>
                      <a:pt x="171" y="141"/>
                      <a:pt x="173" y="138"/>
                      <a:pt x="173" y="138"/>
                    </a:cubicBezTo>
                    <a:cubicBezTo>
                      <a:pt x="173" y="138"/>
                      <a:pt x="171" y="130"/>
                      <a:pt x="170" y="130"/>
                    </a:cubicBezTo>
                    <a:close/>
                    <a:moveTo>
                      <a:pt x="11" y="148"/>
                    </a:moveTo>
                    <a:cubicBezTo>
                      <a:pt x="9" y="146"/>
                      <a:pt x="9" y="146"/>
                      <a:pt x="9" y="146"/>
                    </a:cubicBezTo>
                    <a:cubicBezTo>
                      <a:pt x="9" y="149"/>
                      <a:pt x="9" y="149"/>
                      <a:pt x="9" y="149"/>
                    </a:cubicBezTo>
                    <a:cubicBezTo>
                      <a:pt x="10" y="151"/>
                      <a:pt x="10" y="151"/>
                      <a:pt x="10" y="151"/>
                    </a:cubicBezTo>
                    <a:cubicBezTo>
                      <a:pt x="11" y="155"/>
                      <a:pt x="11" y="155"/>
                      <a:pt x="11" y="155"/>
                    </a:cubicBezTo>
                    <a:cubicBezTo>
                      <a:pt x="12" y="151"/>
                      <a:pt x="12" y="151"/>
                      <a:pt x="12" y="151"/>
                    </a:cubicBezTo>
                    <a:cubicBezTo>
                      <a:pt x="12" y="148"/>
                      <a:pt x="11" y="148"/>
                      <a:pt x="11" y="148"/>
                    </a:cubicBezTo>
                    <a:close/>
                    <a:moveTo>
                      <a:pt x="267" y="166"/>
                    </a:moveTo>
                    <a:cubicBezTo>
                      <a:pt x="261" y="162"/>
                      <a:pt x="261" y="162"/>
                      <a:pt x="261" y="162"/>
                    </a:cubicBezTo>
                    <a:cubicBezTo>
                      <a:pt x="256" y="161"/>
                      <a:pt x="256" y="161"/>
                      <a:pt x="256" y="161"/>
                    </a:cubicBezTo>
                    <a:cubicBezTo>
                      <a:pt x="252" y="156"/>
                      <a:pt x="252" y="156"/>
                      <a:pt x="252" y="156"/>
                    </a:cubicBezTo>
                    <a:cubicBezTo>
                      <a:pt x="249" y="161"/>
                      <a:pt x="249" y="161"/>
                      <a:pt x="249" y="161"/>
                    </a:cubicBezTo>
                    <a:cubicBezTo>
                      <a:pt x="249" y="161"/>
                      <a:pt x="251" y="162"/>
                      <a:pt x="250" y="164"/>
                    </a:cubicBezTo>
                    <a:cubicBezTo>
                      <a:pt x="250" y="166"/>
                      <a:pt x="249" y="169"/>
                      <a:pt x="249" y="169"/>
                    </a:cubicBezTo>
                    <a:cubicBezTo>
                      <a:pt x="264" y="175"/>
                      <a:pt x="264" y="175"/>
                      <a:pt x="264" y="175"/>
                    </a:cubicBezTo>
                    <a:cubicBezTo>
                      <a:pt x="265" y="174"/>
                      <a:pt x="265" y="174"/>
                      <a:pt x="265" y="174"/>
                    </a:cubicBezTo>
                    <a:cubicBezTo>
                      <a:pt x="265" y="171"/>
                      <a:pt x="265" y="171"/>
                      <a:pt x="265" y="171"/>
                    </a:cubicBezTo>
                    <a:cubicBezTo>
                      <a:pt x="268" y="170"/>
                      <a:pt x="268" y="170"/>
                      <a:pt x="268" y="170"/>
                    </a:cubicBezTo>
                    <a:lnTo>
                      <a:pt x="267" y="166"/>
                    </a:lnTo>
                    <a:close/>
                    <a:moveTo>
                      <a:pt x="174" y="134"/>
                    </a:moveTo>
                    <a:cubicBezTo>
                      <a:pt x="175" y="138"/>
                      <a:pt x="178" y="138"/>
                      <a:pt x="176" y="134"/>
                    </a:cubicBezTo>
                    <a:cubicBezTo>
                      <a:pt x="176" y="131"/>
                      <a:pt x="174" y="134"/>
                      <a:pt x="174" y="134"/>
                    </a:cubicBezTo>
                    <a:close/>
                    <a:moveTo>
                      <a:pt x="131" y="69"/>
                    </a:moveTo>
                    <a:cubicBezTo>
                      <a:pt x="134" y="68"/>
                      <a:pt x="136" y="65"/>
                      <a:pt x="136" y="65"/>
                    </a:cubicBezTo>
                    <a:cubicBezTo>
                      <a:pt x="129" y="65"/>
                      <a:pt x="129" y="65"/>
                      <a:pt x="129" y="65"/>
                    </a:cubicBezTo>
                    <a:cubicBezTo>
                      <a:pt x="129" y="65"/>
                      <a:pt x="129" y="69"/>
                      <a:pt x="131" y="69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244" name="Cyprus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7440613" y="5705475"/>
                <a:ext cx="239712" cy="227012"/>
              </a:xfrm>
              <a:custGeom>
                <a:avLst/>
                <a:gdLst/>
                <a:ahLst/>
                <a:cxnLst>
                  <a:cxn ang="0">
                    <a:pos x="0" y="75"/>
                  </a:cxn>
                  <a:cxn ang="0">
                    <a:pos x="8" y="81"/>
                  </a:cxn>
                  <a:cxn ang="0">
                    <a:pos x="11" y="67"/>
                  </a:cxn>
                  <a:cxn ang="0">
                    <a:pos x="30" y="65"/>
                  </a:cxn>
                  <a:cxn ang="0">
                    <a:pos x="28" y="47"/>
                  </a:cxn>
                  <a:cxn ang="0">
                    <a:pos x="36" y="48"/>
                  </a:cxn>
                  <a:cxn ang="0">
                    <a:pos x="37" y="46"/>
                  </a:cxn>
                  <a:cxn ang="0">
                    <a:pos x="52" y="46"/>
                  </a:cxn>
                  <a:cxn ang="0">
                    <a:pos x="57" y="44"/>
                  </a:cxn>
                  <a:cxn ang="0">
                    <a:pos x="68" y="40"/>
                  </a:cxn>
                  <a:cxn ang="0">
                    <a:pos x="75" y="29"/>
                  </a:cxn>
                  <a:cxn ang="0">
                    <a:pos x="86" y="22"/>
                  </a:cxn>
                  <a:cxn ang="0">
                    <a:pos x="91" y="14"/>
                  </a:cxn>
                  <a:cxn ang="0">
                    <a:pos x="95" y="13"/>
                  </a:cxn>
                  <a:cxn ang="0">
                    <a:pos x="113" y="0"/>
                  </a:cxn>
                  <a:cxn ang="0">
                    <a:pos x="105" y="9"/>
                  </a:cxn>
                  <a:cxn ang="0">
                    <a:pos x="103" y="16"/>
                  </a:cxn>
                  <a:cxn ang="0">
                    <a:pos x="91" y="28"/>
                  </a:cxn>
                  <a:cxn ang="0">
                    <a:pos x="91" y="33"/>
                  </a:cxn>
                  <a:cxn ang="0">
                    <a:pos x="83" y="41"/>
                  </a:cxn>
                  <a:cxn ang="0">
                    <a:pos x="101" y="53"/>
                  </a:cxn>
                  <a:cxn ang="0">
                    <a:pos x="98" y="57"/>
                  </a:cxn>
                  <a:cxn ang="0">
                    <a:pos x="93" y="56"/>
                  </a:cxn>
                  <a:cxn ang="0">
                    <a:pos x="90" y="60"/>
                  </a:cxn>
                  <a:cxn ang="0">
                    <a:pos x="78" y="62"/>
                  </a:cxn>
                  <a:cxn ang="0">
                    <a:pos x="77" y="74"/>
                  </a:cxn>
                  <a:cxn ang="0">
                    <a:pos x="74" y="74"/>
                  </a:cxn>
                  <a:cxn ang="0">
                    <a:pos x="72" y="77"/>
                  </a:cxn>
                  <a:cxn ang="0">
                    <a:pos x="50" y="92"/>
                  </a:cxn>
                  <a:cxn ang="0">
                    <a:pos x="50" y="101"/>
                  </a:cxn>
                  <a:cxn ang="0">
                    <a:pos x="41" y="95"/>
                  </a:cxn>
                  <a:cxn ang="0">
                    <a:pos x="17" y="101"/>
                  </a:cxn>
                  <a:cxn ang="0">
                    <a:pos x="0" y="75"/>
                  </a:cxn>
                </a:cxnLst>
                <a:rect l="0" t="0" r="r" b="b"/>
                <a:pathLst>
                  <a:path w="113" h="106">
                    <a:moveTo>
                      <a:pt x="0" y="75"/>
                    </a:moveTo>
                    <a:cubicBezTo>
                      <a:pt x="0" y="75"/>
                      <a:pt x="4" y="83"/>
                      <a:pt x="8" y="81"/>
                    </a:cubicBezTo>
                    <a:cubicBezTo>
                      <a:pt x="11" y="79"/>
                      <a:pt x="7" y="72"/>
                      <a:pt x="11" y="67"/>
                    </a:cubicBezTo>
                    <a:cubicBezTo>
                      <a:pt x="16" y="64"/>
                      <a:pt x="26" y="72"/>
                      <a:pt x="30" y="65"/>
                    </a:cubicBezTo>
                    <a:cubicBezTo>
                      <a:pt x="34" y="59"/>
                      <a:pt x="28" y="47"/>
                      <a:pt x="28" y="47"/>
                    </a:cubicBezTo>
                    <a:cubicBezTo>
                      <a:pt x="36" y="48"/>
                      <a:pt x="36" y="48"/>
                      <a:pt x="36" y="48"/>
                    </a:cubicBezTo>
                    <a:cubicBezTo>
                      <a:pt x="37" y="46"/>
                      <a:pt x="37" y="46"/>
                      <a:pt x="37" y="46"/>
                    </a:cubicBezTo>
                    <a:cubicBezTo>
                      <a:pt x="52" y="46"/>
                      <a:pt x="52" y="46"/>
                      <a:pt x="52" y="46"/>
                    </a:cubicBezTo>
                    <a:cubicBezTo>
                      <a:pt x="57" y="44"/>
                      <a:pt x="57" y="44"/>
                      <a:pt x="57" y="44"/>
                    </a:cubicBezTo>
                    <a:cubicBezTo>
                      <a:pt x="57" y="44"/>
                      <a:pt x="64" y="43"/>
                      <a:pt x="68" y="40"/>
                    </a:cubicBezTo>
                    <a:cubicBezTo>
                      <a:pt x="72" y="36"/>
                      <a:pt x="70" y="31"/>
                      <a:pt x="75" y="29"/>
                    </a:cubicBezTo>
                    <a:cubicBezTo>
                      <a:pt x="80" y="28"/>
                      <a:pt x="82" y="25"/>
                      <a:pt x="86" y="22"/>
                    </a:cubicBezTo>
                    <a:cubicBezTo>
                      <a:pt x="90" y="19"/>
                      <a:pt x="91" y="14"/>
                      <a:pt x="91" y="14"/>
                    </a:cubicBezTo>
                    <a:cubicBezTo>
                      <a:pt x="95" y="13"/>
                      <a:pt x="95" y="13"/>
                      <a:pt x="95" y="13"/>
                    </a:cubicBezTo>
                    <a:cubicBezTo>
                      <a:pt x="113" y="0"/>
                      <a:pt x="113" y="0"/>
                      <a:pt x="113" y="0"/>
                    </a:cubicBezTo>
                    <a:cubicBezTo>
                      <a:pt x="105" y="9"/>
                      <a:pt x="105" y="9"/>
                      <a:pt x="105" y="9"/>
                    </a:cubicBezTo>
                    <a:cubicBezTo>
                      <a:pt x="103" y="16"/>
                      <a:pt x="103" y="16"/>
                      <a:pt x="103" y="16"/>
                    </a:cubicBezTo>
                    <a:cubicBezTo>
                      <a:pt x="91" y="28"/>
                      <a:pt x="91" y="28"/>
                      <a:pt x="91" y="28"/>
                    </a:cubicBezTo>
                    <a:cubicBezTo>
                      <a:pt x="91" y="33"/>
                      <a:pt x="91" y="33"/>
                      <a:pt x="91" y="33"/>
                    </a:cubicBezTo>
                    <a:cubicBezTo>
                      <a:pt x="91" y="33"/>
                      <a:pt x="80" y="34"/>
                      <a:pt x="83" y="41"/>
                    </a:cubicBezTo>
                    <a:cubicBezTo>
                      <a:pt x="88" y="48"/>
                      <a:pt x="101" y="53"/>
                      <a:pt x="101" y="53"/>
                    </a:cubicBezTo>
                    <a:cubicBezTo>
                      <a:pt x="98" y="57"/>
                      <a:pt x="98" y="57"/>
                      <a:pt x="98" y="57"/>
                    </a:cubicBezTo>
                    <a:cubicBezTo>
                      <a:pt x="93" y="56"/>
                      <a:pt x="93" y="56"/>
                      <a:pt x="93" y="56"/>
                    </a:cubicBezTo>
                    <a:cubicBezTo>
                      <a:pt x="90" y="60"/>
                      <a:pt x="90" y="60"/>
                      <a:pt x="90" y="60"/>
                    </a:cubicBezTo>
                    <a:cubicBezTo>
                      <a:pt x="90" y="60"/>
                      <a:pt x="81" y="59"/>
                      <a:pt x="78" y="62"/>
                    </a:cubicBezTo>
                    <a:cubicBezTo>
                      <a:pt x="75" y="64"/>
                      <a:pt x="77" y="74"/>
                      <a:pt x="77" y="74"/>
                    </a:cubicBezTo>
                    <a:cubicBezTo>
                      <a:pt x="74" y="74"/>
                      <a:pt x="74" y="74"/>
                      <a:pt x="74" y="74"/>
                    </a:cubicBezTo>
                    <a:cubicBezTo>
                      <a:pt x="72" y="77"/>
                      <a:pt x="72" y="77"/>
                      <a:pt x="72" y="77"/>
                    </a:cubicBezTo>
                    <a:cubicBezTo>
                      <a:pt x="72" y="77"/>
                      <a:pt x="52" y="87"/>
                      <a:pt x="50" y="92"/>
                    </a:cubicBezTo>
                    <a:cubicBezTo>
                      <a:pt x="49" y="96"/>
                      <a:pt x="54" y="101"/>
                      <a:pt x="50" y="101"/>
                    </a:cubicBezTo>
                    <a:cubicBezTo>
                      <a:pt x="45" y="103"/>
                      <a:pt x="41" y="95"/>
                      <a:pt x="41" y="95"/>
                    </a:cubicBezTo>
                    <a:cubicBezTo>
                      <a:pt x="41" y="95"/>
                      <a:pt x="27" y="106"/>
                      <a:pt x="17" y="101"/>
                    </a:cubicBezTo>
                    <a:cubicBezTo>
                      <a:pt x="8" y="96"/>
                      <a:pt x="2" y="92"/>
                      <a:pt x="0" y="75"/>
                    </a:cubicBez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245" name="Czech Republic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030788" y="3970338"/>
                <a:ext cx="628650" cy="355600"/>
              </a:xfrm>
              <a:custGeom>
                <a:avLst/>
                <a:gdLst/>
                <a:ahLst/>
                <a:cxnLst>
                  <a:cxn ang="0">
                    <a:pos x="282" y="79"/>
                  </a:cxn>
                  <a:cxn ang="0">
                    <a:pos x="269" y="64"/>
                  </a:cxn>
                  <a:cxn ang="0">
                    <a:pos x="252" y="63"/>
                  </a:cxn>
                  <a:cxn ang="0">
                    <a:pos x="243" y="58"/>
                  </a:cxn>
                  <a:cxn ang="0">
                    <a:pos x="243" y="48"/>
                  </a:cxn>
                  <a:cxn ang="0">
                    <a:pos x="227" y="48"/>
                  </a:cxn>
                  <a:cxn ang="0">
                    <a:pos x="204" y="37"/>
                  </a:cxn>
                  <a:cxn ang="0">
                    <a:pos x="211" y="46"/>
                  </a:cxn>
                  <a:cxn ang="0">
                    <a:pos x="207" y="51"/>
                  </a:cxn>
                  <a:cxn ang="0">
                    <a:pos x="191" y="58"/>
                  </a:cxn>
                  <a:cxn ang="0">
                    <a:pos x="175" y="41"/>
                  </a:cxn>
                  <a:cxn ang="0">
                    <a:pos x="179" y="25"/>
                  </a:cxn>
                  <a:cxn ang="0">
                    <a:pos x="165" y="25"/>
                  </a:cxn>
                  <a:cxn ang="0">
                    <a:pos x="143" y="22"/>
                  </a:cxn>
                  <a:cxn ang="0">
                    <a:pos x="137" y="7"/>
                  </a:cxn>
                  <a:cxn ang="0">
                    <a:pos x="121" y="8"/>
                  </a:cxn>
                  <a:cxn ang="0">
                    <a:pos x="121" y="13"/>
                  </a:cxn>
                  <a:cxn ang="0">
                    <a:pos x="110" y="14"/>
                  </a:cxn>
                  <a:cxn ang="0">
                    <a:pos x="101" y="9"/>
                  </a:cxn>
                  <a:cxn ang="0">
                    <a:pos x="89" y="5"/>
                  </a:cxn>
                  <a:cxn ang="0">
                    <a:pos x="89" y="12"/>
                  </a:cxn>
                  <a:cxn ang="0">
                    <a:pos x="64" y="23"/>
                  </a:cxn>
                  <a:cxn ang="0">
                    <a:pos x="47" y="37"/>
                  </a:cxn>
                  <a:cxn ang="0">
                    <a:pos x="30" y="44"/>
                  </a:cxn>
                  <a:cxn ang="0">
                    <a:pos x="16" y="49"/>
                  </a:cxn>
                  <a:cxn ang="0">
                    <a:pos x="2" y="52"/>
                  </a:cxn>
                  <a:cxn ang="0">
                    <a:pos x="7" y="67"/>
                  </a:cxn>
                  <a:cxn ang="0">
                    <a:pos x="19" y="77"/>
                  </a:cxn>
                  <a:cxn ang="0">
                    <a:pos x="14" y="88"/>
                  </a:cxn>
                  <a:cxn ang="0">
                    <a:pos x="23" y="103"/>
                  </a:cxn>
                  <a:cxn ang="0">
                    <a:pos x="50" y="130"/>
                  </a:cxn>
                  <a:cxn ang="0">
                    <a:pos x="69" y="141"/>
                  </a:cxn>
                  <a:cxn ang="0">
                    <a:pos x="81" y="153"/>
                  </a:cxn>
                  <a:cxn ang="0">
                    <a:pos x="89" y="161"/>
                  </a:cxn>
                  <a:cxn ang="0">
                    <a:pos x="91" y="165"/>
                  </a:cxn>
                  <a:cxn ang="0">
                    <a:pos x="106" y="161"/>
                  </a:cxn>
                  <a:cxn ang="0">
                    <a:pos x="112" y="162"/>
                  </a:cxn>
                  <a:cxn ang="0">
                    <a:pos x="116" y="156"/>
                  </a:cxn>
                  <a:cxn ang="0">
                    <a:pos x="128" y="153"/>
                  </a:cxn>
                  <a:cxn ang="0">
                    <a:pos x="135" y="136"/>
                  </a:cxn>
                  <a:cxn ang="0">
                    <a:pos x="143" y="136"/>
                  </a:cxn>
                  <a:cxn ang="0">
                    <a:pos x="161" y="143"/>
                  </a:cxn>
                  <a:cxn ang="0">
                    <a:pos x="177" y="150"/>
                  </a:cxn>
                  <a:cxn ang="0">
                    <a:pos x="193" y="144"/>
                  </a:cxn>
                  <a:cxn ang="0">
                    <a:pos x="206" y="150"/>
                  </a:cxn>
                  <a:cxn ang="0">
                    <a:pos x="216" y="152"/>
                  </a:cxn>
                  <a:cxn ang="0">
                    <a:pos x="242" y="141"/>
                  </a:cxn>
                  <a:cxn ang="0">
                    <a:pos x="256" y="126"/>
                  </a:cxn>
                  <a:cxn ang="0">
                    <a:pos x="266" y="107"/>
                  </a:cxn>
                  <a:cxn ang="0">
                    <a:pos x="281" y="92"/>
                  </a:cxn>
                  <a:cxn ang="0">
                    <a:pos x="295" y="90"/>
                  </a:cxn>
                </a:cxnLst>
                <a:rect l="0" t="0" r="r" b="b"/>
                <a:pathLst>
                  <a:path w="295" h="167">
                    <a:moveTo>
                      <a:pt x="291" y="79"/>
                    </a:moveTo>
                    <a:cubicBezTo>
                      <a:pt x="282" y="79"/>
                      <a:pt x="282" y="79"/>
                      <a:pt x="282" y="79"/>
                    </a:cubicBezTo>
                    <a:cubicBezTo>
                      <a:pt x="279" y="67"/>
                      <a:pt x="279" y="67"/>
                      <a:pt x="279" y="67"/>
                    </a:cubicBezTo>
                    <a:cubicBezTo>
                      <a:pt x="269" y="64"/>
                      <a:pt x="269" y="64"/>
                      <a:pt x="269" y="64"/>
                    </a:cubicBezTo>
                    <a:cubicBezTo>
                      <a:pt x="253" y="59"/>
                      <a:pt x="253" y="59"/>
                      <a:pt x="253" y="59"/>
                    </a:cubicBezTo>
                    <a:cubicBezTo>
                      <a:pt x="252" y="63"/>
                      <a:pt x="252" y="63"/>
                      <a:pt x="252" y="63"/>
                    </a:cubicBezTo>
                    <a:cubicBezTo>
                      <a:pt x="247" y="65"/>
                      <a:pt x="247" y="65"/>
                      <a:pt x="247" y="65"/>
                    </a:cubicBezTo>
                    <a:cubicBezTo>
                      <a:pt x="247" y="65"/>
                      <a:pt x="245" y="59"/>
                      <a:pt x="243" y="58"/>
                    </a:cubicBezTo>
                    <a:cubicBezTo>
                      <a:pt x="242" y="57"/>
                      <a:pt x="239" y="53"/>
                      <a:pt x="239" y="53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39" y="43"/>
                      <a:pt x="239" y="43"/>
                      <a:pt x="239" y="43"/>
                    </a:cubicBezTo>
                    <a:cubicBezTo>
                      <a:pt x="227" y="48"/>
                      <a:pt x="227" y="48"/>
                      <a:pt x="227" y="48"/>
                    </a:cubicBezTo>
                    <a:cubicBezTo>
                      <a:pt x="227" y="48"/>
                      <a:pt x="223" y="43"/>
                      <a:pt x="217" y="41"/>
                    </a:cubicBezTo>
                    <a:cubicBezTo>
                      <a:pt x="211" y="39"/>
                      <a:pt x="204" y="37"/>
                      <a:pt x="204" y="37"/>
                    </a:cubicBezTo>
                    <a:cubicBezTo>
                      <a:pt x="205" y="43"/>
                      <a:pt x="205" y="43"/>
                      <a:pt x="205" y="43"/>
                    </a:cubicBezTo>
                    <a:cubicBezTo>
                      <a:pt x="205" y="43"/>
                      <a:pt x="209" y="46"/>
                      <a:pt x="211" y="46"/>
                    </a:cubicBezTo>
                    <a:cubicBezTo>
                      <a:pt x="213" y="46"/>
                      <a:pt x="211" y="52"/>
                      <a:pt x="211" y="52"/>
                    </a:cubicBezTo>
                    <a:cubicBezTo>
                      <a:pt x="207" y="51"/>
                      <a:pt x="207" y="51"/>
                      <a:pt x="207" y="51"/>
                    </a:cubicBezTo>
                    <a:cubicBezTo>
                      <a:pt x="207" y="51"/>
                      <a:pt x="201" y="54"/>
                      <a:pt x="201" y="56"/>
                    </a:cubicBezTo>
                    <a:cubicBezTo>
                      <a:pt x="200" y="58"/>
                      <a:pt x="194" y="60"/>
                      <a:pt x="191" y="58"/>
                    </a:cubicBezTo>
                    <a:cubicBezTo>
                      <a:pt x="188" y="56"/>
                      <a:pt x="189" y="48"/>
                      <a:pt x="187" y="45"/>
                    </a:cubicBezTo>
                    <a:cubicBezTo>
                      <a:pt x="186" y="42"/>
                      <a:pt x="177" y="43"/>
                      <a:pt x="175" y="41"/>
                    </a:cubicBezTo>
                    <a:cubicBezTo>
                      <a:pt x="173" y="38"/>
                      <a:pt x="186" y="30"/>
                      <a:pt x="186" y="30"/>
                    </a:cubicBezTo>
                    <a:cubicBezTo>
                      <a:pt x="179" y="25"/>
                      <a:pt x="179" y="25"/>
                      <a:pt x="179" y="25"/>
                    </a:cubicBezTo>
                    <a:cubicBezTo>
                      <a:pt x="166" y="31"/>
                      <a:pt x="166" y="31"/>
                      <a:pt x="166" y="31"/>
                    </a:cubicBezTo>
                    <a:cubicBezTo>
                      <a:pt x="165" y="25"/>
                      <a:pt x="165" y="25"/>
                      <a:pt x="165" y="25"/>
                    </a:cubicBezTo>
                    <a:cubicBezTo>
                      <a:pt x="143" y="17"/>
                      <a:pt x="143" y="17"/>
                      <a:pt x="143" y="17"/>
                    </a:cubicBezTo>
                    <a:cubicBezTo>
                      <a:pt x="143" y="22"/>
                      <a:pt x="143" y="22"/>
                      <a:pt x="143" y="22"/>
                    </a:cubicBezTo>
                    <a:cubicBezTo>
                      <a:pt x="135" y="14"/>
                      <a:pt x="135" y="14"/>
                      <a:pt x="135" y="14"/>
                    </a:cubicBezTo>
                    <a:cubicBezTo>
                      <a:pt x="137" y="7"/>
                      <a:pt x="137" y="7"/>
                      <a:pt x="137" y="7"/>
                    </a:cubicBezTo>
                    <a:cubicBezTo>
                      <a:pt x="123" y="5"/>
                      <a:pt x="123" y="5"/>
                      <a:pt x="123" y="5"/>
                    </a:cubicBezTo>
                    <a:cubicBezTo>
                      <a:pt x="121" y="8"/>
                      <a:pt x="121" y="8"/>
                      <a:pt x="121" y="8"/>
                    </a:cubicBezTo>
                    <a:cubicBezTo>
                      <a:pt x="123" y="11"/>
                      <a:pt x="123" y="11"/>
                      <a:pt x="123" y="11"/>
                    </a:cubicBezTo>
                    <a:cubicBezTo>
                      <a:pt x="121" y="13"/>
                      <a:pt x="121" y="13"/>
                      <a:pt x="121" y="13"/>
                    </a:cubicBezTo>
                    <a:cubicBezTo>
                      <a:pt x="113" y="11"/>
                      <a:pt x="113" y="11"/>
                      <a:pt x="113" y="11"/>
                    </a:cubicBezTo>
                    <a:cubicBezTo>
                      <a:pt x="113" y="13"/>
                      <a:pt x="112" y="16"/>
                      <a:pt x="110" y="14"/>
                    </a:cubicBezTo>
                    <a:cubicBezTo>
                      <a:pt x="107" y="12"/>
                      <a:pt x="101" y="14"/>
                      <a:pt x="106" y="8"/>
                    </a:cubicBezTo>
                    <a:cubicBezTo>
                      <a:pt x="105" y="9"/>
                      <a:pt x="102" y="9"/>
                      <a:pt x="101" y="9"/>
                    </a:cubicBezTo>
                    <a:cubicBezTo>
                      <a:pt x="107" y="1"/>
                      <a:pt x="94" y="2"/>
                      <a:pt x="91" y="0"/>
                    </a:cubicBezTo>
                    <a:cubicBezTo>
                      <a:pt x="90" y="1"/>
                      <a:pt x="89" y="4"/>
                      <a:pt x="89" y="5"/>
                    </a:cubicBezTo>
                    <a:cubicBezTo>
                      <a:pt x="90" y="5"/>
                      <a:pt x="95" y="7"/>
                      <a:pt x="95" y="8"/>
                    </a:cubicBezTo>
                    <a:cubicBezTo>
                      <a:pt x="95" y="12"/>
                      <a:pt x="92" y="10"/>
                      <a:pt x="89" y="12"/>
                    </a:cubicBezTo>
                    <a:cubicBezTo>
                      <a:pt x="84" y="14"/>
                      <a:pt x="80" y="18"/>
                      <a:pt x="77" y="18"/>
                    </a:cubicBezTo>
                    <a:cubicBezTo>
                      <a:pt x="74" y="18"/>
                      <a:pt x="66" y="22"/>
                      <a:pt x="64" y="23"/>
                    </a:cubicBezTo>
                    <a:cubicBezTo>
                      <a:pt x="60" y="25"/>
                      <a:pt x="58" y="35"/>
                      <a:pt x="53" y="30"/>
                    </a:cubicBezTo>
                    <a:cubicBezTo>
                      <a:pt x="53" y="30"/>
                      <a:pt x="50" y="32"/>
                      <a:pt x="47" y="37"/>
                    </a:cubicBezTo>
                    <a:cubicBezTo>
                      <a:pt x="45" y="39"/>
                      <a:pt x="43" y="40"/>
                      <a:pt x="41" y="39"/>
                    </a:cubicBezTo>
                    <a:cubicBezTo>
                      <a:pt x="40" y="48"/>
                      <a:pt x="33" y="42"/>
                      <a:pt x="30" y="44"/>
                    </a:cubicBezTo>
                    <a:cubicBezTo>
                      <a:pt x="29" y="44"/>
                      <a:pt x="25" y="46"/>
                      <a:pt x="25" y="46"/>
                    </a:cubicBezTo>
                    <a:cubicBezTo>
                      <a:pt x="19" y="43"/>
                      <a:pt x="18" y="48"/>
                      <a:pt x="16" y="49"/>
                    </a:cubicBezTo>
                    <a:cubicBezTo>
                      <a:pt x="14" y="52"/>
                      <a:pt x="11" y="61"/>
                      <a:pt x="10" y="62"/>
                    </a:cubicBezTo>
                    <a:cubicBezTo>
                      <a:pt x="9" y="62"/>
                      <a:pt x="3" y="54"/>
                      <a:pt x="2" y="52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57"/>
                      <a:pt x="4" y="63"/>
                      <a:pt x="7" y="67"/>
                    </a:cubicBezTo>
                    <a:cubicBezTo>
                      <a:pt x="9" y="70"/>
                      <a:pt x="18" y="72"/>
                      <a:pt x="16" y="76"/>
                    </a:cubicBezTo>
                    <a:cubicBezTo>
                      <a:pt x="17" y="76"/>
                      <a:pt x="18" y="77"/>
                      <a:pt x="19" y="77"/>
                    </a:cubicBezTo>
                    <a:cubicBezTo>
                      <a:pt x="19" y="79"/>
                      <a:pt x="18" y="84"/>
                      <a:pt x="17" y="84"/>
                    </a:cubicBezTo>
                    <a:cubicBezTo>
                      <a:pt x="14" y="88"/>
                      <a:pt x="14" y="88"/>
                      <a:pt x="14" y="88"/>
                    </a:cubicBezTo>
                    <a:cubicBezTo>
                      <a:pt x="14" y="92"/>
                      <a:pt x="18" y="92"/>
                      <a:pt x="19" y="93"/>
                    </a:cubicBezTo>
                    <a:cubicBezTo>
                      <a:pt x="21" y="96"/>
                      <a:pt x="21" y="100"/>
                      <a:pt x="23" y="103"/>
                    </a:cubicBezTo>
                    <a:cubicBezTo>
                      <a:pt x="24" y="106"/>
                      <a:pt x="29" y="115"/>
                      <a:pt x="33" y="116"/>
                    </a:cubicBezTo>
                    <a:cubicBezTo>
                      <a:pt x="40" y="117"/>
                      <a:pt x="49" y="130"/>
                      <a:pt x="50" y="130"/>
                    </a:cubicBezTo>
                    <a:cubicBezTo>
                      <a:pt x="53" y="130"/>
                      <a:pt x="59" y="131"/>
                      <a:pt x="59" y="135"/>
                    </a:cubicBezTo>
                    <a:cubicBezTo>
                      <a:pt x="60" y="143"/>
                      <a:pt x="66" y="136"/>
                      <a:pt x="69" y="141"/>
                    </a:cubicBezTo>
                    <a:cubicBezTo>
                      <a:pt x="72" y="146"/>
                      <a:pt x="76" y="149"/>
                      <a:pt x="77" y="154"/>
                    </a:cubicBezTo>
                    <a:cubicBezTo>
                      <a:pt x="81" y="153"/>
                      <a:pt x="81" y="153"/>
                      <a:pt x="81" y="153"/>
                    </a:cubicBezTo>
                    <a:cubicBezTo>
                      <a:pt x="81" y="153"/>
                      <a:pt x="83" y="155"/>
                      <a:pt x="85" y="155"/>
                    </a:cubicBezTo>
                    <a:cubicBezTo>
                      <a:pt x="86" y="156"/>
                      <a:pt x="89" y="161"/>
                      <a:pt x="89" y="161"/>
                    </a:cubicBezTo>
                    <a:cubicBezTo>
                      <a:pt x="88" y="163"/>
                      <a:pt x="88" y="163"/>
                      <a:pt x="88" y="163"/>
                    </a:cubicBezTo>
                    <a:cubicBezTo>
                      <a:pt x="91" y="165"/>
                      <a:pt x="91" y="165"/>
                      <a:pt x="91" y="165"/>
                    </a:cubicBezTo>
                    <a:cubicBezTo>
                      <a:pt x="101" y="167"/>
                      <a:pt x="101" y="167"/>
                      <a:pt x="101" y="167"/>
                    </a:cubicBezTo>
                    <a:cubicBezTo>
                      <a:pt x="106" y="161"/>
                      <a:pt x="106" y="161"/>
                      <a:pt x="106" y="161"/>
                    </a:cubicBezTo>
                    <a:cubicBezTo>
                      <a:pt x="109" y="162"/>
                      <a:pt x="109" y="162"/>
                      <a:pt x="109" y="162"/>
                    </a:cubicBezTo>
                    <a:cubicBezTo>
                      <a:pt x="112" y="162"/>
                      <a:pt x="112" y="162"/>
                      <a:pt x="112" y="162"/>
                    </a:cubicBezTo>
                    <a:cubicBezTo>
                      <a:pt x="112" y="162"/>
                      <a:pt x="116" y="164"/>
                      <a:pt x="118" y="164"/>
                    </a:cubicBezTo>
                    <a:cubicBezTo>
                      <a:pt x="119" y="164"/>
                      <a:pt x="116" y="158"/>
                      <a:pt x="116" y="156"/>
                    </a:cubicBezTo>
                    <a:cubicBezTo>
                      <a:pt x="117" y="154"/>
                      <a:pt x="121" y="150"/>
                      <a:pt x="121" y="150"/>
                    </a:cubicBezTo>
                    <a:cubicBezTo>
                      <a:pt x="128" y="153"/>
                      <a:pt x="128" y="153"/>
                      <a:pt x="128" y="153"/>
                    </a:cubicBezTo>
                    <a:cubicBezTo>
                      <a:pt x="129" y="136"/>
                      <a:pt x="129" y="136"/>
                      <a:pt x="129" y="136"/>
                    </a:cubicBezTo>
                    <a:cubicBezTo>
                      <a:pt x="135" y="136"/>
                      <a:pt x="135" y="136"/>
                      <a:pt x="135" y="136"/>
                    </a:cubicBezTo>
                    <a:cubicBezTo>
                      <a:pt x="135" y="136"/>
                      <a:pt x="137" y="138"/>
                      <a:pt x="140" y="138"/>
                    </a:cubicBezTo>
                    <a:cubicBezTo>
                      <a:pt x="142" y="137"/>
                      <a:pt x="143" y="136"/>
                      <a:pt x="143" y="136"/>
                    </a:cubicBezTo>
                    <a:cubicBezTo>
                      <a:pt x="143" y="136"/>
                      <a:pt x="150" y="138"/>
                      <a:pt x="151" y="138"/>
                    </a:cubicBezTo>
                    <a:cubicBezTo>
                      <a:pt x="152" y="138"/>
                      <a:pt x="161" y="143"/>
                      <a:pt x="161" y="143"/>
                    </a:cubicBezTo>
                    <a:cubicBezTo>
                      <a:pt x="161" y="143"/>
                      <a:pt x="163" y="142"/>
                      <a:pt x="167" y="142"/>
                    </a:cubicBezTo>
                    <a:cubicBezTo>
                      <a:pt x="172" y="142"/>
                      <a:pt x="177" y="150"/>
                      <a:pt x="177" y="150"/>
                    </a:cubicBezTo>
                    <a:cubicBezTo>
                      <a:pt x="191" y="149"/>
                      <a:pt x="191" y="149"/>
                      <a:pt x="191" y="149"/>
                    </a:cubicBezTo>
                    <a:cubicBezTo>
                      <a:pt x="193" y="144"/>
                      <a:pt x="193" y="144"/>
                      <a:pt x="193" y="144"/>
                    </a:cubicBezTo>
                    <a:cubicBezTo>
                      <a:pt x="204" y="147"/>
                      <a:pt x="204" y="147"/>
                      <a:pt x="204" y="147"/>
                    </a:cubicBezTo>
                    <a:cubicBezTo>
                      <a:pt x="206" y="150"/>
                      <a:pt x="206" y="150"/>
                      <a:pt x="206" y="150"/>
                    </a:cubicBezTo>
                    <a:cubicBezTo>
                      <a:pt x="213" y="150"/>
                      <a:pt x="213" y="150"/>
                      <a:pt x="213" y="150"/>
                    </a:cubicBezTo>
                    <a:cubicBezTo>
                      <a:pt x="216" y="152"/>
                      <a:pt x="216" y="152"/>
                      <a:pt x="216" y="152"/>
                    </a:cubicBezTo>
                    <a:cubicBezTo>
                      <a:pt x="217" y="149"/>
                      <a:pt x="222" y="141"/>
                      <a:pt x="226" y="139"/>
                    </a:cubicBezTo>
                    <a:cubicBezTo>
                      <a:pt x="230" y="137"/>
                      <a:pt x="242" y="141"/>
                      <a:pt x="242" y="141"/>
                    </a:cubicBezTo>
                    <a:cubicBezTo>
                      <a:pt x="255" y="133"/>
                      <a:pt x="255" y="133"/>
                      <a:pt x="255" y="133"/>
                    </a:cubicBezTo>
                    <a:cubicBezTo>
                      <a:pt x="255" y="133"/>
                      <a:pt x="253" y="130"/>
                      <a:pt x="256" y="126"/>
                    </a:cubicBezTo>
                    <a:cubicBezTo>
                      <a:pt x="259" y="123"/>
                      <a:pt x="261" y="127"/>
                      <a:pt x="263" y="123"/>
                    </a:cubicBezTo>
                    <a:cubicBezTo>
                      <a:pt x="266" y="119"/>
                      <a:pt x="264" y="111"/>
                      <a:pt x="266" y="107"/>
                    </a:cubicBezTo>
                    <a:cubicBezTo>
                      <a:pt x="270" y="104"/>
                      <a:pt x="272" y="106"/>
                      <a:pt x="276" y="103"/>
                    </a:cubicBezTo>
                    <a:cubicBezTo>
                      <a:pt x="280" y="100"/>
                      <a:pt x="281" y="92"/>
                      <a:pt x="281" y="92"/>
                    </a:cubicBezTo>
                    <a:cubicBezTo>
                      <a:pt x="288" y="93"/>
                      <a:pt x="288" y="93"/>
                      <a:pt x="288" y="93"/>
                    </a:cubicBezTo>
                    <a:cubicBezTo>
                      <a:pt x="295" y="90"/>
                      <a:pt x="295" y="90"/>
                      <a:pt x="295" y="90"/>
                    </a:cubicBezTo>
                    <a:lnTo>
                      <a:pt x="291" y="79"/>
                    </a:ln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246" name="Croatia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5175250" y="4592638"/>
                <a:ext cx="596900" cy="547687"/>
              </a:xfrm>
              <a:custGeom>
                <a:avLst/>
                <a:gdLst/>
                <a:ahLst/>
                <a:cxnLst>
                  <a:cxn ang="0">
                    <a:pos x="260" y="53"/>
                  </a:cxn>
                  <a:cxn ang="0">
                    <a:pos x="248" y="34"/>
                  </a:cxn>
                  <a:cxn ang="0">
                    <a:pos x="195" y="44"/>
                  </a:cxn>
                  <a:cxn ang="0">
                    <a:pos x="157" y="12"/>
                  </a:cxn>
                  <a:cxn ang="0">
                    <a:pos x="127" y="1"/>
                  </a:cxn>
                  <a:cxn ang="0">
                    <a:pos x="97" y="28"/>
                  </a:cxn>
                  <a:cxn ang="0">
                    <a:pos x="80" y="58"/>
                  </a:cxn>
                  <a:cxn ang="0">
                    <a:pos x="89" y="72"/>
                  </a:cxn>
                  <a:cxn ang="0">
                    <a:pos x="67" y="75"/>
                  </a:cxn>
                  <a:cxn ang="0">
                    <a:pos x="50" y="66"/>
                  </a:cxn>
                  <a:cxn ang="0">
                    <a:pos x="27" y="75"/>
                  </a:cxn>
                  <a:cxn ang="0">
                    <a:pos x="2" y="77"/>
                  </a:cxn>
                  <a:cxn ang="0">
                    <a:pos x="11" y="98"/>
                  </a:cxn>
                  <a:cxn ang="0">
                    <a:pos x="26" y="119"/>
                  </a:cxn>
                  <a:cxn ang="0">
                    <a:pos x="62" y="95"/>
                  </a:cxn>
                  <a:cxn ang="0">
                    <a:pos x="102" y="151"/>
                  </a:cxn>
                  <a:cxn ang="0">
                    <a:pos x="99" y="176"/>
                  </a:cxn>
                  <a:cxn ang="0">
                    <a:pos x="144" y="197"/>
                  </a:cxn>
                  <a:cxn ang="0">
                    <a:pos x="210" y="235"/>
                  </a:cxn>
                  <a:cxn ang="0">
                    <a:pos x="182" y="229"/>
                  </a:cxn>
                  <a:cxn ang="0">
                    <a:pos x="231" y="249"/>
                  </a:cxn>
                  <a:cxn ang="0">
                    <a:pos x="248" y="248"/>
                  </a:cxn>
                  <a:cxn ang="0">
                    <a:pos x="210" y="221"/>
                  </a:cxn>
                  <a:cxn ang="0">
                    <a:pos x="161" y="176"/>
                  </a:cxn>
                  <a:cxn ang="0">
                    <a:pos x="123" y="129"/>
                  </a:cxn>
                  <a:cxn ang="0">
                    <a:pos x="109" y="90"/>
                  </a:cxn>
                  <a:cxn ang="0">
                    <a:pos x="159" y="87"/>
                  </a:cxn>
                  <a:cxn ang="0">
                    <a:pos x="206" y="92"/>
                  </a:cxn>
                  <a:cxn ang="0">
                    <a:pos x="233" y="85"/>
                  </a:cxn>
                  <a:cxn ang="0">
                    <a:pos x="267" y="94"/>
                  </a:cxn>
                  <a:cxn ang="0">
                    <a:pos x="280" y="74"/>
                  </a:cxn>
                  <a:cxn ang="0">
                    <a:pos x="60" y="102"/>
                  </a:cxn>
                  <a:cxn ang="0">
                    <a:pos x="50" y="97"/>
                  </a:cxn>
                  <a:cxn ang="0">
                    <a:pos x="56" y="107"/>
                  </a:cxn>
                  <a:cxn ang="0">
                    <a:pos x="47" y="115"/>
                  </a:cxn>
                  <a:cxn ang="0">
                    <a:pos x="40" y="95"/>
                  </a:cxn>
                  <a:cxn ang="0">
                    <a:pos x="41" y="111"/>
                  </a:cxn>
                  <a:cxn ang="0">
                    <a:pos x="51" y="140"/>
                  </a:cxn>
                  <a:cxn ang="0">
                    <a:pos x="49" y="130"/>
                  </a:cxn>
                  <a:cxn ang="0">
                    <a:pos x="37" y="130"/>
                  </a:cxn>
                  <a:cxn ang="0">
                    <a:pos x="70" y="131"/>
                  </a:cxn>
                  <a:cxn ang="0">
                    <a:pos x="76" y="143"/>
                  </a:cxn>
                  <a:cxn ang="0">
                    <a:pos x="63" y="121"/>
                  </a:cxn>
                  <a:cxn ang="0">
                    <a:pos x="59" y="121"/>
                  </a:cxn>
                  <a:cxn ang="0">
                    <a:pos x="75" y="165"/>
                  </a:cxn>
                  <a:cxn ang="0">
                    <a:pos x="79" y="169"/>
                  </a:cxn>
                  <a:cxn ang="0">
                    <a:pos x="169" y="208"/>
                  </a:cxn>
                  <a:cxn ang="0">
                    <a:pos x="144" y="209"/>
                  </a:cxn>
                  <a:cxn ang="0">
                    <a:pos x="136" y="206"/>
                  </a:cxn>
                  <a:cxn ang="0">
                    <a:pos x="163" y="219"/>
                  </a:cxn>
                  <a:cxn ang="0">
                    <a:pos x="153" y="218"/>
                  </a:cxn>
                  <a:cxn ang="0">
                    <a:pos x="182" y="222"/>
                  </a:cxn>
                  <a:cxn ang="0">
                    <a:pos x="135" y="227"/>
                  </a:cxn>
                  <a:cxn ang="0">
                    <a:pos x="169" y="233"/>
                  </a:cxn>
                  <a:cxn ang="0">
                    <a:pos x="160" y="235"/>
                  </a:cxn>
                  <a:cxn ang="0">
                    <a:pos x="186" y="235"/>
                  </a:cxn>
                  <a:cxn ang="0">
                    <a:pos x="213" y="246"/>
                  </a:cxn>
                  <a:cxn ang="0">
                    <a:pos x="71" y="155"/>
                  </a:cxn>
                  <a:cxn ang="0">
                    <a:pos x="63" y="153"/>
                  </a:cxn>
                  <a:cxn ang="0">
                    <a:pos x="77" y="153"/>
                  </a:cxn>
                  <a:cxn ang="0">
                    <a:pos x="61" y="143"/>
                  </a:cxn>
                  <a:cxn ang="0">
                    <a:pos x="91" y="182"/>
                  </a:cxn>
                  <a:cxn ang="0">
                    <a:pos x="81" y="164"/>
                  </a:cxn>
                </a:cxnLst>
                <a:rect l="0" t="0" r="r" b="b"/>
                <a:pathLst>
                  <a:path w="280" h="257">
                    <a:moveTo>
                      <a:pt x="269" y="74"/>
                    </a:moveTo>
                    <a:cubicBezTo>
                      <a:pt x="258" y="67"/>
                      <a:pt x="258" y="67"/>
                      <a:pt x="258" y="67"/>
                    </a:cubicBezTo>
                    <a:cubicBezTo>
                      <a:pt x="258" y="67"/>
                      <a:pt x="253" y="63"/>
                      <a:pt x="258" y="61"/>
                    </a:cubicBezTo>
                    <a:cubicBezTo>
                      <a:pt x="264" y="59"/>
                      <a:pt x="266" y="53"/>
                      <a:pt x="260" y="53"/>
                    </a:cubicBezTo>
                    <a:cubicBezTo>
                      <a:pt x="256" y="54"/>
                      <a:pt x="256" y="59"/>
                      <a:pt x="253" y="54"/>
                    </a:cubicBezTo>
                    <a:cubicBezTo>
                      <a:pt x="250" y="51"/>
                      <a:pt x="255" y="46"/>
                      <a:pt x="255" y="41"/>
                    </a:cubicBezTo>
                    <a:cubicBezTo>
                      <a:pt x="255" y="40"/>
                      <a:pt x="253" y="37"/>
                      <a:pt x="250" y="34"/>
                    </a:cubicBezTo>
                    <a:cubicBezTo>
                      <a:pt x="248" y="34"/>
                      <a:pt x="248" y="34"/>
                      <a:pt x="248" y="34"/>
                    </a:cubicBezTo>
                    <a:cubicBezTo>
                      <a:pt x="241" y="35"/>
                      <a:pt x="241" y="35"/>
                      <a:pt x="241" y="35"/>
                    </a:cubicBezTo>
                    <a:cubicBezTo>
                      <a:pt x="234" y="45"/>
                      <a:pt x="234" y="45"/>
                      <a:pt x="234" y="45"/>
                    </a:cubicBezTo>
                    <a:cubicBezTo>
                      <a:pt x="234" y="45"/>
                      <a:pt x="223" y="46"/>
                      <a:pt x="218" y="46"/>
                    </a:cubicBezTo>
                    <a:cubicBezTo>
                      <a:pt x="213" y="46"/>
                      <a:pt x="195" y="44"/>
                      <a:pt x="195" y="44"/>
                    </a:cubicBezTo>
                    <a:cubicBezTo>
                      <a:pt x="195" y="44"/>
                      <a:pt x="194" y="38"/>
                      <a:pt x="190" y="36"/>
                    </a:cubicBezTo>
                    <a:cubicBezTo>
                      <a:pt x="186" y="34"/>
                      <a:pt x="179" y="35"/>
                      <a:pt x="179" y="35"/>
                    </a:cubicBezTo>
                    <a:cubicBezTo>
                      <a:pt x="161" y="20"/>
                      <a:pt x="161" y="20"/>
                      <a:pt x="161" y="20"/>
                    </a:cubicBezTo>
                    <a:cubicBezTo>
                      <a:pt x="161" y="20"/>
                      <a:pt x="159" y="15"/>
                      <a:pt x="157" y="12"/>
                    </a:cubicBezTo>
                    <a:cubicBezTo>
                      <a:pt x="155" y="9"/>
                      <a:pt x="148" y="11"/>
                      <a:pt x="148" y="11"/>
                    </a:cubicBezTo>
                    <a:cubicBezTo>
                      <a:pt x="146" y="6"/>
                      <a:pt x="146" y="6"/>
                      <a:pt x="146" y="6"/>
                    </a:cubicBezTo>
                    <a:cubicBezTo>
                      <a:pt x="140" y="3"/>
                      <a:pt x="140" y="3"/>
                      <a:pt x="140" y="3"/>
                    </a:cubicBezTo>
                    <a:cubicBezTo>
                      <a:pt x="140" y="3"/>
                      <a:pt x="131" y="0"/>
                      <a:pt x="127" y="1"/>
                    </a:cubicBezTo>
                    <a:cubicBezTo>
                      <a:pt x="124" y="1"/>
                      <a:pt x="127" y="12"/>
                      <a:pt x="127" y="12"/>
                    </a:cubicBezTo>
                    <a:cubicBezTo>
                      <a:pt x="127" y="12"/>
                      <a:pt x="121" y="9"/>
                      <a:pt x="119" y="9"/>
                    </a:cubicBezTo>
                    <a:cubicBezTo>
                      <a:pt x="116" y="9"/>
                      <a:pt x="119" y="16"/>
                      <a:pt x="119" y="16"/>
                    </a:cubicBezTo>
                    <a:cubicBezTo>
                      <a:pt x="119" y="16"/>
                      <a:pt x="100" y="24"/>
                      <a:pt x="97" y="28"/>
                    </a:cubicBezTo>
                    <a:cubicBezTo>
                      <a:pt x="94" y="32"/>
                      <a:pt x="104" y="36"/>
                      <a:pt x="104" y="36"/>
                    </a:cubicBezTo>
                    <a:cubicBezTo>
                      <a:pt x="102" y="49"/>
                      <a:pt x="102" y="49"/>
                      <a:pt x="102" y="49"/>
                    </a:cubicBezTo>
                    <a:cubicBezTo>
                      <a:pt x="96" y="47"/>
                      <a:pt x="96" y="47"/>
                      <a:pt x="96" y="47"/>
                    </a:cubicBezTo>
                    <a:cubicBezTo>
                      <a:pt x="96" y="47"/>
                      <a:pt x="82" y="54"/>
                      <a:pt x="80" y="58"/>
                    </a:cubicBezTo>
                    <a:cubicBezTo>
                      <a:pt x="78" y="62"/>
                      <a:pt x="88" y="58"/>
                      <a:pt x="88" y="58"/>
                    </a:cubicBezTo>
                    <a:cubicBezTo>
                      <a:pt x="90" y="61"/>
                      <a:pt x="90" y="61"/>
                      <a:pt x="90" y="61"/>
                    </a:cubicBezTo>
                    <a:cubicBezTo>
                      <a:pt x="90" y="61"/>
                      <a:pt x="88" y="64"/>
                      <a:pt x="86" y="66"/>
                    </a:cubicBezTo>
                    <a:cubicBezTo>
                      <a:pt x="83" y="68"/>
                      <a:pt x="89" y="72"/>
                      <a:pt x="89" y="72"/>
                    </a:cubicBezTo>
                    <a:cubicBezTo>
                      <a:pt x="89" y="72"/>
                      <a:pt x="86" y="77"/>
                      <a:pt x="79" y="77"/>
                    </a:cubicBezTo>
                    <a:cubicBezTo>
                      <a:pt x="73" y="77"/>
                      <a:pt x="75" y="74"/>
                      <a:pt x="75" y="74"/>
                    </a:cubicBezTo>
                    <a:cubicBezTo>
                      <a:pt x="75" y="74"/>
                      <a:pt x="70" y="70"/>
                      <a:pt x="67" y="70"/>
                    </a:cubicBezTo>
                    <a:cubicBezTo>
                      <a:pt x="66" y="70"/>
                      <a:pt x="67" y="75"/>
                      <a:pt x="67" y="75"/>
                    </a:cubicBezTo>
                    <a:cubicBezTo>
                      <a:pt x="57" y="71"/>
                      <a:pt x="57" y="71"/>
                      <a:pt x="57" y="71"/>
                    </a:cubicBezTo>
                    <a:cubicBezTo>
                      <a:pt x="53" y="66"/>
                      <a:pt x="53" y="66"/>
                      <a:pt x="53" y="66"/>
                    </a:cubicBezTo>
                    <a:cubicBezTo>
                      <a:pt x="53" y="66"/>
                      <a:pt x="53" y="62"/>
                      <a:pt x="50" y="62"/>
                    </a:cubicBezTo>
                    <a:cubicBezTo>
                      <a:pt x="49" y="63"/>
                      <a:pt x="50" y="66"/>
                      <a:pt x="50" y="66"/>
                    </a:cubicBezTo>
                    <a:cubicBezTo>
                      <a:pt x="48" y="67"/>
                      <a:pt x="48" y="67"/>
                      <a:pt x="48" y="67"/>
                    </a:cubicBezTo>
                    <a:cubicBezTo>
                      <a:pt x="47" y="71"/>
                      <a:pt x="47" y="71"/>
                      <a:pt x="47" y="71"/>
                    </a:cubicBezTo>
                    <a:cubicBezTo>
                      <a:pt x="30" y="77"/>
                      <a:pt x="30" y="77"/>
                      <a:pt x="30" y="77"/>
                    </a:cubicBezTo>
                    <a:cubicBezTo>
                      <a:pt x="27" y="75"/>
                      <a:pt x="27" y="75"/>
                      <a:pt x="27" y="75"/>
                    </a:cubicBezTo>
                    <a:cubicBezTo>
                      <a:pt x="20" y="80"/>
                      <a:pt x="20" y="80"/>
                      <a:pt x="20" y="80"/>
                    </a:cubicBezTo>
                    <a:cubicBezTo>
                      <a:pt x="14" y="76"/>
                      <a:pt x="14" y="76"/>
                      <a:pt x="14" y="76"/>
                    </a:cubicBezTo>
                    <a:cubicBezTo>
                      <a:pt x="14" y="76"/>
                      <a:pt x="10" y="80"/>
                      <a:pt x="9" y="80"/>
                    </a:cubicBezTo>
                    <a:cubicBezTo>
                      <a:pt x="7" y="80"/>
                      <a:pt x="2" y="77"/>
                      <a:pt x="2" y="77"/>
                    </a:cubicBezTo>
                    <a:cubicBezTo>
                      <a:pt x="0" y="80"/>
                      <a:pt x="0" y="80"/>
                      <a:pt x="0" y="80"/>
                    </a:cubicBezTo>
                    <a:cubicBezTo>
                      <a:pt x="4" y="83"/>
                      <a:pt x="4" y="83"/>
                      <a:pt x="4" y="83"/>
                    </a:cubicBezTo>
                    <a:cubicBezTo>
                      <a:pt x="7" y="97"/>
                      <a:pt x="7" y="97"/>
                      <a:pt x="7" y="97"/>
                    </a:cubicBezTo>
                    <a:cubicBezTo>
                      <a:pt x="11" y="98"/>
                      <a:pt x="11" y="98"/>
                      <a:pt x="11" y="98"/>
                    </a:cubicBezTo>
                    <a:cubicBezTo>
                      <a:pt x="7" y="100"/>
                      <a:pt x="7" y="100"/>
                      <a:pt x="7" y="100"/>
                    </a:cubicBezTo>
                    <a:cubicBezTo>
                      <a:pt x="14" y="108"/>
                      <a:pt x="14" y="108"/>
                      <a:pt x="14" y="108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6" y="119"/>
                      <a:pt x="26" y="119"/>
                      <a:pt x="26" y="119"/>
                    </a:cubicBezTo>
                    <a:cubicBezTo>
                      <a:pt x="27" y="107"/>
                      <a:pt x="27" y="107"/>
                      <a:pt x="27" y="107"/>
                    </a:cubicBezTo>
                    <a:cubicBezTo>
                      <a:pt x="27" y="107"/>
                      <a:pt x="30" y="111"/>
                      <a:pt x="33" y="110"/>
                    </a:cubicBezTo>
                    <a:cubicBezTo>
                      <a:pt x="37" y="108"/>
                      <a:pt x="34" y="88"/>
                      <a:pt x="39" y="85"/>
                    </a:cubicBezTo>
                    <a:cubicBezTo>
                      <a:pt x="43" y="82"/>
                      <a:pt x="62" y="95"/>
                      <a:pt x="62" y="95"/>
                    </a:cubicBezTo>
                    <a:cubicBezTo>
                      <a:pt x="70" y="108"/>
                      <a:pt x="70" y="108"/>
                      <a:pt x="70" y="108"/>
                    </a:cubicBezTo>
                    <a:cubicBezTo>
                      <a:pt x="70" y="108"/>
                      <a:pt x="64" y="121"/>
                      <a:pt x="70" y="126"/>
                    </a:cubicBezTo>
                    <a:cubicBezTo>
                      <a:pt x="74" y="131"/>
                      <a:pt x="88" y="146"/>
                      <a:pt x="88" y="146"/>
                    </a:cubicBezTo>
                    <a:cubicBezTo>
                      <a:pt x="88" y="146"/>
                      <a:pt x="98" y="150"/>
                      <a:pt x="102" y="151"/>
                    </a:cubicBezTo>
                    <a:cubicBezTo>
                      <a:pt x="104" y="153"/>
                      <a:pt x="108" y="158"/>
                      <a:pt x="108" y="158"/>
                    </a:cubicBezTo>
                    <a:cubicBezTo>
                      <a:pt x="108" y="158"/>
                      <a:pt x="93" y="153"/>
                      <a:pt x="91" y="151"/>
                    </a:cubicBezTo>
                    <a:cubicBezTo>
                      <a:pt x="89" y="151"/>
                      <a:pt x="82" y="154"/>
                      <a:pt x="82" y="154"/>
                    </a:cubicBezTo>
                    <a:cubicBezTo>
                      <a:pt x="82" y="154"/>
                      <a:pt x="90" y="173"/>
                      <a:pt x="99" y="176"/>
                    </a:cubicBezTo>
                    <a:cubicBezTo>
                      <a:pt x="108" y="179"/>
                      <a:pt x="123" y="190"/>
                      <a:pt x="123" y="190"/>
                    </a:cubicBezTo>
                    <a:cubicBezTo>
                      <a:pt x="123" y="190"/>
                      <a:pt x="120" y="195"/>
                      <a:pt x="123" y="198"/>
                    </a:cubicBezTo>
                    <a:cubicBezTo>
                      <a:pt x="127" y="202"/>
                      <a:pt x="131" y="201"/>
                      <a:pt x="131" y="201"/>
                    </a:cubicBezTo>
                    <a:cubicBezTo>
                      <a:pt x="144" y="197"/>
                      <a:pt x="144" y="197"/>
                      <a:pt x="144" y="197"/>
                    </a:cubicBezTo>
                    <a:cubicBezTo>
                      <a:pt x="169" y="204"/>
                      <a:pt x="169" y="204"/>
                      <a:pt x="169" y="204"/>
                    </a:cubicBezTo>
                    <a:cubicBezTo>
                      <a:pt x="169" y="204"/>
                      <a:pt x="173" y="213"/>
                      <a:pt x="180" y="217"/>
                    </a:cubicBezTo>
                    <a:cubicBezTo>
                      <a:pt x="187" y="219"/>
                      <a:pt x="195" y="225"/>
                      <a:pt x="200" y="228"/>
                    </a:cubicBezTo>
                    <a:cubicBezTo>
                      <a:pt x="203" y="232"/>
                      <a:pt x="210" y="235"/>
                      <a:pt x="210" y="235"/>
                    </a:cubicBezTo>
                    <a:cubicBezTo>
                      <a:pt x="210" y="235"/>
                      <a:pt x="202" y="233"/>
                      <a:pt x="200" y="232"/>
                    </a:cubicBezTo>
                    <a:cubicBezTo>
                      <a:pt x="197" y="230"/>
                      <a:pt x="194" y="228"/>
                      <a:pt x="192" y="228"/>
                    </a:cubicBezTo>
                    <a:cubicBezTo>
                      <a:pt x="189" y="227"/>
                      <a:pt x="176" y="225"/>
                      <a:pt x="176" y="225"/>
                    </a:cubicBezTo>
                    <a:cubicBezTo>
                      <a:pt x="176" y="225"/>
                      <a:pt x="180" y="229"/>
                      <a:pt x="182" y="229"/>
                    </a:cubicBezTo>
                    <a:cubicBezTo>
                      <a:pt x="185" y="230"/>
                      <a:pt x="197" y="235"/>
                      <a:pt x="197" y="235"/>
                    </a:cubicBezTo>
                    <a:cubicBezTo>
                      <a:pt x="212" y="241"/>
                      <a:pt x="212" y="241"/>
                      <a:pt x="212" y="241"/>
                    </a:cubicBezTo>
                    <a:cubicBezTo>
                      <a:pt x="214" y="239"/>
                      <a:pt x="214" y="239"/>
                      <a:pt x="214" y="239"/>
                    </a:cubicBezTo>
                    <a:cubicBezTo>
                      <a:pt x="231" y="249"/>
                      <a:pt x="231" y="249"/>
                      <a:pt x="231" y="249"/>
                    </a:cubicBezTo>
                    <a:cubicBezTo>
                      <a:pt x="236" y="249"/>
                      <a:pt x="236" y="249"/>
                      <a:pt x="236" y="249"/>
                    </a:cubicBezTo>
                    <a:cubicBezTo>
                      <a:pt x="239" y="251"/>
                      <a:pt x="239" y="251"/>
                      <a:pt x="239" y="251"/>
                    </a:cubicBezTo>
                    <a:cubicBezTo>
                      <a:pt x="251" y="257"/>
                      <a:pt x="251" y="257"/>
                      <a:pt x="251" y="257"/>
                    </a:cubicBezTo>
                    <a:cubicBezTo>
                      <a:pt x="251" y="257"/>
                      <a:pt x="253" y="248"/>
                      <a:pt x="248" y="248"/>
                    </a:cubicBezTo>
                    <a:cubicBezTo>
                      <a:pt x="244" y="246"/>
                      <a:pt x="242" y="249"/>
                      <a:pt x="242" y="249"/>
                    </a:cubicBezTo>
                    <a:cubicBezTo>
                      <a:pt x="220" y="230"/>
                      <a:pt x="220" y="230"/>
                      <a:pt x="220" y="230"/>
                    </a:cubicBezTo>
                    <a:cubicBezTo>
                      <a:pt x="212" y="232"/>
                      <a:pt x="212" y="232"/>
                      <a:pt x="212" y="232"/>
                    </a:cubicBezTo>
                    <a:cubicBezTo>
                      <a:pt x="212" y="232"/>
                      <a:pt x="215" y="226"/>
                      <a:pt x="210" y="221"/>
                    </a:cubicBezTo>
                    <a:cubicBezTo>
                      <a:pt x="204" y="216"/>
                      <a:pt x="191" y="210"/>
                      <a:pt x="190" y="206"/>
                    </a:cubicBezTo>
                    <a:cubicBezTo>
                      <a:pt x="189" y="201"/>
                      <a:pt x="190" y="197"/>
                      <a:pt x="190" y="197"/>
                    </a:cubicBezTo>
                    <a:cubicBezTo>
                      <a:pt x="178" y="191"/>
                      <a:pt x="178" y="191"/>
                      <a:pt x="178" y="191"/>
                    </a:cubicBezTo>
                    <a:cubicBezTo>
                      <a:pt x="161" y="176"/>
                      <a:pt x="161" y="176"/>
                      <a:pt x="161" y="176"/>
                    </a:cubicBezTo>
                    <a:cubicBezTo>
                      <a:pt x="159" y="173"/>
                      <a:pt x="159" y="173"/>
                      <a:pt x="159" y="173"/>
                    </a:cubicBezTo>
                    <a:cubicBezTo>
                      <a:pt x="159" y="173"/>
                      <a:pt x="146" y="164"/>
                      <a:pt x="140" y="157"/>
                    </a:cubicBezTo>
                    <a:cubicBezTo>
                      <a:pt x="132" y="149"/>
                      <a:pt x="133" y="144"/>
                      <a:pt x="131" y="139"/>
                    </a:cubicBezTo>
                    <a:cubicBezTo>
                      <a:pt x="128" y="132"/>
                      <a:pt x="123" y="129"/>
                      <a:pt x="123" y="129"/>
                    </a:cubicBezTo>
                    <a:cubicBezTo>
                      <a:pt x="125" y="125"/>
                      <a:pt x="125" y="125"/>
                      <a:pt x="125" y="125"/>
                    </a:cubicBezTo>
                    <a:cubicBezTo>
                      <a:pt x="120" y="118"/>
                      <a:pt x="120" y="118"/>
                      <a:pt x="120" y="118"/>
                    </a:cubicBezTo>
                    <a:cubicBezTo>
                      <a:pt x="110" y="117"/>
                      <a:pt x="110" y="117"/>
                      <a:pt x="110" y="117"/>
                    </a:cubicBezTo>
                    <a:cubicBezTo>
                      <a:pt x="110" y="117"/>
                      <a:pt x="102" y="93"/>
                      <a:pt x="109" y="90"/>
                    </a:cubicBezTo>
                    <a:cubicBezTo>
                      <a:pt x="116" y="85"/>
                      <a:pt x="120" y="90"/>
                      <a:pt x="123" y="93"/>
                    </a:cubicBezTo>
                    <a:cubicBezTo>
                      <a:pt x="126" y="96"/>
                      <a:pt x="132" y="102"/>
                      <a:pt x="136" y="100"/>
                    </a:cubicBezTo>
                    <a:cubicBezTo>
                      <a:pt x="140" y="99"/>
                      <a:pt x="140" y="86"/>
                      <a:pt x="144" y="85"/>
                    </a:cubicBezTo>
                    <a:cubicBezTo>
                      <a:pt x="148" y="85"/>
                      <a:pt x="159" y="87"/>
                      <a:pt x="159" y="87"/>
                    </a:cubicBezTo>
                    <a:cubicBezTo>
                      <a:pt x="164" y="81"/>
                      <a:pt x="164" y="81"/>
                      <a:pt x="164" y="81"/>
                    </a:cubicBezTo>
                    <a:cubicBezTo>
                      <a:pt x="164" y="81"/>
                      <a:pt x="172" y="88"/>
                      <a:pt x="176" y="88"/>
                    </a:cubicBezTo>
                    <a:cubicBezTo>
                      <a:pt x="198" y="88"/>
                      <a:pt x="198" y="88"/>
                      <a:pt x="198" y="88"/>
                    </a:cubicBezTo>
                    <a:cubicBezTo>
                      <a:pt x="198" y="88"/>
                      <a:pt x="203" y="92"/>
                      <a:pt x="206" y="92"/>
                    </a:cubicBezTo>
                    <a:cubicBezTo>
                      <a:pt x="210" y="92"/>
                      <a:pt x="214" y="84"/>
                      <a:pt x="214" y="84"/>
                    </a:cubicBezTo>
                    <a:cubicBezTo>
                      <a:pt x="214" y="84"/>
                      <a:pt x="219" y="90"/>
                      <a:pt x="222" y="90"/>
                    </a:cubicBezTo>
                    <a:cubicBezTo>
                      <a:pt x="225" y="90"/>
                      <a:pt x="225" y="84"/>
                      <a:pt x="225" y="84"/>
                    </a:cubicBezTo>
                    <a:cubicBezTo>
                      <a:pt x="233" y="85"/>
                      <a:pt x="233" y="85"/>
                      <a:pt x="233" y="85"/>
                    </a:cubicBezTo>
                    <a:cubicBezTo>
                      <a:pt x="239" y="90"/>
                      <a:pt x="239" y="90"/>
                      <a:pt x="239" y="90"/>
                    </a:cubicBezTo>
                    <a:cubicBezTo>
                      <a:pt x="239" y="90"/>
                      <a:pt x="241" y="86"/>
                      <a:pt x="247" y="87"/>
                    </a:cubicBezTo>
                    <a:cubicBezTo>
                      <a:pt x="253" y="90"/>
                      <a:pt x="251" y="99"/>
                      <a:pt x="256" y="99"/>
                    </a:cubicBezTo>
                    <a:cubicBezTo>
                      <a:pt x="262" y="99"/>
                      <a:pt x="267" y="94"/>
                      <a:pt x="267" y="94"/>
                    </a:cubicBezTo>
                    <a:cubicBezTo>
                      <a:pt x="264" y="82"/>
                      <a:pt x="264" y="82"/>
                      <a:pt x="264" y="82"/>
                    </a:cubicBezTo>
                    <a:cubicBezTo>
                      <a:pt x="269" y="77"/>
                      <a:pt x="269" y="77"/>
                      <a:pt x="269" y="77"/>
                    </a:cubicBezTo>
                    <a:cubicBezTo>
                      <a:pt x="280" y="77"/>
                      <a:pt x="280" y="77"/>
                      <a:pt x="280" y="77"/>
                    </a:cubicBezTo>
                    <a:cubicBezTo>
                      <a:pt x="280" y="74"/>
                      <a:pt x="280" y="74"/>
                      <a:pt x="280" y="74"/>
                    </a:cubicBezTo>
                    <a:lnTo>
                      <a:pt x="269" y="74"/>
                    </a:lnTo>
                    <a:close/>
                    <a:moveTo>
                      <a:pt x="60" y="109"/>
                    </a:moveTo>
                    <a:cubicBezTo>
                      <a:pt x="64" y="106"/>
                      <a:pt x="64" y="106"/>
                      <a:pt x="64" y="106"/>
                    </a:cubicBezTo>
                    <a:cubicBezTo>
                      <a:pt x="60" y="102"/>
                      <a:pt x="60" y="102"/>
                      <a:pt x="60" y="102"/>
                    </a:cubicBezTo>
                    <a:cubicBezTo>
                      <a:pt x="58" y="98"/>
                      <a:pt x="58" y="98"/>
                      <a:pt x="58" y="98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49" y="92"/>
                      <a:pt x="49" y="92"/>
                      <a:pt x="49" y="92"/>
                    </a:cubicBezTo>
                    <a:cubicBezTo>
                      <a:pt x="50" y="97"/>
                      <a:pt x="50" y="97"/>
                      <a:pt x="50" y="97"/>
                    </a:cubicBezTo>
                    <a:cubicBezTo>
                      <a:pt x="46" y="101"/>
                      <a:pt x="46" y="101"/>
                      <a:pt x="46" y="101"/>
                    </a:cubicBezTo>
                    <a:cubicBezTo>
                      <a:pt x="51" y="107"/>
                      <a:pt x="51" y="107"/>
                      <a:pt x="51" y="107"/>
                    </a:cubicBezTo>
                    <a:cubicBezTo>
                      <a:pt x="56" y="104"/>
                      <a:pt x="56" y="104"/>
                      <a:pt x="56" y="104"/>
                    </a:cubicBezTo>
                    <a:cubicBezTo>
                      <a:pt x="56" y="107"/>
                      <a:pt x="56" y="107"/>
                      <a:pt x="56" y="107"/>
                    </a:cubicBezTo>
                    <a:lnTo>
                      <a:pt x="60" y="109"/>
                    </a:lnTo>
                    <a:close/>
                    <a:moveTo>
                      <a:pt x="53" y="129"/>
                    </a:moveTo>
                    <a:cubicBezTo>
                      <a:pt x="49" y="126"/>
                      <a:pt x="49" y="126"/>
                      <a:pt x="49" y="126"/>
                    </a:cubicBezTo>
                    <a:cubicBezTo>
                      <a:pt x="47" y="115"/>
                      <a:pt x="47" y="115"/>
                      <a:pt x="47" y="115"/>
                    </a:cubicBezTo>
                    <a:cubicBezTo>
                      <a:pt x="47" y="115"/>
                      <a:pt x="50" y="112"/>
                      <a:pt x="48" y="110"/>
                    </a:cubicBezTo>
                    <a:cubicBezTo>
                      <a:pt x="47" y="108"/>
                      <a:pt x="45" y="106"/>
                      <a:pt x="44" y="102"/>
                    </a:cubicBezTo>
                    <a:cubicBezTo>
                      <a:pt x="44" y="100"/>
                      <a:pt x="43" y="95"/>
                      <a:pt x="43" y="95"/>
                    </a:cubicBezTo>
                    <a:cubicBezTo>
                      <a:pt x="40" y="95"/>
                      <a:pt x="40" y="95"/>
                      <a:pt x="40" y="95"/>
                    </a:cubicBezTo>
                    <a:cubicBezTo>
                      <a:pt x="38" y="100"/>
                      <a:pt x="38" y="100"/>
                      <a:pt x="38" y="100"/>
                    </a:cubicBezTo>
                    <a:cubicBezTo>
                      <a:pt x="38" y="100"/>
                      <a:pt x="42" y="106"/>
                      <a:pt x="44" y="107"/>
                    </a:cubicBezTo>
                    <a:cubicBezTo>
                      <a:pt x="45" y="109"/>
                      <a:pt x="44" y="112"/>
                      <a:pt x="44" y="112"/>
                    </a:cubicBezTo>
                    <a:cubicBezTo>
                      <a:pt x="41" y="111"/>
                      <a:pt x="41" y="111"/>
                      <a:pt x="41" y="111"/>
                    </a:cubicBezTo>
                    <a:cubicBezTo>
                      <a:pt x="46" y="124"/>
                      <a:pt x="46" y="124"/>
                      <a:pt x="46" y="124"/>
                    </a:cubicBezTo>
                    <a:cubicBezTo>
                      <a:pt x="42" y="124"/>
                      <a:pt x="42" y="124"/>
                      <a:pt x="42" y="124"/>
                    </a:cubicBezTo>
                    <a:cubicBezTo>
                      <a:pt x="45" y="135"/>
                      <a:pt x="45" y="135"/>
                      <a:pt x="45" y="135"/>
                    </a:cubicBezTo>
                    <a:cubicBezTo>
                      <a:pt x="51" y="140"/>
                      <a:pt x="51" y="140"/>
                      <a:pt x="51" y="140"/>
                    </a:cubicBezTo>
                    <a:cubicBezTo>
                      <a:pt x="53" y="138"/>
                      <a:pt x="53" y="138"/>
                      <a:pt x="53" y="138"/>
                    </a:cubicBezTo>
                    <a:cubicBezTo>
                      <a:pt x="47" y="132"/>
                      <a:pt x="47" y="132"/>
                      <a:pt x="47" y="132"/>
                    </a:cubicBezTo>
                    <a:cubicBezTo>
                      <a:pt x="46" y="129"/>
                      <a:pt x="46" y="129"/>
                      <a:pt x="46" y="129"/>
                    </a:cubicBezTo>
                    <a:cubicBezTo>
                      <a:pt x="49" y="130"/>
                      <a:pt x="49" y="130"/>
                      <a:pt x="49" y="130"/>
                    </a:cubicBezTo>
                    <a:lnTo>
                      <a:pt x="53" y="129"/>
                    </a:lnTo>
                    <a:close/>
                    <a:moveTo>
                      <a:pt x="37" y="130"/>
                    </a:moveTo>
                    <a:cubicBezTo>
                      <a:pt x="37" y="133"/>
                      <a:pt x="40" y="129"/>
                      <a:pt x="40" y="129"/>
                    </a:cubicBezTo>
                    <a:cubicBezTo>
                      <a:pt x="40" y="125"/>
                      <a:pt x="37" y="127"/>
                      <a:pt x="37" y="130"/>
                    </a:cubicBezTo>
                    <a:close/>
                    <a:moveTo>
                      <a:pt x="86" y="147"/>
                    </a:moveTo>
                    <a:cubicBezTo>
                      <a:pt x="78" y="140"/>
                      <a:pt x="78" y="140"/>
                      <a:pt x="78" y="140"/>
                    </a:cubicBezTo>
                    <a:cubicBezTo>
                      <a:pt x="74" y="139"/>
                      <a:pt x="74" y="139"/>
                      <a:pt x="74" y="139"/>
                    </a:cubicBezTo>
                    <a:cubicBezTo>
                      <a:pt x="70" y="131"/>
                      <a:pt x="70" y="131"/>
                      <a:pt x="70" y="131"/>
                    </a:cubicBezTo>
                    <a:cubicBezTo>
                      <a:pt x="67" y="130"/>
                      <a:pt x="67" y="130"/>
                      <a:pt x="67" y="130"/>
                    </a:cubicBezTo>
                    <a:cubicBezTo>
                      <a:pt x="62" y="127"/>
                      <a:pt x="62" y="127"/>
                      <a:pt x="62" y="127"/>
                    </a:cubicBezTo>
                    <a:cubicBezTo>
                      <a:pt x="72" y="140"/>
                      <a:pt x="72" y="140"/>
                      <a:pt x="72" y="140"/>
                    </a:cubicBezTo>
                    <a:cubicBezTo>
                      <a:pt x="76" y="143"/>
                      <a:pt x="76" y="143"/>
                      <a:pt x="76" y="143"/>
                    </a:cubicBezTo>
                    <a:cubicBezTo>
                      <a:pt x="82" y="149"/>
                      <a:pt x="82" y="149"/>
                      <a:pt x="82" y="149"/>
                    </a:cubicBezTo>
                    <a:lnTo>
                      <a:pt x="86" y="147"/>
                    </a:lnTo>
                    <a:close/>
                    <a:moveTo>
                      <a:pt x="59" y="121"/>
                    </a:moveTo>
                    <a:cubicBezTo>
                      <a:pt x="63" y="121"/>
                      <a:pt x="63" y="121"/>
                      <a:pt x="63" y="121"/>
                    </a:cubicBezTo>
                    <a:cubicBezTo>
                      <a:pt x="61" y="114"/>
                      <a:pt x="61" y="114"/>
                      <a:pt x="61" y="114"/>
                    </a:cubicBezTo>
                    <a:cubicBezTo>
                      <a:pt x="58" y="115"/>
                      <a:pt x="58" y="115"/>
                      <a:pt x="58" y="115"/>
                    </a:cubicBezTo>
                    <a:cubicBezTo>
                      <a:pt x="60" y="117"/>
                      <a:pt x="60" y="117"/>
                      <a:pt x="60" y="117"/>
                    </a:cubicBezTo>
                    <a:lnTo>
                      <a:pt x="59" y="121"/>
                    </a:lnTo>
                    <a:close/>
                    <a:moveTo>
                      <a:pt x="77" y="165"/>
                    </a:moveTo>
                    <a:cubicBezTo>
                      <a:pt x="72" y="160"/>
                      <a:pt x="72" y="160"/>
                      <a:pt x="72" y="160"/>
                    </a:cubicBezTo>
                    <a:cubicBezTo>
                      <a:pt x="69" y="160"/>
                      <a:pt x="69" y="160"/>
                      <a:pt x="69" y="160"/>
                    </a:cubicBezTo>
                    <a:cubicBezTo>
                      <a:pt x="75" y="165"/>
                      <a:pt x="75" y="165"/>
                      <a:pt x="75" y="165"/>
                    </a:cubicBezTo>
                    <a:cubicBezTo>
                      <a:pt x="78" y="170"/>
                      <a:pt x="78" y="170"/>
                      <a:pt x="78" y="170"/>
                    </a:cubicBezTo>
                    <a:cubicBezTo>
                      <a:pt x="84" y="177"/>
                      <a:pt x="84" y="177"/>
                      <a:pt x="84" y="177"/>
                    </a:cubicBezTo>
                    <a:cubicBezTo>
                      <a:pt x="86" y="174"/>
                      <a:pt x="86" y="174"/>
                      <a:pt x="86" y="174"/>
                    </a:cubicBezTo>
                    <a:cubicBezTo>
                      <a:pt x="79" y="169"/>
                      <a:pt x="79" y="169"/>
                      <a:pt x="79" y="169"/>
                    </a:cubicBezTo>
                    <a:lnTo>
                      <a:pt x="77" y="165"/>
                    </a:lnTo>
                    <a:close/>
                    <a:moveTo>
                      <a:pt x="162" y="212"/>
                    </a:moveTo>
                    <a:cubicBezTo>
                      <a:pt x="168" y="210"/>
                      <a:pt x="168" y="210"/>
                      <a:pt x="168" y="210"/>
                    </a:cubicBezTo>
                    <a:cubicBezTo>
                      <a:pt x="169" y="208"/>
                      <a:pt x="169" y="208"/>
                      <a:pt x="169" y="208"/>
                    </a:cubicBezTo>
                    <a:cubicBezTo>
                      <a:pt x="163" y="207"/>
                      <a:pt x="163" y="207"/>
                      <a:pt x="163" y="207"/>
                    </a:cubicBezTo>
                    <a:cubicBezTo>
                      <a:pt x="148" y="205"/>
                      <a:pt x="148" y="205"/>
                      <a:pt x="148" y="205"/>
                    </a:cubicBezTo>
                    <a:cubicBezTo>
                      <a:pt x="148" y="208"/>
                      <a:pt x="148" y="208"/>
                      <a:pt x="148" y="208"/>
                    </a:cubicBezTo>
                    <a:cubicBezTo>
                      <a:pt x="144" y="209"/>
                      <a:pt x="144" y="209"/>
                      <a:pt x="144" y="209"/>
                    </a:cubicBezTo>
                    <a:cubicBezTo>
                      <a:pt x="159" y="214"/>
                      <a:pt x="159" y="214"/>
                      <a:pt x="159" y="214"/>
                    </a:cubicBezTo>
                    <a:lnTo>
                      <a:pt x="162" y="212"/>
                    </a:lnTo>
                    <a:close/>
                    <a:moveTo>
                      <a:pt x="141" y="204"/>
                    </a:moveTo>
                    <a:cubicBezTo>
                      <a:pt x="133" y="202"/>
                      <a:pt x="136" y="206"/>
                      <a:pt x="136" y="206"/>
                    </a:cubicBezTo>
                    <a:cubicBezTo>
                      <a:pt x="140" y="208"/>
                      <a:pt x="147" y="206"/>
                      <a:pt x="141" y="204"/>
                    </a:cubicBezTo>
                    <a:close/>
                    <a:moveTo>
                      <a:pt x="182" y="222"/>
                    </a:moveTo>
                    <a:cubicBezTo>
                      <a:pt x="180" y="220"/>
                      <a:pt x="180" y="220"/>
                      <a:pt x="180" y="220"/>
                    </a:cubicBezTo>
                    <a:cubicBezTo>
                      <a:pt x="163" y="219"/>
                      <a:pt x="163" y="219"/>
                      <a:pt x="163" y="219"/>
                    </a:cubicBezTo>
                    <a:cubicBezTo>
                      <a:pt x="161" y="217"/>
                      <a:pt x="161" y="217"/>
                      <a:pt x="161" y="217"/>
                    </a:cubicBezTo>
                    <a:cubicBezTo>
                      <a:pt x="154" y="214"/>
                      <a:pt x="154" y="214"/>
                      <a:pt x="154" y="214"/>
                    </a:cubicBezTo>
                    <a:cubicBezTo>
                      <a:pt x="152" y="216"/>
                      <a:pt x="152" y="216"/>
                      <a:pt x="152" y="216"/>
                    </a:cubicBezTo>
                    <a:cubicBezTo>
                      <a:pt x="153" y="218"/>
                      <a:pt x="153" y="218"/>
                      <a:pt x="153" y="218"/>
                    </a:cubicBezTo>
                    <a:cubicBezTo>
                      <a:pt x="149" y="218"/>
                      <a:pt x="149" y="218"/>
                      <a:pt x="149" y="218"/>
                    </a:cubicBezTo>
                    <a:cubicBezTo>
                      <a:pt x="146" y="221"/>
                      <a:pt x="146" y="221"/>
                      <a:pt x="146" y="221"/>
                    </a:cubicBezTo>
                    <a:cubicBezTo>
                      <a:pt x="159" y="223"/>
                      <a:pt x="159" y="223"/>
                      <a:pt x="159" y="223"/>
                    </a:cubicBezTo>
                    <a:lnTo>
                      <a:pt x="182" y="222"/>
                    </a:lnTo>
                    <a:close/>
                    <a:moveTo>
                      <a:pt x="135" y="227"/>
                    </a:moveTo>
                    <a:cubicBezTo>
                      <a:pt x="129" y="229"/>
                      <a:pt x="129" y="229"/>
                      <a:pt x="129" y="229"/>
                    </a:cubicBezTo>
                    <a:cubicBezTo>
                      <a:pt x="129" y="229"/>
                      <a:pt x="131" y="232"/>
                      <a:pt x="138" y="230"/>
                    </a:cubicBezTo>
                    <a:cubicBezTo>
                      <a:pt x="144" y="228"/>
                      <a:pt x="143" y="225"/>
                      <a:pt x="135" y="227"/>
                    </a:cubicBezTo>
                    <a:close/>
                    <a:moveTo>
                      <a:pt x="170" y="243"/>
                    </a:moveTo>
                    <a:cubicBezTo>
                      <a:pt x="170" y="243"/>
                      <a:pt x="163" y="248"/>
                      <a:pt x="171" y="246"/>
                    </a:cubicBezTo>
                    <a:cubicBezTo>
                      <a:pt x="177" y="246"/>
                      <a:pt x="179" y="243"/>
                      <a:pt x="170" y="243"/>
                    </a:cubicBezTo>
                    <a:close/>
                    <a:moveTo>
                      <a:pt x="169" y="233"/>
                    </a:moveTo>
                    <a:cubicBezTo>
                      <a:pt x="160" y="229"/>
                      <a:pt x="160" y="229"/>
                      <a:pt x="160" y="229"/>
                    </a:cubicBezTo>
                    <a:cubicBezTo>
                      <a:pt x="159" y="232"/>
                      <a:pt x="159" y="232"/>
                      <a:pt x="159" y="232"/>
                    </a:cubicBezTo>
                    <a:cubicBezTo>
                      <a:pt x="162" y="233"/>
                      <a:pt x="162" y="233"/>
                      <a:pt x="162" y="233"/>
                    </a:cubicBezTo>
                    <a:cubicBezTo>
                      <a:pt x="160" y="235"/>
                      <a:pt x="160" y="235"/>
                      <a:pt x="160" y="235"/>
                    </a:cubicBezTo>
                    <a:cubicBezTo>
                      <a:pt x="169" y="237"/>
                      <a:pt x="169" y="237"/>
                      <a:pt x="169" y="237"/>
                    </a:cubicBezTo>
                    <a:cubicBezTo>
                      <a:pt x="174" y="235"/>
                      <a:pt x="174" y="235"/>
                      <a:pt x="174" y="235"/>
                    </a:cubicBezTo>
                    <a:cubicBezTo>
                      <a:pt x="184" y="236"/>
                      <a:pt x="184" y="236"/>
                      <a:pt x="184" y="236"/>
                    </a:cubicBezTo>
                    <a:cubicBezTo>
                      <a:pt x="186" y="235"/>
                      <a:pt x="186" y="235"/>
                      <a:pt x="186" y="235"/>
                    </a:cubicBezTo>
                    <a:cubicBezTo>
                      <a:pt x="176" y="230"/>
                      <a:pt x="176" y="230"/>
                      <a:pt x="176" y="230"/>
                    </a:cubicBezTo>
                    <a:lnTo>
                      <a:pt x="169" y="233"/>
                    </a:lnTo>
                    <a:close/>
                    <a:moveTo>
                      <a:pt x="194" y="243"/>
                    </a:moveTo>
                    <a:cubicBezTo>
                      <a:pt x="213" y="246"/>
                      <a:pt x="213" y="246"/>
                      <a:pt x="213" y="246"/>
                    </a:cubicBezTo>
                    <a:cubicBezTo>
                      <a:pt x="213" y="244"/>
                      <a:pt x="213" y="244"/>
                      <a:pt x="213" y="244"/>
                    </a:cubicBezTo>
                    <a:cubicBezTo>
                      <a:pt x="195" y="240"/>
                      <a:pt x="195" y="240"/>
                      <a:pt x="195" y="240"/>
                    </a:cubicBezTo>
                    <a:lnTo>
                      <a:pt x="194" y="243"/>
                    </a:lnTo>
                    <a:close/>
                    <a:moveTo>
                      <a:pt x="71" y="155"/>
                    </a:moveTo>
                    <a:cubicBezTo>
                      <a:pt x="67" y="153"/>
                      <a:pt x="65" y="156"/>
                      <a:pt x="65" y="156"/>
                    </a:cubicBezTo>
                    <a:cubicBezTo>
                      <a:pt x="71" y="158"/>
                      <a:pt x="74" y="157"/>
                      <a:pt x="71" y="155"/>
                    </a:cubicBezTo>
                    <a:close/>
                    <a:moveTo>
                      <a:pt x="65" y="150"/>
                    </a:moveTo>
                    <a:cubicBezTo>
                      <a:pt x="62" y="150"/>
                      <a:pt x="60" y="151"/>
                      <a:pt x="63" y="153"/>
                    </a:cubicBezTo>
                    <a:cubicBezTo>
                      <a:pt x="63" y="153"/>
                      <a:pt x="67" y="151"/>
                      <a:pt x="65" y="150"/>
                    </a:cubicBezTo>
                    <a:close/>
                    <a:moveTo>
                      <a:pt x="77" y="153"/>
                    </a:moveTo>
                    <a:cubicBezTo>
                      <a:pt x="80" y="153"/>
                      <a:pt x="84" y="149"/>
                      <a:pt x="79" y="149"/>
                    </a:cubicBezTo>
                    <a:cubicBezTo>
                      <a:pt x="75" y="148"/>
                      <a:pt x="77" y="153"/>
                      <a:pt x="77" y="153"/>
                    </a:cubicBezTo>
                    <a:close/>
                    <a:moveTo>
                      <a:pt x="65" y="146"/>
                    </a:moveTo>
                    <a:cubicBezTo>
                      <a:pt x="69" y="147"/>
                      <a:pt x="71" y="145"/>
                      <a:pt x="67" y="144"/>
                    </a:cubicBezTo>
                    <a:cubicBezTo>
                      <a:pt x="65" y="143"/>
                      <a:pt x="65" y="146"/>
                      <a:pt x="65" y="146"/>
                    </a:cubicBezTo>
                    <a:close/>
                    <a:moveTo>
                      <a:pt x="61" y="143"/>
                    </a:moveTo>
                    <a:cubicBezTo>
                      <a:pt x="60" y="142"/>
                      <a:pt x="57" y="145"/>
                      <a:pt x="59" y="146"/>
                    </a:cubicBezTo>
                    <a:cubicBezTo>
                      <a:pt x="59" y="146"/>
                      <a:pt x="63" y="144"/>
                      <a:pt x="61" y="143"/>
                    </a:cubicBezTo>
                    <a:close/>
                    <a:moveTo>
                      <a:pt x="91" y="179"/>
                    </a:moveTo>
                    <a:cubicBezTo>
                      <a:pt x="88" y="178"/>
                      <a:pt x="91" y="182"/>
                      <a:pt x="91" y="182"/>
                    </a:cubicBezTo>
                    <a:cubicBezTo>
                      <a:pt x="96" y="185"/>
                      <a:pt x="95" y="181"/>
                      <a:pt x="91" y="179"/>
                    </a:cubicBezTo>
                    <a:close/>
                    <a:moveTo>
                      <a:pt x="81" y="164"/>
                    </a:moveTo>
                    <a:cubicBezTo>
                      <a:pt x="88" y="171"/>
                      <a:pt x="88" y="167"/>
                      <a:pt x="83" y="163"/>
                    </a:cubicBezTo>
                    <a:cubicBezTo>
                      <a:pt x="78" y="158"/>
                      <a:pt x="81" y="164"/>
                      <a:pt x="81" y="164"/>
                    </a:cubicBezTo>
                    <a:close/>
                  </a:path>
                </a:pathLst>
              </a:custGeom>
              <a:solidFill>
                <a:schemeClr val="accent2">
                  <a:lumMod val="40000"/>
                  <a:lumOff val="60000"/>
                </a:schemeClr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247" name="Bulgaria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6092825" y="4772025"/>
                <a:ext cx="639762" cy="465137"/>
              </a:xfrm>
              <a:custGeom>
                <a:avLst/>
                <a:gdLst/>
                <a:ahLst/>
                <a:cxnLst>
                  <a:cxn ang="0">
                    <a:pos x="278" y="15"/>
                  </a:cxn>
                  <a:cxn ang="0">
                    <a:pos x="262" y="3"/>
                  </a:cxn>
                  <a:cxn ang="0">
                    <a:pos x="248" y="3"/>
                  </a:cxn>
                  <a:cxn ang="0">
                    <a:pos x="218" y="3"/>
                  </a:cxn>
                  <a:cxn ang="0">
                    <a:pos x="171" y="33"/>
                  </a:cxn>
                  <a:cxn ang="0">
                    <a:pos x="137" y="48"/>
                  </a:cxn>
                  <a:cxn ang="0">
                    <a:pos x="124" y="48"/>
                  </a:cxn>
                  <a:cxn ang="0">
                    <a:pos x="102" y="50"/>
                  </a:cxn>
                  <a:cxn ang="0">
                    <a:pos x="68" y="55"/>
                  </a:cxn>
                  <a:cxn ang="0">
                    <a:pos x="51" y="51"/>
                  </a:cxn>
                  <a:cxn ang="0">
                    <a:pos x="22" y="53"/>
                  </a:cxn>
                  <a:cxn ang="0">
                    <a:pos x="22" y="40"/>
                  </a:cxn>
                  <a:cxn ang="0">
                    <a:pos x="8" y="39"/>
                  </a:cxn>
                  <a:cxn ang="0">
                    <a:pos x="2" y="50"/>
                  </a:cxn>
                  <a:cxn ang="0">
                    <a:pos x="8" y="74"/>
                  </a:cxn>
                  <a:cxn ang="0">
                    <a:pos x="27" y="89"/>
                  </a:cxn>
                  <a:cxn ang="0">
                    <a:pos x="29" y="116"/>
                  </a:cxn>
                  <a:cxn ang="0">
                    <a:pos x="16" y="123"/>
                  </a:cxn>
                  <a:cxn ang="0">
                    <a:pos x="17" y="132"/>
                  </a:cxn>
                  <a:cxn ang="0">
                    <a:pos x="21" y="149"/>
                  </a:cxn>
                  <a:cxn ang="0">
                    <a:pos x="22" y="166"/>
                  </a:cxn>
                  <a:cxn ang="0">
                    <a:pos x="42" y="173"/>
                  </a:cxn>
                  <a:cxn ang="0">
                    <a:pos x="52" y="190"/>
                  </a:cxn>
                  <a:cxn ang="0">
                    <a:pos x="53" y="219"/>
                  </a:cxn>
                  <a:cxn ang="0">
                    <a:pos x="68" y="213"/>
                  </a:cxn>
                  <a:cxn ang="0">
                    <a:pos x="75" y="211"/>
                  </a:cxn>
                  <a:cxn ang="0">
                    <a:pos x="89" y="208"/>
                  </a:cxn>
                  <a:cxn ang="0">
                    <a:pos x="99" y="202"/>
                  </a:cxn>
                  <a:cxn ang="0">
                    <a:pos x="106" y="201"/>
                  </a:cxn>
                  <a:cxn ang="0">
                    <a:pos x="111" y="196"/>
                  </a:cxn>
                  <a:cxn ang="0">
                    <a:pos x="119" y="197"/>
                  </a:cxn>
                  <a:cxn ang="0">
                    <a:pos x="134" y="198"/>
                  </a:cxn>
                  <a:cxn ang="0">
                    <a:pos x="143" y="203"/>
                  </a:cxn>
                  <a:cxn ang="0">
                    <a:pos x="163" y="202"/>
                  </a:cxn>
                  <a:cxn ang="0">
                    <a:pos x="192" y="195"/>
                  </a:cxn>
                  <a:cxn ang="0">
                    <a:pos x="209" y="185"/>
                  </a:cxn>
                  <a:cxn ang="0">
                    <a:pos x="215" y="165"/>
                  </a:cxn>
                  <a:cxn ang="0">
                    <a:pos x="225" y="156"/>
                  </a:cxn>
                  <a:cxn ang="0">
                    <a:pos x="239" y="143"/>
                  </a:cxn>
                  <a:cxn ang="0">
                    <a:pos x="250" y="136"/>
                  </a:cxn>
                  <a:cxn ang="0">
                    <a:pos x="268" y="139"/>
                  </a:cxn>
                  <a:cxn ang="0">
                    <a:pos x="285" y="138"/>
                  </a:cxn>
                  <a:cxn ang="0">
                    <a:pos x="288" y="133"/>
                  </a:cxn>
                  <a:cxn ang="0">
                    <a:pos x="284" y="121"/>
                  </a:cxn>
                  <a:cxn ang="0">
                    <a:pos x="276" y="111"/>
                  </a:cxn>
                  <a:cxn ang="0">
                    <a:pos x="264" y="108"/>
                  </a:cxn>
                  <a:cxn ang="0">
                    <a:pos x="260" y="98"/>
                  </a:cxn>
                  <a:cxn ang="0">
                    <a:pos x="268" y="88"/>
                  </a:cxn>
                  <a:cxn ang="0">
                    <a:pos x="273" y="73"/>
                  </a:cxn>
                  <a:cxn ang="0">
                    <a:pos x="264" y="56"/>
                  </a:cxn>
                  <a:cxn ang="0">
                    <a:pos x="279" y="40"/>
                  </a:cxn>
                  <a:cxn ang="0">
                    <a:pos x="300" y="26"/>
                  </a:cxn>
                  <a:cxn ang="0">
                    <a:pos x="294" y="14"/>
                  </a:cxn>
                </a:cxnLst>
                <a:rect l="0" t="0" r="r" b="b"/>
                <a:pathLst>
                  <a:path w="300" h="219">
                    <a:moveTo>
                      <a:pt x="294" y="14"/>
                    </a:moveTo>
                    <a:cubicBezTo>
                      <a:pt x="294" y="14"/>
                      <a:pt x="282" y="16"/>
                      <a:pt x="278" y="15"/>
                    </a:cubicBezTo>
                    <a:cubicBezTo>
                      <a:pt x="274" y="15"/>
                      <a:pt x="266" y="13"/>
                      <a:pt x="266" y="13"/>
                    </a:cubicBezTo>
                    <a:cubicBezTo>
                      <a:pt x="262" y="3"/>
                      <a:pt x="262" y="3"/>
                      <a:pt x="262" y="3"/>
                    </a:cubicBezTo>
                    <a:cubicBezTo>
                      <a:pt x="262" y="3"/>
                      <a:pt x="256" y="10"/>
                      <a:pt x="253" y="9"/>
                    </a:cubicBezTo>
                    <a:cubicBezTo>
                      <a:pt x="250" y="8"/>
                      <a:pt x="250" y="3"/>
                      <a:pt x="248" y="3"/>
                    </a:cubicBezTo>
                    <a:cubicBezTo>
                      <a:pt x="246" y="3"/>
                      <a:pt x="240" y="10"/>
                      <a:pt x="236" y="9"/>
                    </a:cubicBezTo>
                    <a:cubicBezTo>
                      <a:pt x="232" y="8"/>
                      <a:pt x="226" y="0"/>
                      <a:pt x="218" y="3"/>
                    </a:cubicBezTo>
                    <a:cubicBezTo>
                      <a:pt x="209" y="6"/>
                      <a:pt x="194" y="15"/>
                      <a:pt x="189" y="16"/>
                    </a:cubicBezTo>
                    <a:cubicBezTo>
                      <a:pt x="183" y="17"/>
                      <a:pt x="175" y="27"/>
                      <a:pt x="171" y="33"/>
                    </a:cubicBezTo>
                    <a:cubicBezTo>
                      <a:pt x="167" y="39"/>
                      <a:pt x="164" y="47"/>
                      <a:pt x="152" y="50"/>
                    </a:cubicBezTo>
                    <a:cubicBezTo>
                      <a:pt x="139" y="53"/>
                      <a:pt x="137" y="48"/>
                      <a:pt x="137" y="48"/>
                    </a:cubicBezTo>
                    <a:cubicBezTo>
                      <a:pt x="131" y="51"/>
                      <a:pt x="131" y="51"/>
                      <a:pt x="131" y="51"/>
                    </a:cubicBezTo>
                    <a:cubicBezTo>
                      <a:pt x="124" y="48"/>
                      <a:pt x="124" y="48"/>
                      <a:pt x="124" y="48"/>
                    </a:cubicBezTo>
                    <a:cubicBezTo>
                      <a:pt x="124" y="48"/>
                      <a:pt x="115" y="53"/>
                      <a:pt x="110" y="51"/>
                    </a:cubicBezTo>
                    <a:cubicBezTo>
                      <a:pt x="107" y="51"/>
                      <a:pt x="106" y="49"/>
                      <a:pt x="102" y="50"/>
                    </a:cubicBezTo>
                    <a:cubicBezTo>
                      <a:pt x="99" y="53"/>
                      <a:pt x="98" y="58"/>
                      <a:pt x="87" y="59"/>
                    </a:cubicBezTo>
                    <a:cubicBezTo>
                      <a:pt x="77" y="60"/>
                      <a:pt x="68" y="55"/>
                      <a:pt x="68" y="55"/>
                    </a:cubicBezTo>
                    <a:cubicBezTo>
                      <a:pt x="60" y="55"/>
                      <a:pt x="60" y="55"/>
                      <a:pt x="60" y="55"/>
                    </a:cubicBezTo>
                    <a:cubicBezTo>
                      <a:pt x="60" y="55"/>
                      <a:pt x="54" y="51"/>
                      <a:pt x="51" y="51"/>
                    </a:cubicBezTo>
                    <a:cubicBezTo>
                      <a:pt x="47" y="51"/>
                      <a:pt x="37" y="60"/>
                      <a:pt x="32" y="59"/>
                    </a:cubicBezTo>
                    <a:cubicBezTo>
                      <a:pt x="26" y="59"/>
                      <a:pt x="22" y="58"/>
                      <a:pt x="22" y="53"/>
                    </a:cubicBezTo>
                    <a:cubicBezTo>
                      <a:pt x="23" y="47"/>
                      <a:pt x="30" y="48"/>
                      <a:pt x="29" y="43"/>
                    </a:cubicBezTo>
                    <a:cubicBezTo>
                      <a:pt x="29" y="39"/>
                      <a:pt x="26" y="41"/>
                      <a:pt x="22" y="40"/>
                    </a:cubicBezTo>
                    <a:cubicBezTo>
                      <a:pt x="20" y="40"/>
                      <a:pt x="14" y="37"/>
                      <a:pt x="10" y="35"/>
                    </a:cubicBezTo>
                    <a:cubicBezTo>
                      <a:pt x="9" y="38"/>
                      <a:pt x="8" y="39"/>
                      <a:pt x="8" y="39"/>
                    </a:cubicBezTo>
                    <a:cubicBezTo>
                      <a:pt x="8" y="39"/>
                      <a:pt x="9" y="44"/>
                      <a:pt x="7" y="47"/>
                    </a:cubicBezTo>
                    <a:cubicBezTo>
                      <a:pt x="5" y="49"/>
                      <a:pt x="2" y="50"/>
                      <a:pt x="2" y="50"/>
                    </a:cubicBezTo>
                    <a:cubicBezTo>
                      <a:pt x="0" y="65"/>
                      <a:pt x="0" y="65"/>
                      <a:pt x="0" y="65"/>
                    </a:cubicBezTo>
                    <a:cubicBezTo>
                      <a:pt x="8" y="74"/>
                      <a:pt x="8" y="74"/>
                      <a:pt x="8" y="74"/>
                    </a:cubicBezTo>
                    <a:cubicBezTo>
                      <a:pt x="11" y="83"/>
                      <a:pt x="11" y="83"/>
                      <a:pt x="11" y="83"/>
                    </a:cubicBezTo>
                    <a:cubicBezTo>
                      <a:pt x="11" y="83"/>
                      <a:pt x="23" y="86"/>
                      <a:pt x="27" y="89"/>
                    </a:cubicBezTo>
                    <a:cubicBezTo>
                      <a:pt x="33" y="92"/>
                      <a:pt x="38" y="101"/>
                      <a:pt x="38" y="101"/>
                    </a:cubicBezTo>
                    <a:cubicBezTo>
                      <a:pt x="29" y="116"/>
                      <a:pt x="29" y="116"/>
                      <a:pt x="29" y="116"/>
                    </a:cubicBezTo>
                    <a:cubicBezTo>
                      <a:pt x="29" y="116"/>
                      <a:pt x="28" y="120"/>
                      <a:pt x="26" y="121"/>
                    </a:cubicBezTo>
                    <a:cubicBezTo>
                      <a:pt x="23" y="122"/>
                      <a:pt x="19" y="120"/>
                      <a:pt x="16" y="123"/>
                    </a:cubicBezTo>
                    <a:cubicBezTo>
                      <a:pt x="11" y="126"/>
                      <a:pt x="11" y="130"/>
                      <a:pt x="11" y="130"/>
                    </a:cubicBezTo>
                    <a:cubicBezTo>
                      <a:pt x="17" y="132"/>
                      <a:pt x="17" y="132"/>
                      <a:pt x="17" y="132"/>
                    </a:cubicBezTo>
                    <a:cubicBezTo>
                      <a:pt x="13" y="141"/>
                      <a:pt x="13" y="141"/>
                      <a:pt x="13" y="141"/>
                    </a:cubicBezTo>
                    <a:cubicBezTo>
                      <a:pt x="21" y="149"/>
                      <a:pt x="21" y="149"/>
                      <a:pt x="21" y="149"/>
                    </a:cubicBezTo>
                    <a:cubicBezTo>
                      <a:pt x="13" y="160"/>
                      <a:pt x="13" y="160"/>
                      <a:pt x="13" y="160"/>
                    </a:cubicBezTo>
                    <a:cubicBezTo>
                      <a:pt x="13" y="160"/>
                      <a:pt x="20" y="164"/>
                      <a:pt x="22" y="166"/>
                    </a:cubicBezTo>
                    <a:cubicBezTo>
                      <a:pt x="24" y="169"/>
                      <a:pt x="27" y="174"/>
                      <a:pt x="32" y="173"/>
                    </a:cubicBezTo>
                    <a:cubicBezTo>
                      <a:pt x="42" y="173"/>
                      <a:pt x="42" y="173"/>
                      <a:pt x="42" y="173"/>
                    </a:cubicBezTo>
                    <a:cubicBezTo>
                      <a:pt x="43" y="186"/>
                      <a:pt x="43" y="186"/>
                      <a:pt x="43" y="186"/>
                    </a:cubicBezTo>
                    <a:cubicBezTo>
                      <a:pt x="52" y="190"/>
                      <a:pt x="52" y="190"/>
                      <a:pt x="52" y="190"/>
                    </a:cubicBezTo>
                    <a:cubicBezTo>
                      <a:pt x="49" y="199"/>
                      <a:pt x="49" y="199"/>
                      <a:pt x="49" y="199"/>
                    </a:cubicBezTo>
                    <a:cubicBezTo>
                      <a:pt x="53" y="219"/>
                      <a:pt x="53" y="219"/>
                      <a:pt x="53" y="219"/>
                    </a:cubicBezTo>
                    <a:cubicBezTo>
                      <a:pt x="63" y="218"/>
                      <a:pt x="63" y="218"/>
                      <a:pt x="63" y="218"/>
                    </a:cubicBezTo>
                    <a:cubicBezTo>
                      <a:pt x="68" y="213"/>
                      <a:pt x="68" y="213"/>
                      <a:pt x="68" y="213"/>
                    </a:cubicBezTo>
                    <a:cubicBezTo>
                      <a:pt x="73" y="215"/>
                      <a:pt x="73" y="215"/>
                      <a:pt x="73" y="215"/>
                    </a:cubicBezTo>
                    <a:cubicBezTo>
                      <a:pt x="75" y="211"/>
                      <a:pt x="75" y="211"/>
                      <a:pt x="75" y="211"/>
                    </a:cubicBezTo>
                    <a:cubicBezTo>
                      <a:pt x="87" y="211"/>
                      <a:pt x="87" y="211"/>
                      <a:pt x="87" y="211"/>
                    </a:cubicBezTo>
                    <a:cubicBezTo>
                      <a:pt x="89" y="208"/>
                      <a:pt x="89" y="208"/>
                      <a:pt x="89" y="208"/>
                    </a:cubicBezTo>
                    <a:cubicBezTo>
                      <a:pt x="92" y="207"/>
                      <a:pt x="92" y="207"/>
                      <a:pt x="92" y="207"/>
                    </a:cubicBezTo>
                    <a:cubicBezTo>
                      <a:pt x="99" y="202"/>
                      <a:pt x="99" y="202"/>
                      <a:pt x="99" y="202"/>
                    </a:cubicBezTo>
                    <a:cubicBezTo>
                      <a:pt x="101" y="205"/>
                      <a:pt x="101" y="205"/>
                      <a:pt x="101" y="205"/>
                    </a:cubicBezTo>
                    <a:cubicBezTo>
                      <a:pt x="106" y="201"/>
                      <a:pt x="106" y="201"/>
                      <a:pt x="106" y="201"/>
                    </a:cubicBezTo>
                    <a:cubicBezTo>
                      <a:pt x="105" y="196"/>
                      <a:pt x="105" y="196"/>
                      <a:pt x="105" y="196"/>
                    </a:cubicBezTo>
                    <a:cubicBezTo>
                      <a:pt x="111" y="196"/>
                      <a:pt x="111" y="196"/>
                      <a:pt x="111" y="196"/>
                    </a:cubicBezTo>
                    <a:cubicBezTo>
                      <a:pt x="114" y="192"/>
                      <a:pt x="114" y="192"/>
                      <a:pt x="114" y="192"/>
                    </a:cubicBezTo>
                    <a:cubicBezTo>
                      <a:pt x="114" y="192"/>
                      <a:pt x="117" y="198"/>
                      <a:pt x="119" y="197"/>
                    </a:cubicBezTo>
                    <a:cubicBezTo>
                      <a:pt x="121" y="195"/>
                      <a:pt x="128" y="191"/>
                      <a:pt x="128" y="191"/>
                    </a:cubicBezTo>
                    <a:cubicBezTo>
                      <a:pt x="134" y="198"/>
                      <a:pt x="134" y="198"/>
                      <a:pt x="134" y="198"/>
                    </a:cubicBezTo>
                    <a:cubicBezTo>
                      <a:pt x="138" y="197"/>
                      <a:pt x="138" y="197"/>
                      <a:pt x="138" y="197"/>
                    </a:cubicBezTo>
                    <a:cubicBezTo>
                      <a:pt x="143" y="203"/>
                      <a:pt x="143" y="203"/>
                      <a:pt x="143" y="203"/>
                    </a:cubicBezTo>
                    <a:cubicBezTo>
                      <a:pt x="149" y="198"/>
                      <a:pt x="149" y="198"/>
                      <a:pt x="149" y="198"/>
                    </a:cubicBezTo>
                    <a:cubicBezTo>
                      <a:pt x="163" y="202"/>
                      <a:pt x="163" y="202"/>
                      <a:pt x="163" y="202"/>
                    </a:cubicBezTo>
                    <a:cubicBezTo>
                      <a:pt x="163" y="202"/>
                      <a:pt x="166" y="207"/>
                      <a:pt x="168" y="206"/>
                    </a:cubicBezTo>
                    <a:cubicBezTo>
                      <a:pt x="169" y="206"/>
                      <a:pt x="192" y="195"/>
                      <a:pt x="192" y="195"/>
                    </a:cubicBezTo>
                    <a:cubicBezTo>
                      <a:pt x="199" y="196"/>
                      <a:pt x="199" y="196"/>
                      <a:pt x="199" y="196"/>
                    </a:cubicBezTo>
                    <a:cubicBezTo>
                      <a:pt x="199" y="196"/>
                      <a:pt x="208" y="192"/>
                      <a:pt x="209" y="185"/>
                    </a:cubicBezTo>
                    <a:cubicBezTo>
                      <a:pt x="209" y="176"/>
                      <a:pt x="199" y="171"/>
                      <a:pt x="201" y="168"/>
                    </a:cubicBezTo>
                    <a:cubicBezTo>
                      <a:pt x="204" y="166"/>
                      <a:pt x="215" y="165"/>
                      <a:pt x="215" y="165"/>
                    </a:cubicBezTo>
                    <a:cubicBezTo>
                      <a:pt x="215" y="165"/>
                      <a:pt x="213" y="160"/>
                      <a:pt x="216" y="158"/>
                    </a:cubicBezTo>
                    <a:cubicBezTo>
                      <a:pt x="218" y="156"/>
                      <a:pt x="223" y="159"/>
                      <a:pt x="225" y="156"/>
                    </a:cubicBezTo>
                    <a:cubicBezTo>
                      <a:pt x="226" y="152"/>
                      <a:pt x="221" y="148"/>
                      <a:pt x="224" y="145"/>
                    </a:cubicBezTo>
                    <a:cubicBezTo>
                      <a:pt x="229" y="144"/>
                      <a:pt x="235" y="148"/>
                      <a:pt x="239" y="143"/>
                    </a:cubicBezTo>
                    <a:cubicBezTo>
                      <a:pt x="245" y="139"/>
                      <a:pt x="245" y="136"/>
                      <a:pt x="247" y="134"/>
                    </a:cubicBezTo>
                    <a:cubicBezTo>
                      <a:pt x="249" y="133"/>
                      <a:pt x="250" y="136"/>
                      <a:pt x="250" y="136"/>
                    </a:cubicBezTo>
                    <a:cubicBezTo>
                      <a:pt x="250" y="136"/>
                      <a:pt x="252" y="130"/>
                      <a:pt x="256" y="130"/>
                    </a:cubicBezTo>
                    <a:cubicBezTo>
                      <a:pt x="259" y="132"/>
                      <a:pt x="264" y="138"/>
                      <a:pt x="268" y="139"/>
                    </a:cubicBezTo>
                    <a:cubicBezTo>
                      <a:pt x="273" y="139"/>
                      <a:pt x="278" y="135"/>
                      <a:pt x="278" y="135"/>
                    </a:cubicBezTo>
                    <a:cubicBezTo>
                      <a:pt x="285" y="138"/>
                      <a:pt x="285" y="138"/>
                      <a:pt x="285" y="138"/>
                    </a:cubicBezTo>
                    <a:cubicBezTo>
                      <a:pt x="285" y="133"/>
                      <a:pt x="285" y="133"/>
                      <a:pt x="285" y="133"/>
                    </a:cubicBezTo>
                    <a:cubicBezTo>
                      <a:pt x="288" y="133"/>
                      <a:pt x="288" y="133"/>
                      <a:pt x="288" y="133"/>
                    </a:cubicBezTo>
                    <a:cubicBezTo>
                      <a:pt x="294" y="130"/>
                      <a:pt x="294" y="130"/>
                      <a:pt x="294" y="130"/>
                    </a:cubicBezTo>
                    <a:cubicBezTo>
                      <a:pt x="284" y="121"/>
                      <a:pt x="284" y="121"/>
                      <a:pt x="284" y="121"/>
                    </a:cubicBezTo>
                    <a:cubicBezTo>
                      <a:pt x="278" y="117"/>
                      <a:pt x="278" y="117"/>
                      <a:pt x="278" y="117"/>
                    </a:cubicBezTo>
                    <a:cubicBezTo>
                      <a:pt x="276" y="111"/>
                      <a:pt x="276" y="111"/>
                      <a:pt x="276" y="111"/>
                    </a:cubicBezTo>
                    <a:cubicBezTo>
                      <a:pt x="267" y="103"/>
                      <a:pt x="267" y="103"/>
                      <a:pt x="267" y="103"/>
                    </a:cubicBezTo>
                    <a:cubicBezTo>
                      <a:pt x="267" y="103"/>
                      <a:pt x="266" y="106"/>
                      <a:pt x="264" y="108"/>
                    </a:cubicBezTo>
                    <a:cubicBezTo>
                      <a:pt x="262" y="110"/>
                      <a:pt x="256" y="108"/>
                      <a:pt x="256" y="108"/>
                    </a:cubicBezTo>
                    <a:cubicBezTo>
                      <a:pt x="260" y="98"/>
                      <a:pt x="260" y="98"/>
                      <a:pt x="260" y="98"/>
                    </a:cubicBezTo>
                    <a:cubicBezTo>
                      <a:pt x="268" y="97"/>
                      <a:pt x="268" y="97"/>
                      <a:pt x="268" y="97"/>
                    </a:cubicBezTo>
                    <a:cubicBezTo>
                      <a:pt x="268" y="88"/>
                      <a:pt x="268" y="88"/>
                      <a:pt x="268" y="88"/>
                    </a:cubicBezTo>
                    <a:cubicBezTo>
                      <a:pt x="278" y="85"/>
                      <a:pt x="278" y="85"/>
                      <a:pt x="278" y="85"/>
                    </a:cubicBezTo>
                    <a:cubicBezTo>
                      <a:pt x="278" y="85"/>
                      <a:pt x="274" y="80"/>
                      <a:pt x="273" y="73"/>
                    </a:cubicBezTo>
                    <a:cubicBezTo>
                      <a:pt x="273" y="66"/>
                      <a:pt x="272" y="56"/>
                      <a:pt x="272" y="56"/>
                    </a:cubicBezTo>
                    <a:cubicBezTo>
                      <a:pt x="264" y="56"/>
                      <a:pt x="264" y="56"/>
                      <a:pt x="264" y="56"/>
                    </a:cubicBezTo>
                    <a:cubicBezTo>
                      <a:pt x="264" y="56"/>
                      <a:pt x="274" y="54"/>
                      <a:pt x="275" y="51"/>
                    </a:cubicBezTo>
                    <a:cubicBezTo>
                      <a:pt x="276" y="49"/>
                      <a:pt x="271" y="44"/>
                      <a:pt x="279" y="40"/>
                    </a:cubicBezTo>
                    <a:cubicBezTo>
                      <a:pt x="286" y="34"/>
                      <a:pt x="294" y="38"/>
                      <a:pt x="294" y="38"/>
                    </a:cubicBezTo>
                    <a:cubicBezTo>
                      <a:pt x="300" y="26"/>
                      <a:pt x="300" y="26"/>
                      <a:pt x="300" y="26"/>
                    </a:cubicBezTo>
                    <a:cubicBezTo>
                      <a:pt x="300" y="26"/>
                      <a:pt x="297" y="23"/>
                      <a:pt x="296" y="19"/>
                    </a:cubicBezTo>
                    <a:cubicBezTo>
                      <a:pt x="295" y="17"/>
                      <a:pt x="294" y="14"/>
                      <a:pt x="294" y="14"/>
                    </a:cubicBez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248" name="Bosnia a. Herzegovina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392738" y="4765675"/>
                <a:ext cx="422275" cy="361950"/>
              </a:xfrm>
              <a:custGeom>
                <a:avLst/>
                <a:gdLst/>
                <a:ahLst/>
                <a:cxnLst>
                  <a:cxn ang="0">
                    <a:pos x="195" y="66"/>
                  </a:cxn>
                  <a:cxn ang="0">
                    <a:pos x="180" y="54"/>
                  </a:cxn>
                  <a:cxn ang="0">
                    <a:pos x="168" y="53"/>
                  </a:cxn>
                  <a:cxn ang="0">
                    <a:pos x="169" y="45"/>
                  </a:cxn>
                  <a:cxn ang="0">
                    <a:pos x="168" y="41"/>
                  </a:cxn>
                  <a:cxn ang="0">
                    <a:pos x="174" y="31"/>
                  </a:cxn>
                  <a:cxn ang="0">
                    <a:pos x="177" y="18"/>
                  </a:cxn>
                  <a:cxn ang="0">
                    <a:pos x="180" y="15"/>
                  </a:cxn>
                  <a:cxn ang="0">
                    <a:pos x="165" y="13"/>
                  </a:cxn>
                  <a:cxn ang="0">
                    <a:pos x="154" y="18"/>
                  </a:cxn>
                  <a:cxn ang="0">
                    <a:pos x="145" y="6"/>
                  </a:cxn>
                  <a:cxn ang="0">
                    <a:pos x="137" y="9"/>
                  </a:cxn>
                  <a:cxn ang="0">
                    <a:pos x="131" y="4"/>
                  </a:cxn>
                  <a:cxn ang="0">
                    <a:pos x="123" y="3"/>
                  </a:cxn>
                  <a:cxn ang="0">
                    <a:pos x="120" y="9"/>
                  </a:cxn>
                  <a:cxn ang="0">
                    <a:pos x="112" y="3"/>
                  </a:cxn>
                  <a:cxn ang="0">
                    <a:pos x="104" y="11"/>
                  </a:cxn>
                  <a:cxn ang="0">
                    <a:pos x="96" y="7"/>
                  </a:cxn>
                  <a:cxn ang="0">
                    <a:pos x="74" y="7"/>
                  </a:cxn>
                  <a:cxn ang="0">
                    <a:pos x="62" y="0"/>
                  </a:cxn>
                  <a:cxn ang="0">
                    <a:pos x="57" y="6"/>
                  </a:cxn>
                  <a:cxn ang="0">
                    <a:pos x="42" y="4"/>
                  </a:cxn>
                  <a:cxn ang="0">
                    <a:pos x="34" y="19"/>
                  </a:cxn>
                  <a:cxn ang="0">
                    <a:pos x="21" y="12"/>
                  </a:cxn>
                  <a:cxn ang="0">
                    <a:pos x="7" y="9"/>
                  </a:cxn>
                  <a:cxn ang="0">
                    <a:pos x="8" y="36"/>
                  </a:cxn>
                  <a:cxn ang="0">
                    <a:pos x="18" y="37"/>
                  </a:cxn>
                  <a:cxn ang="0">
                    <a:pos x="23" y="44"/>
                  </a:cxn>
                  <a:cxn ang="0">
                    <a:pos x="21" y="48"/>
                  </a:cxn>
                  <a:cxn ang="0">
                    <a:pos x="29" y="58"/>
                  </a:cxn>
                  <a:cxn ang="0">
                    <a:pos x="38" y="76"/>
                  </a:cxn>
                  <a:cxn ang="0">
                    <a:pos x="57" y="92"/>
                  </a:cxn>
                  <a:cxn ang="0">
                    <a:pos x="59" y="95"/>
                  </a:cxn>
                  <a:cxn ang="0">
                    <a:pos x="76" y="110"/>
                  </a:cxn>
                  <a:cxn ang="0">
                    <a:pos x="88" y="116"/>
                  </a:cxn>
                  <a:cxn ang="0">
                    <a:pos x="88" y="125"/>
                  </a:cxn>
                  <a:cxn ang="0">
                    <a:pos x="108" y="140"/>
                  </a:cxn>
                  <a:cxn ang="0">
                    <a:pos x="110" y="151"/>
                  </a:cxn>
                  <a:cxn ang="0">
                    <a:pos x="118" y="149"/>
                  </a:cxn>
                  <a:cxn ang="0">
                    <a:pos x="140" y="168"/>
                  </a:cxn>
                  <a:cxn ang="0">
                    <a:pos x="146" y="167"/>
                  </a:cxn>
                  <a:cxn ang="0">
                    <a:pos x="149" y="170"/>
                  </a:cxn>
                  <a:cxn ang="0">
                    <a:pos x="154" y="167"/>
                  </a:cxn>
                  <a:cxn ang="0">
                    <a:pos x="154" y="157"/>
                  </a:cxn>
                  <a:cxn ang="0">
                    <a:pos x="151" y="157"/>
                  </a:cxn>
                  <a:cxn ang="0">
                    <a:pos x="150" y="141"/>
                  </a:cxn>
                  <a:cxn ang="0">
                    <a:pos x="157" y="137"/>
                  </a:cxn>
                  <a:cxn ang="0">
                    <a:pos x="156" y="123"/>
                  </a:cxn>
                  <a:cxn ang="0">
                    <a:pos x="165" y="117"/>
                  </a:cxn>
                  <a:cxn ang="0">
                    <a:pos x="175" y="119"/>
                  </a:cxn>
                  <a:cxn ang="0">
                    <a:pos x="166" y="107"/>
                  </a:cxn>
                  <a:cxn ang="0">
                    <a:pos x="167" y="101"/>
                  </a:cxn>
                  <a:cxn ang="0">
                    <a:pos x="172" y="105"/>
                  </a:cxn>
                  <a:cxn ang="0">
                    <a:pos x="180" y="105"/>
                  </a:cxn>
                  <a:cxn ang="0">
                    <a:pos x="181" y="99"/>
                  </a:cxn>
                  <a:cxn ang="0">
                    <a:pos x="191" y="99"/>
                  </a:cxn>
                  <a:cxn ang="0">
                    <a:pos x="185" y="84"/>
                  </a:cxn>
                  <a:cxn ang="0">
                    <a:pos x="177" y="73"/>
                  </a:cxn>
                  <a:cxn ang="0">
                    <a:pos x="190" y="74"/>
                  </a:cxn>
                  <a:cxn ang="0">
                    <a:pos x="195" y="66"/>
                  </a:cxn>
                </a:cxnLst>
                <a:rect l="0" t="0" r="r" b="b"/>
                <a:pathLst>
                  <a:path w="198" h="170">
                    <a:moveTo>
                      <a:pt x="195" y="66"/>
                    </a:moveTo>
                    <a:cubicBezTo>
                      <a:pt x="180" y="54"/>
                      <a:pt x="180" y="54"/>
                      <a:pt x="180" y="54"/>
                    </a:cubicBezTo>
                    <a:cubicBezTo>
                      <a:pt x="180" y="54"/>
                      <a:pt x="172" y="54"/>
                      <a:pt x="168" y="53"/>
                    </a:cubicBezTo>
                    <a:cubicBezTo>
                      <a:pt x="165" y="52"/>
                      <a:pt x="169" y="45"/>
                      <a:pt x="169" y="45"/>
                    </a:cubicBezTo>
                    <a:cubicBezTo>
                      <a:pt x="168" y="41"/>
                      <a:pt x="168" y="41"/>
                      <a:pt x="168" y="41"/>
                    </a:cubicBezTo>
                    <a:cubicBezTo>
                      <a:pt x="168" y="41"/>
                      <a:pt x="172" y="35"/>
                      <a:pt x="174" y="31"/>
                    </a:cubicBezTo>
                    <a:cubicBezTo>
                      <a:pt x="176" y="27"/>
                      <a:pt x="177" y="18"/>
                      <a:pt x="177" y="18"/>
                    </a:cubicBezTo>
                    <a:cubicBezTo>
                      <a:pt x="180" y="15"/>
                      <a:pt x="180" y="15"/>
                      <a:pt x="180" y="15"/>
                    </a:cubicBezTo>
                    <a:cubicBezTo>
                      <a:pt x="165" y="13"/>
                      <a:pt x="165" y="13"/>
                      <a:pt x="165" y="13"/>
                    </a:cubicBezTo>
                    <a:cubicBezTo>
                      <a:pt x="165" y="13"/>
                      <a:pt x="160" y="18"/>
                      <a:pt x="154" y="18"/>
                    </a:cubicBezTo>
                    <a:cubicBezTo>
                      <a:pt x="149" y="18"/>
                      <a:pt x="151" y="9"/>
                      <a:pt x="145" y="6"/>
                    </a:cubicBezTo>
                    <a:cubicBezTo>
                      <a:pt x="139" y="5"/>
                      <a:pt x="137" y="9"/>
                      <a:pt x="137" y="9"/>
                    </a:cubicBezTo>
                    <a:cubicBezTo>
                      <a:pt x="131" y="4"/>
                      <a:pt x="131" y="4"/>
                      <a:pt x="131" y="4"/>
                    </a:cubicBezTo>
                    <a:cubicBezTo>
                      <a:pt x="123" y="3"/>
                      <a:pt x="123" y="3"/>
                      <a:pt x="123" y="3"/>
                    </a:cubicBezTo>
                    <a:cubicBezTo>
                      <a:pt x="123" y="3"/>
                      <a:pt x="123" y="9"/>
                      <a:pt x="120" y="9"/>
                    </a:cubicBezTo>
                    <a:cubicBezTo>
                      <a:pt x="117" y="9"/>
                      <a:pt x="112" y="3"/>
                      <a:pt x="112" y="3"/>
                    </a:cubicBezTo>
                    <a:cubicBezTo>
                      <a:pt x="112" y="3"/>
                      <a:pt x="108" y="11"/>
                      <a:pt x="104" y="11"/>
                    </a:cubicBezTo>
                    <a:cubicBezTo>
                      <a:pt x="101" y="11"/>
                      <a:pt x="96" y="7"/>
                      <a:pt x="96" y="7"/>
                    </a:cubicBezTo>
                    <a:cubicBezTo>
                      <a:pt x="74" y="7"/>
                      <a:pt x="74" y="7"/>
                      <a:pt x="74" y="7"/>
                    </a:cubicBezTo>
                    <a:cubicBezTo>
                      <a:pt x="70" y="7"/>
                      <a:pt x="62" y="0"/>
                      <a:pt x="62" y="0"/>
                    </a:cubicBezTo>
                    <a:cubicBezTo>
                      <a:pt x="57" y="6"/>
                      <a:pt x="57" y="6"/>
                      <a:pt x="57" y="6"/>
                    </a:cubicBezTo>
                    <a:cubicBezTo>
                      <a:pt x="57" y="6"/>
                      <a:pt x="46" y="4"/>
                      <a:pt x="42" y="4"/>
                    </a:cubicBezTo>
                    <a:cubicBezTo>
                      <a:pt x="38" y="5"/>
                      <a:pt x="38" y="18"/>
                      <a:pt x="34" y="19"/>
                    </a:cubicBezTo>
                    <a:cubicBezTo>
                      <a:pt x="30" y="21"/>
                      <a:pt x="24" y="15"/>
                      <a:pt x="21" y="12"/>
                    </a:cubicBezTo>
                    <a:cubicBezTo>
                      <a:pt x="18" y="9"/>
                      <a:pt x="14" y="4"/>
                      <a:pt x="7" y="9"/>
                    </a:cubicBezTo>
                    <a:cubicBezTo>
                      <a:pt x="0" y="12"/>
                      <a:pt x="8" y="36"/>
                      <a:pt x="8" y="36"/>
                    </a:cubicBezTo>
                    <a:cubicBezTo>
                      <a:pt x="18" y="37"/>
                      <a:pt x="18" y="37"/>
                      <a:pt x="18" y="37"/>
                    </a:cubicBezTo>
                    <a:cubicBezTo>
                      <a:pt x="23" y="44"/>
                      <a:pt x="23" y="44"/>
                      <a:pt x="23" y="44"/>
                    </a:cubicBezTo>
                    <a:cubicBezTo>
                      <a:pt x="21" y="48"/>
                      <a:pt x="21" y="48"/>
                      <a:pt x="21" y="48"/>
                    </a:cubicBezTo>
                    <a:cubicBezTo>
                      <a:pt x="21" y="48"/>
                      <a:pt x="26" y="51"/>
                      <a:pt x="29" y="58"/>
                    </a:cubicBezTo>
                    <a:cubicBezTo>
                      <a:pt x="31" y="63"/>
                      <a:pt x="30" y="68"/>
                      <a:pt x="38" y="76"/>
                    </a:cubicBezTo>
                    <a:cubicBezTo>
                      <a:pt x="44" y="83"/>
                      <a:pt x="57" y="92"/>
                      <a:pt x="57" y="92"/>
                    </a:cubicBezTo>
                    <a:cubicBezTo>
                      <a:pt x="59" y="95"/>
                      <a:pt x="59" y="95"/>
                      <a:pt x="59" y="95"/>
                    </a:cubicBezTo>
                    <a:cubicBezTo>
                      <a:pt x="76" y="110"/>
                      <a:pt x="76" y="110"/>
                      <a:pt x="76" y="110"/>
                    </a:cubicBezTo>
                    <a:cubicBezTo>
                      <a:pt x="88" y="116"/>
                      <a:pt x="88" y="116"/>
                      <a:pt x="88" y="116"/>
                    </a:cubicBezTo>
                    <a:cubicBezTo>
                      <a:pt x="88" y="116"/>
                      <a:pt x="87" y="120"/>
                      <a:pt x="88" y="125"/>
                    </a:cubicBezTo>
                    <a:cubicBezTo>
                      <a:pt x="89" y="129"/>
                      <a:pt x="102" y="135"/>
                      <a:pt x="108" y="140"/>
                    </a:cubicBezTo>
                    <a:cubicBezTo>
                      <a:pt x="113" y="145"/>
                      <a:pt x="110" y="151"/>
                      <a:pt x="110" y="151"/>
                    </a:cubicBezTo>
                    <a:cubicBezTo>
                      <a:pt x="118" y="149"/>
                      <a:pt x="118" y="149"/>
                      <a:pt x="118" y="149"/>
                    </a:cubicBezTo>
                    <a:cubicBezTo>
                      <a:pt x="140" y="168"/>
                      <a:pt x="140" y="168"/>
                      <a:pt x="140" y="168"/>
                    </a:cubicBezTo>
                    <a:cubicBezTo>
                      <a:pt x="140" y="168"/>
                      <a:pt x="142" y="165"/>
                      <a:pt x="146" y="167"/>
                    </a:cubicBezTo>
                    <a:cubicBezTo>
                      <a:pt x="148" y="167"/>
                      <a:pt x="149" y="168"/>
                      <a:pt x="149" y="170"/>
                    </a:cubicBezTo>
                    <a:cubicBezTo>
                      <a:pt x="154" y="167"/>
                      <a:pt x="154" y="167"/>
                      <a:pt x="154" y="167"/>
                    </a:cubicBezTo>
                    <a:cubicBezTo>
                      <a:pt x="154" y="157"/>
                      <a:pt x="154" y="157"/>
                      <a:pt x="154" y="157"/>
                    </a:cubicBezTo>
                    <a:cubicBezTo>
                      <a:pt x="151" y="157"/>
                      <a:pt x="151" y="157"/>
                      <a:pt x="151" y="157"/>
                    </a:cubicBezTo>
                    <a:cubicBezTo>
                      <a:pt x="151" y="157"/>
                      <a:pt x="149" y="144"/>
                      <a:pt x="150" y="141"/>
                    </a:cubicBezTo>
                    <a:cubicBezTo>
                      <a:pt x="152" y="138"/>
                      <a:pt x="155" y="138"/>
                      <a:pt x="157" y="137"/>
                    </a:cubicBezTo>
                    <a:cubicBezTo>
                      <a:pt x="159" y="135"/>
                      <a:pt x="154" y="126"/>
                      <a:pt x="156" y="123"/>
                    </a:cubicBezTo>
                    <a:cubicBezTo>
                      <a:pt x="157" y="121"/>
                      <a:pt x="160" y="117"/>
                      <a:pt x="165" y="117"/>
                    </a:cubicBezTo>
                    <a:cubicBezTo>
                      <a:pt x="168" y="117"/>
                      <a:pt x="172" y="122"/>
                      <a:pt x="175" y="119"/>
                    </a:cubicBezTo>
                    <a:cubicBezTo>
                      <a:pt x="177" y="116"/>
                      <a:pt x="166" y="107"/>
                      <a:pt x="166" y="107"/>
                    </a:cubicBezTo>
                    <a:cubicBezTo>
                      <a:pt x="167" y="101"/>
                      <a:pt x="167" y="101"/>
                      <a:pt x="167" y="101"/>
                    </a:cubicBezTo>
                    <a:cubicBezTo>
                      <a:pt x="172" y="105"/>
                      <a:pt x="172" y="105"/>
                      <a:pt x="172" y="105"/>
                    </a:cubicBezTo>
                    <a:cubicBezTo>
                      <a:pt x="180" y="105"/>
                      <a:pt x="180" y="105"/>
                      <a:pt x="180" y="105"/>
                    </a:cubicBezTo>
                    <a:cubicBezTo>
                      <a:pt x="181" y="99"/>
                      <a:pt x="181" y="99"/>
                      <a:pt x="181" y="99"/>
                    </a:cubicBezTo>
                    <a:cubicBezTo>
                      <a:pt x="181" y="99"/>
                      <a:pt x="186" y="104"/>
                      <a:pt x="191" y="99"/>
                    </a:cubicBezTo>
                    <a:cubicBezTo>
                      <a:pt x="198" y="96"/>
                      <a:pt x="185" y="84"/>
                      <a:pt x="185" y="84"/>
                    </a:cubicBezTo>
                    <a:cubicBezTo>
                      <a:pt x="177" y="73"/>
                      <a:pt x="177" y="73"/>
                      <a:pt x="177" y="73"/>
                    </a:cubicBezTo>
                    <a:cubicBezTo>
                      <a:pt x="177" y="73"/>
                      <a:pt x="185" y="74"/>
                      <a:pt x="190" y="74"/>
                    </a:cubicBezTo>
                    <a:cubicBezTo>
                      <a:pt x="195" y="74"/>
                      <a:pt x="195" y="66"/>
                      <a:pt x="195" y="66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249" name="Belgium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4183063" y="3900488"/>
                <a:ext cx="341312" cy="282575"/>
              </a:xfrm>
              <a:custGeom>
                <a:avLst/>
                <a:gdLst/>
                <a:ahLst/>
                <a:cxnLst>
                  <a:cxn ang="0">
                    <a:pos x="150" y="64"/>
                  </a:cxn>
                  <a:cxn ang="0">
                    <a:pos x="144" y="49"/>
                  </a:cxn>
                  <a:cxn ang="0">
                    <a:pos x="128" y="48"/>
                  </a:cxn>
                  <a:cxn ang="0">
                    <a:pos x="132" y="42"/>
                  </a:cxn>
                  <a:cxn ang="0">
                    <a:pos x="133" y="33"/>
                  </a:cxn>
                  <a:cxn ang="0">
                    <a:pos x="130" y="24"/>
                  </a:cxn>
                  <a:cxn ang="0">
                    <a:pos x="123" y="16"/>
                  </a:cxn>
                  <a:cxn ang="0">
                    <a:pos x="110" y="12"/>
                  </a:cxn>
                  <a:cxn ang="0">
                    <a:pos x="106" y="3"/>
                  </a:cxn>
                  <a:cxn ang="0">
                    <a:pos x="96" y="8"/>
                  </a:cxn>
                  <a:cxn ang="0">
                    <a:pos x="88" y="5"/>
                  </a:cxn>
                  <a:cxn ang="0">
                    <a:pos x="82" y="2"/>
                  </a:cxn>
                  <a:cxn ang="0">
                    <a:pos x="77" y="9"/>
                  </a:cxn>
                  <a:cxn ang="0">
                    <a:pos x="56" y="17"/>
                  </a:cxn>
                  <a:cxn ang="0">
                    <a:pos x="42" y="9"/>
                  </a:cxn>
                  <a:cxn ang="0">
                    <a:pos x="35" y="12"/>
                  </a:cxn>
                  <a:cxn ang="0">
                    <a:pos x="36" y="5"/>
                  </a:cxn>
                  <a:cxn ang="0">
                    <a:pos x="11" y="15"/>
                  </a:cxn>
                  <a:cxn ang="0">
                    <a:pos x="1" y="25"/>
                  </a:cxn>
                  <a:cxn ang="0">
                    <a:pos x="2" y="29"/>
                  </a:cxn>
                  <a:cxn ang="0">
                    <a:pos x="0" y="37"/>
                  </a:cxn>
                  <a:cxn ang="0">
                    <a:pos x="8" y="44"/>
                  </a:cxn>
                  <a:cxn ang="0">
                    <a:pos x="15" y="41"/>
                  </a:cxn>
                  <a:cxn ang="0">
                    <a:pos x="25" y="48"/>
                  </a:cxn>
                  <a:cxn ang="0">
                    <a:pos x="28" y="62"/>
                  </a:cxn>
                  <a:cxn ang="0">
                    <a:pos x="41" y="64"/>
                  </a:cxn>
                  <a:cxn ang="0">
                    <a:pos x="49" y="72"/>
                  </a:cxn>
                  <a:cxn ang="0">
                    <a:pos x="58" y="87"/>
                  </a:cxn>
                  <a:cxn ang="0">
                    <a:pos x="60" y="100"/>
                  </a:cxn>
                  <a:cxn ang="0">
                    <a:pos x="73" y="103"/>
                  </a:cxn>
                  <a:cxn ang="0">
                    <a:pos x="80" y="98"/>
                  </a:cxn>
                  <a:cxn ang="0">
                    <a:pos x="86" y="100"/>
                  </a:cxn>
                  <a:cxn ang="0">
                    <a:pos x="86" y="110"/>
                  </a:cxn>
                  <a:cxn ang="0">
                    <a:pos x="95" y="112"/>
                  </a:cxn>
                  <a:cxn ang="0">
                    <a:pos x="107" y="124"/>
                  </a:cxn>
                  <a:cxn ang="0">
                    <a:pos x="129" y="132"/>
                  </a:cxn>
                  <a:cxn ang="0">
                    <a:pos x="128" y="105"/>
                  </a:cxn>
                  <a:cxn ang="0">
                    <a:pos x="138" y="90"/>
                  </a:cxn>
                  <a:cxn ang="0">
                    <a:pos x="150" y="85"/>
                  </a:cxn>
                  <a:cxn ang="0">
                    <a:pos x="156" y="69"/>
                  </a:cxn>
                </a:cxnLst>
                <a:rect l="0" t="0" r="r" b="b"/>
                <a:pathLst>
                  <a:path w="160" h="133">
                    <a:moveTo>
                      <a:pt x="156" y="69"/>
                    </a:moveTo>
                    <a:cubicBezTo>
                      <a:pt x="154" y="66"/>
                      <a:pt x="150" y="70"/>
                      <a:pt x="150" y="64"/>
                    </a:cubicBezTo>
                    <a:cubicBezTo>
                      <a:pt x="150" y="63"/>
                      <a:pt x="153" y="61"/>
                      <a:pt x="154" y="60"/>
                    </a:cubicBezTo>
                    <a:cubicBezTo>
                      <a:pt x="150" y="59"/>
                      <a:pt x="146" y="54"/>
                      <a:pt x="144" y="49"/>
                    </a:cubicBezTo>
                    <a:cubicBezTo>
                      <a:pt x="143" y="49"/>
                      <a:pt x="139" y="51"/>
                      <a:pt x="136" y="50"/>
                    </a:cubicBezTo>
                    <a:cubicBezTo>
                      <a:pt x="132" y="50"/>
                      <a:pt x="128" y="48"/>
                      <a:pt x="128" y="48"/>
                    </a:cubicBezTo>
                    <a:cubicBezTo>
                      <a:pt x="128" y="48"/>
                      <a:pt x="124" y="47"/>
                      <a:pt x="127" y="44"/>
                    </a:cubicBezTo>
                    <a:cubicBezTo>
                      <a:pt x="128" y="42"/>
                      <a:pt x="132" y="42"/>
                      <a:pt x="132" y="42"/>
                    </a:cubicBezTo>
                    <a:cubicBezTo>
                      <a:pt x="133" y="37"/>
                      <a:pt x="133" y="37"/>
                      <a:pt x="133" y="37"/>
                    </a:cubicBezTo>
                    <a:cubicBezTo>
                      <a:pt x="133" y="37"/>
                      <a:pt x="132" y="34"/>
                      <a:pt x="133" y="33"/>
                    </a:cubicBezTo>
                    <a:cubicBezTo>
                      <a:pt x="135" y="31"/>
                      <a:pt x="138" y="29"/>
                      <a:pt x="136" y="27"/>
                    </a:cubicBezTo>
                    <a:cubicBezTo>
                      <a:pt x="133" y="24"/>
                      <a:pt x="130" y="24"/>
                      <a:pt x="130" y="24"/>
                    </a:cubicBezTo>
                    <a:cubicBezTo>
                      <a:pt x="126" y="19"/>
                      <a:pt x="126" y="19"/>
                      <a:pt x="126" y="19"/>
                    </a:cubicBezTo>
                    <a:cubicBezTo>
                      <a:pt x="126" y="19"/>
                      <a:pt x="127" y="16"/>
                      <a:pt x="123" y="16"/>
                    </a:cubicBezTo>
                    <a:cubicBezTo>
                      <a:pt x="120" y="15"/>
                      <a:pt x="117" y="18"/>
                      <a:pt x="114" y="17"/>
                    </a:cubicBezTo>
                    <a:cubicBezTo>
                      <a:pt x="111" y="17"/>
                      <a:pt x="110" y="12"/>
                      <a:pt x="110" y="12"/>
                    </a:cubicBezTo>
                    <a:cubicBezTo>
                      <a:pt x="105" y="10"/>
                      <a:pt x="105" y="10"/>
                      <a:pt x="105" y="10"/>
                    </a:cubicBezTo>
                    <a:cubicBezTo>
                      <a:pt x="105" y="10"/>
                      <a:pt x="108" y="5"/>
                      <a:pt x="106" y="3"/>
                    </a:cubicBezTo>
                    <a:cubicBezTo>
                      <a:pt x="103" y="2"/>
                      <a:pt x="101" y="8"/>
                      <a:pt x="101" y="8"/>
                    </a:cubicBezTo>
                    <a:cubicBezTo>
                      <a:pt x="96" y="8"/>
                      <a:pt x="96" y="8"/>
                      <a:pt x="96" y="8"/>
                    </a:cubicBezTo>
                    <a:cubicBezTo>
                      <a:pt x="96" y="8"/>
                      <a:pt x="100" y="1"/>
                      <a:pt x="97" y="1"/>
                    </a:cubicBezTo>
                    <a:cubicBezTo>
                      <a:pt x="93" y="1"/>
                      <a:pt x="88" y="5"/>
                      <a:pt x="88" y="5"/>
                    </a:cubicBezTo>
                    <a:cubicBezTo>
                      <a:pt x="85" y="5"/>
                      <a:pt x="85" y="5"/>
                      <a:pt x="85" y="5"/>
                    </a:cubicBezTo>
                    <a:cubicBezTo>
                      <a:pt x="85" y="5"/>
                      <a:pt x="85" y="0"/>
                      <a:pt x="82" y="2"/>
                    </a:cubicBezTo>
                    <a:cubicBezTo>
                      <a:pt x="78" y="3"/>
                      <a:pt x="80" y="9"/>
                      <a:pt x="80" y="9"/>
                    </a:cubicBezTo>
                    <a:cubicBezTo>
                      <a:pt x="77" y="9"/>
                      <a:pt x="77" y="9"/>
                      <a:pt x="77" y="9"/>
                    </a:cubicBezTo>
                    <a:cubicBezTo>
                      <a:pt x="73" y="8"/>
                      <a:pt x="73" y="8"/>
                      <a:pt x="73" y="8"/>
                    </a:cubicBezTo>
                    <a:cubicBezTo>
                      <a:pt x="73" y="8"/>
                      <a:pt x="63" y="18"/>
                      <a:pt x="56" y="17"/>
                    </a:cubicBezTo>
                    <a:cubicBezTo>
                      <a:pt x="49" y="17"/>
                      <a:pt x="52" y="12"/>
                      <a:pt x="52" y="12"/>
                    </a:cubicBezTo>
                    <a:cubicBezTo>
                      <a:pt x="42" y="9"/>
                      <a:pt x="42" y="9"/>
                      <a:pt x="42" y="9"/>
                    </a:cubicBezTo>
                    <a:cubicBezTo>
                      <a:pt x="41" y="13"/>
                      <a:pt x="41" y="13"/>
                      <a:pt x="41" y="13"/>
                    </a:cubicBezTo>
                    <a:cubicBezTo>
                      <a:pt x="35" y="12"/>
                      <a:pt x="35" y="12"/>
                      <a:pt x="35" y="12"/>
                    </a:cubicBezTo>
                    <a:cubicBezTo>
                      <a:pt x="35" y="12"/>
                      <a:pt x="34" y="9"/>
                      <a:pt x="34" y="8"/>
                    </a:cubicBezTo>
                    <a:cubicBezTo>
                      <a:pt x="35" y="7"/>
                      <a:pt x="35" y="6"/>
                      <a:pt x="36" y="5"/>
                    </a:cubicBezTo>
                    <a:cubicBezTo>
                      <a:pt x="34" y="5"/>
                      <a:pt x="31" y="5"/>
                      <a:pt x="24" y="7"/>
                    </a:cubicBezTo>
                    <a:cubicBezTo>
                      <a:pt x="16" y="11"/>
                      <a:pt x="14" y="13"/>
                      <a:pt x="11" y="15"/>
                    </a:cubicBezTo>
                    <a:cubicBezTo>
                      <a:pt x="7" y="16"/>
                      <a:pt x="1" y="18"/>
                      <a:pt x="1" y="18"/>
                    </a:cubicBezTo>
                    <a:cubicBezTo>
                      <a:pt x="1" y="25"/>
                      <a:pt x="1" y="25"/>
                      <a:pt x="1" y="25"/>
                    </a:cubicBezTo>
                    <a:cubicBezTo>
                      <a:pt x="2" y="25"/>
                      <a:pt x="2" y="25"/>
                      <a:pt x="2" y="25"/>
                    </a:cubicBezTo>
                    <a:cubicBezTo>
                      <a:pt x="2" y="29"/>
                      <a:pt x="2" y="29"/>
                      <a:pt x="2" y="29"/>
                    </a:cubicBezTo>
                    <a:cubicBezTo>
                      <a:pt x="1" y="30"/>
                      <a:pt x="1" y="30"/>
                      <a:pt x="1" y="30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37"/>
                      <a:pt x="1" y="35"/>
                      <a:pt x="3" y="37"/>
                    </a:cubicBezTo>
                    <a:cubicBezTo>
                      <a:pt x="6" y="38"/>
                      <a:pt x="8" y="44"/>
                      <a:pt x="8" y="44"/>
                    </a:cubicBezTo>
                    <a:cubicBezTo>
                      <a:pt x="12" y="45"/>
                      <a:pt x="12" y="45"/>
                      <a:pt x="12" y="45"/>
                    </a:cubicBezTo>
                    <a:cubicBezTo>
                      <a:pt x="12" y="45"/>
                      <a:pt x="13" y="41"/>
                      <a:pt x="15" y="41"/>
                    </a:cubicBezTo>
                    <a:cubicBezTo>
                      <a:pt x="22" y="41"/>
                      <a:pt x="22" y="41"/>
                      <a:pt x="22" y="41"/>
                    </a:cubicBezTo>
                    <a:cubicBezTo>
                      <a:pt x="25" y="48"/>
                      <a:pt x="25" y="48"/>
                      <a:pt x="25" y="48"/>
                    </a:cubicBezTo>
                    <a:cubicBezTo>
                      <a:pt x="25" y="59"/>
                      <a:pt x="25" y="59"/>
                      <a:pt x="25" y="59"/>
                    </a:cubicBezTo>
                    <a:cubicBezTo>
                      <a:pt x="28" y="62"/>
                      <a:pt x="28" y="62"/>
                      <a:pt x="28" y="62"/>
                    </a:cubicBezTo>
                    <a:cubicBezTo>
                      <a:pt x="35" y="59"/>
                      <a:pt x="35" y="59"/>
                      <a:pt x="35" y="59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4"/>
                      <a:pt x="38" y="77"/>
                      <a:pt x="40" y="76"/>
                    </a:cubicBezTo>
                    <a:cubicBezTo>
                      <a:pt x="44" y="76"/>
                      <a:pt x="44" y="71"/>
                      <a:pt x="49" y="72"/>
                    </a:cubicBezTo>
                    <a:cubicBezTo>
                      <a:pt x="53" y="73"/>
                      <a:pt x="61" y="74"/>
                      <a:pt x="61" y="78"/>
                    </a:cubicBezTo>
                    <a:cubicBezTo>
                      <a:pt x="61" y="84"/>
                      <a:pt x="58" y="87"/>
                      <a:pt x="58" y="87"/>
                    </a:cubicBezTo>
                    <a:cubicBezTo>
                      <a:pt x="62" y="91"/>
                      <a:pt x="62" y="91"/>
                      <a:pt x="62" y="91"/>
                    </a:cubicBezTo>
                    <a:cubicBezTo>
                      <a:pt x="62" y="91"/>
                      <a:pt x="53" y="97"/>
                      <a:pt x="60" y="100"/>
                    </a:cubicBezTo>
                    <a:cubicBezTo>
                      <a:pt x="65" y="102"/>
                      <a:pt x="70" y="100"/>
                      <a:pt x="70" y="100"/>
                    </a:cubicBezTo>
                    <a:cubicBezTo>
                      <a:pt x="73" y="103"/>
                      <a:pt x="73" y="103"/>
                      <a:pt x="73" y="103"/>
                    </a:cubicBezTo>
                    <a:cubicBezTo>
                      <a:pt x="77" y="100"/>
                      <a:pt x="77" y="100"/>
                      <a:pt x="77" y="100"/>
                    </a:cubicBezTo>
                    <a:cubicBezTo>
                      <a:pt x="80" y="98"/>
                      <a:pt x="80" y="98"/>
                      <a:pt x="80" y="98"/>
                    </a:cubicBezTo>
                    <a:cubicBezTo>
                      <a:pt x="80" y="98"/>
                      <a:pt x="86" y="85"/>
                      <a:pt x="89" y="88"/>
                    </a:cubicBezTo>
                    <a:cubicBezTo>
                      <a:pt x="93" y="91"/>
                      <a:pt x="86" y="100"/>
                      <a:pt x="86" y="100"/>
                    </a:cubicBezTo>
                    <a:cubicBezTo>
                      <a:pt x="86" y="100"/>
                      <a:pt x="88" y="100"/>
                      <a:pt x="88" y="103"/>
                    </a:cubicBezTo>
                    <a:cubicBezTo>
                      <a:pt x="89" y="105"/>
                      <a:pt x="86" y="110"/>
                      <a:pt x="86" y="110"/>
                    </a:cubicBezTo>
                    <a:cubicBezTo>
                      <a:pt x="88" y="112"/>
                      <a:pt x="88" y="112"/>
                      <a:pt x="88" y="112"/>
                    </a:cubicBezTo>
                    <a:cubicBezTo>
                      <a:pt x="95" y="112"/>
                      <a:pt x="95" y="112"/>
                      <a:pt x="95" y="112"/>
                    </a:cubicBezTo>
                    <a:cubicBezTo>
                      <a:pt x="107" y="122"/>
                      <a:pt x="107" y="122"/>
                      <a:pt x="107" y="122"/>
                    </a:cubicBezTo>
                    <a:cubicBezTo>
                      <a:pt x="107" y="124"/>
                      <a:pt x="107" y="124"/>
                      <a:pt x="107" y="124"/>
                    </a:cubicBezTo>
                    <a:cubicBezTo>
                      <a:pt x="114" y="133"/>
                      <a:pt x="114" y="133"/>
                      <a:pt x="114" y="133"/>
                    </a:cubicBezTo>
                    <a:cubicBezTo>
                      <a:pt x="129" y="132"/>
                      <a:pt x="129" y="132"/>
                      <a:pt x="129" y="132"/>
                    </a:cubicBezTo>
                    <a:cubicBezTo>
                      <a:pt x="132" y="124"/>
                      <a:pt x="132" y="124"/>
                      <a:pt x="132" y="124"/>
                    </a:cubicBezTo>
                    <a:cubicBezTo>
                      <a:pt x="128" y="105"/>
                      <a:pt x="128" y="105"/>
                      <a:pt x="128" y="105"/>
                    </a:cubicBezTo>
                    <a:cubicBezTo>
                      <a:pt x="131" y="104"/>
                      <a:pt x="131" y="104"/>
                      <a:pt x="131" y="104"/>
                    </a:cubicBezTo>
                    <a:cubicBezTo>
                      <a:pt x="138" y="90"/>
                      <a:pt x="138" y="90"/>
                      <a:pt x="138" y="90"/>
                    </a:cubicBezTo>
                    <a:cubicBezTo>
                      <a:pt x="147" y="92"/>
                      <a:pt x="147" y="92"/>
                      <a:pt x="147" y="92"/>
                    </a:cubicBezTo>
                    <a:cubicBezTo>
                      <a:pt x="148" y="89"/>
                      <a:pt x="148" y="87"/>
                      <a:pt x="150" y="85"/>
                    </a:cubicBezTo>
                    <a:cubicBezTo>
                      <a:pt x="152" y="82"/>
                      <a:pt x="157" y="81"/>
                      <a:pt x="159" y="80"/>
                    </a:cubicBezTo>
                    <a:cubicBezTo>
                      <a:pt x="160" y="78"/>
                      <a:pt x="157" y="70"/>
                      <a:pt x="156" y="69"/>
                    </a:cubicBezTo>
                    <a:close/>
                  </a:path>
                </a:pathLst>
              </a:custGeom>
              <a:solidFill>
                <a:schemeClr val="accent2">
                  <a:lumMod val="40000"/>
                  <a:lumOff val="60000"/>
                </a:schemeClr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250" name="Austria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4783138" y="4260850"/>
                <a:ext cx="731837" cy="363537"/>
              </a:xfrm>
              <a:custGeom>
                <a:avLst/>
                <a:gdLst/>
                <a:ahLst/>
                <a:cxnLst>
                  <a:cxn ang="0">
                    <a:pos x="335" y="43"/>
                  </a:cxn>
                  <a:cxn ang="0">
                    <a:pos x="332" y="17"/>
                  </a:cxn>
                  <a:cxn ang="0">
                    <a:pos x="320" y="11"/>
                  </a:cxn>
                  <a:cxn ang="0">
                    <a:pos x="293" y="14"/>
                  </a:cxn>
                  <a:cxn ang="0">
                    <a:pos x="267" y="2"/>
                  </a:cxn>
                  <a:cxn ang="0">
                    <a:pos x="251" y="0"/>
                  </a:cxn>
                  <a:cxn ang="0">
                    <a:pos x="237" y="14"/>
                  </a:cxn>
                  <a:cxn ang="0">
                    <a:pos x="228" y="26"/>
                  </a:cxn>
                  <a:cxn ang="0">
                    <a:pos x="217" y="31"/>
                  </a:cxn>
                  <a:cxn ang="0">
                    <a:pos x="205" y="25"/>
                  </a:cxn>
                  <a:cxn ang="0">
                    <a:pos x="193" y="18"/>
                  </a:cxn>
                  <a:cxn ang="0">
                    <a:pos x="177" y="31"/>
                  </a:cxn>
                  <a:cxn ang="0">
                    <a:pos x="149" y="60"/>
                  </a:cxn>
                  <a:cxn ang="0">
                    <a:pos x="156" y="88"/>
                  </a:cxn>
                  <a:cxn ang="0">
                    <a:pos x="150" y="98"/>
                  </a:cxn>
                  <a:cxn ang="0">
                    <a:pos x="126" y="91"/>
                  </a:cxn>
                  <a:cxn ang="0">
                    <a:pos x="110" y="95"/>
                  </a:cxn>
                  <a:cxn ang="0">
                    <a:pos x="90" y="107"/>
                  </a:cxn>
                  <a:cxn ang="0">
                    <a:pos x="69" y="110"/>
                  </a:cxn>
                  <a:cxn ang="0">
                    <a:pos x="51" y="99"/>
                  </a:cxn>
                  <a:cxn ang="0">
                    <a:pos x="34" y="117"/>
                  </a:cxn>
                  <a:cxn ang="0">
                    <a:pos x="27" y="104"/>
                  </a:cxn>
                  <a:cxn ang="0">
                    <a:pos x="10" y="99"/>
                  </a:cxn>
                  <a:cxn ang="0">
                    <a:pos x="3" y="120"/>
                  </a:cxn>
                  <a:cxn ang="0">
                    <a:pos x="18" y="133"/>
                  </a:cxn>
                  <a:cxn ang="0">
                    <a:pos x="32" y="144"/>
                  </a:cxn>
                  <a:cxn ang="0">
                    <a:pos x="45" y="146"/>
                  </a:cxn>
                  <a:cxn ang="0">
                    <a:pos x="57" y="149"/>
                  </a:cxn>
                  <a:cxn ang="0">
                    <a:pos x="76" y="138"/>
                  </a:cxn>
                  <a:cxn ang="0">
                    <a:pos x="104" y="139"/>
                  </a:cxn>
                  <a:cxn ang="0">
                    <a:pos x="125" y="128"/>
                  </a:cxn>
                  <a:cxn ang="0">
                    <a:pos x="127" y="142"/>
                  </a:cxn>
                  <a:cxn ang="0">
                    <a:pos x="134" y="156"/>
                  </a:cxn>
                  <a:cxn ang="0">
                    <a:pos x="169" y="160"/>
                  </a:cxn>
                  <a:cxn ang="0">
                    <a:pos x="197" y="165"/>
                  </a:cxn>
                  <a:cxn ang="0">
                    <a:pos x="214" y="170"/>
                  </a:cxn>
                  <a:cxn ang="0">
                    <a:pos x="238" y="164"/>
                  </a:cxn>
                  <a:cxn ang="0">
                    <a:pos x="256" y="153"/>
                  </a:cxn>
                  <a:cxn ang="0">
                    <a:pos x="275" y="154"/>
                  </a:cxn>
                  <a:cxn ang="0">
                    <a:pos x="295" y="149"/>
                  </a:cxn>
                  <a:cxn ang="0">
                    <a:pos x="300" y="137"/>
                  </a:cxn>
                  <a:cxn ang="0">
                    <a:pos x="320" y="118"/>
                  </a:cxn>
                  <a:cxn ang="0">
                    <a:pos x="313" y="104"/>
                  </a:cxn>
                  <a:cxn ang="0">
                    <a:pos x="317" y="86"/>
                  </a:cxn>
                  <a:cxn ang="0">
                    <a:pos x="328" y="82"/>
                  </a:cxn>
                  <a:cxn ang="0">
                    <a:pos x="339" y="69"/>
                  </a:cxn>
                </a:cxnLst>
                <a:rect l="0" t="0" r="r" b="b"/>
                <a:pathLst>
                  <a:path w="343" h="171">
                    <a:moveTo>
                      <a:pt x="342" y="57"/>
                    </a:moveTo>
                    <a:cubicBezTo>
                      <a:pt x="340" y="53"/>
                      <a:pt x="337" y="49"/>
                      <a:pt x="337" y="49"/>
                    </a:cubicBezTo>
                    <a:cubicBezTo>
                      <a:pt x="335" y="43"/>
                      <a:pt x="335" y="43"/>
                      <a:pt x="335" y="43"/>
                    </a:cubicBezTo>
                    <a:cubicBezTo>
                      <a:pt x="335" y="43"/>
                      <a:pt x="328" y="39"/>
                      <a:pt x="328" y="34"/>
                    </a:cubicBezTo>
                    <a:cubicBezTo>
                      <a:pt x="329" y="29"/>
                      <a:pt x="332" y="27"/>
                      <a:pt x="332" y="27"/>
                    </a:cubicBezTo>
                    <a:cubicBezTo>
                      <a:pt x="332" y="17"/>
                      <a:pt x="332" y="17"/>
                      <a:pt x="332" y="17"/>
                    </a:cubicBezTo>
                    <a:cubicBezTo>
                      <a:pt x="329" y="14"/>
                      <a:pt x="329" y="14"/>
                      <a:pt x="329" y="14"/>
                    </a:cubicBezTo>
                    <a:cubicBezTo>
                      <a:pt x="322" y="14"/>
                      <a:pt x="322" y="14"/>
                      <a:pt x="322" y="14"/>
                    </a:cubicBezTo>
                    <a:cubicBezTo>
                      <a:pt x="320" y="11"/>
                      <a:pt x="320" y="11"/>
                      <a:pt x="320" y="11"/>
                    </a:cubicBezTo>
                    <a:cubicBezTo>
                      <a:pt x="309" y="8"/>
                      <a:pt x="309" y="8"/>
                      <a:pt x="309" y="8"/>
                    </a:cubicBezTo>
                    <a:cubicBezTo>
                      <a:pt x="307" y="13"/>
                      <a:pt x="307" y="13"/>
                      <a:pt x="307" y="13"/>
                    </a:cubicBezTo>
                    <a:cubicBezTo>
                      <a:pt x="293" y="14"/>
                      <a:pt x="293" y="14"/>
                      <a:pt x="293" y="14"/>
                    </a:cubicBezTo>
                    <a:cubicBezTo>
                      <a:pt x="293" y="14"/>
                      <a:pt x="288" y="6"/>
                      <a:pt x="283" y="6"/>
                    </a:cubicBezTo>
                    <a:cubicBezTo>
                      <a:pt x="279" y="6"/>
                      <a:pt x="277" y="7"/>
                      <a:pt x="277" y="7"/>
                    </a:cubicBezTo>
                    <a:cubicBezTo>
                      <a:pt x="277" y="7"/>
                      <a:pt x="268" y="2"/>
                      <a:pt x="267" y="2"/>
                    </a:cubicBezTo>
                    <a:cubicBezTo>
                      <a:pt x="266" y="2"/>
                      <a:pt x="259" y="0"/>
                      <a:pt x="259" y="0"/>
                    </a:cubicBezTo>
                    <a:cubicBezTo>
                      <a:pt x="259" y="0"/>
                      <a:pt x="258" y="1"/>
                      <a:pt x="256" y="2"/>
                    </a:cubicBezTo>
                    <a:cubicBezTo>
                      <a:pt x="253" y="2"/>
                      <a:pt x="251" y="0"/>
                      <a:pt x="251" y="0"/>
                    </a:cubicBezTo>
                    <a:cubicBezTo>
                      <a:pt x="245" y="0"/>
                      <a:pt x="245" y="0"/>
                      <a:pt x="245" y="0"/>
                    </a:cubicBezTo>
                    <a:cubicBezTo>
                      <a:pt x="244" y="17"/>
                      <a:pt x="244" y="17"/>
                      <a:pt x="244" y="17"/>
                    </a:cubicBezTo>
                    <a:cubicBezTo>
                      <a:pt x="237" y="14"/>
                      <a:pt x="237" y="14"/>
                      <a:pt x="237" y="14"/>
                    </a:cubicBezTo>
                    <a:cubicBezTo>
                      <a:pt x="237" y="14"/>
                      <a:pt x="233" y="18"/>
                      <a:pt x="232" y="20"/>
                    </a:cubicBezTo>
                    <a:cubicBezTo>
                      <a:pt x="232" y="22"/>
                      <a:pt x="235" y="28"/>
                      <a:pt x="234" y="28"/>
                    </a:cubicBezTo>
                    <a:cubicBezTo>
                      <a:pt x="232" y="28"/>
                      <a:pt x="228" y="26"/>
                      <a:pt x="228" y="26"/>
                    </a:cubicBezTo>
                    <a:cubicBezTo>
                      <a:pt x="225" y="26"/>
                      <a:pt x="225" y="26"/>
                      <a:pt x="225" y="26"/>
                    </a:cubicBezTo>
                    <a:cubicBezTo>
                      <a:pt x="222" y="25"/>
                      <a:pt x="222" y="25"/>
                      <a:pt x="222" y="25"/>
                    </a:cubicBezTo>
                    <a:cubicBezTo>
                      <a:pt x="217" y="31"/>
                      <a:pt x="217" y="31"/>
                      <a:pt x="217" y="31"/>
                    </a:cubicBezTo>
                    <a:cubicBezTo>
                      <a:pt x="207" y="29"/>
                      <a:pt x="207" y="29"/>
                      <a:pt x="207" y="29"/>
                    </a:cubicBezTo>
                    <a:cubicBezTo>
                      <a:pt x="204" y="27"/>
                      <a:pt x="204" y="27"/>
                      <a:pt x="204" y="27"/>
                    </a:cubicBezTo>
                    <a:cubicBezTo>
                      <a:pt x="205" y="25"/>
                      <a:pt x="205" y="25"/>
                      <a:pt x="205" y="25"/>
                    </a:cubicBezTo>
                    <a:cubicBezTo>
                      <a:pt x="205" y="25"/>
                      <a:pt x="202" y="20"/>
                      <a:pt x="201" y="19"/>
                    </a:cubicBezTo>
                    <a:cubicBezTo>
                      <a:pt x="199" y="19"/>
                      <a:pt x="197" y="17"/>
                      <a:pt x="197" y="17"/>
                    </a:cubicBezTo>
                    <a:cubicBezTo>
                      <a:pt x="193" y="18"/>
                      <a:pt x="193" y="18"/>
                      <a:pt x="193" y="18"/>
                    </a:cubicBezTo>
                    <a:cubicBezTo>
                      <a:pt x="193" y="19"/>
                      <a:pt x="194" y="19"/>
                      <a:pt x="194" y="20"/>
                    </a:cubicBezTo>
                    <a:cubicBezTo>
                      <a:pt x="194" y="25"/>
                      <a:pt x="192" y="30"/>
                      <a:pt x="190" y="33"/>
                    </a:cubicBezTo>
                    <a:cubicBezTo>
                      <a:pt x="184" y="29"/>
                      <a:pt x="181" y="29"/>
                      <a:pt x="177" y="31"/>
                    </a:cubicBezTo>
                    <a:cubicBezTo>
                      <a:pt x="179" y="35"/>
                      <a:pt x="176" y="48"/>
                      <a:pt x="169" y="48"/>
                    </a:cubicBezTo>
                    <a:cubicBezTo>
                      <a:pt x="166" y="48"/>
                      <a:pt x="163" y="49"/>
                      <a:pt x="160" y="50"/>
                    </a:cubicBezTo>
                    <a:cubicBezTo>
                      <a:pt x="158" y="51"/>
                      <a:pt x="153" y="59"/>
                      <a:pt x="149" y="60"/>
                    </a:cubicBezTo>
                    <a:cubicBezTo>
                      <a:pt x="145" y="62"/>
                      <a:pt x="151" y="65"/>
                      <a:pt x="152" y="67"/>
                    </a:cubicBezTo>
                    <a:cubicBezTo>
                      <a:pt x="153" y="70"/>
                      <a:pt x="156" y="70"/>
                      <a:pt x="158" y="74"/>
                    </a:cubicBezTo>
                    <a:cubicBezTo>
                      <a:pt x="162" y="80"/>
                      <a:pt x="157" y="81"/>
                      <a:pt x="156" y="88"/>
                    </a:cubicBezTo>
                    <a:cubicBezTo>
                      <a:pt x="161" y="86"/>
                      <a:pt x="162" y="88"/>
                      <a:pt x="164" y="91"/>
                    </a:cubicBezTo>
                    <a:cubicBezTo>
                      <a:pt x="164" y="92"/>
                      <a:pt x="163" y="100"/>
                      <a:pt x="162" y="102"/>
                    </a:cubicBezTo>
                    <a:cubicBezTo>
                      <a:pt x="160" y="104"/>
                      <a:pt x="151" y="100"/>
                      <a:pt x="150" y="98"/>
                    </a:cubicBezTo>
                    <a:cubicBezTo>
                      <a:pt x="149" y="97"/>
                      <a:pt x="150" y="91"/>
                      <a:pt x="151" y="90"/>
                    </a:cubicBezTo>
                    <a:cubicBezTo>
                      <a:pt x="144" y="86"/>
                      <a:pt x="143" y="97"/>
                      <a:pt x="139" y="94"/>
                    </a:cubicBezTo>
                    <a:cubicBezTo>
                      <a:pt x="134" y="91"/>
                      <a:pt x="131" y="89"/>
                      <a:pt x="126" y="91"/>
                    </a:cubicBezTo>
                    <a:cubicBezTo>
                      <a:pt x="126" y="85"/>
                      <a:pt x="126" y="85"/>
                      <a:pt x="126" y="85"/>
                    </a:cubicBezTo>
                    <a:cubicBezTo>
                      <a:pt x="119" y="90"/>
                      <a:pt x="127" y="92"/>
                      <a:pt x="124" y="95"/>
                    </a:cubicBezTo>
                    <a:cubicBezTo>
                      <a:pt x="123" y="96"/>
                      <a:pt x="112" y="95"/>
                      <a:pt x="110" y="95"/>
                    </a:cubicBezTo>
                    <a:cubicBezTo>
                      <a:pt x="107" y="96"/>
                      <a:pt x="102" y="96"/>
                      <a:pt x="98" y="97"/>
                    </a:cubicBezTo>
                    <a:cubicBezTo>
                      <a:pt x="96" y="98"/>
                      <a:pt x="90" y="102"/>
                      <a:pt x="88" y="105"/>
                    </a:cubicBezTo>
                    <a:cubicBezTo>
                      <a:pt x="88" y="105"/>
                      <a:pt x="90" y="106"/>
                      <a:pt x="90" y="107"/>
                    </a:cubicBezTo>
                    <a:cubicBezTo>
                      <a:pt x="85" y="105"/>
                      <a:pt x="84" y="109"/>
                      <a:pt x="80" y="110"/>
                    </a:cubicBezTo>
                    <a:cubicBezTo>
                      <a:pt x="81" y="107"/>
                      <a:pt x="81" y="107"/>
                      <a:pt x="81" y="107"/>
                    </a:cubicBezTo>
                    <a:cubicBezTo>
                      <a:pt x="78" y="109"/>
                      <a:pt x="74" y="110"/>
                      <a:pt x="69" y="110"/>
                    </a:cubicBezTo>
                    <a:cubicBezTo>
                      <a:pt x="69" y="107"/>
                      <a:pt x="67" y="105"/>
                      <a:pt x="65" y="104"/>
                    </a:cubicBezTo>
                    <a:cubicBezTo>
                      <a:pt x="66" y="102"/>
                      <a:pt x="67" y="101"/>
                      <a:pt x="65" y="100"/>
                    </a:cubicBezTo>
                    <a:cubicBezTo>
                      <a:pt x="66" y="100"/>
                      <a:pt x="53" y="97"/>
                      <a:pt x="51" y="99"/>
                    </a:cubicBezTo>
                    <a:cubicBezTo>
                      <a:pt x="49" y="104"/>
                      <a:pt x="47" y="97"/>
                      <a:pt x="48" y="97"/>
                    </a:cubicBezTo>
                    <a:cubicBezTo>
                      <a:pt x="44" y="99"/>
                      <a:pt x="48" y="102"/>
                      <a:pt x="48" y="107"/>
                    </a:cubicBezTo>
                    <a:cubicBezTo>
                      <a:pt x="47" y="112"/>
                      <a:pt x="38" y="116"/>
                      <a:pt x="34" y="117"/>
                    </a:cubicBezTo>
                    <a:cubicBezTo>
                      <a:pt x="34" y="116"/>
                      <a:pt x="38" y="111"/>
                      <a:pt x="35" y="110"/>
                    </a:cubicBezTo>
                    <a:cubicBezTo>
                      <a:pt x="34" y="109"/>
                      <a:pt x="31" y="111"/>
                      <a:pt x="31" y="112"/>
                    </a:cubicBezTo>
                    <a:cubicBezTo>
                      <a:pt x="29" y="107"/>
                      <a:pt x="30" y="107"/>
                      <a:pt x="27" y="104"/>
                    </a:cubicBezTo>
                    <a:cubicBezTo>
                      <a:pt x="24" y="101"/>
                      <a:pt x="19" y="97"/>
                      <a:pt x="18" y="97"/>
                    </a:cubicBezTo>
                    <a:cubicBezTo>
                      <a:pt x="14" y="95"/>
                      <a:pt x="16" y="100"/>
                      <a:pt x="12" y="100"/>
                    </a:cubicBezTo>
                    <a:cubicBezTo>
                      <a:pt x="11" y="100"/>
                      <a:pt x="11" y="100"/>
                      <a:pt x="10" y="99"/>
                    </a:cubicBezTo>
                    <a:cubicBezTo>
                      <a:pt x="10" y="107"/>
                      <a:pt x="10" y="107"/>
                      <a:pt x="10" y="107"/>
                    </a:cubicBezTo>
                    <a:cubicBezTo>
                      <a:pt x="10" y="110"/>
                      <a:pt x="0" y="120"/>
                      <a:pt x="0" y="120"/>
                    </a:cubicBezTo>
                    <a:cubicBezTo>
                      <a:pt x="3" y="120"/>
                      <a:pt x="3" y="120"/>
                      <a:pt x="3" y="120"/>
                    </a:cubicBezTo>
                    <a:cubicBezTo>
                      <a:pt x="5" y="129"/>
                      <a:pt x="5" y="129"/>
                      <a:pt x="5" y="129"/>
                    </a:cubicBezTo>
                    <a:cubicBezTo>
                      <a:pt x="2" y="130"/>
                      <a:pt x="2" y="130"/>
                      <a:pt x="2" y="130"/>
                    </a:cubicBezTo>
                    <a:cubicBezTo>
                      <a:pt x="18" y="133"/>
                      <a:pt x="18" y="133"/>
                      <a:pt x="18" y="133"/>
                    </a:cubicBezTo>
                    <a:cubicBezTo>
                      <a:pt x="18" y="133"/>
                      <a:pt x="16" y="139"/>
                      <a:pt x="17" y="140"/>
                    </a:cubicBezTo>
                    <a:cubicBezTo>
                      <a:pt x="18" y="142"/>
                      <a:pt x="22" y="141"/>
                      <a:pt x="22" y="141"/>
                    </a:cubicBezTo>
                    <a:cubicBezTo>
                      <a:pt x="22" y="141"/>
                      <a:pt x="29" y="146"/>
                      <a:pt x="32" y="144"/>
                    </a:cubicBezTo>
                    <a:cubicBezTo>
                      <a:pt x="35" y="143"/>
                      <a:pt x="41" y="136"/>
                      <a:pt x="41" y="136"/>
                    </a:cubicBezTo>
                    <a:cubicBezTo>
                      <a:pt x="46" y="140"/>
                      <a:pt x="46" y="140"/>
                      <a:pt x="46" y="140"/>
                    </a:cubicBezTo>
                    <a:cubicBezTo>
                      <a:pt x="45" y="146"/>
                      <a:pt x="45" y="146"/>
                      <a:pt x="45" y="146"/>
                    </a:cubicBezTo>
                    <a:cubicBezTo>
                      <a:pt x="48" y="146"/>
                      <a:pt x="48" y="146"/>
                      <a:pt x="48" y="146"/>
                    </a:cubicBezTo>
                    <a:cubicBezTo>
                      <a:pt x="48" y="146"/>
                      <a:pt x="50" y="142"/>
                      <a:pt x="53" y="143"/>
                    </a:cubicBezTo>
                    <a:cubicBezTo>
                      <a:pt x="57" y="145"/>
                      <a:pt x="57" y="149"/>
                      <a:pt x="57" y="149"/>
                    </a:cubicBezTo>
                    <a:cubicBezTo>
                      <a:pt x="69" y="152"/>
                      <a:pt x="69" y="152"/>
                      <a:pt x="69" y="152"/>
                    </a:cubicBezTo>
                    <a:cubicBezTo>
                      <a:pt x="73" y="147"/>
                      <a:pt x="73" y="147"/>
                      <a:pt x="73" y="147"/>
                    </a:cubicBezTo>
                    <a:cubicBezTo>
                      <a:pt x="73" y="147"/>
                      <a:pt x="67" y="139"/>
                      <a:pt x="76" y="138"/>
                    </a:cubicBezTo>
                    <a:cubicBezTo>
                      <a:pt x="85" y="137"/>
                      <a:pt x="87" y="138"/>
                      <a:pt x="87" y="138"/>
                    </a:cubicBezTo>
                    <a:cubicBezTo>
                      <a:pt x="90" y="133"/>
                      <a:pt x="90" y="133"/>
                      <a:pt x="90" y="133"/>
                    </a:cubicBezTo>
                    <a:cubicBezTo>
                      <a:pt x="104" y="139"/>
                      <a:pt x="104" y="139"/>
                      <a:pt x="104" y="139"/>
                    </a:cubicBezTo>
                    <a:cubicBezTo>
                      <a:pt x="113" y="130"/>
                      <a:pt x="113" y="130"/>
                      <a:pt x="113" y="130"/>
                    </a:cubicBezTo>
                    <a:cubicBezTo>
                      <a:pt x="117" y="132"/>
                      <a:pt x="117" y="132"/>
                      <a:pt x="117" y="132"/>
                    </a:cubicBezTo>
                    <a:cubicBezTo>
                      <a:pt x="117" y="132"/>
                      <a:pt x="123" y="126"/>
                      <a:pt x="125" y="128"/>
                    </a:cubicBezTo>
                    <a:cubicBezTo>
                      <a:pt x="127" y="130"/>
                      <a:pt x="120" y="134"/>
                      <a:pt x="120" y="134"/>
                    </a:cubicBezTo>
                    <a:cubicBezTo>
                      <a:pt x="123" y="143"/>
                      <a:pt x="123" y="143"/>
                      <a:pt x="123" y="143"/>
                    </a:cubicBezTo>
                    <a:cubicBezTo>
                      <a:pt x="123" y="143"/>
                      <a:pt x="125" y="141"/>
                      <a:pt x="127" y="142"/>
                    </a:cubicBezTo>
                    <a:cubicBezTo>
                      <a:pt x="129" y="143"/>
                      <a:pt x="128" y="147"/>
                      <a:pt x="128" y="147"/>
                    </a:cubicBezTo>
                    <a:cubicBezTo>
                      <a:pt x="131" y="148"/>
                      <a:pt x="131" y="148"/>
                      <a:pt x="131" y="148"/>
                    </a:cubicBezTo>
                    <a:cubicBezTo>
                      <a:pt x="134" y="156"/>
                      <a:pt x="134" y="156"/>
                      <a:pt x="134" y="156"/>
                    </a:cubicBezTo>
                    <a:cubicBezTo>
                      <a:pt x="151" y="157"/>
                      <a:pt x="151" y="157"/>
                      <a:pt x="151" y="157"/>
                    </a:cubicBezTo>
                    <a:cubicBezTo>
                      <a:pt x="153" y="160"/>
                      <a:pt x="153" y="160"/>
                      <a:pt x="153" y="160"/>
                    </a:cubicBezTo>
                    <a:cubicBezTo>
                      <a:pt x="169" y="160"/>
                      <a:pt x="169" y="160"/>
                      <a:pt x="169" y="160"/>
                    </a:cubicBezTo>
                    <a:cubicBezTo>
                      <a:pt x="172" y="163"/>
                      <a:pt x="172" y="163"/>
                      <a:pt x="172" y="163"/>
                    </a:cubicBezTo>
                    <a:cubicBezTo>
                      <a:pt x="178" y="161"/>
                      <a:pt x="178" y="161"/>
                      <a:pt x="178" y="161"/>
                    </a:cubicBezTo>
                    <a:cubicBezTo>
                      <a:pt x="197" y="165"/>
                      <a:pt x="197" y="165"/>
                      <a:pt x="197" y="165"/>
                    </a:cubicBezTo>
                    <a:cubicBezTo>
                      <a:pt x="202" y="164"/>
                      <a:pt x="202" y="164"/>
                      <a:pt x="202" y="164"/>
                    </a:cubicBezTo>
                    <a:cubicBezTo>
                      <a:pt x="212" y="167"/>
                      <a:pt x="212" y="167"/>
                      <a:pt x="212" y="167"/>
                    </a:cubicBezTo>
                    <a:cubicBezTo>
                      <a:pt x="214" y="170"/>
                      <a:pt x="214" y="170"/>
                      <a:pt x="214" y="170"/>
                    </a:cubicBezTo>
                    <a:cubicBezTo>
                      <a:pt x="225" y="168"/>
                      <a:pt x="225" y="168"/>
                      <a:pt x="225" y="168"/>
                    </a:cubicBezTo>
                    <a:cubicBezTo>
                      <a:pt x="232" y="171"/>
                      <a:pt x="232" y="171"/>
                      <a:pt x="232" y="171"/>
                    </a:cubicBezTo>
                    <a:cubicBezTo>
                      <a:pt x="238" y="164"/>
                      <a:pt x="238" y="164"/>
                      <a:pt x="238" y="164"/>
                    </a:cubicBezTo>
                    <a:cubicBezTo>
                      <a:pt x="238" y="164"/>
                      <a:pt x="241" y="164"/>
                      <a:pt x="243" y="163"/>
                    </a:cubicBezTo>
                    <a:cubicBezTo>
                      <a:pt x="245" y="162"/>
                      <a:pt x="244" y="156"/>
                      <a:pt x="247" y="156"/>
                    </a:cubicBezTo>
                    <a:cubicBezTo>
                      <a:pt x="251" y="155"/>
                      <a:pt x="256" y="153"/>
                      <a:pt x="256" y="153"/>
                    </a:cubicBezTo>
                    <a:cubicBezTo>
                      <a:pt x="262" y="154"/>
                      <a:pt x="262" y="154"/>
                      <a:pt x="262" y="154"/>
                    </a:cubicBezTo>
                    <a:cubicBezTo>
                      <a:pt x="262" y="154"/>
                      <a:pt x="267" y="151"/>
                      <a:pt x="270" y="152"/>
                    </a:cubicBezTo>
                    <a:cubicBezTo>
                      <a:pt x="273" y="152"/>
                      <a:pt x="275" y="154"/>
                      <a:pt x="275" y="154"/>
                    </a:cubicBezTo>
                    <a:cubicBezTo>
                      <a:pt x="279" y="149"/>
                      <a:pt x="279" y="149"/>
                      <a:pt x="279" y="149"/>
                    </a:cubicBezTo>
                    <a:cubicBezTo>
                      <a:pt x="279" y="149"/>
                      <a:pt x="279" y="147"/>
                      <a:pt x="287" y="147"/>
                    </a:cubicBezTo>
                    <a:cubicBezTo>
                      <a:pt x="293" y="146"/>
                      <a:pt x="295" y="149"/>
                      <a:pt x="295" y="149"/>
                    </a:cubicBezTo>
                    <a:cubicBezTo>
                      <a:pt x="298" y="147"/>
                      <a:pt x="298" y="147"/>
                      <a:pt x="298" y="147"/>
                    </a:cubicBezTo>
                    <a:cubicBezTo>
                      <a:pt x="298" y="147"/>
                      <a:pt x="294" y="144"/>
                      <a:pt x="296" y="140"/>
                    </a:cubicBezTo>
                    <a:cubicBezTo>
                      <a:pt x="298" y="136"/>
                      <a:pt x="300" y="137"/>
                      <a:pt x="300" y="137"/>
                    </a:cubicBezTo>
                    <a:cubicBezTo>
                      <a:pt x="309" y="128"/>
                      <a:pt x="309" y="128"/>
                      <a:pt x="309" y="128"/>
                    </a:cubicBezTo>
                    <a:cubicBezTo>
                      <a:pt x="319" y="127"/>
                      <a:pt x="319" y="127"/>
                      <a:pt x="319" y="127"/>
                    </a:cubicBezTo>
                    <a:cubicBezTo>
                      <a:pt x="320" y="118"/>
                      <a:pt x="320" y="118"/>
                      <a:pt x="320" y="118"/>
                    </a:cubicBezTo>
                    <a:cubicBezTo>
                      <a:pt x="320" y="118"/>
                      <a:pt x="315" y="117"/>
                      <a:pt x="315" y="115"/>
                    </a:cubicBezTo>
                    <a:cubicBezTo>
                      <a:pt x="314" y="112"/>
                      <a:pt x="317" y="110"/>
                      <a:pt x="317" y="109"/>
                    </a:cubicBezTo>
                    <a:cubicBezTo>
                      <a:pt x="317" y="107"/>
                      <a:pt x="313" y="107"/>
                      <a:pt x="313" y="104"/>
                    </a:cubicBezTo>
                    <a:cubicBezTo>
                      <a:pt x="314" y="101"/>
                      <a:pt x="328" y="98"/>
                      <a:pt x="326" y="92"/>
                    </a:cubicBezTo>
                    <a:cubicBezTo>
                      <a:pt x="324" y="85"/>
                      <a:pt x="322" y="85"/>
                      <a:pt x="322" y="85"/>
                    </a:cubicBezTo>
                    <a:cubicBezTo>
                      <a:pt x="317" y="86"/>
                      <a:pt x="317" y="86"/>
                      <a:pt x="317" y="86"/>
                    </a:cubicBezTo>
                    <a:cubicBezTo>
                      <a:pt x="317" y="86"/>
                      <a:pt x="312" y="88"/>
                      <a:pt x="314" y="83"/>
                    </a:cubicBezTo>
                    <a:cubicBezTo>
                      <a:pt x="315" y="79"/>
                      <a:pt x="320" y="78"/>
                      <a:pt x="322" y="77"/>
                    </a:cubicBezTo>
                    <a:cubicBezTo>
                      <a:pt x="324" y="77"/>
                      <a:pt x="328" y="82"/>
                      <a:pt x="328" y="82"/>
                    </a:cubicBezTo>
                    <a:cubicBezTo>
                      <a:pt x="341" y="78"/>
                      <a:pt x="341" y="78"/>
                      <a:pt x="341" y="78"/>
                    </a:cubicBezTo>
                    <a:cubicBezTo>
                      <a:pt x="341" y="70"/>
                      <a:pt x="341" y="70"/>
                      <a:pt x="341" y="70"/>
                    </a:cubicBezTo>
                    <a:cubicBezTo>
                      <a:pt x="339" y="69"/>
                      <a:pt x="339" y="69"/>
                      <a:pt x="339" y="69"/>
                    </a:cubicBezTo>
                    <a:cubicBezTo>
                      <a:pt x="342" y="67"/>
                      <a:pt x="342" y="67"/>
                      <a:pt x="342" y="67"/>
                    </a:cubicBezTo>
                    <a:cubicBezTo>
                      <a:pt x="342" y="67"/>
                      <a:pt x="343" y="60"/>
                      <a:pt x="342" y="57"/>
                    </a:cubicBezTo>
                    <a:close/>
                  </a:path>
                </a:pathLst>
              </a:custGeom>
              <a:solidFill>
                <a:srgbClr val="B6DCDF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251" name="Albania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802313" y="5097463"/>
                <a:ext cx="214312" cy="407987"/>
              </a:xfrm>
              <a:custGeom>
                <a:avLst/>
                <a:gdLst/>
                <a:ahLst/>
                <a:cxnLst>
                  <a:cxn ang="0">
                    <a:pos x="95" y="110"/>
                  </a:cxn>
                  <a:cxn ang="0">
                    <a:pos x="89" y="106"/>
                  </a:cxn>
                  <a:cxn ang="0">
                    <a:pos x="78" y="98"/>
                  </a:cxn>
                  <a:cxn ang="0">
                    <a:pos x="66" y="83"/>
                  </a:cxn>
                  <a:cxn ang="0">
                    <a:pos x="63" y="69"/>
                  </a:cxn>
                  <a:cxn ang="0">
                    <a:pos x="66" y="53"/>
                  </a:cxn>
                  <a:cxn ang="0">
                    <a:pos x="61" y="24"/>
                  </a:cxn>
                  <a:cxn ang="0">
                    <a:pos x="43" y="9"/>
                  </a:cxn>
                  <a:cxn ang="0">
                    <a:pos x="28" y="12"/>
                  </a:cxn>
                  <a:cxn ang="0">
                    <a:pos x="21" y="1"/>
                  </a:cxn>
                  <a:cxn ang="0">
                    <a:pos x="0" y="35"/>
                  </a:cxn>
                  <a:cxn ang="0">
                    <a:pos x="5" y="46"/>
                  </a:cxn>
                  <a:cxn ang="0">
                    <a:pos x="14" y="55"/>
                  </a:cxn>
                  <a:cxn ang="0">
                    <a:pos x="21" y="69"/>
                  </a:cxn>
                  <a:cxn ang="0">
                    <a:pos x="13" y="71"/>
                  </a:cxn>
                  <a:cxn ang="0">
                    <a:pos x="11" y="85"/>
                  </a:cxn>
                  <a:cxn ang="0">
                    <a:pos x="18" y="92"/>
                  </a:cxn>
                  <a:cxn ang="0">
                    <a:pos x="16" y="108"/>
                  </a:cxn>
                  <a:cxn ang="0">
                    <a:pos x="14" y="113"/>
                  </a:cxn>
                  <a:cxn ang="0">
                    <a:pos x="15" y="119"/>
                  </a:cxn>
                  <a:cxn ang="0">
                    <a:pos x="12" y="130"/>
                  </a:cxn>
                  <a:cxn ang="0">
                    <a:pos x="19" y="138"/>
                  </a:cxn>
                  <a:cxn ang="0">
                    <a:pos x="16" y="141"/>
                  </a:cxn>
                  <a:cxn ang="0">
                    <a:pos x="19" y="153"/>
                  </a:cxn>
                  <a:cxn ang="0">
                    <a:pos x="16" y="146"/>
                  </a:cxn>
                  <a:cxn ang="0">
                    <a:pos x="12" y="147"/>
                  </a:cxn>
                  <a:cxn ang="0">
                    <a:pos x="33" y="164"/>
                  </a:cxn>
                  <a:cxn ang="0">
                    <a:pos x="41" y="169"/>
                  </a:cxn>
                  <a:cxn ang="0">
                    <a:pos x="47" y="179"/>
                  </a:cxn>
                  <a:cxn ang="0">
                    <a:pos x="52" y="190"/>
                  </a:cxn>
                  <a:cxn ang="0">
                    <a:pos x="67" y="187"/>
                  </a:cxn>
                  <a:cxn ang="0">
                    <a:pos x="72" y="181"/>
                  </a:cxn>
                  <a:cxn ang="0">
                    <a:pos x="66" y="171"/>
                  </a:cxn>
                  <a:cxn ang="0">
                    <a:pos x="73" y="163"/>
                  </a:cxn>
                  <a:cxn ang="0">
                    <a:pos x="85" y="149"/>
                  </a:cxn>
                  <a:cxn ang="0">
                    <a:pos x="90" y="135"/>
                  </a:cxn>
                  <a:cxn ang="0">
                    <a:pos x="100" y="125"/>
                  </a:cxn>
                </a:cxnLst>
                <a:rect l="0" t="0" r="r" b="b"/>
                <a:pathLst>
                  <a:path w="100" h="192">
                    <a:moveTo>
                      <a:pt x="95" y="117"/>
                    </a:moveTo>
                    <a:cubicBezTo>
                      <a:pt x="95" y="110"/>
                      <a:pt x="95" y="110"/>
                      <a:pt x="95" y="110"/>
                    </a:cubicBezTo>
                    <a:cubicBezTo>
                      <a:pt x="94" y="107"/>
                      <a:pt x="94" y="107"/>
                      <a:pt x="94" y="107"/>
                    </a:cubicBezTo>
                    <a:cubicBezTo>
                      <a:pt x="89" y="106"/>
                      <a:pt x="89" y="106"/>
                      <a:pt x="89" y="106"/>
                    </a:cubicBezTo>
                    <a:cubicBezTo>
                      <a:pt x="82" y="110"/>
                      <a:pt x="82" y="110"/>
                      <a:pt x="82" y="110"/>
                    </a:cubicBezTo>
                    <a:cubicBezTo>
                      <a:pt x="78" y="98"/>
                      <a:pt x="78" y="98"/>
                      <a:pt x="78" y="98"/>
                    </a:cubicBezTo>
                    <a:cubicBezTo>
                      <a:pt x="73" y="97"/>
                      <a:pt x="73" y="97"/>
                      <a:pt x="73" y="97"/>
                    </a:cubicBezTo>
                    <a:cubicBezTo>
                      <a:pt x="66" y="83"/>
                      <a:pt x="66" y="83"/>
                      <a:pt x="66" y="83"/>
                    </a:cubicBezTo>
                    <a:cubicBezTo>
                      <a:pt x="70" y="78"/>
                      <a:pt x="70" y="78"/>
                      <a:pt x="70" y="78"/>
                    </a:cubicBezTo>
                    <a:cubicBezTo>
                      <a:pt x="63" y="69"/>
                      <a:pt x="63" y="69"/>
                      <a:pt x="63" y="69"/>
                    </a:cubicBezTo>
                    <a:cubicBezTo>
                      <a:pt x="68" y="65"/>
                      <a:pt x="68" y="65"/>
                      <a:pt x="68" y="65"/>
                    </a:cubicBezTo>
                    <a:cubicBezTo>
                      <a:pt x="66" y="53"/>
                      <a:pt x="66" y="53"/>
                      <a:pt x="66" y="53"/>
                    </a:cubicBezTo>
                    <a:cubicBezTo>
                      <a:pt x="68" y="39"/>
                      <a:pt x="68" y="39"/>
                      <a:pt x="68" y="39"/>
                    </a:cubicBezTo>
                    <a:cubicBezTo>
                      <a:pt x="68" y="39"/>
                      <a:pt x="65" y="29"/>
                      <a:pt x="61" y="24"/>
                    </a:cubicBezTo>
                    <a:cubicBezTo>
                      <a:pt x="57" y="20"/>
                      <a:pt x="46" y="19"/>
                      <a:pt x="46" y="19"/>
                    </a:cubicBezTo>
                    <a:cubicBezTo>
                      <a:pt x="46" y="19"/>
                      <a:pt x="45" y="12"/>
                      <a:pt x="43" y="9"/>
                    </a:cubicBezTo>
                    <a:cubicBezTo>
                      <a:pt x="41" y="7"/>
                      <a:pt x="38" y="5"/>
                      <a:pt x="38" y="5"/>
                    </a:cubicBezTo>
                    <a:cubicBezTo>
                      <a:pt x="28" y="12"/>
                      <a:pt x="28" y="12"/>
                      <a:pt x="28" y="12"/>
                    </a:cubicBezTo>
                    <a:cubicBezTo>
                      <a:pt x="21" y="8"/>
                      <a:pt x="21" y="8"/>
                      <a:pt x="21" y="8"/>
                    </a:cubicBezTo>
                    <a:cubicBezTo>
                      <a:pt x="21" y="1"/>
                      <a:pt x="21" y="1"/>
                      <a:pt x="21" y="1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3" y="36"/>
                      <a:pt x="3" y="36"/>
                      <a:pt x="3" y="36"/>
                    </a:cubicBezTo>
                    <a:cubicBezTo>
                      <a:pt x="5" y="46"/>
                      <a:pt x="5" y="46"/>
                      <a:pt x="5" y="46"/>
                    </a:cubicBezTo>
                    <a:cubicBezTo>
                      <a:pt x="6" y="54"/>
                      <a:pt x="6" y="54"/>
                      <a:pt x="6" y="54"/>
                    </a:cubicBezTo>
                    <a:cubicBezTo>
                      <a:pt x="6" y="54"/>
                      <a:pt x="9" y="54"/>
                      <a:pt x="14" y="55"/>
                    </a:cubicBezTo>
                    <a:cubicBezTo>
                      <a:pt x="19" y="56"/>
                      <a:pt x="17" y="60"/>
                      <a:pt x="17" y="60"/>
                    </a:cubicBezTo>
                    <a:cubicBezTo>
                      <a:pt x="21" y="69"/>
                      <a:pt x="21" y="69"/>
                      <a:pt x="21" y="69"/>
                    </a:cubicBezTo>
                    <a:cubicBezTo>
                      <a:pt x="18" y="71"/>
                      <a:pt x="18" y="71"/>
                      <a:pt x="18" y="71"/>
                    </a:cubicBezTo>
                    <a:cubicBezTo>
                      <a:pt x="13" y="71"/>
                      <a:pt x="13" y="71"/>
                      <a:pt x="13" y="71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6" y="80"/>
                      <a:pt x="11" y="80"/>
                      <a:pt x="11" y="85"/>
                    </a:cubicBezTo>
                    <a:cubicBezTo>
                      <a:pt x="12" y="91"/>
                      <a:pt x="13" y="91"/>
                      <a:pt x="13" y="91"/>
                    </a:cubicBezTo>
                    <a:cubicBezTo>
                      <a:pt x="13" y="91"/>
                      <a:pt x="18" y="90"/>
                      <a:pt x="18" y="92"/>
                    </a:cubicBezTo>
                    <a:cubicBezTo>
                      <a:pt x="18" y="94"/>
                      <a:pt x="14" y="100"/>
                      <a:pt x="14" y="100"/>
                    </a:cubicBezTo>
                    <a:cubicBezTo>
                      <a:pt x="16" y="108"/>
                      <a:pt x="16" y="108"/>
                      <a:pt x="16" y="108"/>
                    </a:cubicBezTo>
                    <a:cubicBezTo>
                      <a:pt x="16" y="108"/>
                      <a:pt x="23" y="111"/>
                      <a:pt x="21" y="113"/>
                    </a:cubicBezTo>
                    <a:cubicBezTo>
                      <a:pt x="18" y="115"/>
                      <a:pt x="14" y="113"/>
                      <a:pt x="14" y="113"/>
                    </a:cubicBezTo>
                    <a:cubicBezTo>
                      <a:pt x="12" y="116"/>
                      <a:pt x="12" y="116"/>
                      <a:pt x="12" y="116"/>
                    </a:cubicBezTo>
                    <a:cubicBezTo>
                      <a:pt x="15" y="119"/>
                      <a:pt x="15" y="119"/>
                      <a:pt x="15" y="119"/>
                    </a:cubicBezTo>
                    <a:cubicBezTo>
                      <a:pt x="14" y="127"/>
                      <a:pt x="14" y="127"/>
                      <a:pt x="14" y="127"/>
                    </a:cubicBezTo>
                    <a:cubicBezTo>
                      <a:pt x="12" y="130"/>
                      <a:pt x="12" y="130"/>
                      <a:pt x="12" y="130"/>
                    </a:cubicBezTo>
                    <a:cubicBezTo>
                      <a:pt x="14" y="137"/>
                      <a:pt x="14" y="137"/>
                      <a:pt x="14" y="137"/>
                    </a:cubicBezTo>
                    <a:cubicBezTo>
                      <a:pt x="14" y="137"/>
                      <a:pt x="19" y="134"/>
                      <a:pt x="19" y="138"/>
                    </a:cubicBezTo>
                    <a:cubicBezTo>
                      <a:pt x="19" y="140"/>
                      <a:pt x="16" y="140"/>
                      <a:pt x="16" y="140"/>
                    </a:cubicBezTo>
                    <a:cubicBezTo>
                      <a:pt x="16" y="141"/>
                      <a:pt x="16" y="141"/>
                      <a:pt x="16" y="141"/>
                    </a:cubicBezTo>
                    <a:cubicBezTo>
                      <a:pt x="16" y="141"/>
                      <a:pt x="23" y="142"/>
                      <a:pt x="22" y="147"/>
                    </a:cubicBezTo>
                    <a:cubicBezTo>
                      <a:pt x="21" y="154"/>
                      <a:pt x="19" y="153"/>
                      <a:pt x="19" y="153"/>
                    </a:cubicBezTo>
                    <a:cubicBezTo>
                      <a:pt x="19" y="153"/>
                      <a:pt x="17" y="152"/>
                      <a:pt x="17" y="150"/>
                    </a:cubicBezTo>
                    <a:cubicBezTo>
                      <a:pt x="16" y="148"/>
                      <a:pt x="16" y="146"/>
                      <a:pt x="16" y="146"/>
                    </a:cubicBezTo>
                    <a:cubicBezTo>
                      <a:pt x="12" y="145"/>
                      <a:pt x="12" y="145"/>
                      <a:pt x="12" y="145"/>
                    </a:cubicBezTo>
                    <a:cubicBezTo>
                      <a:pt x="12" y="147"/>
                      <a:pt x="12" y="147"/>
                      <a:pt x="12" y="147"/>
                    </a:cubicBezTo>
                    <a:cubicBezTo>
                      <a:pt x="12" y="147"/>
                      <a:pt x="16" y="156"/>
                      <a:pt x="21" y="159"/>
                    </a:cubicBezTo>
                    <a:cubicBezTo>
                      <a:pt x="25" y="162"/>
                      <a:pt x="30" y="164"/>
                      <a:pt x="33" y="164"/>
                    </a:cubicBezTo>
                    <a:cubicBezTo>
                      <a:pt x="38" y="164"/>
                      <a:pt x="38" y="164"/>
                      <a:pt x="38" y="164"/>
                    </a:cubicBezTo>
                    <a:cubicBezTo>
                      <a:pt x="41" y="169"/>
                      <a:pt x="41" y="169"/>
                      <a:pt x="41" y="169"/>
                    </a:cubicBezTo>
                    <a:cubicBezTo>
                      <a:pt x="46" y="169"/>
                      <a:pt x="46" y="169"/>
                      <a:pt x="46" y="169"/>
                    </a:cubicBezTo>
                    <a:cubicBezTo>
                      <a:pt x="47" y="179"/>
                      <a:pt x="47" y="179"/>
                      <a:pt x="47" y="179"/>
                    </a:cubicBezTo>
                    <a:cubicBezTo>
                      <a:pt x="52" y="180"/>
                      <a:pt x="52" y="180"/>
                      <a:pt x="52" y="180"/>
                    </a:cubicBezTo>
                    <a:cubicBezTo>
                      <a:pt x="52" y="190"/>
                      <a:pt x="52" y="190"/>
                      <a:pt x="52" y="190"/>
                    </a:cubicBezTo>
                    <a:cubicBezTo>
                      <a:pt x="52" y="190"/>
                      <a:pt x="59" y="192"/>
                      <a:pt x="60" y="192"/>
                    </a:cubicBezTo>
                    <a:cubicBezTo>
                      <a:pt x="62" y="192"/>
                      <a:pt x="67" y="187"/>
                      <a:pt x="67" y="187"/>
                    </a:cubicBezTo>
                    <a:cubicBezTo>
                      <a:pt x="67" y="187"/>
                      <a:pt x="66" y="184"/>
                      <a:pt x="67" y="181"/>
                    </a:cubicBezTo>
                    <a:cubicBezTo>
                      <a:pt x="67" y="180"/>
                      <a:pt x="72" y="181"/>
                      <a:pt x="72" y="181"/>
                    </a:cubicBezTo>
                    <a:cubicBezTo>
                      <a:pt x="71" y="177"/>
                      <a:pt x="71" y="177"/>
                      <a:pt x="71" y="177"/>
                    </a:cubicBezTo>
                    <a:cubicBezTo>
                      <a:pt x="71" y="177"/>
                      <a:pt x="65" y="174"/>
                      <a:pt x="66" y="171"/>
                    </a:cubicBezTo>
                    <a:cubicBezTo>
                      <a:pt x="67" y="166"/>
                      <a:pt x="71" y="168"/>
                      <a:pt x="71" y="168"/>
                    </a:cubicBezTo>
                    <a:cubicBezTo>
                      <a:pt x="71" y="168"/>
                      <a:pt x="70" y="164"/>
                      <a:pt x="73" y="163"/>
                    </a:cubicBezTo>
                    <a:cubicBezTo>
                      <a:pt x="76" y="162"/>
                      <a:pt x="78" y="165"/>
                      <a:pt x="83" y="161"/>
                    </a:cubicBezTo>
                    <a:cubicBezTo>
                      <a:pt x="88" y="156"/>
                      <a:pt x="85" y="149"/>
                      <a:pt x="85" y="149"/>
                    </a:cubicBezTo>
                    <a:cubicBezTo>
                      <a:pt x="89" y="144"/>
                      <a:pt x="89" y="144"/>
                      <a:pt x="89" y="144"/>
                    </a:cubicBezTo>
                    <a:cubicBezTo>
                      <a:pt x="89" y="144"/>
                      <a:pt x="87" y="138"/>
                      <a:pt x="90" y="135"/>
                    </a:cubicBezTo>
                    <a:cubicBezTo>
                      <a:pt x="92" y="134"/>
                      <a:pt x="95" y="134"/>
                      <a:pt x="95" y="134"/>
                    </a:cubicBezTo>
                    <a:cubicBezTo>
                      <a:pt x="95" y="134"/>
                      <a:pt x="100" y="129"/>
                      <a:pt x="100" y="125"/>
                    </a:cubicBezTo>
                    <a:cubicBezTo>
                      <a:pt x="99" y="121"/>
                      <a:pt x="95" y="117"/>
                      <a:pt x="95" y="117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</p:grpSp>
        <p:sp>
          <p:nvSpPr>
            <p:cNvPr id="178" name="Rectangle 177"/>
            <p:cNvSpPr/>
            <p:nvPr/>
          </p:nvSpPr>
          <p:spPr bwMode="ltGray">
            <a:xfrm>
              <a:off x="5600192" y="5013176"/>
              <a:ext cx="360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SI</a:t>
              </a:r>
              <a:endParaRPr kumimoji="0" lang="en-GB" sz="9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179" name="Rectangle 178"/>
            <p:cNvSpPr/>
            <p:nvPr/>
          </p:nvSpPr>
          <p:spPr bwMode="ltGray">
            <a:xfrm>
              <a:off x="5974881" y="4236315"/>
              <a:ext cx="324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PL</a:t>
              </a:r>
            </a:p>
          </p:txBody>
        </p:sp>
        <p:sp>
          <p:nvSpPr>
            <p:cNvPr id="180" name="Rectangle 179"/>
            <p:cNvSpPr/>
            <p:nvPr/>
          </p:nvSpPr>
          <p:spPr bwMode="ltGray">
            <a:xfrm>
              <a:off x="4922392" y="4250846"/>
              <a:ext cx="324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b="0" kern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NL</a:t>
              </a:r>
              <a:endParaRPr kumimoji="0" lang="en-GB" sz="8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181" name="Rectangle 180"/>
            <p:cNvSpPr/>
            <p:nvPr/>
          </p:nvSpPr>
          <p:spPr bwMode="ltGray">
            <a:xfrm>
              <a:off x="3927944" y="5628265"/>
              <a:ext cx="324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ES</a:t>
              </a:r>
            </a:p>
          </p:txBody>
        </p:sp>
        <p:sp>
          <p:nvSpPr>
            <p:cNvPr id="182" name="Rectangle 181"/>
            <p:cNvSpPr/>
            <p:nvPr/>
          </p:nvSpPr>
          <p:spPr bwMode="ltGray">
            <a:xfrm>
              <a:off x="6401657" y="3609536"/>
              <a:ext cx="324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b="0" kern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LV</a:t>
              </a:r>
              <a:endParaRPr kumimoji="0" lang="en-GB" sz="8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183" name="Rectangle 182"/>
            <p:cNvSpPr/>
            <p:nvPr/>
          </p:nvSpPr>
          <p:spPr bwMode="ltGray">
            <a:xfrm>
              <a:off x="6587961" y="4945007"/>
              <a:ext cx="360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b="0" kern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RO</a:t>
              </a:r>
              <a:endParaRPr kumimoji="0" lang="en-GB" sz="8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184" name="Rectangle 183"/>
            <p:cNvSpPr/>
            <p:nvPr/>
          </p:nvSpPr>
          <p:spPr bwMode="ltGray">
            <a:xfrm>
              <a:off x="5325297" y="4290736"/>
              <a:ext cx="360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DE</a:t>
              </a:r>
            </a:p>
          </p:txBody>
        </p:sp>
        <p:sp>
          <p:nvSpPr>
            <p:cNvPr id="185" name="Rectangle 184"/>
            <p:cNvSpPr/>
            <p:nvPr/>
          </p:nvSpPr>
          <p:spPr bwMode="ltGray">
            <a:xfrm>
              <a:off x="5684457" y="4571149"/>
              <a:ext cx="375101" cy="12305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b="0" kern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CZ</a:t>
              </a:r>
              <a:endParaRPr lang="en-GB" sz="800" b="0" kern="0" noProof="0" dirty="0" smtClean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86" name="Rectangle 185"/>
            <p:cNvSpPr/>
            <p:nvPr/>
          </p:nvSpPr>
          <p:spPr bwMode="ltGray">
            <a:xfrm>
              <a:off x="3889836" y="4007818"/>
              <a:ext cx="324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b="0" kern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IE</a:t>
              </a:r>
              <a:endParaRPr kumimoji="0" lang="en-GB" sz="8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187" name="Rectangle 186"/>
            <p:cNvSpPr/>
            <p:nvPr/>
          </p:nvSpPr>
          <p:spPr bwMode="ltGray">
            <a:xfrm>
              <a:off x="6248168" y="2895133"/>
              <a:ext cx="288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b="0" kern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FI</a:t>
              </a:r>
              <a:endParaRPr kumimoji="0" lang="en-GB" sz="8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188" name="Rectangle 187"/>
            <p:cNvSpPr/>
            <p:nvPr/>
          </p:nvSpPr>
          <p:spPr bwMode="ltGray">
            <a:xfrm>
              <a:off x="6610082" y="5329302"/>
              <a:ext cx="360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b="0" kern="0" noProof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BG</a:t>
              </a:r>
              <a:endParaRPr kumimoji="0" lang="en-GB" sz="8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189" name="Rectangle 188"/>
            <p:cNvSpPr/>
            <p:nvPr/>
          </p:nvSpPr>
          <p:spPr bwMode="ltGray">
            <a:xfrm>
              <a:off x="5560902" y="3515576"/>
              <a:ext cx="324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b="0" kern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SE</a:t>
              </a:r>
              <a:endParaRPr kumimoji="0" lang="en-GB" sz="8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190" name="Rectangle 189"/>
            <p:cNvSpPr/>
            <p:nvPr/>
          </p:nvSpPr>
          <p:spPr bwMode="ltGray">
            <a:xfrm>
              <a:off x="6016312" y="4864423"/>
              <a:ext cx="396000" cy="144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HU</a:t>
              </a:r>
            </a:p>
          </p:txBody>
        </p:sp>
        <p:sp>
          <p:nvSpPr>
            <p:cNvPr id="191" name="Rectangle 190"/>
            <p:cNvSpPr/>
            <p:nvPr/>
          </p:nvSpPr>
          <p:spPr bwMode="ltGray">
            <a:xfrm>
              <a:off x="5439284" y="5382170"/>
              <a:ext cx="324000" cy="144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b="0" kern="0" noProof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IT</a:t>
              </a:r>
              <a:endParaRPr kumimoji="0" lang="en-GB" sz="8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192" name="Rectangle 191"/>
            <p:cNvSpPr/>
            <p:nvPr/>
          </p:nvSpPr>
          <p:spPr bwMode="ltGray">
            <a:xfrm>
              <a:off x="4319415" y="4192731"/>
              <a:ext cx="360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UK</a:t>
              </a:r>
            </a:p>
          </p:txBody>
        </p:sp>
        <p:sp>
          <p:nvSpPr>
            <p:cNvPr id="193" name="Rectangle 192"/>
            <p:cNvSpPr/>
            <p:nvPr/>
          </p:nvSpPr>
          <p:spPr bwMode="ltGray">
            <a:xfrm>
              <a:off x="4794432" y="4437112"/>
              <a:ext cx="360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BE</a:t>
              </a:r>
            </a:p>
          </p:txBody>
        </p:sp>
        <p:sp>
          <p:nvSpPr>
            <p:cNvPr id="194" name="Rectangle 193"/>
            <p:cNvSpPr/>
            <p:nvPr/>
          </p:nvSpPr>
          <p:spPr bwMode="ltGray">
            <a:xfrm>
              <a:off x="4579918" y="4909044"/>
              <a:ext cx="360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b="0" kern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FR*</a:t>
              </a:r>
              <a:endParaRPr kumimoji="0" lang="en-GB" sz="8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195" name="Rectangle 194"/>
            <p:cNvSpPr/>
            <p:nvPr/>
          </p:nvSpPr>
          <p:spPr bwMode="ltGray">
            <a:xfrm>
              <a:off x="3441765" y="5646546"/>
              <a:ext cx="324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PT</a:t>
              </a:r>
            </a:p>
          </p:txBody>
        </p:sp>
        <p:sp>
          <p:nvSpPr>
            <p:cNvPr id="196" name="Rectangle 195"/>
            <p:cNvSpPr/>
            <p:nvPr/>
          </p:nvSpPr>
          <p:spPr bwMode="ltGray">
            <a:xfrm>
              <a:off x="6037790" y="4654335"/>
              <a:ext cx="324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b="0" kern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SK</a:t>
              </a:r>
              <a:endParaRPr lang="en-GB" sz="800" b="0" kern="0" noProof="0" dirty="0" smtClean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97" name="Rectangle 196"/>
            <p:cNvSpPr/>
            <p:nvPr/>
          </p:nvSpPr>
          <p:spPr bwMode="ltGray">
            <a:xfrm>
              <a:off x="5263083" y="3800143"/>
              <a:ext cx="388007" cy="100656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DK</a:t>
              </a:r>
            </a:p>
          </p:txBody>
        </p:sp>
        <p:sp>
          <p:nvSpPr>
            <p:cNvPr id="198" name="Rectangle 197"/>
            <p:cNvSpPr/>
            <p:nvPr/>
          </p:nvSpPr>
          <p:spPr bwMode="ltGray">
            <a:xfrm>
              <a:off x="5699018" y="5161151"/>
              <a:ext cx="360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b="0" kern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HR</a:t>
              </a:r>
              <a:endParaRPr kumimoji="0" lang="en-GB" sz="9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199" name="Rectangle 198"/>
            <p:cNvSpPr/>
            <p:nvPr/>
          </p:nvSpPr>
          <p:spPr bwMode="ltGray">
            <a:xfrm>
              <a:off x="6328419" y="3382829"/>
              <a:ext cx="361864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b="0" kern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EE</a:t>
              </a:r>
              <a:endParaRPr kumimoji="0" lang="en-GB" sz="8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200" name="Rectangle 199"/>
            <p:cNvSpPr/>
            <p:nvPr/>
          </p:nvSpPr>
          <p:spPr bwMode="ltGray">
            <a:xfrm>
              <a:off x="6273597" y="3806868"/>
              <a:ext cx="360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b="0" kern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LT*</a:t>
              </a:r>
              <a:endParaRPr kumimoji="0" lang="en-GB" sz="8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201" name="Rectangle 200"/>
            <p:cNvSpPr/>
            <p:nvPr/>
          </p:nvSpPr>
          <p:spPr bwMode="ltGray">
            <a:xfrm>
              <a:off x="4898395" y="4628442"/>
              <a:ext cx="360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LU</a:t>
              </a:r>
            </a:p>
          </p:txBody>
        </p:sp>
        <p:sp>
          <p:nvSpPr>
            <p:cNvPr id="202" name="Rectangle 201"/>
            <p:cNvSpPr/>
            <p:nvPr/>
          </p:nvSpPr>
          <p:spPr bwMode="ltGray">
            <a:xfrm>
              <a:off x="7740392" y="6085123"/>
              <a:ext cx="360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b="0" kern="0" noProof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CY</a:t>
              </a:r>
              <a:endParaRPr kumimoji="0" lang="en-GB" sz="8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203" name="Rectangle 202"/>
            <p:cNvSpPr/>
            <p:nvPr/>
          </p:nvSpPr>
          <p:spPr bwMode="ltGray">
            <a:xfrm>
              <a:off x="5773683" y="6325945"/>
              <a:ext cx="324000" cy="144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b="0" kern="0" noProof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MT</a:t>
              </a:r>
              <a:endParaRPr kumimoji="0" lang="en-GB" sz="8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204" name="Rectangle 203"/>
            <p:cNvSpPr/>
            <p:nvPr/>
          </p:nvSpPr>
          <p:spPr bwMode="ltGray">
            <a:xfrm>
              <a:off x="6409400" y="5726500"/>
              <a:ext cx="324000" cy="144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b="0" kern="0" noProof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GR</a:t>
              </a:r>
              <a:endParaRPr kumimoji="0" lang="en-GB" sz="8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205" name="Rectangle 204"/>
            <p:cNvSpPr/>
            <p:nvPr/>
          </p:nvSpPr>
          <p:spPr bwMode="ltGray">
            <a:xfrm>
              <a:off x="3808480" y="2411556"/>
              <a:ext cx="324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kern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IS</a:t>
              </a:r>
              <a:endParaRPr kumimoji="0" lang="en-GB" sz="8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206" name="Rectangle 205"/>
            <p:cNvSpPr/>
            <p:nvPr/>
          </p:nvSpPr>
          <p:spPr bwMode="ltGray">
            <a:xfrm>
              <a:off x="7548944" y="5558393"/>
              <a:ext cx="360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kern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TR</a:t>
              </a:r>
              <a:endParaRPr kumimoji="0" lang="en-GB" sz="8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207" name="Rectangle 206"/>
            <p:cNvSpPr/>
            <p:nvPr/>
          </p:nvSpPr>
          <p:spPr bwMode="ltGray">
            <a:xfrm>
              <a:off x="5233713" y="3191448"/>
              <a:ext cx="324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kern="0" noProof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NO</a:t>
              </a:r>
              <a:endParaRPr kumimoji="0" lang="en-GB" sz="8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208" name="Rectangle 207"/>
            <p:cNvSpPr/>
            <p:nvPr/>
          </p:nvSpPr>
          <p:spPr bwMode="ltGray">
            <a:xfrm>
              <a:off x="5004048" y="4941168"/>
              <a:ext cx="360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CH</a:t>
              </a:r>
              <a:endParaRPr kumimoji="0" lang="en-GB" sz="9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209" name="Rectangle 208"/>
            <p:cNvSpPr/>
            <p:nvPr/>
          </p:nvSpPr>
          <p:spPr bwMode="ltGray">
            <a:xfrm>
              <a:off x="6344807" y="5492049"/>
              <a:ext cx="324000" cy="144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kern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MK</a:t>
              </a:r>
              <a:endParaRPr kumimoji="0" lang="en-GB" sz="8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210" name="Rectangle 209"/>
            <p:cNvSpPr/>
            <p:nvPr/>
          </p:nvSpPr>
          <p:spPr bwMode="ltGray">
            <a:xfrm>
              <a:off x="5256104" y="4881030"/>
              <a:ext cx="252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LI</a:t>
              </a:r>
            </a:p>
          </p:txBody>
        </p:sp>
        <p:sp>
          <p:nvSpPr>
            <p:cNvPr id="211" name="Rectangle 210"/>
            <p:cNvSpPr/>
            <p:nvPr/>
          </p:nvSpPr>
          <p:spPr bwMode="ltGray">
            <a:xfrm>
              <a:off x="5615724" y="4793662"/>
              <a:ext cx="396000" cy="144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AT</a:t>
              </a:r>
            </a:p>
          </p:txBody>
        </p:sp>
      </p:grpSp>
      <p:grpSp>
        <p:nvGrpSpPr>
          <p:cNvPr id="255" name="Group 170"/>
          <p:cNvGrpSpPr/>
          <p:nvPr/>
        </p:nvGrpSpPr>
        <p:grpSpPr>
          <a:xfrm>
            <a:off x="734029" y="4105811"/>
            <a:ext cx="1646162" cy="261610"/>
            <a:chOff x="-7744852" y="5403801"/>
            <a:chExt cx="1496577" cy="261610"/>
          </a:xfrm>
        </p:grpSpPr>
        <p:sp>
          <p:nvSpPr>
            <p:cNvPr id="256" name="Rectangle 255"/>
            <p:cNvSpPr/>
            <p:nvPr/>
          </p:nvSpPr>
          <p:spPr>
            <a:xfrm>
              <a:off x="-7744852" y="5463264"/>
              <a:ext cx="241247" cy="13046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/>
            </a:p>
          </p:txBody>
        </p:sp>
        <p:sp>
          <p:nvSpPr>
            <p:cNvPr id="257" name="TextBox 174"/>
            <p:cNvSpPr txBox="1"/>
            <p:nvPr/>
          </p:nvSpPr>
          <p:spPr>
            <a:xfrm>
              <a:off x="-7498025" y="5403801"/>
              <a:ext cx="124975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100" dirty="0" smtClean="0">
                  <a:latin typeface="+mn-lt"/>
                </a:rPr>
                <a:t>No data available</a:t>
              </a:r>
              <a:endParaRPr lang="en-GB" sz="1100" dirty="0">
                <a:latin typeface="+mn-lt"/>
              </a:endParaRPr>
            </a:p>
          </p:txBody>
        </p:sp>
      </p:grpSp>
      <p:sp>
        <p:nvSpPr>
          <p:cNvPr id="262" name="Rectangle 261"/>
          <p:cNvSpPr/>
          <p:nvPr/>
        </p:nvSpPr>
        <p:spPr>
          <a:xfrm>
            <a:off x="731598" y="3899593"/>
            <a:ext cx="265360" cy="13046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/>
          </a:p>
        </p:txBody>
      </p:sp>
      <p:sp>
        <p:nvSpPr>
          <p:cNvPr id="263" name="TextBox 184"/>
          <p:cNvSpPr txBox="1"/>
          <p:nvPr/>
        </p:nvSpPr>
        <p:spPr>
          <a:xfrm>
            <a:off x="1013586" y="3830169"/>
            <a:ext cx="196476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+mn-lt"/>
              </a:rPr>
              <a:t>Only initiative(s) exist(s)</a:t>
            </a:r>
          </a:p>
        </p:txBody>
      </p:sp>
      <p:sp>
        <p:nvSpPr>
          <p:cNvPr id="267" name="Rectangle 266"/>
          <p:cNvSpPr/>
          <p:nvPr/>
        </p:nvSpPr>
        <p:spPr>
          <a:xfrm>
            <a:off x="744293" y="3386318"/>
            <a:ext cx="265360" cy="130461"/>
          </a:xfrm>
          <a:prstGeom prst="rect">
            <a:avLst/>
          </a:prstGeom>
          <a:solidFill>
            <a:srgbClr val="00B05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/>
          </a:p>
        </p:txBody>
      </p:sp>
      <p:sp>
        <p:nvSpPr>
          <p:cNvPr id="268" name="TextBox 182"/>
          <p:cNvSpPr txBox="1"/>
          <p:nvPr/>
        </p:nvSpPr>
        <p:spPr>
          <a:xfrm>
            <a:off x="1009653" y="3319980"/>
            <a:ext cx="213422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 dirty="0" smtClean="0">
                <a:latin typeface="+mn-lt"/>
              </a:rPr>
              <a:t>Both </a:t>
            </a:r>
            <a:r>
              <a:rPr lang="en-GB" sz="1100" dirty="0">
                <a:latin typeface="+mn-lt"/>
              </a:rPr>
              <a:t>a strategy &amp; initiative(s) exist</a:t>
            </a:r>
          </a:p>
        </p:txBody>
      </p:sp>
      <p:sp>
        <p:nvSpPr>
          <p:cNvPr id="269" name="Rectangle 268"/>
          <p:cNvSpPr/>
          <p:nvPr/>
        </p:nvSpPr>
        <p:spPr>
          <a:xfrm>
            <a:off x="731598" y="3633912"/>
            <a:ext cx="265360" cy="130461"/>
          </a:xfrm>
          <a:prstGeom prst="rect">
            <a:avLst/>
          </a:prstGeom>
          <a:solidFill>
            <a:srgbClr val="FDC79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/>
          </a:p>
        </p:txBody>
      </p:sp>
      <p:sp>
        <p:nvSpPr>
          <p:cNvPr id="270" name="TextBox 180"/>
          <p:cNvSpPr txBox="1"/>
          <p:nvPr/>
        </p:nvSpPr>
        <p:spPr>
          <a:xfrm>
            <a:off x="1026607" y="3560654"/>
            <a:ext cx="24296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 dirty="0">
                <a:latin typeface="+mn-lt"/>
              </a:rPr>
              <a:t>Only a strategy exists</a:t>
            </a:r>
          </a:p>
        </p:txBody>
      </p:sp>
      <p:sp>
        <p:nvSpPr>
          <p:cNvPr id="271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8200800" y="4747557"/>
            <a:ext cx="486000" cy="377429"/>
          </a:xfrm>
        </p:spPr>
        <p:txBody>
          <a:bodyPr/>
          <a:lstStyle/>
          <a:p>
            <a:pPr>
              <a:defRPr/>
            </a:pPr>
            <a:r>
              <a:rPr lang="en-GB" dirty="0" smtClean="0"/>
              <a:t>5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34116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15714" y="-13692"/>
            <a:ext cx="8229600" cy="857250"/>
          </a:xfrm>
        </p:spPr>
        <p:txBody>
          <a:bodyPr>
            <a:normAutofit/>
          </a:bodyPr>
          <a:lstStyle/>
          <a:p>
            <a:r>
              <a:rPr lang="en-US" sz="2400" dirty="0" smtClean="0"/>
              <a:t>Is there legislation that supports the implementation</a:t>
            </a:r>
            <a:br>
              <a:rPr lang="en-US" sz="2400" dirty="0" smtClean="0"/>
            </a:br>
            <a:r>
              <a:rPr lang="en-US" sz="2400" dirty="0" smtClean="0"/>
              <a:t>of the OOP in your country?</a:t>
            </a:r>
            <a:endParaRPr lang="en-US" sz="2400" dirty="0"/>
          </a:p>
        </p:txBody>
      </p:sp>
      <p:sp>
        <p:nvSpPr>
          <p:cNvPr id="89" name="Rectangle 88"/>
          <p:cNvSpPr/>
          <p:nvPr/>
        </p:nvSpPr>
        <p:spPr>
          <a:xfrm>
            <a:off x="323528" y="1203598"/>
            <a:ext cx="2952328" cy="114434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18000" tIns="18000" rIns="18000" bIns="18000">
            <a:spAutoFit/>
          </a:bodyPr>
          <a:lstStyle/>
          <a:p>
            <a:pPr marL="80963" lvl="2" indent="-4763">
              <a:lnSpc>
                <a:spcPct val="150000"/>
              </a:lnSpc>
              <a:spcBef>
                <a:spcPts val="500"/>
              </a:spcBef>
              <a:buClr>
                <a:srgbClr val="ED7404"/>
              </a:buClr>
            </a:pPr>
            <a:r>
              <a:rPr lang="en-GB" sz="1200" dirty="0">
                <a:latin typeface="+mn-lt"/>
                <a:cs typeface="Arial" panose="020B0604020202020204" pitchFamily="34" charset="0"/>
              </a:rPr>
              <a:t>Out of a total of </a:t>
            </a:r>
            <a:r>
              <a:rPr lang="en-GB" sz="1200" dirty="0" smtClean="0">
                <a:latin typeface="+mn-lt"/>
                <a:cs typeface="Arial" panose="020B0604020202020204" pitchFamily="34" charset="0"/>
              </a:rPr>
              <a:t>25 </a:t>
            </a:r>
            <a:r>
              <a:rPr lang="en-GB" sz="1200" dirty="0">
                <a:latin typeface="+mn-lt"/>
                <a:cs typeface="Arial" panose="020B0604020202020204" pitchFamily="34" charset="0"/>
              </a:rPr>
              <a:t>European countries, </a:t>
            </a:r>
            <a:r>
              <a:rPr lang="en-GB" sz="1200" dirty="0" smtClean="0">
                <a:latin typeface="+mn-lt"/>
                <a:cs typeface="Arial" panose="020B0604020202020204" pitchFamily="34" charset="0"/>
              </a:rPr>
              <a:t>      </a:t>
            </a:r>
            <a:r>
              <a:rPr lang="en-GB" sz="1200" b="1" dirty="0" smtClean="0">
                <a:latin typeface="+mn-lt"/>
                <a:cs typeface="Arial" panose="020B0604020202020204" pitchFamily="34" charset="0"/>
              </a:rPr>
              <a:t>13</a:t>
            </a:r>
            <a:r>
              <a:rPr lang="en-GB" sz="1200" dirty="0" smtClean="0">
                <a:latin typeface="+mn-lt"/>
                <a:cs typeface="Arial" panose="020B0604020202020204" pitchFamily="34" charset="0"/>
              </a:rPr>
              <a:t> have legislation </a:t>
            </a:r>
            <a:r>
              <a:rPr lang="en-GB" sz="1200" dirty="0" smtClean="0">
                <a:latin typeface="+mn-lt"/>
                <a:cs typeface="Arial" panose="020B0604020202020204" pitchFamily="34" charset="0"/>
              </a:rPr>
              <a:t>supporting </a:t>
            </a:r>
            <a:r>
              <a:rPr lang="en-GB" sz="1200" dirty="0">
                <a:latin typeface="+mn-lt"/>
                <a:cs typeface="Arial" panose="020B0604020202020204" pitchFamily="34" charset="0"/>
              </a:rPr>
              <a:t>the implementation of </a:t>
            </a:r>
            <a:r>
              <a:rPr lang="en-GB" sz="1200" dirty="0" smtClean="0">
                <a:latin typeface="+mn-lt"/>
                <a:cs typeface="Arial" panose="020B0604020202020204" pitchFamily="34" charset="0"/>
              </a:rPr>
              <a:t>the ‘Once-only’ </a:t>
            </a:r>
            <a:r>
              <a:rPr lang="en-GB" sz="1200" dirty="0" smtClean="0">
                <a:cs typeface="Arial" panose="020B0604020202020204" pitchFamily="34" charset="0"/>
              </a:rPr>
              <a:t>principle in place.</a:t>
            </a:r>
            <a:endParaRPr lang="en-GB" sz="1200" dirty="0" smtClean="0"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90" name="Group 106"/>
          <p:cNvGrpSpPr>
            <a:grpSpLocks noChangeAspect="1"/>
          </p:cNvGrpSpPr>
          <p:nvPr/>
        </p:nvGrpSpPr>
        <p:grpSpPr>
          <a:xfrm>
            <a:off x="3505402" y="594270"/>
            <a:ext cx="5596888" cy="4012262"/>
            <a:chOff x="3428590" y="1928130"/>
            <a:chExt cx="5466394" cy="4541815"/>
          </a:xfrm>
        </p:grpSpPr>
        <p:grpSp>
          <p:nvGrpSpPr>
            <p:cNvPr id="91" name="Country Europe (shapes)"/>
            <p:cNvGrpSpPr/>
            <p:nvPr/>
          </p:nvGrpSpPr>
          <p:grpSpPr>
            <a:xfrm>
              <a:off x="3428590" y="1928130"/>
              <a:ext cx="5466394" cy="4460169"/>
              <a:chOff x="2684463" y="1143000"/>
              <a:chExt cx="6015037" cy="4991100"/>
            </a:xfrm>
            <a:solidFill>
              <a:srgbClr val="B5B5B5">
                <a:lumMod val="40000"/>
                <a:lumOff val="60000"/>
              </a:srgb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26" name="Turkey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6521450" y="4591050"/>
                <a:ext cx="2178050" cy="1219200"/>
              </a:xfrm>
              <a:custGeom>
                <a:avLst/>
                <a:gdLst/>
                <a:ahLst/>
                <a:cxnLst>
                  <a:cxn ang="0">
                    <a:pos x="24" y="340"/>
                  </a:cxn>
                  <a:cxn ang="0">
                    <a:pos x="49" y="328"/>
                  </a:cxn>
                  <a:cxn ang="0">
                    <a:pos x="102" y="283"/>
                  </a:cxn>
                  <a:cxn ang="0">
                    <a:pos x="135" y="275"/>
                  </a:cxn>
                  <a:cxn ang="0">
                    <a:pos x="103" y="241"/>
                  </a:cxn>
                  <a:cxn ang="0">
                    <a:pos x="87" y="218"/>
                  </a:cxn>
                  <a:cxn ang="0">
                    <a:pos x="55" y="215"/>
                  </a:cxn>
                  <a:cxn ang="0">
                    <a:pos x="24" y="241"/>
                  </a:cxn>
                  <a:cxn ang="0">
                    <a:pos x="29" y="264"/>
                  </a:cxn>
                  <a:cxn ang="0">
                    <a:pos x="25" y="300"/>
                  </a:cxn>
                  <a:cxn ang="0">
                    <a:pos x="41" y="327"/>
                  </a:cxn>
                  <a:cxn ang="0">
                    <a:pos x="15" y="353"/>
                  </a:cxn>
                  <a:cxn ang="0">
                    <a:pos x="973" y="186"/>
                  </a:cxn>
                  <a:cxn ang="0">
                    <a:pos x="946" y="128"/>
                  </a:cxn>
                  <a:cxn ang="0">
                    <a:pos x="942" y="68"/>
                  </a:cxn>
                  <a:cxn ang="0">
                    <a:pos x="843" y="17"/>
                  </a:cxn>
                  <a:cxn ang="0">
                    <a:pos x="789" y="14"/>
                  </a:cxn>
                  <a:cxn ang="0">
                    <a:pos x="720" y="63"/>
                  </a:cxn>
                  <a:cxn ang="0">
                    <a:pos x="587" y="131"/>
                  </a:cxn>
                  <a:cxn ang="0">
                    <a:pos x="517" y="129"/>
                  </a:cxn>
                  <a:cxn ang="0">
                    <a:pos x="448" y="131"/>
                  </a:cxn>
                  <a:cxn ang="0">
                    <a:pos x="373" y="138"/>
                  </a:cxn>
                  <a:cxn ang="0">
                    <a:pos x="276" y="207"/>
                  </a:cxn>
                  <a:cxn ang="0">
                    <a:pos x="218" y="236"/>
                  </a:cxn>
                  <a:cxn ang="0">
                    <a:pos x="157" y="262"/>
                  </a:cxn>
                  <a:cxn ang="0">
                    <a:pos x="198" y="277"/>
                  </a:cxn>
                  <a:cxn ang="0">
                    <a:pos x="151" y="303"/>
                  </a:cxn>
                  <a:cxn ang="0">
                    <a:pos x="151" y="310"/>
                  </a:cxn>
                  <a:cxn ang="0">
                    <a:pos x="97" y="314"/>
                  </a:cxn>
                  <a:cxn ang="0">
                    <a:pos x="80" y="321"/>
                  </a:cxn>
                  <a:cxn ang="0">
                    <a:pos x="37" y="357"/>
                  </a:cxn>
                  <a:cxn ang="0">
                    <a:pos x="26" y="399"/>
                  </a:cxn>
                  <a:cxn ang="0">
                    <a:pos x="66" y="411"/>
                  </a:cxn>
                  <a:cxn ang="0">
                    <a:pos x="73" y="446"/>
                  </a:cxn>
                  <a:cxn ang="0">
                    <a:pos x="79" y="459"/>
                  </a:cxn>
                  <a:cxn ang="0">
                    <a:pos x="69" y="453"/>
                  </a:cxn>
                  <a:cxn ang="0">
                    <a:pos x="71" y="478"/>
                  </a:cxn>
                  <a:cxn ang="0">
                    <a:pos x="107" y="496"/>
                  </a:cxn>
                  <a:cxn ang="0">
                    <a:pos x="110" y="510"/>
                  </a:cxn>
                  <a:cxn ang="0">
                    <a:pos x="130" y="524"/>
                  </a:cxn>
                  <a:cxn ang="0">
                    <a:pos x="128" y="540"/>
                  </a:cxn>
                  <a:cxn ang="0">
                    <a:pos x="150" y="548"/>
                  </a:cxn>
                  <a:cxn ang="0">
                    <a:pos x="147" y="554"/>
                  </a:cxn>
                  <a:cxn ang="0">
                    <a:pos x="162" y="556"/>
                  </a:cxn>
                  <a:cxn ang="0">
                    <a:pos x="175" y="543"/>
                  </a:cxn>
                  <a:cxn ang="0">
                    <a:pos x="208" y="545"/>
                  </a:cxn>
                  <a:cxn ang="0">
                    <a:pos x="221" y="551"/>
                  </a:cxn>
                  <a:cxn ang="0">
                    <a:pos x="241" y="560"/>
                  </a:cxn>
                  <a:cxn ang="0">
                    <a:pos x="315" y="546"/>
                  </a:cxn>
                  <a:cxn ang="0">
                    <a:pos x="391" y="513"/>
                  </a:cxn>
                  <a:cxn ang="0">
                    <a:pos x="563" y="456"/>
                  </a:cxn>
                  <a:cxn ang="0">
                    <a:pos x="606" y="438"/>
                  </a:cxn>
                  <a:cxn ang="0">
                    <a:pos x="631" y="472"/>
                  </a:cxn>
                  <a:cxn ang="0">
                    <a:pos x="645" y="413"/>
                  </a:cxn>
                  <a:cxn ang="0">
                    <a:pos x="707" y="377"/>
                  </a:cxn>
                  <a:cxn ang="0">
                    <a:pos x="865" y="297"/>
                  </a:cxn>
                  <a:cxn ang="0">
                    <a:pos x="910" y="253"/>
                  </a:cxn>
                  <a:cxn ang="0">
                    <a:pos x="975" y="238"/>
                  </a:cxn>
                  <a:cxn ang="0">
                    <a:pos x="1020" y="222"/>
                  </a:cxn>
                </a:cxnLst>
                <a:rect l="0" t="0" r="r" b="b"/>
                <a:pathLst>
                  <a:path w="1022" h="573">
                    <a:moveTo>
                      <a:pt x="91" y="305"/>
                    </a:moveTo>
                    <a:cubicBezTo>
                      <a:pt x="82" y="306"/>
                      <a:pt x="85" y="312"/>
                      <a:pt x="91" y="310"/>
                    </a:cubicBezTo>
                    <a:cubicBezTo>
                      <a:pt x="100" y="308"/>
                      <a:pt x="101" y="304"/>
                      <a:pt x="91" y="305"/>
                    </a:cubicBezTo>
                    <a:close/>
                    <a:moveTo>
                      <a:pt x="41" y="327"/>
                    </a:moveTo>
                    <a:cubicBezTo>
                      <a:pt x="24" y="340"/>
                      <a:pt x="24" y="340"/>
                      <a:pt x="24" y="340"/>
                    </a:cubicBezTo>
                    <a:cubicBezTo>
                      <a:pt x="30" y="347"/>
                      <a:pt x="30" y="347"/>
                      <a:pt x="30" y="347"/>
                    </a:cubicBezTo>
                    <a:cubicBezTo>
                      <a:pt x="26" y="360"/>
                      <a:pt x="26" y="360"/>
                      <a:pt x="26" y="360"/>
                    </a:cubicBezTo>
                    <a:cubicBezTo>
                      <a:pt x="33" y="355"/>
                      <a:pt x="33" y="355"/>
                      <a:pt x="33" y="355"/>
                    </a:cubicBezTo>
                    <a:cubicBezTo>
                      <a:pt x="35" y="347"/>
                      <a:pt x="35" y="347"/>
                      <a:pt x="35" y="347"/>
                    </a:cubicBezTo>
                    <a:cubicBezTo>
                      <a:pt x="49" y="328"/>
                      <a:pt x="49" y="328"/>
                      <a:pt x="49" y="328"/>
                    </a:cubicBezTo>
                    <a:cubicBezTo>
                      <a:pt x="64" y="318"/>
                      <a:pt x="64" y="318"/>
                      <a:pt x="64" y="318"/>
                    </a:cubicBezTo>
                    <a:cubicBezTo>
                      <a:pt x="77" y="302"/>
                      <a:pt x="77" y="302"/>
                      <a:pt x="77" y="302"/>
                    </a:cubicBezTo>
                    <a:cubicBezTo>
                      <a:pt x="77" y="302"/>
                      <a:pt x="79" y="294"/>
                      <a:pt x="80" y="290"/>
                    </a:cubicBezTo>
                    <a:cubicBezTo>
                      <a:pt x="81" y="287"/>
                      <a:pt x="93" y="283"/>
                      <a:pt x="93" y="283"/>
                    </a:cubicBezTo>
                    <a:cubicBezTo>
                      <a:pt x="93" y="283"/>
                      <a:pt x="100" y="284"/>
                      <a:pt x="102" y="283"/>
                    </a:cubicBezTo>
                    <a:cubicBezTo>
                      <a:pt x="105" y="283"/>
                      <a:pt x="106" y="275"/>
                      <a:pt x="113" y="274"/>
                    </a:cubicBezTo>
                    <a:cubicBezTo>
                      <a:pt x="120" y="273"/>
                      <a:pt x="132" y="274"/>
                      <a:pt x="132" y="274"/>
                    </a:cubicBezTo>
                    <a:cubicBezTo>
                      <a:pt x="132" y="270"/>
                      <a:pt x="132" y="270"/>
                      <a:pt x="132" y="270"/>
                    </a:cubicBezTo>
                    <a:cubicBezTo>
                      <a:pt x="135" y="270"/>
                      <a:pt x="135" y="270"/>
                      <a:pt x="135" y="270"/>
                    </a:cubicBezTo>
                    <a:cubicBezTo>
                      <a:pt x="135" y="275"/>
                      <a:pt x="135" y="275"/>
                      <a:pt x="135" y="275"/>
                    </a:cubicBezTo>
                    <a:cubicBezTo>
                      <a:pt x="135" y="275"/>
                      <a:pt x="140" y="275"/>
                      <a:pt x="149" y="272"/>
                    </a:cubicBezTo>
                    <a:cubicBezTo>
                      <a:pt x="157" y="268"/>
                      <a:pt x="153" y="258"/>
                      <a:pt x="153" y="258"/>
                    </a:cubicBezTo>
                    <a:cubicBezTo>
                      <a:pt x="155" y="253"/>
                      <a:pt x="155" y="253"/>
                      <a:pt x="155" y="253"/>
                    </a:cubicBezTo>
                    <a:cubicBezTo>
                      <a:pt x="155" y="253"/>
                      <a:pt x="143" y="253"/>
                      <a:pt x="133" y="251"/>
                    </a:cubicBezTo>
                    <a:cubicBezTo>
                      <a:pt x="123" y="250"/>
                      <a:pt x="112" y="246"/>
                      <a:pt x="103" y="241"/>
                    </a:cubicBezTo>
                    <a:cubicBezTo>
                      <a:pt x="95" y="237"/>
                      <a:pt x="101" y="233"/>
                      <a:pt x="100" y="229"/>
                    </a:cubicBezTo>
                    <a:cubicBezTo>
                      <a:pt x="99" y="226"/>
                      <a:pt x="93" y="223"/>
                      <a:pt x="93" y="223"/>
                    </a:cubicBezTo>
                    <a:cubicBezTo>
                      <a:pt x="96" y="221"/>
                      <a:pt x="96" y="221"/>
                      <a:pt x="96" y="221"/>
                    </a:cubicBezTo>
                    <a:cubicBezTo>
                      <a:pt x="93" y="215"/>
                      <a:pt x="93" y="215"/>
                      <a:pt x="93" y="215"/>
                    </a:cubicBezTo>
                    <a:cubicBezTo>
                      <a:pt x="87" y="218"/>
                      <a:pt x="87" y="218"/>
                      <a:pt x="87" y="218"/>
                    </a:cubicBezTo>
                    <a:cubicBezTo>
                      <a:pt x="84" y="218"/>
                      <a:pt x="84" y="218"/>
                      <a:pt x="84" y="218"/>
                    </a:cubicBezTo>
                    <a:cubicBezTo>
                      <a:pt x="84" y="223"/>
                      <a:pt x="84" y="223"/>
                      <a:pt x="84" y="223"/>
                    </a:cubicBezTo>
                    <a:cubicBezTo>
                      <a:pt x="77" y="220"/>
                      <a:pt x="77" y="220"/>
                      <a:pt x="77" y="220"/>
                    </a:cubicBezTo>
                    <a:cubicBezTo>
                      <a:pt x="77" y="220"/>
                      <a:pt x="72" y="224"/>
                      <a:pt x="67" y="224"/>
                    </a:cubicBezTo>
                    <a:cubicBezTo>
                      <a:pt x="63" y="223"/>
                      <a:pt x="58" y="217"/>
                      <a:pt x="55" y="215"/>
                    </a:cubicBezTo>
                    <a:cubicBezTo>
                      <a:pt x="51" y="215"/>
                      <a:pt x="49" y="221"/>
                      <a:pt x="49" y="221"/>
                    </a:cubicBezTo>
                    <a:cubicBezTo>
                      <a:pt x="49" y="221"/>
                      <a:pt x="48" y="218"/>
                      <a:pt x="46" y="219"/>
                    </a:cubicBezTo>
                    <a:cubicBezTo>
                      <a:pt x="44" y="221"/>
                      <a:pt x="44" y="224"/>
                      <a:pt x="38" y="228"/>
                    </a:cubicBezTo>
                    <a:cubicBezTo>
                      <a:pt x="34" y="233"/>
                      <a:pt x="28" y="229"/>
                      <a:pt x="23" y="230"/>
                    </a:cubicBezTo>
                    <a:cubicBezTo>
                      <a:pt x="20" y="233"/>
                      <a:pt x="25" y="237"/>
                      <a:pt x="24" y="241"/>
                    </a:cubicBezTo>
                    <a:cubicBezTo>
                      <a:pt x="22" y="244"/>
                      <a:pt x="17" y="241"/>
                      <a:pt x="15" y="243"/>
                    </a:cubicBezTo>
                    <a:cubicBezTo>
                      <a:pt x="12" y="245"/>
                      <a:pt x="14" y="250"/>
                      <a:pt x="14" y="250"/>
                    </a:cubicBezTo>
                    <a:cubicBezTo>
                      <a:pt x="21" y="252"/>
                      <a:pt x="21" y="252"/>
                      <a:pt x="21" y="252"/>
                    </a:cubicBezTo>
                    <a:cubicBezTo>
                      <a:pt x="28" y="255"/>
                      <a:pt x="28" y="255"/>
                      <a:pt x="28" y="255"/>
                    </a:cubicBezTo>
                    <a:cubicBezTo>
                      <a:pt x="28" y="255"/>
                      <a:pt x="28" y="261"/>
                      <a:pt x="29" y="264"/>
                    </a:cubicBezTo>
                    <a:cubicBezTo>
                      <a:pt x="30" y="266"/>
                      <a:pt x="36" y="271"/>
                      <a:pt x="34" y="273"/>
                    </a:cubicBezTo>
                    <a:cubicBezTo>
                      <a:pt x="32" y="275"/>
                      <a:pt x="26" y="274"/>
                      <a:pt x="26" y="274"/>
                    </a:cubicBezTo>
                    <a:cubicBezTo>
                      <a:pt x="19" y="281"/>
                      <a:pt x="19" y="281"/>
                      <a:pt x="19" y="281"/>
                    </a:cubicBezTo>
                    <a:cubicBezTo>
                      <a:pt x="20" y="290"/>
                      <a:pt x="20" y="290"/>
                      <a:pt x="20" y="290"/>
                    </a:cubicBezTo>
                    <a:cubicBezTo>
                      <a:pt x="20" y="290"/>
                      <a:pt x="28" y="296"/>
                      <a:pt x="25" y="300"/>
                    </a:cubicBezTo>
                    <a:cubicBezTo>
                      <a:pt x="23" y="305"/>
                      <a:pt x="13" y="316"/>
                      <a:pt x="13" y="316"/>
                    </a:cubicBezTo>
                    <a:cubicBezTo>
                      <a:pt x="13" y="316"/>
                      <a:pt x="14" y="322"/>
                      <a:pt x="18" y="324"/>
                    </a:cubicBezTo>
                    <a:cubicBezTo>
                      <a:pt x="22" y="328"/>
                      <a:pt x="39" y="320"/>
                      <a:pt x="39" y="320"/>
                    </a:cubicBezTo>
                    <a:cubicBezTo>
                      <a:pt x="39" y="320"/>
                      <a:pt x="50" y="314"/>
                      <a:pt x="52" y="318"/>
                    </a:cubicBezTo>
                    <a:cubicBezTo>
                      <a:pt x="53" y="321"/>
                      <a:pt x="41" y="327"/>
                      <a:pt x="41" y="327"/>
                    </a:cubicBezTo>
                    <a:close/>
                    <a:moveTo>
                      <a:pt x="13" y="350"/>
                    </a:moveTo>
                    <a:cubicBezTo>
                      <a:pt x="13" y="350"/>
                      <a:pt x="0" y="354"/>
                      <a:pt x="0" y="361"/>
                    </a:cubicBezTo>
                    <a:cubicBezTo>
                      <a:pt x="0" y="361"/>
                      <a:pt x="2" y="364"/>
                      <a:pt x="8" y="361"/>
                    </a:cubicBezTo>
                    <a:cubicBezTo>
                      <a:pt x="15" y="357"/>
                      <a:pt x="18" y="355"/>
                      <a:pt x="18" y="355"/>
                    </a:cubicBezTo>
                    <a:cubicBezTo>
                      <a:pt x="15" y="353"/>
                      <a:pt x="15" y="353"/>
                      <a:pt x="15" y="353"/>
                    </a:cubicBezTo>
                    <a:lnTo>
                      <a:pt x="13" y="350"/>
                    </a:lnTo>
                    <a:close/>
                    <a:moveTo>
                      <a:pt x="1019" y="210"/>
                    </a:moveTo>
                    <a:cubicBezTo>
                      <a:pt x="1015" y="206"/>
                      <a:pt x="1013" y="209"/>
                      <a:pt x="1004" y="209"/>
                    </a:cubicBezTo>
                    <a:cubicBezTo>
                      <a:pt x="997" y="209"/>
                      <a:pt x="1003" y="198"/>
                      <a:pt x="996" y="191"/>
                    </a:cubicBezTo>
                    <a:cubicBezTo>
                      <a:pt x="988" y="182"/>
                      <a:pt x="973" y="186"/>
                      <a:pt x="973" y="186"/>
                    </a:cubicBezTo>
                    <a:cubicBezTo>
                      <a:pt x="971" y="155"/>
                      <a:pt x="971" y="155"/>
                      <a:pt x="971" y="155"/>
                    </a:cubicBezTo>
                    <a:cubicBezTo>
                      <a:pt x="963" y="159"/>
                      <a:pt x="963" y="159"/>
                      <a:pt x="963" y="159"/>
                    </a:cubicBezTo>
                    <a:cubicBezTo>
                      <a:pt x="963" y="159"/>
                      <a:pt x="964" y="150"/>
                      <a:pt x="959" y="146"/>
                    </a:cubicBezTo>
                    <a:cubicBezTo>
                      <a:pt x="955" y="141"/>
                      <a:pt x="950" y="138"/>
                      <a:pt x="950" y="138"/>
                    </a:cubicBezTo>
                    <a:cubicBezTo>
                      <a:pt x="946" y="128"/>
                      <a:pt x="946" y="128"/>
                      <a:pt x="946" y="128"/>
                    </a:cubicBezTo>
                    <a:cubicBezTo>
                      <a:pt x="938" y="128"/>
                      <a:pt x="938" y="128"/>
                      <a:pt x="938" y="128"/>
                    </a:cubicBezTo>
                    <a:cubicBezTo>
                      <a:pt x="938" y="128"/>
                      <a:pt x="920" y="108"/>
                      <a:pt x="919" y="104"/>
                    </a:cubicBezTo>
                    <a:cubicBezTo>
                      <a:pt x="919" y="100"/>
                      <a:pt x="929" y="98"/>
                      <a:pt x="934" y="95"/>
                    </a:cubicBezTo>
                    <a:cubicBezTo>
                      <a:pt x="938" y="92"/>
                      <a:pt x="932" y="82"/>
                      <a:pt x="930" y="75"/>
                    </a:cubicBezTo>
                    <a:cubicBezTo>
                      <a:pt x="927" y="68"/>
                      <a:pt x="942" y="68"/>
                      <a:pt x="942" y="68"/>
                    </a:cubicBezTo>
                    <a:cubicBezTo>
                      <a:pt x="942" y="68"/>
                      <a:pt x="934" y="61"/>
                      <a:pt x="922" y="59"/>
                    </a:cubicBezTo>
                    <a:cubicBezTo>
                      <a:pt x="910" y="55"/>
                      <a:pt x="906" y="62"/>
                      <a:pt x="898" y="68"/>
                    </a:cubicBezTo>
                    <a:cubicBezTo>
                      <a:pt x="890" y="73"/>
                      <a:pt x="882" y="68"/>
                      <a:pt x="871" y="59"/>
                    </a:cubicBezTo>
                    <a:cubicBezTo>
                      <a:pt x="861" y="49"/>
                      <a:pt x="864" y="36"/>
                      <a:pt x="861" y="25"/>
                    </a:cubicBezTo>
                    <a:cubicBezTo>
                      <a:pt x="858" y="16"/>
                      <a:pt x="849" y="17"/>
                      <a:pt x="843" y="17"/>
                    </a:cubicBezTo>
                    <a:cubicBezTo>
                      <a:pt x="838" y="17"/>
                      <a:pt x="841" y="8"/>
                      <a:pt x="838" y="8"/>
                    </a:cubicBezTo>
                    <a:cubicBezTo>
                      <a:pt x="834" y="8"/>
                      <a:pt x="829" y="14"/>
                      <a:pt x="829" y="14"/>
                    </a:cubicBezTo>
                    <a:cubicBezTo>
                      <a:pt x="803" y="4"/>
                      <a:pt x="803" y="4"/>
                      <a:pt x="803" y="4"/>
                    </a:cubicBezTo>
                    <a:cubicBezTo>
                      <a:pt x="803" y="4"/>
                      <a:pt x="799" y="0"/>
                      <a:pt x="792" y="0"/>
                    </a:cubicBezTo>
                    <a:cubicBezTo>
                      <a:pt x="787" y="0"/>
                      <a:pt x="789" y="14"/>
                      <a:pt x="789" y="14"/>
                    </a:cubicBezTo>
                    <a:cubicBezTo>
                      <a:pt x="789" y="14"/>
                      <a:pt x="781" y="15"/>
                      <a:pt x="773" y="16"/>
                    </a:cubicBezTo>
                    <a:cubicBezTo>
                      <a:pt x="766" y="17"/>
                      <a:pt x="757" y="28"/>
                      <a:pt x="757" y="28"/>
                    </a:cubicBezTo>
                    <a:cubicBezTo>
                      <a:pt x="741" y="30"/>
                      <a:pt x="741" y="30"/>
                      <a:pt x="741" y="30"/>
                    </a:cubicBezTo>
                    <a:cubicBezTo>
                      <a:pt x="726" y="59"/>
                      <a:pt x="726" y="59"/>
                      <a:pt x="726" y="59"/>
                    </a:cubicBezTo>
                    <a:cubicBezTo>
                      <a:pt x="720" y="63"/>
                      <a:pt x="720" y="63"/>
                      <a:pt x="720" y="63"/>
                    </a:cubicBezTo>
                    <a:cubicBezTo>
                      <a:pt x="720" y="63"/>
                      <a:pt x="721" y="69"/>
                      <a:pt x="703" y="85"/>
                    </a:cubicBezTo>
                    <a:cubicBezTo>
                      <a:pt x="685" y="101"/>
                      <a:pt x="665" y="99"/>
                      <a:pt x="665" y="99"/>
                    </a:cubicBezTo>
                    <a:cubicBezTo>
                      <a:pt x="665" y="99"/>
                      <a:pt x="662" y="95"/>
                      <a:pt x="651" y="98"/>
                    </a:cubicBezTo>
                    <a:cubicBezTo>
                      <a:pt x="640" y="101"/>
                      <a:pt x="624" y="118"/>
                      <a:pt x="614" y="126"/>
                    </a:cubicBezTo>
                    <a:cubicBezTo>
                      <a:pt x="604" y="132"/>
                      <a:pt x="587" y="131"/>
                      <a:pt x="587" y="131"/>
                    </a:cubicBezTo>
                    <a:cubicBezTo>
                      <a:pt x="578" y="126"/>
                      <a:pt x="578" y="126"/>
                      <a:pt x="578" y="126"/>
                    </a:cubicBezTo>
                    <a:cubicBezTo>
                      <a:pt x="569" y="125"/>
                      <a:pt x="569" y="125"/>
                      <a:pt x="569" y="125"/>
                    </a:cubicBezTo>
                    <a:cubicBezTo>
                      <a:pt x="564" y="138"/>
                      <a:pt x="564" y="138"/>
                      <a:pt x="564" y="138"/>
                    </a:cubicBezTo>
                    <a:cubicBezTo>
                      <a:pt x="564" y="138"/>
                      <a:pt x="542" y="133"/>
                      <a:pt x="539" y="130"/>
                    </a:cubicBezTo>
                    <a:cubicBezTo>
                      <a:pt x="534" y="127"/>
                      <a:pt x="517" y="129"/>
                      <a:pt x="517" y="129"/>
                    </a:cubicBezTo>
                    <a:cubicBezTo>
                      <a:pt x="517" y="129"/>
                      <a:pt x="522" y="142"/>
                      <a:pt x="515" y="145"/>
                    </a:cubicBezTo>
                    <a:cubicBezTo>
                      <a:pt x="509" y="148"/>
                      <a:pt x="490" y="136"/>
                      <a:pt x="490" y="136"/>
                    </a:cubicBezTo>
                    <a:cubicBezTo>
                      <a:pt x="490" y="123"/>
                      <a:pt x="490" y="123"/>
                      <a:pt x="490" y="123"/>
                    </a:cubicBezTo>
                    <a:cubicBezTo>
                      <a:pt x="477" y="118"/>
                      <a:pt x="477" y="118"/>
                      <a:pt x="477" y="118"/>
                    </a:cubicBezTo>
                    <a:cubicBezTo>
                      <a:pt x="477" y="118"/>
                      <a:pt x="467" y="134"/>
                      <a:pt x="448" y="131"/>
                    </a:cubicBezTo>
                    <a:cubicBezTo>
                      <a:pt x="428" y="129"/>
                      <a:pt x="434" y="111"/>
                      <a:pt x="434" y="111"/>
                    </a:cubicBezTo>
                    <a:cubicBezTo>
                      <a:pt x="423" y="113"/>
                      <a:pt x="423" y="113"/>
                      <a:pt x="423" y="113"/>
                    </a:cubicBezTo>
                    <a:cubicBezTo>
                      <a:pt x="423" y="113"/>
                      <a:pt x="421" y="117"/>
                      <a:pt x="419" y="122"/>
                    </a:cubicBezTo>
                    <a:cubicBezTo>
                      <a:pt x="417" y="126"/>
                      <a:pt x="403" y="131"/>
                      <a:pt x="395" y="130"/>
                    </a:cubicBezTo>
                    <a:cubicBezTo>
                      <a:pt x="386" y="128"/>
                      <a:pt x="381" y="134"/>
                      <a:pt x="373" y="138"/>
                    </a:cubicBezTo>
                    <a:cubicBezTo>
                      <a:pt x="364" y="142"/>
                      <a:pt x="348" y="143"/>
                      <a:pt x="348" y="143"/>
                    </a:cubicBezTo>
                    <a:cubicBezTo>
                      <a:pt x="326" y="159"/>
                      <a:pt x="326" y="159"/>
                      <a:pt x="326" y="159"/>
                    </a:cubicBezTo>
                    <a:cubicBezTo>
                      <a:pt x="300" y="178"/>
                      <a:pt x="300" y="178"/>
                      <a:pt x="300" y="178"/>
                    </a:cubicBezTo>
                    <a:cubicBezTo>
                      <a:pt x="300" y="186"/>
                      <a:pt x="300" y="186"/>
                      <a:pt x="300" y="186"/>
                    </a:cubicBezTo>
                    <a:cubicBezTo>
                      <a:pt x="276" y="207"/>
                      <a:pt x="276" y="207"/>
                      <a:pt x="276" y="207"/>
                    </a:cubicBezTo>
                    <a:cubicBezTo>
                      <a:pt x="269" y="213"/>
                      <a:pt x="269" y="213"/>
                      <a:pt x="269" y="213"/>
                    </a:cubicBezTo>
                    <a:cubicBezTo>
                      <a:pt x="269" y="213"/>
                      <a:pt x="271" y="222"/>
                      <a:pt x="264" y="230"/>
                    </a:cubicBezTo>
                    <a:cubicBezTo>
                      <a:pt x="255" y="239"/>
                      <a:pt x="239" y="238"/>
                      <a:pt x="239" y="238"/>
                    </a:cubicBezTo>
                    <a:cubicBezTo>
                      <a:pt x="220" y="240"/>
                      <a:pt x="220" y="240"/>
                      <a:pt x="220" y="240"/>
                    </a:cubicBezTo>
                    <a:cubicBezTo>
                      <a:pt x="218" y="236"/>
                      <a:pt x="218" y="236"/>
                      <a:pt x="218" y="236"/>
                    </a:cubicBezTo>
                    <a:cubicBezTo>
                      <a:pt x="206" y="245"/>
                      <a:pt x="206" y="245"/>
                      <a:pt x="206" y="245"/>
                    </a:cubicBezTo>
                    <a:cubicBezTo>
                      <a:pt x="197" y="245"/>
                      <a:pt x="197" y="245"/>
                      <a:pt x="197" y="245"/>
                    </a:cubicBezTo>
                    <a:cubicBezTo>
                      <a:pt x="194" y="247"/>
                      <a:pt x="187" y="251"/>
                      <a:pt x="184" y="252"/>
                    </a:cubicBezTo>
                    <a:cubicBezTo>
                      <a:pt x="180" y="253"/>
                      <a:pt x="166" y="251"/>
                      <a:pt x="161" y="253"/>
                    </a:cubicBezTo>
                    <a:cubicBezTo>
                      <a:pt x="154" y="255"/>
                      <a:pt x="157" y="262"/>
                      <a:pt x="157" y="262"/>
                    </a:cubicBezTo>
                    <a:cubicBezTo>
                      <a:pt x="157" y="262"/>
                      <a:pt x="156" y="266"/>
                      <a:pt x="155" y="270"/>
                    </a:cubicBezTo>
                    <a:cubicBezTo>
                      <a:pt x="155" y="273"/>
                      <a:pt x="171" y="275"/>
                      <a:pt x="171" y="275"/>
                    </a:cubicBezTo>
                    <a:cubicBezTo>
                      <a:pt x="170" y="278"/>
                      <a:pt x="170" y="278"/>
                      <a:pt x="170" y="278"/>
                    </a:cubicBezTo>
                    <a:cubicBezTo>
                      <a:pt x="177" y="280"/>
                      <a:pt x="177" y="280"/>
                      <a:pt x="177" y="280"/>
                    </a:cubicBezTo>
                    <a:cubicBezTo>
                      <a:pt x="177" y="280"/>
                      <a:pt x="197" y="275"/>
                      <a:pt x="198" y="277"/>
                    </a:cubicBezTo>
                    <a:cubicBezTo>
                      <a:pt x="198" y="280"/>
                      <a:pt x="186" y="283"/>
                      <a:pt x="186" y="283"/>
                    </a:cubicBezTo>
                    <a:cubicBezTo>
                      <a:pt x="183" y="282"/>
                      <a:pt x="183" y="282"/>
                      <a:pt x="183" y="282"/>
                    </a:cubicBezTo>
                    <a:cubicBezTo>
                      <a:pt x="173" y="287"/>
                      <a:pt x="173" y="287"/>
                      <a:pt x="173" y="287"/>
                    </a:cubicBezTo>
                    <a:cubicBezTo>
                      <a:pt x="156" y="291"/>
                      <a:pt x="156" y="291"/>
                      <a:pt x="156" y="291"/>
                    </a:cubicBezTo>
                    <a:cubicBezTo>
                      <a:pt x="151" y="303"/>
                      <a:pt x="151" y="303"/>
                      <a:pt x="151" y="303"/>
                    </a:cubicBezTo>
                    <a:cubicBezTo>
                      <a:pt x="156" y="305"/>
                      <a:pt x="156" y="305"/>
                      <a:pt x="156" y="305"/>
                    </a:cubicBezTo>
                    <a:cubicBezTo>
                      <a:pt x="156" y="305"/>
                      <a:pt x="161" y="303"/>
                      <a:pt x="165" y="303"/>
                    </a:cubicBezTo>
                    <a:cubicBezTo>
                      <a:pt x="171" y="303"/>
                      <a:pt x="171" y="303"/>
                      <a:pt x="171" y="303"/>
                    </a:cubicBezTo>
                    <a:cubicBezTo>
                      <a:pt x="171" y="303"/>
                      <a:pt x="168" y="306"/>
                      <a:pt x="165" y="309"/>
                    </a:cubicBezTo>
                    <a:cubicBezTo>
                      <a:pt x="162" y="312"/>
                      <a:pt x="151" y="310"/>
                      <a:pt x="151" y="310"/>
                    </a:cubicBezTo>
                    <a:cubicBezTo>
                      <a:pt x="144" y="314"/>
                      <a:pt x="144" y="314"/>
                      <a:pt x="144" y="314"/>
                    </a:cubicBezTo>
                    <a:cubicBezTo>
                      <a:pt x="136" y="313"/>
                      <a:pt x="136" y="313"/>
                      <a:pt x="136" y="313"/>
                    </a:cubicBezTo>
                    <a:cubicBezTo>
                      <a:pt x="110" y="318"/>
                      <a:pt x="110" y="318"/>
                      <a:pt x="110" y="318"/>
                    </a:cubicBezTo>
                    <a:cubicBezTo>
                      <a:pt x="114" y="312"/>
                      <a:pt x="114" y="312"/>
                      <a:pt x="114" y="312"/>
                    </a:cubicBezTo>
                    <a:cubicBezTo>
                      <a:pt x="97" y="314"/>
                      <a:pt x="97" y="314"/>
                      <a:pt x="97" y="314"/>
                    </a:cubicBezTo>
                    <a:cubicBezTo>
                      <a:pt x="97" y="317"/>
                      <a:pt x="97" y="317"/>
                      <a:pt x="97" y="317"/>
                    </a:cubicBezTo>
                    <a:cubicBezTo>
                      <a:pt x="106" y="322"/>
                      <a:pt x="106" y="322"/>
                      <a:pt x="106" y="322"/>
                    </a:cubicBezTo>
                    <a:cubicBezTo>
                      <a:pt x="106" y="322"/>
                      <a:pt x="102" y="327"/>
                      <a:pt x="96" y="328"/>
                    </a:cubicBezTo>
                    <a:cubicBezTo>
                      <a:pt x="80" y="328"/>
                      <a:pt x="80" y="328"/>
                      <a:pt x="80" y="328"/>
                    </a:cubicBezTo>
                    <a:cubicBezTo>
                      <a:pt x="80" y="321"/>
                      <a:pt x="80" y="321"/>
                      <a:pt x="80" y="321"/>
                    </a:cubicBezTo>
                    <a:cubicBezTo>
                      <a:pt x="69" y="324"/>
                      <a:pt x="69" y="324"/>
                      <a:pt x="69" y="324"/>
                    </a:cubicBezTo>
                    <a:cubicBezTo>
                      <a:pt x="69" y="324"/>
                      <a:pt x="67" y="330"/>
                      <a:pt x="63" y="330"/>
                    </a:cubicBezTo>
                    <a:cubicBezTo>
                      <a:pt x="58" y="330"/>
                      <a:pt x="50" y="333"/>
                      <a:pt x="48" y="337"/>
                    </a:cubicBezTo>
                    <a:cubicBezTo>
                      <a:pt x="47" y="341"/>
                      <a:pt x="45" y="346"/>
                      <a:pt x="40" y="348"/>
                    </a:cubicBezTo>
                    <a:cubicBezTo>
                      <a:pt x="35" y="349"/>
                      <a:pt x="38" y="353"/>
                      <a:pt x="37" y="357"/>
                    </a:cubicBezTo>
                    <a:cubicBezTo>
                      <a:pt x="36" y="362"/>
                      <a:pt x="29" y="363"/>
                      <a:pt x="29" y="363"/>
                    </a:cubicBezTo>
                    <a:cubicBezTo>
                      <a:pt x="28" y="368"/>
                      <a:pt x="28" y="368"/>
                      <a:pt x="28" y="368"/>
                    </a:cubicBezTo>
                    <a:cubicBezTo>
                      <a:pt x="29" y="383"/>
                      <a:pt x="29" y="383"/>
                      <a:pt x="29" y="383"/>
                    </a:cubicBezTo>
                    <a:cubicBezTo>
                      <a:pt x="32" y="384"/>
                      <a:pt x="32" y="384"/>
                      <a:pt x="32" y="384"/>
                    </a:cubicBezTo>
                    <a:cubicBezTo>
                      <a:pt x="26" y="399"/>
                      <a:pt x="26" y="399"/>
                      <a:pt x="26" y="399"/>
                    </a:cubicBezTo>
                    <a:cubicBezTo>
                      <a:pt x="51" y="388"/>
                      <a:pt x="51" y="388"/>
                      <a:pt x="51" y="388"/>
                    </a:cubicBezTo>
                    <a:cubicBezTo>
                      <a:pt x="51" y="388"/>
                      <a:pt x="68" y="380"/>
                      <a:pt x="73" y="385"/>
                    </a:cubicBezTo>
                    <a:cubicBezTo>
                      <a:pt x="78" y="391"/>
                      <a:pt x="58" y="404"/>
                      <a:pt x="58" y="404"/>
                    </a:cubicBezTo>
                    <a:cubicBezTo>
                      <a:pt x="65" y="407"/>
                      <a:pt x="65" y="407"/>
                      <a:pt x="65" y="407"/>
                    </a:cubicBezTo>
                    <a:cubicBezTo>
                      <a:pt x="66" y="411"/>
                      <a:pt x="66" y="411"/>
                      <a:pt x="66" y="411"/>
                    </a:cubicBezTo>
                    <a:cubicBezTo>
                      <a:pt x="74" y="413"/>
                      <a:pt x="74" y="413"/>
                      <a:pt x="74" y="413"/>
                    </a:cubicBezTo>
                    <a:cubicBezTo>
                      <a:pt x="74" y="413"/>
                      <a:pt x="71" y="419"/>
                      <a:pt x="72" y="424"/>
                    </a:cubicBezTo>
                    <a:cubicBezTo>
                      <a:pt x="73" y="429"/>
                      <a:pt x="82" y="422"/>
                      <a:pt x="85" y="426"/>
                    </a:cubicBezTo>
                    <a:cubicBezTo>
                      <a:pt x="88" y="430"/>
                      <a:pt x="80" y="434"/>
                      <a:pt x="75" y="436"/>
                    </a:cubicBezTo>
                    <a:cubicBezTo>
                      <a:pt x="71" y="438"/>
                      <a:pt x="72" y="443"/>
                      <a:pt x="73" y="446"/>
                    </a:cubicBezTo>
                    <a:cubicBezTo>
                      <a:pt x="74" y="448"/>
                      <a:pt x="79" y="446"/>
                      <a:pt x="79" y="446"/>
                    </a:cubicBezTo>
                    <a:cubicBezTo>
                      <a:pt x="79" y="450"/>
                      <a:pt x="79" y="450"/>
                      <a:pt x="79" y="450"/>
                    </a:cubicBezTo>
                    <a:cubicBezTo>
                      <a:pt x="85" y="453"/>
                      <a:pt x="85" y="453"/>
                      <a:pt x="85" y="453"/>
                    </a:cubicBezTo>
                    <a:cubicBezTo>
                      <a:pt x="95" y="453"/>
                      <a:pt x="95" y="453"/>
                      <a:pt x="95" y="453"/>
                    </a:cubicBezTo>
                    <a:cubicBezTo>
                      <a:pt x="79" y="459"/>
                      <a:pt x="79" y="459"/>
                      <a:pt x="79" y="459"/>
                    </a:cubicBezTo>
                    <a:cubicBezTo>
                      <a:pt x="74" y="457"/>
                      <a:pt x="74" y="457"/>
                      <a:pt x="74" y="457"/>
                    </a:cubicBezTo>
                    <a:cubicBezTo>
                      <a:pt x="71" y="458"/>
                      <a:pt x="71" y="458"/>
                      <a:pt x="71" y="458"/>
                    </a:cubicBezTo>
                    <a:cubicBezTo>
                      <a:pt x="72" y="463"/>
                      <a:pt x="72" y="463"/>
                      <a:pt x="72" y="463"/>
                    </a:cubicBezTo>
                    <a:cubicBezTo>
                      <a:pt x="67" y="458"/>
                      <a:pt x="67" y="458"/>
                      <a:pt x="67" y="458"/>
                    </a:cubicBezTo>
                    <a:cubicBezTo>
                      <a:pt x="69" y="453"/>
                      <a:pt x="69" y="453"/>
                      <a:pt x="69" y="453"/>
                    </a:cubicBezTo>
                    <a:cubicBezTo>
                      <a:pt x="69" y="453"/>
                      <a:pt x="59" y="444"/>
                      <a:pt x="55" y="445"/>
                    </a:cubicBezTo>
                    <a:cubicBezTo>
                      <a:pt x="50" y="446"/>
                      <a:pt x="56" y="458"/>
                      <a:pt x="56" y="458"/>
                    </a:cubicBezTo>
                    <a:cubicBezTo>
                      <a:pt x="56" y="458"/>
                      <a:pt x="61" y="458"/>
                      <a:pt x="61" y="464"/>
                    </a:cubicBezTo>
                    <a:cubicBezTo>
                      <a:pt x="62" y="471"/>
                      <a:pt x="52" y="471"/>
                      <a:pt x="52" y="471"/>
                    </a:cubicBezTo>
                    <a:cubicBezTo>
                      <a:pt x="71" y="478"/>
                      <a:pt x="71" y="478"/>
                      <a:pt x="71" y="478"/>
                    </a:cubicBezTo>
                    <a:cubicBezTo>
                      <a:pt x="81" y="471"/>
                      <a:pt x="81" y="471"/>
                      <a:pt x="81" y="471"/>
                    </a:cubicBezTo>
                    <a:cubicBezTo>
                      <a:pt x="86" y="481"/>
                      <a:pt x="86" y="481"/>
                      <a:pt x="86" y="481"/>
                    </a:cubicBezTo>
                    <a:cubicBezTo>
                      <a:pt x="91" y="478"/>
                      <a:pt x="91" y="478"/>
                      <a:pt x="91" y="478"/>
                    </a:cubicBezTo>
                    <a:cubicBezTo>
                      <a:pt x="91" y="478"/>
                      <a:pt x="101" y="478"/>
                      <a:pt x="108" y="480"/>
                    </a:cubicBezTo>
                    <a:cubicBezTo>
                      <a:pt x="115" y="482"/>
                      <a:pt x="107" y="496"/>
                      <a:pt x="107" y="496"/>
                    </a:cubicBezTo>
                    <a:cubicBezTo>
                      <a:pt x="100" y="503"/>
                      <a:pt x="100" y="503"/>
                      <a:pt x="100" y="503"/>
                    </a:cubicBezTo>
                    <a:cubicBezTo>
                      <a:pt x="111" y="505"/>
                      <a:pt x="111" y="505"/>
                      <a:pt x="111" y="505"/>
                    </a:cubicBezTo>
                    <a:cubicBezTo>
                      <a:pt x="111" y="507"/>
                      <a:pt x="111" y="507"/>
                      <a:pt x="111" y="507"/>
                    </a:cubicBezTo>
                    <a:cubicBezTo>
                      <a:pt x="127" y="509"/>
                      <a:pt x="127" y="509"/>
                      <a:pt x="127" y="509"/>
                    </a:cubicBezTo>
                    <a:cubicBezTo>
                      <a:pt x="110" y="510"/>
                      <a:pt x="110" y="510"/>
                      <a:pt x="110" y="510"/>
                    </a:cubicBezTo>
                    <a:cubicBezTo>
                      <a:pt x="112" y="520"/>
                      <a:pt x="112" y="520"/>
                      <a:pt x="112" y="520"/>
                    </a:cubicBezTo>
                    <a:cubicBezTo>
                      <a:pt x="118" y="519"/>
                      <a:pt x="118" y="519"/>
                      <a:pt x="118" y="519"/>
                    </a:cubicBezTo>
                    <a:cubicBezTo>
                      <a:pt x="123" y="515"/>
                      <a:pt x="123" y="515"/>
                      <a:pt x="123" y="515"/>
                    </a:cubicBezTo>
                    <a:cubicBezTo>
                      <a:pt x="122" y="520"/>
                      <a:pt x="122" y="520"/>
                      <a:pt x="122" y="520"/>
                    </a:cubicBezTo>
                    <a:cubicBezTo>
                      <a:pt x="130" y="524"/>
                      <a:pt x="130" y="524"/>
                      <a:pt x="130" y="524"/>
                    </a:cubicBezTo>
                    <a:cubicBezTo>
                      <a:pt x="130" y="524"/>
                      <a:pt x="135" y="522"/>
                      <a:pt x="134" y="527"/>
                    </a:cubicBezTo>
                    <a:cubicBezTo>
                      <a:pt x="134" y="532"/>
                      <a:pt x="129" y="535"/>
                      <a:pt x="129" y="535"/>
                    </a:cubicBezTo>
                    <a:cubicBezTo>
                      <a:pt x="129" y="535"/>
                      <a:pt x="123" y="529"/>
                      <a:pt x="119" y="536"/>
                    </a:cubicBezTo>
                    <a:cubicBezTo>
                      <a:pt x="115" y="542"/>
                      <a:pt x="122" y="543"/>
                      <a:pt x="122" y="543"/>
                    </a:cubicBezTo>
                    <a:cubicBezTo>
                      <a:pt x="128" y="540"/>
                      <a:pt x="128" y="540"/>
                      <a:pt x="128" y="540"/>
                    </a:cubicBezTo>
                    <a:cubicBezTo>
                      <a:pt x="133" y="541"/>
                      <a:pt x="133" y="541"/>
                      <a:pt x="133" y="541"/>
                    </a:cubicBezTo>
                    <a:cubicBezTo>
                      <a:pt x="176" y="530"/>
                      <a:pt x="176" y="530"/>
                      <a:pt x="176" y="530"/>
                    </a:cubicBezTo>
                    <a:cubicBezTo>
                      <a:pt x="162" y="540"/>
                      <a:pt x="162" y="540"/>
                      <a:pt x="162" y="540"/>
                    </a:cubicBezTo>
                    <a:cubicBezTo>
                      <a:pt x="163" y="546"/>
                      <a:pt x="163" y="546"/>
                      <a:pt x="163" y="546"/>
                    </a:cubicBezTo>
                    <a:cubicBezTo>
                      <a:pt x="150" y="548"/>
                      <a:pt x="150" y="548"/>
                      <a:pt x="150" y="548"/>
                    </a:cubicBezTo>
                    <a:cubicBezTo>
                      <a:pt x="137" y="555"/>
                      <a:pt x="137" y="555"/>
                      <a:pt x="137" y="555"/>
                    </a:cubicBezTo>
                    <a:cubicBezTo>
                      <a:pt x="130" y="561"/>
                      <a:pt x="130" y="561"/>
                      <a:pt x="130" y="561"/>
                    </a:cubicBezTo>
                    <a:cubicBezTo>
                      <a:pt x="132" y="562"/>
                      <a:pt x="132" y="562"/>
                      <a:pt x="132" y="562"/>
                    </a:cubicBezTo>
                    <a:cubicBezTo>
                      <a:pt x="147" y="558"/>
                      <a:pt x="147" y="558"/>
                      <a:pt x="147" y="558"/>
                    </a:cubicBezTo>
                    <a:cubicBezTo>
                      <a:pt x="147" y="554"/>
                      <a:pt x="147" y="554"/>
                      <a:pt x="147" y="554"/>
                    </a:cubicBezTo>
                    <a:cubicBezTo>
                      <a:pt x="153" y="553"/>
                      <a:pt x="153" y="553"/>
                      <a:pt x="153" y="553"/>
                    </a:cubicBezTo>
                    <a:cubicBezTo>
                      <a:pt x="155" y="554"/>
                      <a:pt x="155" y="554"/>
                      <a:pt x="155" y="554"/>
                    </a:cubicBezTo>
                    <a:cubicBezTo>
                      <a:pt x="167" y="548"/>
                      <a:pt x="167" y="548"/>
                      <a:pt x="167" y="548"/>
                    </a:cubicBezTo>
                    <a:cubicBezTo>
                      <a:pt x="168" y="551"/>
                      <a:pt x="168" y="551"/>
                      <a:pt x="168" y="551"/>
                    </a:cubicBezTo>
                    <a:cubicBezTo>
                      <a:pt x="162" y="556"/>
                      <a:pt x="162" y="556"/>
                      <a:pt x="162" y="556"/>
                    </a:cubicBezTo>
                    <a:cubicBezTo>
                      <a:pt x="165" y="558"/>
                      <a:pt x="165" y="558"/>
                      <a:pt x="165" y="558"/>
                    </a:cubicBezTo>
                    <a:cubicBezTo>
                      <a:pt x="162" y="560"/>
                      <a:pt x="162" y="560"/>
                      <a:pt x="162" y="560"/>
                    </a:cubicBezTo>
                    <a:cubicBezTo>
                      <a:pt x="165" y="562"/>
                      <a:pt x="165" y="562"/>
                      <a:pt x="165" y="562"/>
                    </a:cubicBezTo>
                    <a:cubicBezTo>
                      <a:pt x="177" y="550"/>
                      <a:pt x="177" y="550"/>
                      <a:pt x="177" y="550"/>
                    </a:cubicBezTo>
                    <a:cubicBezTo>
                      <a:pt x="175" y="543"/>
                      <a:pt x="175" y="543"/>
                      <a:pt x="175" y="543"/>
                    </a:cubicBezTo>
                    <a:cubicBezTo>
                      <a:pt x="175" y="543"/>
                      <a:pt x="179" y="540"/>
                      <a:pt x="185" y="539"/>
                    </a:cubicBezTo>
                    <a:cubicBezTo>
                      <a:pt x="192" y="538"/>
                      <a:pt x="195" y="545"/>
                      <a:pt x="195" y="545"/>
                    </a:cubicBezTo>
                    <a:cubicBezTo>
                      <a:pt x="206" y="551"/>
                      <a:pt x="206" y="551"/>
                      <a:pt x="206" y="551"/>
                    </a:cubicBezTo>
                    <a:cubicBezTo>
                      <a:pt x="210" y="549"/>
                      <a:pt x="210" y="549"/>
                      <a:pt x="210" y="549"/>
                    </a:cubicBezTo>
                    <a:cubicBezTo>
                      <a:pt x="208" y="545"/>
                      <a:pt x="208" y="545"/>
                      <a:pt x="208" y="545"/>
                    </a:cubicBezTo>
                    <a:cubicBezTo>
                      <a:pt x="212" y="541"/>
                      <a:pt x="212" y="541"/>
                      <a:pt x="212" y="541"/>
                    </a:cubicBezTo>
                    <a:cubicBezTo>
                      <a:pt x="221" y="545"/>
                      <a:pt x="221" y="545"/>
                      <a:pt x="221" y="545"/>
                    </a:cubicBezTo>
                    <a:cubicBezTo>
                      <a:pt x="221" y="545"/>
                      <a:pt x="219" y="546"/>
                      <a:pt x="218" y="548"/>
                    </a:cubicBezTo>
                    <a:cubicBezTo>
                      <a:pt x="216" y="548"/>
                      <a:pt x="217" y="552"/>
                      <a:pt x="217" y="552"/>
                    </a:cubicBezTo>
                    <a:cubicBezTo>
                      <a:pt x="221" y="551"/>
                      <a:pt x="221" y="551"/>
                      <a:pt x="221" y="551"/>
                    </a:cubicBezTo>
                    <a:cubicBezTo>
                      <a:pt x="225" y="557"/>
                      <a:pt x="225" y="557"/>
                      <a:pt x="225" y="557"/>
                    </a:cubicBezTo>
                    <a:cubicBezTo>
                      <a:pt x="223" y="548"/>
                      <a:pt x="223" y="548"/>
                      <a:pt x="223" y="548"/>
                    </a:cubicBezTo>
                    <a:cubicBezTo>
                      <a:pt x="227" y="546"/>
                      <a:pt x="232" y="543"/>
                      <a:pt x="233" y="545"/>
                    </a:cubicBezTo>
                    <a:cubicBezTo>
                      <a:pt x="236" y="548"/>
                      <a:pt x="233" y="552"/>
                      <a:pt x="233" y="552"/>
                    </a:cubicBezTo>
                    <a:cubicBezTo>
                      <a:pt x="241" y="560"/>
                      <a:pt x="241" y="560"/>
                      <a:pt x="241" y="560"/>
                    </a:cubicBezTo>
                    <a:cubicBezTo>
                      <a:pt x="241" y="566"/>
                      <a:pt x="241" y="566"/>
                      <a:pt x="241" y="566"/>
                    </a:cubicBezTo>
                    <a:cubicBezTo>
                      <a:pt x="241" y="566"/>
                      <a:pt x="255" y="570"/>
                      <a:pt x="267" y="572"/>
                    </a:cubicBezTo>
                    <a:cubicBezTo>
                      <a:pt x="278" y="573"/>
                      <a:pt x="284" y="564"/>
                      <a:pt x="295" y="556"/>
                    </a:cubicBezTo>
                    <a:cubicBezTo>
                      <a:pt x="305" y="550"/>
                      <a:pt x="312" y="558"/>
                      <a:pt x="312" y="558"/>
                    </a:cubicBezTo>
                    <a:cubicBezTo>
                      <a:pt x="315" y="546"/>
                      <a:pt x="315" y="546"/>
                      <a:pt x="315" y="546"/>
                    </a:cubicBezTo>
                    <a:cubicBezTo>
                      <a:pt x="309" y="546"/>
                      <a:pt x="309" y="546"/>
                      <a:pt x="309" y="546"/>
                    </a:cubicBezTo>
                    <a:cubicBezTo>
                      <a:pt x="309" y="546"/>
                      <a:pt x="312" y="527"/>
                      <a:pt x="310" y="517"/>
                    </a:cubicBezTo>
                    <a:cubicBezTo>
                      <a:pt x="309" y="507"/>
                      <a:pt x="318" y="510"/>
                      <a:pt x="332" y="508"/>
                    </a:cubicBezTo>
                    <a:cubicBezTo>
                      <a:pt x="346" y="506"/>
                      <a:pt x="353" y="506"/>
                      <a:pt x="353" y="506"/>
                    </a:cubicBezTo>
                    <a:cubicBezTo>
                      <a:pt x="353" y="506"/>
                      <a:pt x="379" y="510"/>
                      <a:pt x="391" y="513"/>
                    </a:cubicBezTo>
                    <a:cubicBezTo>
                      <a:pt x="402" y="515"/>
                      <a:pt x="407" y="526"/>
                      <a:pt x="417" y="534"/>
                    </a:cubicBezTo>
                    <a:cubicBezTo>
                      <a:pt x="429" y="540"/>
                      <a:pt x="454" y="525"/>
                      <a:pt x="454" y="525"/>
                    </a:cubicBezTo>
                    <a:cubicBezTo>
                      <a:pt x="454" y="525"/>
                      <a:pt x="484" y="507"/>
                      <a:pt x="494" y="497"/>
                    </a:cubicBezTo>
                    <a:cubicBezTo>
                      <a:pt x="505" y="489"/>
                      <a:pt x="514" y="458"/>
                      <a:pt x="523" y="449"/>
                    </a:cubicBezTo>
                    <a:cubicBezTo>
                      <a:pt x="530" y="442"/>
                      <a:pt x="553" y="456"/>
                      <a:pt x="563" y="456"/>
                    </a:cubicBezTo>
                    <a:cubicBezTo>
                      <a:pt x="575" y="455"/>
                      <a:pt x="578" y="441"/>
                      <a:pt x="578" y="441"/>
                    </a:cubicBezTo>
                    <a:cubicBezTo>
                      <a:pt x="573" y="439"/>
                      <a:pt x="573" y="439"/>
                      <a:pt x="573" y="439"/>
                    </a:cubicBezTo>
                    <a:cubicBezTo>
                      <a:pt x="581" y="436"/>
                      <a:pt x="581" y="436"/>
                      <a:pt x="581" y="436"/>
                    </a:cubicBezTo>
                    <a:cubicBezTo>
                      <a:pt x="581" y="436"/>
                      <a:pt x="578" y="423"/>
                      <a:pt x="592" y="423"/>
                    </a:cubicBezTo>
                    <a:cubicBezTo>
                      <a:pt x="606" y="423"/>
                      <a:pt x="606" y="438"/>
                      <a:pt x="606" y="438"/>
                    </a:cubicBezTo>
                    <a:cubicBezTo>
                      <a:pt x="606" y="438"/>
                      <a:pt x="594" y="446"/>
                      <a:pt x="590" y="458"/>
                    </a:cubicBezTo>
                    <a:cubicBezTo>
                      <a:pt x="587" y="469"/>
                      <a:pt x="606" y="474"/>
                      <a:pt x="607" y="477"/>
                    </a:cubicBezTo>
                    <a:cubicBezTo>
                      <a:pt x="608" y="479"/>
                      <a:pt x="606" y="486"/>
                      <a:pt x="606" y="486"/>
                    </a:cubicBezTo>
                    <a:cubicBezTo>
                      <a:pt x="623" y="489"/>
                      <a:pt x="623" y="489"/>
                      <a:pt x="623" y="489"/>
                    </a:cubicBezTo>
                    <a:cubicBezTo>
                      <a:pt x="631" y="472"/>
                      <a:pt x="631" y="472"/>
                      <a:pt x="631" y="472"/>
                    </a:cubicBezTo>
                    <a:cubicBezTo>
                      <a:pt x="624" y="459"/>
                      <a:pt x="624" y="459"/>
                      <a:pt x="624" y="459"/>
                    </a:cubicBezTo>
                    <a:cubicBezTo>
                      <a:pt x="638" y="451"/>
                      <a:pt x="638" y="451"/>
                      <a:pt x="638" y="451"/>
                    </a:cubicBezTo>
                    <a:cubicBezTo>
                      <a:pt x="625" y="439"/>
                      <a:pt x="625" y="439"/>
                      <a:pt x="625" y="439"/>
                    </a:cubicBezTo>
                    <a:cubicBezTo>
                      <a:pt x="625" y="439"/>
                      <a:pt x="625" y="423"/>
                      <a:pt x="626" y="416"/>
                    </a:cubicBezTo>
                    <a:cubicBezTo>
                      <a:pt x="626" y="410"/>
                      <a:pt x="645" y="413"/>
                      <a:pt x="645" y="413"/>
                    </a:cubicBezTo>
                    <a:cubicBezTo>
                      <a:pt x="648" y="419"/>
                      <a:pt x="648" y="419"/>
                      <a:pt x="648" y="419"/>
                    </a:cubicBezTo>
                    <a:cubicBezTo>
                      <a:pt x="675" y="407"/>
                      <a:pt x="675" y="407"/>
                      <a:pt x="675" y="407"/>
                    </a:cubicBezTo>
                    <a:cubicBezTo>
                      <a:pt x="674" y="400"/>
                      <a:pt x="674" y="400"/>
                      <a:pt x="674" y="400"/>
                    </a:cubicBezTo>
                    <a:cubicBezTo>
                      <a:pt x="684" y="398"/>
                      <a:pt x="684" y="398"/>
                      <a:pt x="684" y="398"/>
                    </a:cubicBezTo>
                    <a:cubicBezTo>
                      <a:pt x="684" y="398"/>
                      <a:pt x="698" y="380"/>
                      <a:pt x="707" y="377"/>
                    </a:cubicBezTo>
                    <a:cubicBezTo>
                      <a:pt x="714" y="372"/>
                      <a:pt x="732" y="382"/>
                      <a:pt x="732" y="382"/>
                    </a:cubicBezTo>
                    <a:cubicBezTo>
                      <a:pt x="751" y="373"/>
                      <a:pt x="751" y="373"/>
                      <a:pt x="751" y="373"/>
                    </a:cubicBezTo>
                    <a:cubicBezTo>
                      <a:pt x="751" y="373"/>
                      <a:pt x="766" y="371"/>
                      <a:pt x="781" y="360"/>
                    </a:cubicBezTo>
                    <a:cubicBezTo>
                      <a:pt x="796" y="348"/>
                      <a:pt x="825" y="313"/>
                      <a:pt x="825" y="313"/>
                    </a:cubicBezTo>
                    <a:cubicBezTo>
                      <a:pt x="825" y="313"/>
                      <a:pt x="845" y="305"/>
                      <a:pt x="865" y="297"/>
                    </a:cubicBezTo>
                    <a:cubicBezTo>
                      <a:pt x="885" y="288"/>
                      <a:pt x="889" y="271"/>
                      <a:pt x="889" y="271"/>
                    </a:cubicBezTo>
                    <a:cubicBezTo>
                      <a:pt x="900" y="272"/>
                      <a:pt x="900" y="272"/>
                      <a:pt x="900" y="272"/>
                    </a:cubicBezTo>
                    <a:cubicBezTo>
                      <a:pt x="904" y="276"/>
                      <a:pt x="904" y="276"/>
                      <a:pt x="904" y="276"/>
                    </a:cubicBezTo>
                    <a:cubicBezTo>
                      <a:pt x="916" y="270"/>
                      <a:pt x="916" y="270"/>
                      <a:pt x="916" y="270"/>
                    </a:cubicBezTo>
                    <a:cubicBezTo>
                      <a:pt x="910" y="253"/>
                      <a:pt x="910" y="253"/>
                      <a:pt x="910" y="253"/>
                    </a:cubicBezTo>
                    <a:cubicBezTo>
                      <a:pt x="930" y="253"/>
                      <a:pt x="930" y="253"/>
                      <a:pt x="930" y="253"/>
                    </a:cubicBezTo>
                    <a:cubicBezTo>
                      <a:pt x="933" y="246"/>
                      <a:pt x="933" y="246"/>
                      <a:pt x="933" y="246"/>
                    </a:cubicBezTo>
                    <a:cubicBezTo>
                      <a:pt x="946" y="246"/>
                      <a:pt x="946" y="246"/>
                      <a:pt x="946" y="246"/>
                    </a:cubicBezTo>
                    <a:cubicBezTo>
                      <a:pt x="946" y="242"/>
                      <a:pt x="946" y="242"/>
                      <a:pt x="946" y="242"/>
                    </a:cubicBezTo>
                    <a:cubicBezTo>
                      <a:pt x="975" y="238"/>
                      <a:pt x="975" y="238"/>
                      <a:pt x="975" y="238"/>
                    </a:cubicBezTo>
                    <a:cubicBezTo>
                      <a:pt x="975" y="238"/>
                      <a:pt x="976" y="225"/>
                      <a:pt x="988" y="225"/>
                    </a:cubicBezTo>
                    <a:cubicBezTo>
                      <a:pt x="1000" y="225"/>
                      <a:pt x="995" y="240"/>
                      <a:pt x="995" y="240"/>
                    </a:cubicBezTo>
                    <a:cubicBezTo>
                      <a:pt x="1002" y="242"/>
                      <a:pt x="1002" y="242"/>
                      <a:pt x="1002" y="242"/>
                    </a:cubicBezTo>
                    <a:cubicBezTo>
                      <a:pt x="1002" y="242"/>
                      <a:pt x="1008" y="227"/>
                      <a:pt x="1011" y="223"/>
                    </a:cubicBezTo>
                    <a:cubicBezTo>
                      <a:pt x="1013" y="220"/>
                      <a:pt x="1020" y="222"/>
                      <a:pt x="1020" y="222"/>
                    </a:cubicBezTo>
                    <a:cubicBezTo>
                      <a:pt x="1020" y="222"/>
                      <a:pt x="1022" y="213"/>
                      <a:pt x="1019" y="210"/>
                    </a:cubicBez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27" name="Switzerland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4438650" y="4432300"/>
                <a:ext cx="442912" cy="274637"/>
              </a:xfrm>
              <a:custGeom>
                <a:avLst/>
                <a:gdLst/>
                <a:ahLst/>
                <a:cxnLst>
                  <a:cxn ang="0">
                    <a:pos x="208" y="59"/>
                  </a:cxn>
                  <a:cxn ang="0">
                    <a:pos x="194" y="63"/>
                  </a:cxn>
                  <a:cxn ang="0">
                    <a:pos x="179" y="59"/>
                  </a:cxn>
                  <a:cxn ang="0">
                    <a:pos x="164" y="49"/>
                  </a:cxn>
                  <a:cxn ang="0">
                    <a:pos x="162" y="39"/>
                  </a:cxn>
                  <a:cxn ang="0">
                    <a:pos x="172" y="18"/>
                  </a:cxn>
                  <a:cxn ang="0">
                    <a:pos x="148" y="9"/>
                  </a:cxn>
                  <a:cxn ang="0">
                    <a:pos x="135" y="4"/>
                  </a:cxn>
                  <a:cxn ang="0">
                    <a:pos x="128" y="2"/>
                  </a:cxn>
                  <a:cxn ang="0">
                    <a:pos x="118" y="8"/>
                  </a:cxn>
                  <a:cxn ang="0">
                    <a:pos x="125" y="14"/>
                  </a:cxn>
                  <a:cxn ang="0">
                    <a:pos x="112" y="13"/>
                  </a:cxn>
                  <a:cxn ang="0">
                    <a:pos x="83" y="15"/>
                  </a:cxn>
                  <a:cxn ang="0">
                    <a:pos x="81" y="13"/>
                  </a:cxn>
                  <a:cxn ang="0">
                    <a:pos x="73" y="16"/>
                  </a:cxn>
                  <a:cxn ang="0">
                    <a:pos x="61" y="24"/>
                  </a:cxn>
                  <a:cxn ang="0">
                    <a:pos x="46" y="27"/>
                  </a:cxn>
                  <a:cxn ang="0">
                    <a:pos x="35" y="47"/>
                  </a:cxn>
                  <a:cxn ang="0">
                    <a:pos x="24" y="64"/>
                  </a:cxn>
                  <a:cxn ang="0">
                    <a:pos x="9" y="90"/>
                  </a:cxn>
                  <a:cxn ang="0">
                    <a:pos x="0" y="97"/>
                  </a:cxn>
                  <a:cxn ang="0">
                    <a:pos x="8" y="103"/>
                  </a:cxn>
                  <a:cxn ang="0">
                    <a:pos x="12" y="93"/>
                  </a:cxn>
                  <a:cxn ang="0">
                    <a:pos x="40" y="87"/>
                  </a:cxn>
                  <a:cxn ang="0">
                    <a:pos x="41" y="98"/>
                  </a:cxn>
                  <a:cxn ang="0">
                    <a:pos x="41" y="107"/>
                  </a:cxn>
                  <a:cxn ang="0">
                    <a:pos x="48" y="120"/>
                  </a:cxn>
                  <a:cxn ang="0">
                    <a:pos x="52" y="124"/>
                  </a:cxn>
                  <a:cxn ang="0">
                    <a:pos x="64" y="121"/>
                  </a:cxn>
                  <a:cxn ang="0">
                    <a:pos x="82" y="122"/>
                  </a:cxn>
                  <a:cxn ang="0">
                    <a:pos x="92" y="116"/>
                  </a:cxn>
                  <a:cxn ang="0">
                    <a:pos x="100" y="107"/>
                  </a:cxn>
                  <a:cxn ang="0">
                    <a:pos x="99" y="96"/>
                  </a:cxn>
                  <a:cxn ang="0">
                    <a:pos x="107" y="93"/>
                  </a:cxn>
                  <a:cxn ang="0">
                    <a:pos x="112" y="88"/>
                  </a:cxn>
                  <a:cxn ang="0">
                    <a:pos x="112" y="99"/>
                  </a:cxn>
                  <a:cxn ang="0">
                    <a:pos x="121" y="110"/>
                  </a:cxn>
                  <a:cxn ang="0">
                    <a:pos x="132" y="114"/>
                  </a:cxn>
                  <a:cxn ang="0">
                    <a:pos x="131" y="119"/>
                  </a:cxn>
                  <a:cxn ang="0">
                    <a:pos x="139" y="129"/>
                  </a:cxn>
                  <a:cxn ang="0">
                    <a:pos x="138" y="122"/>
                  </a:cxn>
                  <a:cxn ang="0">
                    <a:pos x="141" y="114"/>
                  </a:cxn>
                  <a:cxn ang="0">
                    <a:pos x="150" y="102"/>
                  </a:cxn>
                  <a:cxn ang="0">
                    <a:pos x="150" y="91"/>
                  </a:cxn>
                  <a:cxn ang="0">
                    <a:pos x="157" y="88"/>
                  </a:cxn>
                  <a:cxn ang="0">
                    <a:pos x="164" y="99"/>
                  </a:cxn>
                  <a:cxn ang="0">
                    <a:pos x="182" y="95"/>
                  </a:cxn>
                  <a:cxn ang="0">
                    <a:pos x="187" y="103"/>
                  </a:cxn>
                  <a:cxn ang="0">
                    <a:pos x="190" y="105"/>
                  </a:cxn>
                  <a:cxn ang="0">
                    <a:pos x="193" y="93"/>
                  </a:cxn>
                  <a:cxn ang="0">
                    <a:pos x="188" y="92"/>
                  </a:cxn>
                  <a:cxn ang="0">
                    <a:pos x="196" y="77"/>
                  </a:cxn>
                  <a:cxn ang="0">
                    <a:pos x="207" y="86"/>
                  </a:cxn>
                  <a:cxn ang="0">
                    <a:pos x="204" y="79"/>
                  </a:cxn>
                </a:cxnLst>
                <a:rect l="0" t="0" r="r" b="b"/>
                <a:pathLst>
                  <a:path w="208" h="129">
                    <a:moveTo>
                      <a:pt x="204" y="79"/>
                    </a:moveTo>
                    <a:cubicBezTo>
                      <a:pt x="208" y="59"/>
                      <a:pt x="208" y="59"/>
                      <a:pt x="208" y="59"/>
                    </a:cubicBezTo>
                    <a:cubicBezTo>
                      <a:pt x="203" y="55"/>
                      <a:pt x="203" y="55"/>
                      <a:pt x="203" y="55"/>
                    </a:cubicBezTo>
                    <a:cubicBezTo>
                      <a:pt x="203" y="55"/>
                      <a:pt x="197" y="62"/>
                      <a:pt x="194" y="63"/>
                    </a:cubicBezTo>
                    <a:cubicBezTo>
                      <a:pt x="191" y="65"/>
                      <a:pt x="184" y="60"/>
                      <a:pt x="184" y="60"/>
                    </a:cubicBezTo>
                    <a:cubicBezTo>
                      <a:pt x="184" y="60"/>
                      <a:pt x="180" y="61"/>
                      <a:pt x="179" y="59"/>
                    </a:cubicBezTo>
                    <a:cubicBezTo>
                      <a:pt x="178" y="58"/>
                      <a:pt x="180" y="52"/>
                      <a:pt x="180" y="52"/>
                    </a:cubicBezTo>
                    <a:cubicBezTo>
                      <a:pt x="164" y="49"/>
                      <a:pt x="164" y="49"/>
                      <a:pt x="164" y="49"/>
                    </a:cubicBezTo>
                    <a:cubicBezTo>
                      <a:pt x="164" y="49"/>
                      <a:pt x="162" y="48"/>
                      <a:pt x="160" y="46"/>
                    </a:cubicBezTo>
                    <a:cubicBezTo>
                      <a:pt x="158" y="43"/>
                      <a:pt x="162" y="39"/>
                      <a:pt x="162" y="39"/>
                    </a:cubicBezTo>
                    <a:cubicBezTo>
                      <a:pt x="162" y="39"/>
                      <a:pt x="172" y="29"/>
                      <a:pt x="172" y="26"/>
                    </a:cubicBezTo>
                    <a:cubicBezTo>
                      <a:pt x="172" y="18"/>
                      <a:pt x="172" y="18"/>
                      <a:pt x="172" y="18"/>
                    </a:cubicBezTo>
                    <a:cubicBezTo>
                      <a:pt x="165" y="17"/>
                      <a:pt x="165" y="14"/>
                      <a:pt x="158" y="12"/>
                    </a:cubicBezTo>
                    <a:cubicBezTo>
                      <a:pt x="155" y="11"/>
                      <a:pt x="151" y="10"/>
                      <a:pt x="148" y="9"/>
                    </a:cubicBezTo>
                    <a:cubicBezTo>
                      <a:pt x="145" y="8"/>
                      <a:pt x="141" y="11"/>
                      <a:pt x="140" y="11"/>
                    </a:cubicBezTo>
                    <a:cubicBezTo>
                      <a:pt x="138" y="10"/>
                      <a:pt x="137" y="7"/>
                      <a:pt x="135" y="4"/>
                    </a:cubicBezTo>
                    <a:cubicBezTo>
                      <a:pt x="135" y="5"/>
                      <a:pt x="135" y="8"/>
                      <a:pt x="134" y="9"/>
                    </a:cubicBezTo>
                    <a:cubicBezTo>
                      <a:pt x="132" y="5"/>
                      <a:pt x="131" y="0"/>
                      <a:pt x="128" y="2"/>
                    </a:cubicBezTo>
                    <a:cubicBezTo>
                      <a:pt x="127" y="0"/>
                      <a:pt x="125" y="1"/>
                      <a:pt x="125" y="1"/>
                    </a:cubicBezTo>
                    <a:cubicBezTo>
                      <a:pt x="123" y="2"/>
                      <a:pt x="117" y="4"/>
                      <a:pt x="118" y="8"/>
                    </a:cubicBezTo>
                    <a:cubicBezTo>
                      <a:pt x="118" y="11"/>
                      <a:pt x="120" y="9"/>
                      <a:pt x="122" y="10"/>
                    </a:cubicBezTo>
                    <a:cubicBezTo>
                      <a:pt x="123" y="11"/>
                      <a:pt x="132" y="9"/>
                      <a:pt x="125" y="14"/>
                    </a:cubicBezTo>
                    <a:cubicBezTo>
                      <a:pt x="124" y="11"/>
                      <a:pt x="122" y="12"/>
                      <a:pt x="122" y="15"/>
                    </a:cubicBezTo>
                    <a:cubicBezTo>
                      <a:pt x="116" y="17"/>
                      <a:pt x="115" y="13"/>
                      <a:pt x="112" y="13"/>
                    </a:cubicBezTo>
                    <a:cubicBezTo>
                      <a:pt x="107" y="12"/>
                      <a:pt x="105" y="18"/>
                      <a:pt x="101" y="16"/>
                    </a:cubicBezTo>
                    <a:cubicBezTo>
                      <a:pt x="91" y="12"/>
                      <a:pt x="86" y="18"/>
                      <a:pt x="83" y="15"/>
                    </a:cubicBezTo>
                    <a:cubicBezTo>
                      <a:pt x="83" y="14"/>
                      <a:pt x="84" y="14"/>
                      <a:pt x="85" y="14"/>
                    </a:cubicBezTo>
                    <a:cubicBezTo>
                      <a:pt x="84" y="14"/>
                      <a:pt x="82" y="13"/>
                      <a:pt x="81" y="13"/>
                    </a:cubicBezTo>
                    <a:cubicBezTo>
                      <a:pt x="80" y="12"/>
                      <a:pt x="80" y="12"/>
                      <a:pt x="80" y="11"/>
                    </a:cubicBezTo>
                    <a:cubicBezTo>
                      <a:pt x="73" y="16"/>
                      <a:pt x="73" y="16"/>
                      <a:pt x="73" y="16"/>
                    </a:cubicBezTo>
                    <a:cubicBezTo>
                      <a:pt x="73" y="19"/>
                      <a:pt x="73" y="19"/>
                      <a:pt x="73" y="19"/>
                    </a:cubicBezTo>
                    <a:cubicBezTo>
                      <a:pt x="73" y="19"/>
                      <a:pt x="65" y="24"/>
                      <a:pt x="61" y="24"/>
                    </a:cubicBezTo>
                    <a:cubicBezTo>
                      <a:pt x="57" y="23"/>
                      <a:pt x="58" y="16"/>
                      <a:pt x="52" y="16"/>
                    </a:cubicBezTo>
                    <a:cubicBezTo>
                      <a:pt x="48" y="15"/>
                      <a:pt x="46" y="27"/>
                      <a:pt x="46" y="27"/>
                    </a:cubicBezTo>
                    <a:cubicBezTo>
                      <a:pt x="51" y="28"/>
                      <a:pt x="51" y="28"/>
                      <a:pt x="51" y="28"/>
                    </a:cubicBezTo>
                    <a:cubicBezTo>
                      <a:pt x="51" y="28"/>
                      <a:pt x="39" y="44"/>
                      <a:pt x="35" y="47"/>
                    </a:cubicBezTo>
                    <a:cubicBezTo>
                      <a:pt x="32" y="50"/>
                      <a:pt x="28" y="49"/>
                      <a:pt x="25" y="51"/>
                    </a:cubicBezTo>
                    <a:cubicBezTo>
                      <a:pt x="23" y="52"/>
                      <a:pt x="26" y="58"/>
                      <a:pt x="24" y="64"/>
                    </a:cubicBezTo>
                    <a:cubicBezTo>
                      <a:pt x="22" y="70"/>
                      <a:pt x="11" y="73"/>
                      <a:pt x="7" y="79"/>
                    </a:cubicBezTo>
                    <a:cubicBezTo>
                      <a:pt x="2" y="87"/>
                      <a:pt x="9" y="90"/>
                      <a:pt x="9" y="90"/>
                    </a:cubicBezTo>
                    <a:cubicBezTo>
                      <a:pt x="4" y="97"/>
                      <a:pt x="4" y="97"/>
                      <a:pt x="4" y="97"/>
                    </a:cubicBezTo>
                    <a:cubicBezTo>
                      <a:pt x="0" y="97"/>
                      <a:pt x="0" y="97"/>
                      <a:pt x="0" y="97"/>
                    </a:cubicBezTo>
                    <a:cubicBezTo>
                      <a:pt x="1" y="103"/>
                      <a:pt x="1" y="103"/>
                      <a:pt x="1" y="103"/>
                    </a:cubicBezTo>
                    <a:cubicBezTo>
                      <a:pt x="8" y="103"/>
                      <a:pt x="8" y="103"/>
                      <a:pt x="8" y="103"/>
                    </a:cubicBezTo>
                    <a:cubicBezTo>
                      <a:pt x="14" y="96"/>
                      <a:pt x="14" y="96"/>
                      <a:pt x="14" y="96"/>
                    </a:cubicBezTo>
                    <a:cubicBezTo>
                      <a:pt x="14" y="96"/>
                      <a:pt x="12" y="95"/>
                      <a:pt x="12" y="93"/>
                    </a:cubicBezTo>
                    <a:cubicBezTo>
                      <a:pt x="12" y="90"/>
                      <a:pt x="17" y="84"/>
                      <a:pt x="26" y="83"/>
                    </a:cubicBezTo>
                    <a:cubicBezTo>
                      <a:pt x="34" y="82"/>
                      <a:pt x="40" y="87"/>
                      <a:pt x="40" y="87"/>
                    </a:cubicBezTo>
                    <a:cubicBezTo>
                      <a:pt x="39" y="92"/>
                      <a:pt x="39" y="92"/>
                      <a:pt x="39" y="92"/>
                    </a:cubicBezTo>
                    <a:cubicBezTo>
                      <a:pt x="39" y="92"/>
                      <a:pt x="42" y="94"/>
                      <a:pt x="41" y="98"/>
                    </a:cubicBezTo>
                    <a:cubicBezTo>
                      <a:pt x="40" y="103"/>
                      <a:pt x="37" y="107"/>
                      <a:pt x="37" y="107"/>
                    </a:cubicBezTo>
                    <a:cubicBezTo>
                      <a:pt x="41" y="107"/>
                      <a:pt x="41" y="107"/>
                      <a:pt x="41" y="107"/>
                    </a:cubicBezTo>
                    <a:cubicBezTo>
                      <a:pt x="42" y="110"/>
                      <a:pt x="42" y="110"/>
                      <a:pt x="42" y="110"/>
                    </a:cubicBezTo>
                    <a:cubicBezTo>
                      <a:pt x="42" y="110"/>
                      <a:pt x="48" y="112"/>
                      <a:pt x="48" y="120"/>
                    </a:cubicBezTo>
                    <a:cubicBezTo>
                      <a:pt x="48" y="122"/>
                      <a:pt x="48" y="122"/>
                      <a:pt x="48" y="122"/>
                    </a:cubicBezTo>
                    <a:cubicBezTo>
                      <a:pt x="48" y="123"/>
                      <a:pt x="50" y="124"/>
                      <a:pt x="52" y="124"/>
                    </a:cubicBezTo>
                    <a:cubicBezTo>
                      <a:pt x="57" y="123"/>
                      <a:pt x="57" y="120"/>
                      <a:pt x="58" y="120"/>
                    </a:cubicBezTo>
                    <a:cubicBezTo>
                      <a:pt x="60" y="121"/>
                      <a:pt x="61" y="122"/>
                      <a:pt x="64" y="121"/>
                    </a:cubicBezTo>
                    <a:cubicBezTo>
                      <a:pt x="67" y="121"/>
                      <a:pt x="68" y="116"/>
                      <a:pt x="71" y="116"/>
                    </a:cubicBezTo>
                    <a:cubicBezTo>
                      <a:pt x="72" y="116"/>
                      <a:pt x="79" y="122"/>
                      <a:pt x="82" y="122"/>
                    </a:cubicBezTo>
                    <a:cubicBezTo>
                      <a:pt x="86" y="122"/>
                      <a:pt x="85" y="118"/>
                      <a:pt x="86" y="118"/>
                    </a:cubicBezTo>
                    <a:cubicBezTo>
                      <a:pt x="88" y="118"/>
                      <a:pt x="91" y="118"/>
                      <a:pt x="92" y="116"/>
                    </a:cubicBezTo>
                    <a:cubicBezTo>
                      <a:pt x="93" y="115"/>
                      <a:pt x="92" y="112"/>
                      <a:pt x="94" y="111"/>
                    </a:cubicBezTo>
                    <a:cubicBezTo>
                      <a:pt x="97" y="110"/>
                      <a:pt x="100" y="107"/>
                      <a:pt x="100" y="107"/>
                    </a:cubicBezTo>
                    <a:cubicBezTo>
                      <a:pt x="97" y="99"/>
                      <a:pt x="97" y="99"/>
                      <a:pt x="97" y="99"/>
                    </a:cubicBezTo>
                    <a:cubicBezTo>
                      <a:pt x="99" y="96"/>
                      <a:pt x="99" y="96"/>
                      <a:pt x="99" y="96"/>
                    </a:cubicBezTo>
                    <a:cubicBezTo>
                      <a:pt x="101" y="97"/>
                      <a:pt x="101" y="97"/>
                      <a:pt x="101" y="97"/>
                    </a:cubicBezTo>
                    <a:cubicBezTo>
                      <a:pt x="107" y="93"/>
                      <a:pt x="107" y="93"/>
                      <a:pt x="107" y="93"/>
                    </a:cubicBezTo>
                    <a:cubicBezTo>
                      <a:pt x="105" y="90"/>
                      <a:pt x="105" y="90"/>
                      <a:pt x="105" y="90"/>
                    </a:cubicBezTo>
                    <a:cubicBezTo>
                      <a:pt x="112" y="88"/>
                      <a:pt x="112" y="88"/>
                      <a:pt x="112" y="88"/>
                    </a:cubicBezTo>
                    <a:cubicBezTo>
                      <a:pt x="116" y="90"/>
                      <a:pt x="116" y="90"/>
                      <a:pt x="116" y="90"/>
                    </a:cubicBezTo>
                    <a:cubicBezTo>
                      <a:pt x="116" y="90"/>
                      <a:pt x="110" y="96"/>
                      <a:pt x="112" y="99"/>
                    </a:cubicBezTo>
                    <a:cubicBezTo>
                      <a:pt x="114" y="103"/>
                      <a:pt x="118" y="104"/>
                      <a:pt x="118" y="105"/>
                    </a:cubicBezTo>
                    <a:cubicBezTo>
                      <a:pt x="118" y="106"/>
                      <a:pt x="117" y="108"/>
                      <a:pt x="121" y="110"/>
                    </a:cubicBezTo>
                    <a:cubicBezTo>
                      <a:pt x="124" y="112"/>
                      <a:pt x="129" y="111"/>
                      <a:pt x="129" y="111"/>
                    </a:cubicBezTo>
                    <a:cubicBezTo>
                      <a:pt x="132" y="114"/>
                      <a:pt x="132" y="114"/>
                      <a:pt x="132" y="114"/>
                    </a:cubicBezTo>
                    <a:cubicBezTo>
                      <a:pt x="129" y="116"/>
                      <a:pt x="129" y="116"/>
                      <a:pt x="129" y="116"/>
                    </a:cubicBezTo>
                    <a:cubicBezTo>
                      <a:pt x="131" y="119"/>
                      <a:pt x="131" y="119"/>
                      <a:pt x="131" y="119"/>
                    </a:cubicBezTo>
                    <a:cubicBezTo>
                      <a:pt x="135" y="128"/>
                      <a:pt x="135" y="128"/>
                      <a:pt x="135" y="128"/>
                    </a:cubicBezTo>
                    <a:cubicBezTo>
                      <a:pt x="139" y="129"/>
                      <a:pt x="139" y="129"/>
                      <a:pt x="139" y="129"/>
                    </a:cubicBezTo>
                    <a:cubicBezTo>
                      <a:pt x="140" y="124"/>
                      <a:pt x="140" y="124"/>
                      <a:pt x="140" y="124"/>
                    </a:cubicBezTo>
                    <a:cubicBezTo>
                      <a:pt x="138" y="122"/>
                      <a:pt x="138" y="122"/>
                      <a:pt x="138" y="122"/>
                    </a:cubicBezTo>
                    <a:cubicBezTo>
                      <a:pt x="137" y="118"/>
                      <a:pt x="137" y="118"/>
                      <a:pt x="137" y="118"/>
                    </a:cubicBezTo>
                    <a:cubicBezTo>
                      <a:pt x="141" y="114"/>
                      <a:pt x="141" y="114"/>
                      <a:pt x="141" y="114"/>
                    </a:cubicBezTo>
                    <a:cubicBezTo>
                      <a:pt x="142" y="111"/>
                      <a:pt x="142" y="111"/>
                      <a:pt x="142" y="111"/>
                    </a:cubicBezTo>
                    <a:cubicBezTo>
                      <a:pt x="142" y="111"/>
                      <a:pt x="148" y="107"/>
                      <a:pt x="150" y="102"/>
                    </a:cubicBezTo>
                    <a:cubicBezTo>
                      <a:pt x="153" y="96"/>
                      <a:pt x="153" y="93"/>
                      <a:pt x="153" y="93"/>
                    </a:cubicBezTo>
                    <a:cubicBezTo>
                      <a:pt x="150" y="91"/>
                      <a:pt x="150" y="91"/>
                      <a:pt x="150" y="91"/>
                    </a:cubicBezTo>
                    <a:cubicBezTo>
                      <a:pt x="153" y="86"/>
                      <a:pt x="153" y="86"/>
                      <a:pt x="153" y="86"/>
                    </a:cubicBezTo>
                    <a:cubicBezTo>
                      <a:pt x="157" y="88"/>
                      <a:pt x="157" y="88"/>
                      <a:pt x="157" y="88"/>
                    </a:cubicBezTo>
                    <a:cubicBezTo>
                      <a:pt x="160" y="86"/>
                      <a:pt x="160" y="86"/>
                      <a:pt x="160" y="86"/>
                    </a:cubicBezTo>
                    <a:cubicBezTo>
                      <a:pt x="160" y="86"/>
                      <a:pt x="159" y="96"/>
                      <a:pt x="164" y="99"/>
                    </a:cubicBezTo>
                    <a:cubicBezTo>
                      <a:pt x="170" y="102"/>
                      <a:pt x="173" y="97"/>
                      <a:pt x="173" y="97"/>
                    </a:cubicBezTo>
                    <a:cubicBezTo>
                      <a:pt x="182" y="95"/>
                      <a:pt x="182" y="95"/>
                      <a:pt x="182" y="95"/>
                    </a:cubicBezTo>
                    <a:cubicBezTo>
                      <a:pt x="184" y="99"/>
                      <a:pt x="184" y="99"/>
                      <a:pt x="184" y="99"/>
                    </a:cubicBezTo>
                    <a:cubicBezTo>
                      <a:pt x="187" y="103"/>
                      <a:pt x="187" y="103"/>
                      <a:pt x="187" y="103"/>
                    </a:cubicBezTo>
                    <a:cubicBezTo>
                      <a:pt x="188" y="105"/>
                      <a:pt x="188" y="105"/>
                      <a:pt x="188" y="105"/>
                    </a:cubicBezTo>
                    <a:cubicBezTo>
                      <a:pt x="190" y="105"/>
                      <a:pt x="190" y="105"/>
                      <a:pt x="190" y="105"/>
                    </a:cubicBezTo>
                    <a:cubicBezTo>
                      <a:pt x="190" y="98"/>
                      <a:pt x="190" y="98"/>
                      <a:pt x="190" y="98"/>
                    </a:cubicBezTo>
                    <a:cubicBezTo>
                      <a:pt x="193" y="93"/>
                      <a:pt x="193" y="93"/>
                      <a:pt x="193" y="93"/>
                    </a:cubicBezTo>
                    <a:cubicBezTo>
                      <a:pt x="191" y="92"/>
                      <a:pt x="191" y="92"/>
                      <a:pt x="191" y="92"/>
                    </a:cubicBezTo>
                    <a:cubicBezTo>
                      <a:pt x="188" y="92"/>
                      <a:pt x="188" y="92"/>
                      <a:pt x="188" y="92"/>
                    </a:cubicBezTo>
                    <a:cubicBezTo>
                      <a:pt x="188" y="92"/>
                      <a:pt x="182" y="88"/>
                      <a:pt x="188" y="82"/>
                    </a:cubicBezTo>
                    <a:cubicBezTo>
                      <a:pt x="194" y="76"/>
                      <a:pt x="196" y="77"/>
                      <a:pt x="196" y="77"/>
                    </a:cubicBezTo>
                    <a:cubicBezTo>
                      <a:pt x="197" y="83"/>
                      <a:pt x="197" y="83"/>
                      <a:pt x="197" y="83"/>
                    </a:cubicBezTo>
                    <a:cubicBezTo>
                      <a:pt x="207" y="86"/>
                      <a:pt x="207" y="86"/>
                      <a:pt x="207" y="86"/>
                    </a:cubicBezTo>
                    <a:cubicBezTo>
                      <a:pt x="207" y="79"/>
                      <a:pt x="207" y="79"/>
                      <a:pt x="207" y="79"/>
                    </a:cubicBezTo>
                    <a:lnTo>
                      <a:pt x="204" y="79"/>
                    </a:lnTo>
                    <a:close/>
                  </a:path>
                </a:pathLst>
              </a:custGeom>
              <a:solidFill>
                <a:srgbClr val="FDC795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28" name="Sweden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4957763" y="1476375"/>
                <a:ext cx="779462" cy="1914525"/>
              </a:xfrm>
              <a:custGeom>
                <a:avLst/>
                <a:gdLst/>
                <a:ahLst/>
                <a:cxnLst>
                  <a:cxn ang="0">
                    <a:pos x="336" y="111"/>
                  </a:cxn>
                  <a:cxn ang="0">
                    <a:pos x="305" y="38"/>
                  </a:cxn>
                  <a:cxn ang="0">
                    <a:pos x="247" y="2"/>
                  </a:cxn>
                  <a:cxn ang="0">
                    <a:pos x="194" y="36"/>
                  </a:cxn>
                  <a:cxn ang="0">
                    <a:pos x="136" y="151"/>
                  </a:cxn>
                  <a:cxn ang="0">
                    <a:pos x="98" y="268"/>
                  </a:cxn>
                  <a:cxn ang="0">
                    <a:pos x="33" y="410"/>
                  </a:cxn>
                  <a:cxn ang="0">
                    <a:pos x="41" y="538"/>
                  </a:cxn>
                  <a:cxn ang="0">
                    <a:pos x="12" y="671"/>
                  </a:cxn>
                  <a:cxn ang="0">
                    <a:pos x="9" y="707"/>
                  </a:cxn>
                  <a:cxn ang="0">
                    <a:pos x="18" y="737"/>
                  </a:cxn>
                  <a:cxn ang="0">
                    <a:pos x="37" y="779"/>
                  </a:cxn>
                  <a:cxn ang="0">
                    <a:pos x="52" y="826"/>
                  </a:cxn>
                  <a:cxn ang="0">
                    <a:pos x="64" y="871"/>
                  </a:cxn>
                  <a:cxn ang="0">
                    <a:pos x="106" y="895"/>
                  </a:cxn>
                  <a:cxn ang="0">
                    <a:pos x="172" y="847"/>
                  </a:cxn>
                  <a:cxn ang="0">
                    <a:pos x="197" y="756"/>
                  </a:cxn>
                  <a:cxn ang="0">
                    <a:pos x="196" y="719"/>
                  </a:cxn>
                  <a:cxn ang="0">
                    <a:pos x="192" y="677"/>
                  </a:cxn>
                  <a:cxn ang="0">
                    <a:pos x="226" y="648"/>
                  </a:cxn>
                  <a:cxn ang="0">
                    <a:pos x="237" y="628"/>
                  </a:cxn>
                  <a:cxn ang="0">
                    <a:pos x="267" y="592"/>
                  </a:cxn>
                  <a:cxn ang="0">
                    <a:pos x="216" y="557"/>
                  </a:cxn>
                  <a:cxn ang="0">
                    <a:pos x="193" y="502"/>
                  </a:cxn>
                  <a:cxn ang="0">
                    <a:pos x="201" y="450"/>
                  </a:cxn>
                  <a:cxn ang="0">
                    <a:pos x="207" y="432"/>
                  </a:cxn>
                  <a:cxn ang="0">
                    <a:pos x="225" y="405"/>
                  </a:cxn>
                  <a:cxn ang="0">
                    <a:pos x="233" y="375"/>
                  </a:cxn>
                  <a:cxn ang="0">
                    <a:pos x="262" y="357"/>
                  </a:cxn>
                  <a:cxn ang="0">
                    <a:pos x="290" y="333"/>
                  </a:cxn>
                  <a:cxn ang="0">
                    <a:pos x="309" y="283"/>
                  </a:cxn>
                  <a:cxn ang="0">
                    <a:pos x="307" y="221"/>
                  </a:cxn>
                  <a:cxn ang="0">
                    <a:pos x="329" y="199"/>
                  </a:cxn>
                  <a:cxn ang="0">
                    <a:pos x="365" y="195"/>
                  </a:cxn>
                  <a:cxn ang="0">
                    <a:pos x="14" y="718"/>
                  </a:cxn>
                  <a:cxn ang="0">
                    <a:pos x="207" y="765"/>
                  </a:cxn>
                  <a:cxn ang="0">
                    <a:pos x="190" y="816"/>
                  </a:cxn>
                  <a:cxn ang="0">
                    <a:pos x="208" y="788"/>
                  </a:cxn>
                  <a:cxn ang="0">
                    <a:pos x="277" y="731"/>
                  </a:cxn>
                  <a:cxn ang="0">
                    <a:pos x="248" y="746"/>
                  </a:cxn>
                  <a:cxn ang="0">
                    <a:pos x="253" y="787"/>
                  </a:cxn>
                  <a:cxn ang="0">
                    <a:pos x="277" y="750"/>
                  </a:cxn>
                  <a:cxn ang="0">
                    <a:pos x="281" y="712"/>
                  </a:cxn>
                  <a:cxn ang="0">
                    <a:pos x="281" y="689"/>
                  </a:cxn>
                  <a:cxn ang="0">
                    <a:pos x="243" y="630"/>
                  </a:cxn>
                  <a:cxn ang="0">
                    <a:pos x="258" y="630"/>
                  </a:cxn>
                  <a:cxn ang="0">
                    <a:pos x="247" y="656"/>
                  </a:cxn>
                  <a:cxn ang="0">
                    <a:pos x="251" y="636"/>
                  </a:cxn>
                  <a:cxn ang="0">
                    <a:pos x="241" y="554"/>
                  </a:cxn>
                  <a:cxn ang="0">
                    <a:pos x="256" y="573"/>
                  </a:cxn>
                  <a:cxn ang="0">
                    <a:pos x="195" y="740"/>
                  </a:cxn>
                  <a:cxn ang="0">
                    <a:pos x="205" y="485"/>
                  </a:cxn>
                  <a:cxn ang="0">
                    <a:pos x="214" y="425"/>
                  </a:cxn>
                  <a:cxn ang="0">
                    <a:pos x="294" y="343"/>
                  </a:cxn>
                  <a:cxn ang="0">
                    <a:pos x="307" y="241"/>
                  </a:cxn>
                  <a:cxn ang="0">
                    <a:pos x="312" y="222"/>
                  </a:cxn>
                  <a:cxn ang="0">
                    <a:pos x="325" y="217"/>
                  </a:cxn>
                  <a:cxn ang="0">
                    <a:pos x="356" y="200"/>
                  </a:cxn>
                </a:cxnLst>
                <a:rect l="0" t="0" r="r" b="b"/>
                <a:pathLst>
                  <a:path w="365" h="899">
                    <a:moveTo>
                      <a:pt x="364" y="188"/>
                    </a:moveTo>
                    <a:cubicBezTo>
                      <a:pt x="364" y="188"/>
                      <a:pt x="359" y="186"/>
                      <a:pt x="358" y="182"/>
                    </a:cubicBezTo>
                    <a:cubicBezTo>
                      <a:pt x="357" y="178"/>
                      <a:pt x="358" y="175"/>
                      <a:pt x="356" y="173"/>
                    </a:cubicBezTo>
                    <a:cubicBezTo>
                      <a:pt x="354" y="172"/>
                      <a:pt x="347" y="171"/>
                      <a:pt x="347" y="167"/>
                    </a:cubicBezTo>
                    <a:cubicBezTo>
                      <a:pt x="348" y="161"/>
                      <a:pt x="348" y="160"/>
                      <a:pt x="348" y="160"/>
                    </a:cubicBezTo>
                    <a:cubicBezTo>
                      <a:pt x="348" y="160"/>
                      <a:pt x="343" y="159"/>
                      <a:pt x="345" y="155"/>
                    </a:cubicBezTo>
                    <a:cubicBezTo>
                      <a:pt x="348" y="150"/>
                      <a:pt x="353" y="147"/>
                      <a:pt x="352" y="144"/>
                    </a:cubicBezTo>
                    <a:cubicBezTo>
                      <a:pt x="350" y="140"/>
                      <a:pt x="348" y="136"/>
                      <a:pt x="348" y="136"/>
                    </a:cubicBezTo>
                    <a:cubicBezTo>
                      <a:pt x="348" y="136"/>
                      <a:pt x="349" y="129"/>
                      <a:pt x="347" y="125"/>
                    </a:cubicBezTo>
                    <a:cubicBezTo>
                      <a:pt x="345" y="122"/>
                      <a:pt x="336" y="117"/>
                      <a:pt x="336" y="111"/>
                    </a:cubicBezTo>
                    <a:cubicBezTo>
                      <a:pt x="336" y="106"/>
                      <a:pt x="337" y="104"/>
                      <a:pt x="337" y="104"/>
                    </a:cubicBezTo>
                    <a:cubicBezTo>
                      <a:pt x="340" y="101"/>
                      <a:pt x="340" y="101"/>
                      <a:pt x="340" y="101"/>
                    </a:cubicBezTo>
                    <a:cubicBezTo>
                      <a:pt x="339" y="95"/>
                      <a:pt x="339" y="95"/>
                      <a:pt x="339" y="95"/>
                    </a:cubicBezTo>
                    <a:cubicBezTo>
                      <a:pt x="328" y="93"/>
                      <a:pt x="328" y="93"/>
                      <a:pt x="328" y="93"/>
                    </a:cubicBezTo>
                    <a:cubicBezTo>
                      <a:pt x="328" y="93"/>
                      <a:pt x="330" y="87"/>
                      <a:pt x="328" y="81"/>
                    </a:cubicBezTo>
                    <a:cubicBezTo>
                      <a:pt x="327" y="77"/>
                      <a:pt x="325" y="74"/>
                      <a:pt x="326" y="69"/>
                    </a:cubicBezTo>
                    <a:cubicBezTo>
                      <a:pt x="327" y="65"/>
                      <a:pt x="332" y="65"/>
                      <a:pt x="330" y="62"/>
                    </a:cubicBezTo>
                    <a:cubicBezTo>
                      <a:pt x="328" y="59"/>
                      <a:pt x="319" y="50"/>
                      <a:pt x="319" y="50"/>
                    </a:cubicBezTo>
                    <a:cubicBezTo>
                      <a:pt x="315" y="53"/>
                      <a:pt x="315" y="53"/>
                      <a:pt x="315" y="53"/>
                    </a:cubicBezTo>
                    <a:cubicBezTo>
                      <a:pt x="315" y="53"/>
                      <a:pt x="314" y="43"/>
                      <a:pt x="305" y="38"/>
                    </a:cubicBezTo>
                    <a:cubicBezTo>
                      <a:pt x="295" y="33"/>
                      <a:pt x="282" y="31"/>
                      <a:pt x="282" y="31"/>
                    </a:cubicBezTo>
                    <a:cubicBezTo>
                      <a:pt x="278" y="27"/>
                      <a:pt x="278" y="27"/>
                      <a:pt x="278" y="27"/>
                    </a:cubicBezTo>
                    <a:cubicBezTo>
                      <a:pt x="274" y="27"/>
                      <a:pt x="274" y="27"/>
                      <a:pt x="274" y="27"/>
                    </a:cubicBezTo>
                    <a:cubicBezTo>
                      <a:pt x="272" y="24"/>
                      <a:pt x="272" y="24"/>
                      <a:pt x="272" y="24"/>
                    </a:cubicBezTo>
                    <a:cubicBezTo>
                      <a:pt x="267" y="22"/>
                      <a:pt x="267" y="22"/>
                      <a:pt x="267" y="22"/>
                    </a:cubicBezTo>
                    <a:cubicBezTo>
                      <a:pt x="265" y="15"/>
                      <a:pt x="265" y="15"/>
                      <a:pt x="265" y="15"/>
                    </a:cubicBezTo>
                    <a:cubicBezTo>
                      <a:pt x="261" y="15"/>
                      <a:pt x="261" y="15"/>
                      <a:pt x="261" y="15"/>
                    </a:cubicBezTo>
                    <a:cubicBezTo>
                      <a:pt x="251" y="11"/>
                      <a:pt x="251" y="11"/>
                      <a:pt x="251" y="11"/>
                    </a:cubicBezTo>
                    <a:cubicBezTo>
                      <a:pt x="250" y="5"/>
                      <a:pt x="250" y="5"/>
                      <a:pt x="250" y="5"/>
                    </a:cubicBezTo>
                    <a:cubicBezTo>
                      <a:pt x="247" y="2"/>
                      <a:pt x="247" y="2"/>
                      <a:pt x="247" y="2"/>
                    </a:cubicBezTo>
                    <a:cubicBezTo>
                      <a:pt x="242" y="2"/>
                      <a:pt x="242" y="2"/>
                      <a:pt x="242" y="2"/>
                    </a:cubicBezTo>
                    <a:cubicBezTo>
                      <a:pt x="242" y="0"/>
                      <a:pt x="242" y="0"/>
                      <a:pt x="242" y="0"/>
                    </a:cubicBezTo>
                    <a:cubicBezTo>
                      <a:pt x="230" y="2"/>
                      <a:pt x="230" y="2"/>
                      <a:pt x="230" y="2"/>
                    </a:cubicBezTo>
                    <a:cubicBezTo>
                      <a:pt x="230" y="2"/>
                      <a:pt x="237" y="11"/>
                      <a:pt x="238" y="17"/>
                    </a:cubicBezTo>
                    <a:cubicBezTo>
                      <a:pt x="239" y="25"/>
                      <a:pt x="231" y="34"/>
                      <a:pt x="231" y="34"/>
                    </a:cubicBezTo>
                    <a:cubicBezTo>
                      <a:pt x="239" y="38"/>
                      <a:pt x="239" y="38"/>
                      <a:pt x="239" y="38"/>
                    </a:cubicBezTo>
                    <a:cubicBezTo>
                      <a:pt x="232" y="48"/>
                      <a:pt x="232" y="48"/>
                      <a:pt x="232" y="48"/>
                    </a:cubicBezTo>
                    <a:cubicBezTo>
                      <a:pt x="210" y="38"/>
                      <a:pt x="210" y="38"/>
                      <a:pt x="210" y="38"/>
                    </a:cubicBezTo>
                    <a:cubicBezTo>
                      <a:pt x="198" y="41"/>
                      <a:pt x="198" y="41"/>
                      <a:pt x="198" y="41"/>
                    </a:cubicBezTo>
                    <a:cubicBezTo>
                      <a:pt x="194" y="36"/>
                      <a:pt x="194" y="36"/>
                      <a:pt x="194" y="36"/>
                    </a:cubicBezTo>
                    <a:cubicBezTo>
                      <a:pt x="186" y="41"/>
                      <a:pt x="186" y="41"/>
                      <a:pt x="186" y="41"/>
                    </a:cubicBezTo>
                    <a:cubicBezTo>
                      <a:pt x="186" y="41"/>
                      <a:pt x="189" y="56"/>
                      <a:pt x="188" y="61"/>
                    </a:cubicBezTo>
                    <a:cubicBezTo>
                      <a:pt x="186" y="66"/>
                      <a:pt x="183" y="77"/>
                      <a:pt x="183" y="77"/>
                    </a:cubicBezTo>
                    <a:cubicBezTo>
                      <a:pt x="167" y="69"/>
                      <a:pt x="167" y="69"/>
                      <a:pt x="167" y="69"/>
                    </a:cubicBezTo>
                    <a:cubicBezTo>
                      <a:pt x="153" y="84"/>
                      <a:pt x="153" y="84"/>
                      <a:pt x="153" y="84"/>
                    </a:cubicBezTo>
                    <a:cubicBezTo>
                      <a:pt x="153" y="84"/>
                      <a:pt x="149" y="101"/>
                      <a:pt x="149" y="106"/>
                    </a:cubicBezTo>
                    <a:cubicBezTo>
                      <a:pt x="148" y="111"/>
                      <a:pt x="140" y="109"/>
                      <a:pt x="140" y="109"/>
                    </a:cubicBezTo>
                    <a:cubicBezTo>
                      <a:pt x="140" y="116"/>
                      <a:pt x="140" y="116"/>
                      <a:pt x="140" y="116"/>
                    </a:cubicBezTo>
                    <a:cubicBezTo>
                      <a:pt x="140" y="116"/>
                      <a:pt x="147" y="127"/>
                      <a:pt x="148" y="135"/>
                    </a:cubicBezTo>
                    <a:cubicBezTo>
                      <a:pt x="150" y="141"/>
                      <a:pt x="144" y="143"/>
                      <a:pt x="136" y="151"/>
                    </a:cubicBezTo>
                    <a:cubicBezTo>
                      <a:pt x="130" y="157"/>
                      <a:pt x="132" y="162"/>
                      <a:pt x="130" y="169"/>
                    </a:cubicBezTo>
                    <a:cubicBezTo>
                      <a:pt x="128" y="175"/>
                      <a:pt x="123" y="176"/>
                      <a:pt x="123" y="176"/>
                    </a:cubicBezTo>
                    <a:cubicBezTo>
                      <a:pt x="126" y="189"/>
                      <a:pt x="126" y="189"/>
                      <a:pt x="126" y="189"/>
                    </a:cubicBezTo>
                    <a:cubicBezTo>
                      <a:pt x="113" y="199"/>
                      <a:pt x="113" y="199"/>
                      <a:pt x="113" y="199"/>
                    </a:cubicBezTo>
                    <a:cubicBezTo>
                      <a:pt x="100" y="201"/>
                      <a:pt x="100" y="201"/>
                      <a:pt x="100" y="201"/>
                    </a:cubicBezTo>
                    <a:cubicBezTo>
                      <a:pt x="104" y="221"/>
                      <a:pt x="104" y="221"/>
                      <a:pt x="104" y="221"/>
                    </a:cubicBezTo>
                    <a:cubicBezTo>
                      <a:pt x="102" y="233"/>
                      <a:pt x="102" y="233"/>
                      <a:pt x="102" y="233"/>
                    </a:cubicBezTo>
                    <a:cubicBezTo>
                      <a:pt x="103" y="253"/>
                      <a:pt x="103" y="253"/>
                      <a:pt x="103" y="253"/>
                    </a:cubicBezTo>
                    <a:cubicBezTo>
                      <a:pt x="99" y="258"/>
                      <a:pt x="99" y="258"/>
                      <a:pt x="99" y="258"/>
                    </a:cubicBezTo>
                    <a:cubicBezTo>
                      <a:pt x="98" y="268"/>
                      <a:pt x="98" y="268"/>
                      <a:pt x="98" y="268"/>
                    </a:cubicBezTo>
                    <a:cubicBezTo>
                      <a:pt x="79" y="300"/>
                      <a:pt x="79" y="300"/>
                      <a:pt x="79" y="300"/>
                    </a:cubicBezTo>
                    <a:cubicBezTo>
                      <a:pt x="93" y="310"/>
                      <a:pt x="93" y="310"/>
                      <a:pt x="93" y="310"/>
                    </a:cubicBezTo>
                    <a:cubicBezTo>
                      <a:pt x="94" y="325"/>
                      <a:pt x="94" y="325"/>
                      <a:pt x="94" y="325"/>
                    </a:cubicBezTo>
                    <a:cubicBezTo>
                      <a:pt x="89" y="337"/>
                      <a:pt x="89" y="337"/>
                      <a:pt x="89" y="337"/>
                    </a:cubicBezTo>
                    <a:cubicBezTo>
                      <a:pt x="89" y="337"/>
                      <a:pt x="69" y="331"/>
                      <a:pt x="59" y="334"/>
                    </a:cubicBezTo>
                    <a:cubicBezTo>
                      <a:pt x="47" y="337"/>
                      <a:pt x="35" y="365"/>
                      <a:pt x="35" y="365"/>
                    </a:cubicBezTo>
                    <a:cubicBezTo>
                      <a:pt x="38" y="374"/>
                      <a:pt x="38" y="374"/>
                      <a:pt x="38" y="374"/>
                    </a:cubicBezTo>
                    <a:cubicBezTo>
                      <a:pt x="30" y="385"/>
                      <a:pt x="30" y="385"/>
                      <a:pt x="30" y="385"/>
                    </a:cubicBezTo>
                    <a:cubicBezTo>
                      <a:pt x="37" y="404"/>
                      <a:pt x="37" y="404"/>
                      <a:pt x="37" y="404"/>
                    </a:cubicBezTo>
                    <a:cubicBezTo>
                      <a:pt x="33" y="410"/>
                      <a:pt x="33" y="410"/>
                      <a:pt x="33" y="410"/>
                    </a:cubicBezTo>
                    <a:cubicBezTo>
                      <a:pt x="36" y="421"/>
                      <a:pt x="36" y="421"/>
                      <a:pt x="36" y="421"/>
                    </a:cubicBezTo>
                    <a:cubicBezTo>
                      <a:pt x="33" y="429"/>
                      <a:pt x="33" y="429"/>
                      <a:pt x="33" y="429"/>
                    </a:cubicBezTo>
                    <a:cubicBezTo>
                      <a:pt x="41" y="452"/>
                      <a:pt x="41" y="452"/>
                      <a:pt x="41" y="452"/>
                    </a:cubicBezTo>
                    <a:cubicBezTo>
                      <a:pt x="35" y="487"/>
                      <a:pt x="35" y="487"/>
                      <a:pt x="35" y="487"/>
                    </a:cubicBezTo>
                    <a:cubicBezTo>
                      <a:pt x="45" y="497"/>
                      <a:pt x="45" y="497"/>
                      <a:pt x="45" y="497"/>
                    </a:cubicBezTo>
                    <a:cubicBezTo>
                      <a:pt x="45" y="497"/>
                      <a:pt x="50" y="500"/>
                      <a:pt x="54" y="503"/>
                    </a:cubicBezTo>
                    <a:cubicBezTo>
                      <a:pt x="58" y="507"/>
                      <a:pt x="59" y="511"/>
                      <a:pt x="55" y="523"/>
                    </a:cubicBezTo>
                    <a:cubicBezTo>
                      <a:pt x="53" y="535"/>
                      <a:pt x="45" y="529"/>
                      <a:pt x="45" y="529"/>
                    </a:cubicBezTo>
                    <a:cubicBezTo>
                      <a:pt x="36" y="532"/>
                      <a:pt x="36" y="532"/>
                      <a:pt x="36" y="532"/>
                    </a:cubicBezTo>
                    <a:cubicBezTo>
                      <a:pt x="41" y="538"/>
                      <a:pt x="41" y="538"/>
                      <a:pt x="41" y="538"/>
                    </a:cubicBezTo>
                    <a:cubicBezTo>
                      <a:pt x="43" y="547"/>
                      <a:pt x="43" y="547"/>
                      <a:pt x="43" y="547"/>
                    </a:cubicBezTo>
                    <a:cubicBezTo>
                      <a:pt x="43" y="547"/>
                      <a:pt x="49" y="561"/>
                      <a:pt x="51" y="568"/>
                    </a:cubicBezTo>
                    <a:cubicBezTo>
                      <a:pt x="54" y="576"/>
                      <a:pt x="46" y="572"/>
                      <a:pt x="45" y="577"/>
                    </a:cubicBezTo>
                    <a:cubicBezTo>
                      <a:pt x="44" y="581"/>
                      <a:pt x="48" y="584"/>
                      <a:pt x="45" y="597"/>
                    </a:cubicBezTo>
                    <a:cubicBezTo>
                      <a:pt x="41" y="609"/>
                      <a:pt x="30" y="603"/>
                      <a:pt x="26" y="607"/>
                    </a:cubicBezTo>
                    <a:cubicBezTo>
                      <a:pt x="21" y="610"/>
                      <a:pt x="28" y="611"/>
                      <a:pt x="27" y="616"/>
                    </a:cubicBezTo>
                    <a:cubicBezTo>
                      <a:pt x="27" y="620"/>
                      <a:pt x="21" y="619"/>
                      <a:pt x="19" y="623"/>
                    </a:cubicBezTo>
                    <a:cubicBezTo>
                      <a:pt x="16" y="625"/>
                      <a:pt x="25" y="643"/>
                      <a:pt x="25" y="643"/>
                    </a:cubicBezTo>
                    <a:cubicBezTo>
                      <a:pt x="25" y="643"/>
                      <a:pt x="21" y="651"/>
                      <a:pt x="19" y="658"/>
                    </a:cubicBezTo>
                    <a:cubicBezTo>
                      <a:pt x="17" y="665"/>
                      <a:pt x="16" y="671"/>
                      <a:pt x="12" y="671"/>
                    </a:cubicBezTo>
                    <a:cubicBezTo>
                      <a:pt x="8" y="671"/>
                      <a:pt x="11" y="662"/>
                      <a:pt x="10" y="657"/>
                    </a:cubicBezTo>
                    <a:cubicBezTo>
                      <a:pt x="9" y="652"/>
                      <a:pt x="1" y="657"/>
                      <a:pt x="1" y="657"/>
                    </a:cubicBezTo>
                    <a:cubicBezTo>
                      <a:pt x="0" y="664"/>
                      <a:pt x="0" y="664"/>
                      <a:pt x="0" y="664"/>
                    </a:cubicBezTo>
                    <a:cubicBezTo>
                      <a:pt x="0" y="664"/>
                      <a:pt x="3" y="668"/>
                      <a:pt x="3" y="673"/>
                    </a:cubicBezTo>
                    <a:cubicBezTo>
                      <a:pt x="3" y="676"/>
                      <a:pt x="0" y="679"/>
                      <a:pt x="0" y="679"/>
                    </a:cubicBezTo>
                    <a:cubicBezTo>
                      <a:pt x="0" y="679"/>
                      <a:pt x="5" y="693"/>
                      <a:pt x="5" y="696"/>
                    </a:cubicBezTo>
                    <a:cubicBezTo>
                      <a:pt x="5" y="699"/>
                      <a:pt x="1" y="699"/>
                      <a:pt x="1" y="699"/>
                    </a:cubicBezTo>
                    <a:cubicBezTo>
                      <a:pt x="2" y="703"/>
                      <a:pt x="2" y="703"/>
                      <a:pt x="2" y="703"/>
                    </a:cubicBezTo>
                    <a:cubicBezTo>
                      <a:pt x="2" y="703"/>
                      <a:pt x="6" y="700"/>
                      <a:pt x="9" y="702"/>
                    </a:cubicBezTo>
                    <a:cubicBezTo>
                      <a:pt x="10" y="703"/>
                      <a:pt x="9" y="707"/>
                      <a:pt x="9" y="707"/>
                    </a:cubicBezTo>
                    <a:cubicBezTo>
                      <a:pt x="11" y="707"/>
                      <a:pt x="11" y="707"/>
                      <a:pt x="11" y="707"/>
                    </a:cubicBezTo>
                    <a:cubicBezTo>
                      <a:pt x="14" y="697"/>
                      <a:pt x="14" y="697"/>
                      <a:pt x="14" y="697"/>
                    </a:cubicBezTo>
                    <a:cubicBezTo>
                      <a:pt x="17" y="700"/>
                      <a:pt x="17" y="700"/>
                      <a:pt x="17" y="700"/>
                    </a:cubicBezTo>
                    <a:cubicBezTo>
                      <a:pt x="10" y="710"/>
                      <a:pt x="10" y="710"/>
                      <a:pt x="10" y="710"/>
                    </a:cubicBezTo>
                    <a:cubicBezTo>
                      <a:pt x="10" y="712"/>
                      <a:pt x="10" y="712"/>
                      <a:pt x="10" y="712"/>
                    </a:cubicBezTo>
                    <a:cubicBezTo>
                      <a:pt x="25" y="704"/>
                      <a:pt x="25" y="704"/>
                      <a:pt x="25" y="704"/>
                    </a:cubicBezTo>
                    <a:cubicBezTo>
                      <a:pt x="22" y="709"/>
                      <a:pt x="22" y="709"/>
                      <a:pt x="22" y="709"/>
                    </a:cubicBezTo>
                    <a:cubicBezTo>
                      <a:pt x="25" y="713"/>
                      <a:pt x="25" y="713"/>
                      <a:pt x="25" y="713"/>
                    </a:cubicBezTo>
                    <a:cubicBezTo>
                      <a:pt x="21" y="730"/>
                      <a:pt x="21" y="730"/>
                      <a:pt x="21" y="730"/>
                    </a:cubicBezTo>
                    <a:cubicBezTo>
                      <a:pt x="18" y="737"/>
                      <a:pt x="18" y="737"/>
                      <a:pt x="18" y="737"/>
                    </a:cubicBezTo>
                    <a:cubicBezTo>
                      <a:pt x="22" y="741"/>
                      <a:pt x="22" y="741"/>
                      <a:pt x="22" y="741"/>
                    </a:cubicBezTo>
                    <a:cubicBezTo>
                      <a:pt x="17" y="746"/>
                      <a:pt x="17" y="746"/>
                      <a:pt x="17" y="746"/>
                    </a:cubicBezTo>
                    <a:cubicBezTo>
                      <a:pt x="22" y="746"/>
                      <a:pt x="22" y="746"/>
                      <a:pt x="22" y="746"/>
                    </a:cubicBezTo>
                    <a:cubicBezTo>
                      <a:pt x="24" y="746"/>
                      <a:pt x="26" y="754"/>
                      <a:pt x="26" y="757"/>
                    </a:cubicBezTo>
                    <a:cubicBezTo>
                      <a:pt x="26" y="761"/>
                      <a:pt x="27" y="768"/>
                      <a:pt x="29" y="768"/>
                    </a:cubicBezTo>
                    <a:cubicBezTo>
                      <a:pt x="31" y="768"/>
                      <a:pt x="32" y="761"/>
                      <a:pt x="32" y="761"/>
                    </a:cubicBezTo>
                    <a:cubicBezTo>
                      <a:pt x="32" y="770"/>
                      <a:pt x="32" y="770"/>
                      <a:pt x="32" y="770"/>
                    </a:cubicBezTo>
                    <a:cubicBezTo>
                      <a:pt x="34" y="771"/>
                      <a:pt x="34" y="771"/>
                      <a:pt x="34" y="771"/>
                    </a:cubicBezTo>
                    <a:cubicBezTo>
                      <a:pt x="32" y="777"/>
                      <a:pt x="32" y="777"/>
                      <a:pt x="32" y="777"/>
                    </a:cubicBezTo>
                    <a:cubicBezTo>
                      <a:pt x="37" y="779"/>
                      <a:pt x="37" y="779"/>
                      <a:pt x="37" y="779"/>
                    </a:cubicBezTo>
                    <a:cubicBezTo>
                      <a:pt x="37" y="786"/>
                      <a:pt x="37" y="786"/>
                      <a:pt x="37" y="786"/>
                    </a:cubicBezTo>
                    <a:cubicBezTo>
                      <a:pt x="42" y="791"/>
                      <a:pt x="42" y="791"/>
                      <a:pt x="42" y="791"/>
                    </a:cubicBezTo>
                    <a:cubicBezTo>
                      <a:pt x="42" y="796"/>
                      <a:pt x="42" y="796"/>
                      <a:pt x="42" y="796"/>
                    </a:cubicBezTo>
                    <a:cubicBezTo>
                      <a:pt x="48" y="804"/>
                      <a:pt x="48" y="804"/>
                      <a:pt x="48" y="804"/>
                    </a:cubicBezTo>
                    <a:cubicBezTo>
                      <a:pt x="50" y="803"/>
                      <a:pt x="50" y="803"/>
                      <a:pt x="50" y="803"/>
                    </a:cubicBezTo>
                    <a:cubicBezTo>
                      <a:pt x="50" y="803"/>
                      <a:pt x="52" y="815"/>
                      <a:pt x="55" y="816"/>
                    </a:cubicBezTo>
                    <a:cubicBezTo>
                      <a:pt x="60" y="818"/>
                      <a:pt x="61" y="814"/>
                      <a:pt x="61" y="814"/>
                    </a:cubicBezTo>
                    <a:cubicBezTo>
                      <a:pt x="61" y="814"/>
                      <a:pt x="64" y="822"/>
                      <a:pt x="64" y="825"/>
                    </a:cubicBezTo>
                    <a:cubicBezTo>
                      <a:pt x="64" y="829"/>
                      <a:pt x="58" y="828"/>
                      <a:pt x="58" y="828"/>
                    </a:cubicBezTo>
                    <a:cubicBezTo>
                      <a:pt x="58" y="828"/>
                      <a:pt x="57" y="823"/>
                      <a:pt x="52" y="826"/>
                    </a:cubicBezTo>
                    <a:cubicBezTo>
                      <a:pt x="48" y="830"/>
                      <a:pt x="58" y="834"/>
                      <a:pt x="58" y="834"/>
                    </a:cubicBezTo>
                    <a:cubicBezTo>
                      <a:pt x="58" y="834"/>
                      <a:pt x="61" y="839"/>
                      <a:pt x="59" y="841"/>
                    </a:cubicBezTo>
                    <a:cubicBezTo>
                      <a:pt x="55" y="844"/>
                      <a:pt x="51" y="838"/>
                      <a:pt x="49" y="837"/>
                    </a:cubicBezTo>
                    <a:cubicBezTo>
                      <a:pt x="47" y="835"/>
                      <a:pt x="44" y="835"/>
                      <a:pt x="43" y="836"/>
                    </a:cubicBezTo>
                    <a:cubicBezTo>
                      <a:pt x="42" y="837"/>
                      <a:pt x="47" y="839"/>
                      <a:pt x="47" y="839"/>
                    </a:cubicBezTo>
                    <a:cubicBezTo>
                      <a:pt x="48" y="844"/>
                      <a:pt x="48" y="844"/>
                      <a:pt x="48" y="844"/>
                    </a:cubicBezTo>
                    <a:cubicBezTo>
                      <a:pt x="48" y="844"/>
                      <a:pt x="54" y="852"/>
                      <a:pt x="58" y="856"/>
                    </a:cubicBezTo>
                    <a:cubicBezTo>
                      <a:pt x="61" y="861"/>
                      <a:pt x="61" y="865"/>
                      <a:pt x="61" y="865"/>
                    </a:cubicBezTo>
                    <a:cubicBezTo>
                      <a:pt x="65" y="866"/>
                      <a:pt x="65" y="866"/>
                      <a:pt x="65" y="866"/>
                    </a:cubicBezTo>
                    <a:cubicBezTo>
                      <a:pt x="64" y="871"/>
                      <a:pt x="64" y="871"/>
                      <a:pt x="64" y="871"/>
                    </a:cubicBezTo>
                    <a:cubicBezTo>
                      <a:pt x="64" y="871"/>
                      <a:pt x="67" y="871"/>
                      <a:pt x="69" y="877"/>
                    </a:cubicBezTo>
                    <a:cubicBezTo>
                      <a:pt x="71" y="881"/>
                      <a:pt x="64" y="882"/>
                      <a:pt x="64" y="882"/>
                    </a:cubicBezTo>
                    <a:cubicBezTo>
                      <a:pt x="64" y="888"/>
                      <a:pt x="64" y="888"/>
                      <a:pt x="64" y="888"/>
                    </a:cubicBezTo>
                    <a:cubicBezTo>
                      <a:pt x="64" y="888"/>
                      <a:pt x="67" y="891"/>
                      <a:pt x="66" y="894"/>
                    </a:cubicBezTo>
                    <a:cubicBezTo>
                      <a:pt x="65" y="896"/>
                      <a:pt x="62" y="893"/>
                      <a:pt x="62" y="893"/>
                    </a:cubicBezTo>
                    <a:cubicBezTo>
                      <a:pt x="61" y="897"/>
                      <a:pt x="61" y="897"/>
                      <a:pt x="61" y="897"/>
                    </a:cubicBezTo>
                    <a:cubicBezTo>
                      <a:pt x="65" y="896"/>
                      <a:pt x="65" y="896"/>
                      <a:pt x="65" y="896"/>
                    </a:cubicBezTo>
                    <a:cubicBezTo>
                      <a:pt x="65" y="896"/>
                      <a:pt x="78" y="899"/>
                      <a:pt x="82" y="899"/>
                    </a:cubicBezTo>
                    <a:cubicBezTo>
                      <a:pt x="85" y="899"/>
                      <a:pt x="91" y="895"/>
                      <a:pt x="97" y="893"/>
                    </a:cubicBezTo>
                    <a:cubicBezTo>
                      <a:pt x="103" y="891"/>
                      <a:pt x="106" y="895"/>
                      <a:pt x="106" y="895"/>
                    </a:cubicBezTo>
                    <a:cubicBezTo>
                      <a:pt x="112" y="894"/>
                      <a:pt x="112" y="894"/>
                      <a:pt x="112" y="894"/>
                    </a:cubicBezTo>
                    <a:cubicBezTo>
                      <a:pt x="112" y="894"/>
                      <a:pt x="117" y="885"/>
                      <a:pt x="118" y="880"/>
                    </a:cubicBezTo>
                    <a:cubicBezTo>
                      <a:pt x="119" y="876"/>
                      <a:pt x="111" y="875"/>
                      <a:pt x="111" y="869"/>
                    </a:cubicBezTo>
                    <a:cubicBezTo>
                      <a:pt x="111" y="865"/>
                      <a:pt x="118" y="854"/>
                      <a:pt x="120" y="852"/>
                    </a:cubicBezTo>
                    <a:cubicBezTo>
                      <a:pt x="123" y="851"/>
                      <a:pt x="129" y="855"/>
                      <a:pt x="131" y="854"/>
                    </a:cubicBezTo>
                    <a:cubicBezTo>
                      <a:pt x="133" y="852"/>
                      <a:pt x="129" y="844"/>
                      <a:pt x="129" y="844"/>
                    </a:cubicBezTo>
                    <a:cubicBezTo>
                      <a:pt x="147" y="842"/>
                      <a:pt x="147" y="842"/>
                      <a:pt x="147" y="842"/>
                    </a:cubicBezTo>
                    <a:cubicBezTo>
                      <a:pt x="155" y="844"/>
                      <a:pt x="155" y="844"/>
                      <a:pt x="155" y="844"/>
                    </a:cubicBezTo>
                    <a:cubicBezTo>
                      <a:pt x="161" y="839"/>
                      <a:pt x="161" y="839"/>
                      <a:pt x="161" y="839"/>
                    </a:cubicBezTo>
                    <a:cubicBezTo>
                      <a:pt x="172" y="847"/>
                      <a:pt x="172" y="847"/>
                      <a:pt x="172" y="847"/>
                    </a:cubicBezTo>
                    <a:cubicBezTo>
                      <a:pt x="172" y="847"/>
                      <a:pt x="176" y="838"/>
                      <a:pt x="178" y="837"/>
                    </a:cubicBezTo>
                    <a:cubicBezTo>
                      <a:pt x="179" y="835"/>
                      <a:pt x="181" y="820"/>
                      <a:pt x="181" y="820"/>
                    </a:cubicBezTo>
                    <a:cubicBezTo>
                      <a:pt x="184" y="810"/>
                      <a:pt x="184" y="810"/>
                      <a:pt x="184" y="810"/>
                    </a:cubicBezTo>
                    <a:cubicBezTo>
                      <a:pt x="188" y="807"/>
                      <a:pt x="188" y="807"/>
                      <a:pt x="188" y="807"/>
                    </a:cubicBezTo>
                    <a:cubicBezTo>
                      <a:pt x="192" y="791"/>
                      <a:pt x="192" y="791"/>
                      <a:pt x="192" y="791"/>
                    </a:cubicBezTo>
                    <a:cubicBezTo>
                      <a:pt x="190" y="785"/>
                      <a:pt x="190" y="785"/>
                      <a:pt x="190" y="785"/>
                    </a:cubicBezTo>
                    <a:cubicBezTo>
                      <a:pt x="190" y="785"/>
                      <a:pt x="193" y="784"/>
                      <a:pt x="194" y="781"/>
                    </a:cubicBezTo>
                    <a:cubicBezTo>
                      <a:pt x="195" y="777"/>
                      <a:pt x="191" y="775"/>
                      <a:pt x="191" y="775"/>
                    </a:cubicBezTo>
                    <a:cubicBezTo>
                      <a:pt x="192" y="761"/>
                      <a:pt x="192" y="761"/>
                      <a:pt x="192" y="761"/>
                    </a:cubicBezTo>
                    <a:cubicBezTo>
                      <a:pt x="192" y="761"/>
                      <a:pt x="195" y="762"/>
                      <a:pt x="197" y="756"/>
                    </a:cubicBezTo>
                    <a:cubicBezTo>
                      <a:pt x="200" y="751"/>
                      <a:pt x="191" y="746"/>
                      <a:pt x="191" y="746"/>
                    </a:cubicBezTo>
                    <a:cubicBezTo>
                      <a:pt x="193" y="744"/>
                      <a:pt x="193" y="744"/>
                      <a:pt x="193" y="744"/>
                    </a:cubicBezTo>
                    <a:cubicBezTo>
                      <a:pt x="194" y="735"/>
                      <a:pt x="194" y="735"/>
                      <a:pt x="194" y="735"/>
                    </a:cubicBezTo>
                    <a:cubicBezTo>
                      <a:pt x="192" y="728"/>
                      <a:pt x="192" y="728"/>
                      <a:pt x="192" y="728"/>
                    </a:cubicBezTo>
                    <a:cubicBezTo>
                      <a:pt x="188" y="728"/>
                      <a:pt x="188" y="728"/>
                      <a:pt x="188" y="728"/>
                    </a:cubicBezTo>
                    <a:cubicBezTo>
                      <a:pt x="188" y="728"/>
                      <a:pt x="188" y="726"/>
                      <a:pt x="191" y="725"/>
                    </a:cubicBezTo>
                    <a:cubicBezTo>
                      <a:pt x="195" y="725"/>
                      <a:pt x="198" y="728"/>
                      <a:pt x="198" y="728"/>
                    </a:cubicBezTo>
                    <a:cubicBezTo>
                      <a:pt x="197" y="722"/>
                      <a:pt x="197" y="722"/>
                      <a:pt x="197" y="722"/>
                    </a:cubicBezTo>
                    <a:cubicBezTo>
                      <a:pt x="193" y="720"/>
                      <a:pt x="193" y="720"/>
                      <a:pt x="193" y="720"/>
                    </a:cubicBezTo>
                    <a:cubicBezTo>
                      <a:pt x="196" y="719"/>
                      <a:pt x="196" y="719"/>
                      <a:pt x="196" y="719"/>
                    </a:cubicBezTo>
                    <a:cubicBezTo>
                      <a:pt x="196" y="719"/>
                      <a:pt x="196" y="711"/>
                      <a:pt x="198" y="707"/>
                    </a:cubicBezTo>
                    <a:cubicBezTo>
                      <a:pt x="201" y="703"/>
                      <a:pt x="192" y="698"/>
                      <a:pt x="192" y="698"/>
                    </a:cubicBezTo>
                    <a:cubicBezTo>
                      <a:pt x="195" y="697"/>
                      <a:pt x="195" y="697"/>
                      <a:pt x="195" y="697"/>
                    </a:cubicBezTo>
                    <a:cubicBezTo>
                      <a:pt x="192" y="692"/>
                      <a:pt x="192" y="692"/>
                      <a:pt x="192" y="692"/>
                    </a:cubicBezTo>
                    <a:cubicBezTo>
                      <a:pt x="192" y="692"/>
                      <a:pt x="198" y="694"/>
                      <a:pt x="201" y="687"/>
                    </a:cubicBezTo>
                    <a:cubicBezTo>
                      <a:pt x="204" y="679"/>
                      <a:pt x="183" y="679"/>
                      <a:pt x="183" y="679"/>
                    </a:cubicBezTo>
                    <a:cubicBezTo>
                      <a:pt x="182" y="682"/>
                      <a:pt x="182" y="682"/>
                      <a:pt x="182" y="682"/>
                    </a:cubicBezTo>
                    <a:cubicBezTo>
                      <a:pt x="176" y="681"/>
                      <a:pt x="176" y="681"/>
                      <a:pt x="176" y="681"/>
                    </a:cubicBezTo>
                    <a:cubicBezTo>
                      <a:pt x="176" y="677"/>
                      <a:pt x="176" y="677"/>
                      <a:pt x="176" y="677"/>
                    </a:cubicBezTo>
                    <a:cubicBezTo>
                      <a:pt x="192" y="677"/>
                      <a:pt x="192" y="677"/>
                      <a:pt x="192" y="677"/>
                    </a:cubicBezTo>
                    <a:cubicBezTo>
                      <a:pt x="195" y="677"/>
                      <a:pt x="201" y="680"/>
                      <a:pt x="201" y="680"/>
                    </a:cubicBezTo>
                    <a:cubicBezTo>
                      <a:pt x="204" y="675"/>
                      <a:pt x="204" y="675"/>
                      <a:pt x="204" y="675"/>
                    </a:cubicBezTo>
                    <a:cubicBezTo>
                      <a:pt x="202" y="668"/>
                      <a:pt x="202" y="668"/>
                      <a:pt x="202" y="668"/>
                    </a:cubicBezTo>
                    <a:cubicBezTo>
                      <a:pt x="208" y="672"/>
                      <a:pt x="208" y="672"/>
                      <a:pt x="208" y="672"/>
                    </a:cubicBezTo>
                    <a:cubicBezTo>
                      <a:pt x="208" y="672"/>
                      <a:pt x="212" y="671"/>
                      <a:pt x="213" y="671"/>
                    </a:cubicBezTo>
                    <a:cubicBezTo>
                      <a:pt x="214" y="671"/>
                      <a:pt x="218" y="666"/>
                      <a:pt x="218" y="666"/>
                    </a:cubicBezTo>
                    <a:cubicBezTo>
                      <a:pt x="218" y="661"/>
                      <a:pt x="218" y="661"/>
                      <a:pt x="218" y="661"/>
                    </a:cubicBezTo>
                    <a:cubicBezTo>
                      <a:pt x="222" y="662"/>
                      <a:pt x="222" y="662"/>
                      <a:pt x="222" y="662"/>
                    </a:cubicBezTo>
                    <a:cubicBezTo>
                      <a:pt x="223" y="647"/>
                      <a:pt x="223" y="647"/>
                      <a:pt x="223" y="647"/>
                    </a:cubicBezTo>
                    <a:cubicBezTo>
                      <a:pt x="226" y="648"/>
                      <a:pt x="226" y="648"/>
                      <a:pt x="226" y="648"/>
                    </a:cubicBezTo>
                    <a:cubicBezTo>
                      <a:pt x="228" y="658"/>
                      <a:pt x="228" y="658"/>
                      <a:pt x="228" y="658"/>
                    </a:cubicBezTo>
                    <a:cubicBezTo>
                      <a:pt x="235" y="659"/>
                      <a:pt x="235" y="659"/>
                      <a:pt x="235" y="659"/>
                    </a:cubicBezTo>
                    <a:cubicBezTo>
                      <a:pt x="237" y="649"/>
                      <a:pt x="237" y="649"/>
                      <a:pt x="237" y="649"/>
                    </a:cubicBezTo>
                    <a:cubicBezTo>
                      <a:pt x="237" y="649"/>
                      <a:pt x="239" y="649"/>
                      <a:pt x="241" y="648"/>
                    </a:cubicBezTo>
                    <a:cubicBezTo>
                      <a:pt x="242" y="647"/>
                      <a:pt x="242" y="643"/>
                      <a:pt x="242" y="643"/>
                    </a:cubicBezTo>
                    <a:cubicBezTo>
                      <a:pt x="246" y="642"/>
                      <a:pt x="246" y="642"/>
                      <a:pt x="246" y="642"/>
                    </a:cubicBezTo>
                    <a:cubicBezTo>
                      <a:pt x="248" y="640"/>
                      <a:pt x="248" y="640"/>
                      <a:pt x="248" y="640"/>
                    </a:cubicBezTo>
                    <a:cubicBezTo>
                      <a:pt x="245" y="639"/>
                      <a:pt x="245" y="639"/>
                      <a:pt x="245" y="639"/>
                    </a:cubicBezTo>
                    <a:cubicBezTo>
                      <a:pt x="243" y="633"/>
                      <a:pt x="243" y="633"/>
                      <a:pt x="243" y="633"/>
                    </a:cubicBezTo>
                    <a:cubicBezTo>
                      <a:pt x="237" y="628"/>
                      <a:pt x="237" y="628"/>
                      <a:pt x="237" y="628"/>
                    </a:cubicBezTo>
                    <a:cubicBezTo>
                      <a:pt x="239" y="625"/>
                      <a:pt x="239" y="625"/>
                      <a:pt x="239" y="625"/>
                    </a:cubicBezTo>
                    <a:cubicBezTo>
                      <a:pt x="244" y="625"/>
                      <a:pt x="244" y="625"/>
                      <a:pt x="244" y="625"/>
                    </a:cubicBezTo>
                    <a:cubicBezTo>
                      <a:pt x="258" y="610"/>
                      <a:pt x="258" y="610"/>
                      <a:pt x="258" y="610"/>
                    </a:cubicBezTo>
                    <a:cubicBezTo>
                      <a:pt x="258" y="607"/>
                      <a:pt x="258" y="607"/>
                      <a:pt x="258" y="607"/>
                    </a:cubicBezTo>
                    <a:cubicBezTo>
                      <a:pt x="266" y="601"/>
                      <a:pt x="266" y="601"/>
                      <a:pt x="266" y="601"/>
                    </a:cubicBezTo>
                    <a:cubicBezTo>
                      <a:pt x="267" y="600"/>
                      <a:pt x="267" y="600"/>
                      <a:pt x="267" y="600"/>
                    </a:cubicBezTo>
                    <a:cubicBezTo>
                      <a:pt x="259" y="600"/>
                      <a:pt x="259" y="600"/>
                      <a:pt x="259" y="600"/>
                    </a:cubicBezTo>
                    <a:cubicBezTo>
                      <a:pt x="261" y="594"/>
                      <a:pt x="261" y="594"/>
                      <a:pt x="261" y="594"/>
                    </a:cubicBezTo>
                    <a:cubicBezTo>
                      <a:pt x="266" y="595"/>
                      <a:pt x="266" y="595"/>
                      <a:pt x="266" y="595"/>
                    </a:cubicBezTo>
                    <a:cubicBezTo>
                      <a:pt x="267" y="592"/>
                      <a:pt x="267" y="592"/>
                      <a:pt x="267" y="592"/>
                    </a:cubicBezTo>
                    <a:cubicBezTo>
                      <a:pt x="261" y="588"/>
                      <a:pt x="261" y="588"/>
                      <a:pt x="261" y="588"/>
                    </a:cubicBezTo>
                    <a:cubicBezTo>
                      <a:pt x="256" y="578"/>
                      <a:pt x="256" y="578"/>
                      <a:pt x="256" y="578"/>
                    </a:cubicBezTo>
                    <a:cubicBezTo>
                      <a:pt x="247" y="578"/>
                      <a:pt x="247" y="578"/>
                      <a:pt x="247" y="578"/>
                    </a:cubicBezTo>
                    <a:cubicBezTo>
                      <a:pt x="245" y="578"/>
                      <a:pt x="242" y="570"/>
                      <a:pt x="242" y="570"/>
                    </a:cubicBezTo>
                    <a:cubicBezTo>
                      <a:pt x="242" y="566"/>
                      <a:pt x="242" y="566"/>
                      <a:pt x="242" y="566"/>
                    </a:cubicBezTo>
                    <a:cubicBezTo>
                      <a:pt x="241" y="564"/>
                      <a:pt x="241" y="564"/>
                      <a:pt x="241" y="564"/>
                    </a:cubicBezTo>
                    <a:cubicBezTo>
                      <a:pt x="237" y="565"/>
                      <a:pt x="237" y="565"/>
                      <a:pt x="237" y="565"/>
                    </a:cubicBezTo>
                    <a:cubicBezTo>
                      <a:pt x="227" y="554"/>
                      <a:pt x="227" y="554"/>
                      <a:pt x="227" y="554"/>
                    </a:cubicBezTo>
                    <a:cubicBezTo>
                      <a:pt x="227" y="554"/>
                      <a:pt x="228" y="550"/>
                      <a:pt x="225" y="549"/>
                    </a:cubicBezTo>
                    <a:cubicBezTo>
                      <a:pt x="221" y="548"/>
                      <a:pt x="216" y="557"/>
                      <a:pt x="216" y="557"/>
                    </a:cubicBezTo>
                    <a:cubicBezTo>
                      <a:pt x="213" y="552"/>
                      <a:pt x="213" y="552"/>
                      <a:pt x="213" y="552"/>
                    </a:cubicBezTo>
                    <a:cubicBezTo>
                      <a:pt x="213" y="552"/>
                      <a:pt x="215" y="550"/>
                      <a:pt x="213" y="548"/>
                    </a:cubicBezTo>
                    <a:cubicBezTo>
                      <a:pt x="210" y="546"/>
                      <a:pt x="198" y="548"/>
                      <a:pt x="198" y="548"/>
                    </a:cubicBezTo>
                    <a:cubicBezTo>
                      <a:pt x="205" y="541"/>
                      <a:pt x="205" y="541"/>
                      <a:pt x="205" y="541"/>
                    </a:cubicBezTo>
                    <a:cubicBezTo>
                      <a:pt x="200" y="534"/>
                      <a:pt x="200" y="534"/>
                      <a:pt x="200" y="534"/>
                    </a:cubicBezTo>
                    <a:cubicBezTo>
                      <a:pt x="196" y="533"/>
                      <a:pt x="196" y="533"/>
                      <a:pt x="196" y="533"/>
                    </a:cubicBezTo>
                    <a:cubicBezTo>
                      <a:pt x="198" y="525"/>
                      <a:pt x="198" y="525"/>
                      <a:pt x="198" y="525"/>
                    </a:cubicBezTo>
                    <a:cubicBezTo>
                      <a:pt x="196" y="515"/>
                      <a:pt x="196" y="515"/>
                      <a:pt x="196" y="515"/>
                    </a:cubicBezTo>
                    <a:cubicBezTo>
                      <a:pt x="196" y="515"/>
                      <a:pt x="198" y="509"/>
                      <a:pt x="198" y="506"/>
                    </a:cubicBezTo>
                    <a:cubicBezTo>
                      <a:pt x="198" y="504"/>
                      <a:pt x="193" y="502"/>
                      <a:pt x="193" y="502"/>
                    </a:cubicBezTo>
                    <a:cubicBezTo>
                      <a:pt x="195" y="491"/>
                      <a:pt x="195" y="491"/>
                      <a:pt x="195" y="491"/>
                    </a:cubicBezTo>
                    <a:cubicBezTo>
                      <a:pt x="193" y="490"/>
                      <a:pt x="193" y="490"/>
                      <a:pt x="193" y="490"/>
                    </a:cubicBezTo>
                    <a:cubicBezTo>
                      <a:pt x="196" y="488"/>
                      <a:pt x="196" y="488"/>
                      <a:pt x="196" y="488"/>
                    </a:cubicBezTo>
                    <a:cubicBezTo>
                      <a:pt x="192" y="479"/>
                      <a:pt x="192" y="479"/>
                      <a:pt x="192" y="479"/>
                    </a:cubicBezTo>
                    <a:cubicBezTo>
                      <a:pt x="198" y="483"/>
                      <a:pt x="198" y="483"/>
                      <a:pt x="198" y="483"/>
                    </a:cubicBezTo>
                    <a:cubicBezTo>
                      <a:pt x="201" y="479"/>
                      <a:pt x="201" y="479"/>
                      <a:pt x="201" y="479"/>
                    </a:cubicBezTo>
                    <a:cubicBezTo>
                      <a:pt x="201" y="479"/>
                      <a:pt x="200" y="475"/>
                      <a:pt x="198" y="473"/>
                    </a:cubicBezTo>
                    <a:cubicBezTo>
                      <a:pt x="195" y="472"/>
                      <a:pt x="197" y="464"/>
                      <a:pt x="197" y="464"/>
                    </a:cubicBezTo>
                    <a:cubicBezTo>
                      <a:pt x="200" y="461"/>
                      <a:pt x="200" y="461"/>
                      <a:pt x="200" y="461"/>
                    </a:cubicBezTo>
                    <a:cubicBezTo>
                      <a:pt x="201" y="450"/>
                      <a:pt x="201" y="450"/>
                      <a:pt x="201" y="450"/>
                    </a:cubicBezTo>
                    <a:cubicBezTo>
                      <a:pt x="206" y="448"/>
                      <a:pt x="206" y="448"/>
                      <a:pt x="206" y="448"/>
                    </a:cubicBezTo>
                    <a:cubicBezTo>
                      <a:pt x="206" y="445"/>
                      <a:pt x="206" y="445"/>
                      <a:pt x="206" y="445"/>
                    </a:cubicBezTo>
                    <a:cubicBezTo>
                      <a:pt x="200" y="445"/>
                      <a:pt x="200" y="445"/>
                      <a:pt x="200" y="445"/>
                    </a:cubicBezTo>
                    <a:cubicBezTo>
                      <a:pt x="199" y="441"/>
                      <a:pt x="199" y="441"/>
                      <a:pt x="199" y="441"/>
                    </a:cubicBezTo>
                    <a:cubicBezTo>
                      <a:pt x="197" y="442"/>
                      <a:pt x="197" y="442"/>
                      <a:pt x="197" y="442"/>
                    </a:cubicBezTo>
                    <a:cubicBezTo>
                      <a:pt x="196" y="432"/>
                      <a:pt x="196" y="432"/>
                      <a:pt x="196" y="432"/>
                    </a:cubicBezTo>
                    <a:cubicBezTo>
                      <a:pt x="194" y="430"/>
                      <a:pt x="194" y="430"/>
                      <a:pt x="194" y="430"/>
                    </a:cubicBezTo>
                    <a:cubicBezTo>
                      <a:pt x="199" y="428"/>
                      <a:pt x="199" y="428"/>
                      <a:pt x="199" y="428"/>
                    </a:cubicBezTo>
                    <a:cubicBezTo>
                      <a:pt x="202" y="434"/>
                      <a:pt x="202" y="434"/>
                      <a:pt x="202" y="434"/>
                    </a:cubicBezTo>
                    <a:cubicBezTo>
                      <a:pt x="207" y="432"/>
                      <a:pt x="207" y="432"/>
                      <a:pt x="207" y="432"/>
                    </a:cubicBezTo>
                    <a:cubicBezTo>
                      <a:pt x="205" y="430"/>
                      <a:pt x="205" y="430"/>
                      <a:pt x="205" y="430"/>
                    </a:cubicBezTo>
                    <a:cubicBezTo>
                      <a:pt x="207" y="427"/>
                      <a:pt x="207" y="427"/>
                      <a:pt x="207" y="427"/>
                    </a:cubicBezTo>
                    <a:cubicBezTo>
                      <a:pt x="207" y="427"/>
                      <a:pt x="212" y="427"/>
                      <a:pt x="212" y="425"/>
                    </a:cubicBezTo>
                    <a:cubicBezTo>
                      <a:pt x="212" y="418"/>
                      <a:pt x="212" y="418"/>
                      <a:pt x="212" y="418"/>
                    </a:cubicBezTo>
                    <a:cubicBezTo>
                      <a:pt x="213" y="414"/>
                      <a:pt x="213" y="414"/>
                      <a:pt x="213" y="414"/>
                    </a:cubicBezTo>
                    <a:cubicBezTo>
                      <a:pt x="213" y="414"/>
                      <a:pt x="211" y="408"/>
                      <a:pt x="213" y="408"/>
                    </a:cubicBezTo>
                    <a:cubicBezTo>
                      <a:pt x="215" y="407"/>
                      <a:pt x="216" y="410"/>
                      <a:pt x="216" y="410"/>
                    </a:cubicBezTo>
                    <a:cubicBezTo>
                      <a:pt x="221" y="407"/>
                      <a:pt x="221" y="407"/>
                      <a:pt x="221" y="407"/>
                    </a:cubicBezTo>
                    <a:cubicBezTo>
                      <a:pt x="221" y="407"/>
                      <a:pt x="218" y="403"/>
                      <a:pt x="221" y="401"/>
                    </a:cubicBezTo>
                    <a:cubicBezTo>
                      <a:pt x="222" y="400"/>
                      <a:pt x="225" y="405"/>
                      <a:pt x="225" y="405"/>
                    </a:cubicBezTo>
                    <a:cubicBezTo>
                      <a:pt x="229" y="399"/>
                      <a:pt x="229" y="399"/>
                      <a:pt x="229" y="399"/>
                    </a:cubicBezTo>
                    <a:cubicBezTo>
                      <a:pt x="225" y="397"/>
                      <a:pt x="225" y="397"/>
                      <a:pt x="225" y="397"/>
                    </a:cubicBezTo>
                    <a:cubicBezTo>
                      <a:pt x="228" y="396"/>
                      <a:pt x="228" y="396"/>
                      <a:pt x="228" y="396"/>
                    </a:cubicBezTo>
                    <a:cubicBezTo>
                      <a:pt x="228" y="395"/>
                      <a:pt x="228" y="395"/>
                      <a:pt x="228" y="395"/>
                    </a:cubicBezTo>
                    <a:cubicBezTo>
                      <a:pt x="222" y="395"/>
                      <a:pt x="222" y="395"/>
                      <a:pt x="222" y="395"/>
                    </a:cubicBezTo>
                    <a:cubicBezTo>
                      <a:pt x="226" y="392"/>
                      <a:pt x="226" y="392"/>
                      <a:pt x="226" y="392"/>
                    </a:cubicBezTo>
                    <a:cubicBezTo>
                      <a:pt x="231" y="380"/>
                      <a:pt x="231" y="380"/>
                      <a:pt x="231" y="380"/>
                    </a:cubicBezTo>
                    <a:cubicBezTo>
                      <a:pt x="234" y="380"/>
                      <a:pt x="234" y="380"/>
                      <a:pt x="234" y="380"/>
                    </a:cubicBezTo>
                    <a:cubicBezTo>
                      <a:pt x="239" y="377"/>
                      <a:pt x="239" y="377"/>
                      <a:pt x="239" y="377"/>
                    </a:cubicBezTo>
                    <a:cubicBezTo>
                      <a:pt x="233" y="375"/>
                      <a:pt x="233" y="375"/>
                      <a:pt x="233" y="375"/>
                    </a:cubicBezTo>
                    <a:cubicBezTo>
                      <a:pt x="239" y="374"/>
                      <a:pt x="239" y="374"/>
                      <a:pt x="239" y="374"/>
                    </a:cubicBezTo>
                    <a:cubicBezTo>
                      <a:pt x="243" y="378"/>
                      <a:pt x="243" y="378"/>
                      <a:pt x="243" y="378"/>
                    </a:cubicBezTo>
                    <a:cubicBezTo>
                      <a:pt x="243" y="378"/>
                      <a:pt x="244" y="374"/>
                      <a:pt x="246" y="371"/>
                    </a:cubicBezTo>
                    <a:cubicBezTo>
                      <a:pt x="248" y="368"/>
                      <a:pt x="249" y="361"/>
                      <a:pt x="249" y="361"/>
                    </a:cubicBezTo>
                    <a:cubicBezTo>
                      <a:pt x="249" y="361"/>
                      <a:pt x="251" y="362"/>
                      <a:pt x="254" y="360"/>
                    </a:cubicBezTo>
                    <a:cubicBezTo>
                      <a:pt x="256" y="359"/>
                      <a:pt x="255" y="353"/>
                      <a:pt x="255" y="353"/>
                    </a:cubicBezTo>
                    <a:cubicBezTo>
                      <a:pt x="258" y="358"/>
                      <a:pt x="258" y="358"/>
                      <a:pt x="258" y="358"/>
                    </a:cubicBezTo>
                    <a:cubicBezTo>
                      <a:pt x="261" y="363"/>
                      <a:pt x="261" y="363"/>
                      <a:pt x="261" y="363"/>
                    </a:cubicBezTo>
                    <a:cubicBezTo>
                      <a:pt x="263" y="361"/>
                      <a:pt x="263" y="361"/>
                      <a:pt x="263" y="361"/>
                    </a:cubicBezTo>
                    <a:cubicBezTo>
                      <a:pt x="262" y="357"/>
                      <a:pt x="262" y="357"/>
                      <a:pt x="262" y="357"/>
                    </a:cubicBezTo>
                    <a:cubicBezTo>
                      <a:pt x="270" y="348"/>
                      <a:pt x="270" y="348"/>
                      <a:pt x="270" y="348"/>
                    </a:cubicBezTo>
                    <a:cubicBezTo>
                      <a:pt x="268" y="346"/>
                      <a:pt x="268" y="346"/>
                      <a:pt x="268" y="346"/>
                    </a:cubicBezTo>
                    <a:cubicBezTo>
                      <a:pt x="271" y="345"/>
                      <a:pt x="271" y="345"/>
                      <a:pt x="271" y="345"/>
                    </a:cubicBezTo>
                    <a:cubicBezTo>
                      <a:pt x="272" y="346"/>
                      <a:pt x="272" y="346"/>
                      <a:pt x="272" y="346"/>
                    </a:cubicBezTo>
                    <a:cubicBezTo>
                      <a:pt x="278" y="344"/>
                      <a:pt x="278" y="344"/>
                      <a:pt x="278" y="344"/>
                    </a:cubicBezTo>
                    <a:cubicBezTo>
                      <a:pt x="278" y="340"/>
                      <a:pt x="278" y="340"/>
                      <a:pt x="278" y="340"/>
                    </a:cubicBezTo>
                    <a:cubicBezTo>
                      <a:pt x="280" y="344"/>
                      <a:pt x="280" y="344"/>
                      <a:pt x="280" y="344"/>
                    </a:cubicBezTo>
                    <a:cubicBezTo>
                      <a:pt x="281" y="334"/>
                      <a:pt x="281" y="334"/>
                      <a:pt x="281" y="334"/>
                    </a:cubicBezTo>
                    <a:cubicBezTo>
                      <a:pt x="284" y="339"/>
                      <a:pt x="284" y="339"/>
                      <a:pt x="284" y="339"/>
                    </a:cubicBezTo>
                    <a:cubicBezTo>
                      <a:pt x="290" y="333"/>
                      <a:pt x="290" y="333"/>
                      <a:pt x="290" y="333"/>
                    </a:cubicBezTo>
                    <a:cubicBezTo>
                      <a:pt x="290" y="333"/>
                      <a:pt x="293" y="325"/>
                      <a:pt x="294" y="321"/>
                    </a:cubicBezTo>
                    <a:cubicBezTo>
                      <a:pt x="295" y="318"/>
                      <a:pt x="293" y="313"/>
                      <a:pt x="293" y="313"/>
                    </a:cubicBezTo>
                    <a:cubicBezTo>
                      <a:pt x="298" y="308"/>
                      <a:pt x="298" y="308"/>
                      <a:pt x="298" y="308"/>
                    </a:cubicBezTo>
                    <a:cubicBezTo>
                      <a:pt x="299" y="302"/>
                      <a:pt x="299" y="302"/>
                      <a:pt x="299" y="302"/>
                    </a:cubicBezTo>
                    <a:cubicBezTo>
                      <a:pt x="309" y="293"/>
                      <a:pt x="309" y="293"/>
                      <a:pt x="309" y="293"/>
                    </a:cubicBezTo>
                    <a:cubicBezTo>
                      <a:pt x="310" y="287"/>
                      <a:pt x="310" y="287"/>
                      <a:pt x="310" y="287"/>
                    </a:cubicBezTo>
                    <a:cubicBezTo>
                      <a:pt x="306" y="288"/>
                      <a:pt x="306" y="288"/>
                      <a:pt x="306" y="288"/>
                    </a:cubicBezTo>
                    <a:cubicBezTo>
                      <a:pt x="304" y="286"/>
                      <a:pt x="304" y="286"/>
                      <a:pt x="304" y="286"/>
                    </a:cubicBezTo>
                    <a:cubicBezTo>
                      <a:pt x="308" y="285"/>
                      <a:pt x="308" y="285"/>
                      <a:pt x="308" y="285"/>
                    </a:cubicBezTo>
                    <a:cubicBezTo>
                      <a:pt x="309" y="283"/>
                      <a:pt x="309" y="283"/>
                      <a:pt x="309" y="283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295" y="277"/>
                      <a:pt x="295" y="277"/>
                      <a:pt x="295" y="277"/>
                    </a:cubicBezTo>
                    <a:cubicBezTo>
                      <a:pt x="298" y="269"/>
                      <a:pt x="298" y="269"/>
                      <a:pt x="298" y="269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5" y="261"/>
                      <a:pt x="295" y="261"/>
                      <a:pt x="295" y="261"/>
                    </a:cubicBezTo>
                    <a:cubicBezTo>
                      <a:pt x="298" y="259"/>
                      <a:pt x="298" y="259"/>
                      <a:pt x="298" y="259"/>
                    </a:cubicBezTo>
                    <a:cubicBezTo>
                      <a:pt x="303" y="246"/>
                      <a:pt x="303" y="246"/>
                      <a:pt x="303" y="246"/>
                    </a:cubicBezTo>
                    <a:cubicBezTo>
                      <a:pt x="303" y="246"/>
                      <a:pt x="293" y="238"/>
                      <a:pt x="295" y="234"/>
                    </a:cubicBezTo>
                    <a:cubicBezTo>
                      <a:pt x="296" y="230"/>
                      <a:pt x="304" y="231"/>
                      <a:pt x="309" y="229"/>
                    </a:cubicBezTo>
                    <a:cubicBezTo>
                      <a:pt x="315" y="226"/>
                      <a:pt x="307" y="221"/>
                      <a:pt x="307" y="221"/>
                    </a:cubicBezTo>
                    <a:cubicBezTo>
                      <a:pt x="313" y="219"/>
                      <a:pt x="313" y="219"/>
                      <a:pt x="313" y="219"/>
                    </a:cubicBezTo>
                    <a:cubicBezTo>
                      <a:pt x="313" y="216"/>
                      <a:pt x="313" y="216"/>
                      <a:pt x="313" y="216"/>
                    </a:cubicBezTo>
                    <a:cubicBezTo>
                      <a:pt x="319" y="216"/>
                      <a:pt x="319" y="216"/>
                      <a:pt x="319" y="216"/>
                    </a:cubicBezTo>
                    <a:cubicBezTo>
                      <a:pt x="315" y="196"/>
                      <a:pt x="315" y="196"/>
                      <a:pt x="315" y="196"/>
                    </a:cubicBezTo>
                    <a:cubicBezTo>
                      <a:pt x="319" y="196"/>
                      <a:pt x="319" y="196"/>
                      <a:pt x="319" y="196"/>
                    </a:cubicBezTo>
                    <a:cubicBezTo>
                      <a:pt x="322" y="201"/>
                      <a:pt x="322" y="201"/>
                      <a:pt x="322" y="201"/>
                    </a:cubicBezTo>
                    <a:cubicBezTo>
                      <a:pt x="326" y="201"/>
                      <a:pt x="326" y="201"/>
                      <a:pt x="326" y="201"/>
                    </a:cubicBezTo>
                    <a:cubicBezTo>
                      <a:pt x="324" y="193"/>
                      <a:pt x="324" y="193"/>
                      <a:pt x="324" y="193"/>
                    </a:cubicBezTo>
                    <a:cubicBezTo>
                      <a:pt x="329" y="195"/>
                      <a:pt x="329" y="195"/>
                      <a:pt x="329" y="195"/>
                    </a:cubicBezTo>
                    <a:cubicBezTo>
                      <a:pt x="329" y="199"/>
                      <a:pt x="329" y="199"/>
                      <a:pt x="329" y="199"/>
                    </a:cubicBezTo>
                    <a:cubicBezTo>
                      <a:pt x="336" y="201"/>
                      <a:pt x="336" y="201"/>
                      <a:pt x="336" y="201"/>
                    </a:cubicBezTo>
                    <a:cubicBezTo>
                      <a:pt x="337" y="205"/>
                      <a:pt x="337" y="205"/>
                      <a:pt x="337" y="205"/>
                    </a:cubicBezTo>
                    <a:cubicBezTo>
                      <a:pt x="340" y="200"/>
                      <a:pt x="340" y="200"/>
                      <a:pt x="340" y="200"/>
                    </a:cubicBezTo>
                    <a:cubicBezTo>
                      <a:pt x="339" y="196"/>
                      <a:pt x="339" y="196"/>
                      <a:pt x="339" y="196"/>
                    </a:cubicBezTo>
                    <a:cubicBezTo>
                      <a:pt x="350" y="196"/>
                      <a:pt x="350" y="196"/>
                      <a:pt x="350" y="196"/>
                    </a:cubicBezTo>
                    <a:cubicBezTo>
                      <a:pt x="354" y="193"/>
                      <a:pt x="354" y="193"/>
                      <a:pt x="354" y="193"/>
                    </a:cubicBezTo>
                    <a:cubicBezTo>
                      <a:pt x="357" y="196"/>
                      <a:pt x="357" y="196"/>
                      <a:pt x="357" y="196"/>
                    </a:cubicBezTo>
                    <a:cubicBezTo>
                      <a:pt x="360" y="196"/>
                      <a:pt x="360" y="196"/>
                      <a:pt x="360" y="196"/>
                    </a:cubicBezTo>
                    <a:cubicBezTo>
                      <a:pt x="360" y="194"/>
                      <a:pt x="360" y="194"/>
                      <a:pt x="360" y="194"/>
                    </a:cubicBezTo>
                    <a:cubicBezTo>
                      <a:pt x="365" y="195"/>
                      <a:pt x="365" y="195"/>
                      <a:pt x="365" y="195"/>
                    </a:cubicBezTo>
                    <a:lnTo>
                      <a:pt x="364" y="188"/>
                    </a:lnTo>
                    <a:close/>
                    <a:moveTo>
                      <a:pt x="14" y="718"/>
                    </a:moveTo>
                    <a:cubicBezTo>
                      <a:pt x="21" y="719"/>
                      <a:pt x="21" y="719"/>
                      <a:pt x="21" y="719"/>
                    </a:cubicBezTo>
                    <a:cubicBezTo>
                      <a:pt x="22" y="712"/>
                      <a:pt x="22" y="712"/>
                      <a:pt x="22" y="712"/>
                    </a:cubicBezTo>
                    <a:cubicBezTo>
                      <a:pt x="19" y="709"/>
                      <a:pt x="19" y="709"/>
                      <a:pt x="19" y="709"/>
                    </a:cubicBezTo>
                    <a:cubicBezTo>
                      <a:pt x="17" y="712"/>
                      <a:pt x="17" y="712"/>
                      <a:pt x="17" y="712"/>
                    </a:cubicBezTo>
                    <a:cubicBezTo>
                      <a:pt x="16" y="712"/>
                      <a:pt x="16" y="712"/>
                      <a:pt x="16" y="712"/>
                    </a:cubicBezTo>
                    <a:cubicBezTo>
                      <a:pt x="8" y="720"/>
                      <a:pt x="8" y="720"/>
                      <a:pt x="8" y="720"/>
                    </a:cubicBezTo>
                    <a:cubicBezTo>
                      <a:pt x="14" y="721"/>
                      <a:pt x="14" y="721"/>
                      <a:pt x="14" y="721"/>
                    </a:cubicBezTo>
                    <a:lnTo>
                      <a:pt x="14" y="718"/>
                    </a:lnTo>
                    <a:close/>
                    <a:moveTo>
                      <a:pt x="20" y="727"/>
                    </a:moveTo>
                    <a:cubicBezTo>
                      <a:pt x="19" y="723"/>
                      <a:pt x="19" y="723"/>
                      <a:pt x="19" y="723"/>
                    </a:cubicBezTo>
                    <a:cubicBezTo>
                      <a:pt x="11" y="725"/>
                      <a:pt x="11" y="725"/>
                      <a:pt x="11" y="725"/>
                    </a:cubicBezTo>
                    <a:cubicBezTo>
                      <a:pt x="13" y="728"/>
                      <a:pt x="13" y="728"/>
                      <a:pt x="13" y="728"/>
                    </a:cubicBezTo>
                    <a:cubicBezTo>
                      <a:pt x="13" y="730"/>
                      <a:pt x="13" y="730"/>
                      <a:pt x="13" y="730"/>
                    </a:cubicBezTo>
                    <a:cubicBezTo>
                      <a:pt x="16" y="730"/>
                      <a:pt x="16" y="730"/>
                      <a:pt x="16" y="730"/>
                    </a:cubicBezTo>
                    <a:cubicBezTo>
                      <a:pt x="17" y="727"/>
                      <a:pt x="17" y="727"/>
                      <a:pt x="17" y="727"/>
                    </a:cubicBezTo>
                    <a:lnTo>
                      <a:pt x="20" y="727"/>
                    </a:lnTo>
                    <a:close/>
                    <a:moveTo>
                      <a:pt x="211" y="760"/>
                    </a:moveTo>
                    <a:cubicBezTo>
                      <a:pt x="207" y="765"/>
                      <a:pt x="207" y="765"/>
                      <a:pt x="207" y="765"/>
                    </a:cubicBezTo>
                    <a:cubicBezTo>
                      <a:pt x="208" y="771"/>
                      <a:pt x="208" y="771"/>
                      <a:pt x="208" y="771"/>
                    </a:cubicBezTo>
                    <a:cubicBezTo>
                      <a:pt x="207" y="771"/>
                      <a:pt x="207" y="771"/>
                      <a:pt x="207" y="771"/>
                    </a:cubicBezTo>
                    <a:cubicBezTo>
                      <a:pt x="207" y="773"/>
                      <a:pt x="207" y="773"/>
                      <a:pt x="207" y="773"/>
                    </a:cubicBezTo>
                    <a:cubicBezTo>
                      <a:pt x="205" y="783"/>
                      <a:pt x="205" y="783"/>
                      <a:pt x="205" y="783"/>
                    </a:cubicBezTo>
                    <a:cubicBezTo>
                      <a:pt x="202" y="784"/>
                      <a:pt x="202" y="784"/>
                      <a:pt x="202" y="784"/>
                    </a:cubicBezTo>
                    <a:cubicBezTo>
                      <a:pt x="200" y="792"/>
                      <a:pt x="200" y="792"/>
                      <a:pt x="200" y="792"/>
                    </a:cubicBezTo>
                    <a:cubicBezTo>
                      <a:pt x="198" y="792"/>
                      <a:pt x="198" y="792"/>
                      <a:pt x="198" y="792"/>
                    </a:cubicBezTo>
                    <a:cubicBezTo>
                      <a:pt x="198" y="792"/>
                      <a:pt x="195" y="797"/>
                      <a:pt x="194" y="801"/>
                    </a:cubicBezTo>
                    <a:cubicBezTo>
                      <a:pt x="193" y="804"/>
                      <a:pt x="194" y="807"/>
                      <a:pt x="193" y="808"/>
                    </a:cubicBezTo>
                    <a:cubicBezTo>
                      <a:pt x="193" y="810"/>
                      <a:pt x="190" y="812"/>
                      <a:pt x="190" y="816"/>
                    </a:cubicBezTo>
                    <a:cubicBezTo>
                      <a:pt x="190" y="821"/>
                      <a:pt x="190" y="821"/>
                      <a:pt x="190" y="821"/>
                    </a:cubicBezTo>
                    <a:cubicBezTo>
                      <a:pt x="193" y="823"/>
                      <a:pt x="193" y="823"/>
                      <a:pt x="193" y="823"/>
                    </a:cubicBezTo>
                    <a:cubicBezTo>
                      <a:pt x="192" y="836"/>
                      <a:pt x="192" y="836"/>
                      <a:pt x="192" y="836"/>
                    </a:cubicBezTo>
                    <a:cubicBezTo>
                      <a:pt x="192" y="836"/>
                      <a:pt x="196" y="833"/>
                      <a:pt x="197" y="830"/>
                    </a:cubicBezTo>
                    <a:cubicBezTo>
                      <a:pt x="198" y="825"/>
                      <a:pt x="197" y="824"/>
                      <a:pt x="197" y="822"/>
                    </a:cubicBezTo>
                    <a:cubicBezTo>
                      <a:pt x="197" y="820"/>
                      <a:pt x="199" y="817"/>
                      <a:pt x="200" y="815"/>
                    </a:cubicBezTo>
                    <a:cubicBezTo>
                      <a:pt x="201" y="813"/>
                      <a:pt x="200" y="807"/>
                      <a:pt x="200" y="807"/>
                    </a:cubicBezTo>
                    <a:cubicBezTo>
                      <a:pt x="204" y="796"/>
                      <a:pt x="204" y="796"/>
                      <a:pt x="204" y="796"/>
                    </a:cubicBezTo>
                    <a:cubicBezTo>
                      <a:pt x="206" y="796"/>
                      <a:pt x="206" y="796"/>
                      <a:pt x="206" y="796"/>
                    </a:cubicBezTo>
                    <a:cubicBezTo>
                      <a:pt x="208" y="788"/>
                      <a:pt x="208" y="788"/>
                      <a:pt x="208" y="788"/>
                    </a:cubicBezTo>
                    <a:cubicBezTo>
                      <a:pt x="207" y="785"/>
                      <a:pt x="207" y="785"/>
                      <a:pt x="207" y="785"/>
                    </a:cubicBezTo>
                    <a:cubicBezTo>
                      <a:pt x="209" y="783"/>
                      <a:pt x="209" y="783"/>
                      <a:pt x="209" y="783"/>
                    </a:cubicBezTo>
                    <a:cubicBezTo>
                      <a:pt x="208" y="782"/>
                      <a:pt x="208" y="782"/>
                      <a:pt x="208" y="782"/>
                    </a:cubicBezTo>
                    <a:cubicBezTo>
                      <a:pt x="210" y="779"/>
                      <a:pt x="210" y="779"/>
                      <a:pt x="210" y="779"/>
                    </a:cubicBezTo>
                    <a:cubicBezTo>
                      <a:pt x="209" y="777"/>
                      <a:pt x="209" y="777"/>
                      <a:pt x="209" y="777"/>
                    </a:cubicBezTo>
                    <a:cubicBezTo>
                      <a:pt x="212" y="772"/>
                      <a:pt x="212" y="772"/>
                      <a:pt x="212" y="772"/>
                    </a:cubicBezTo>
                    <a:cubicBezTo>
                      <a:pt x="211" y="766"/>
                      <a:pt x="211" y="766"/>
                      <a:pt x="211" y="766"/>
                    </a:cubicBezTo>
                    <a:cubicBezTo>
                      <a:pt x="214" y="763"/>
                      <a:pt x="214" y="763"/>
                      <a:pt x="214" y="763"/>
                    </a:cubicBezTo>
                    <a:lnTo>
                      <a:pt x="211" y="760"/>
                    </a:lnTo>
                    <a:close/>
                    <a:moveTo>
                      <a:pt x="277" y="731"/>
                    </a:moveTo>
                    <a:cubicBezTo>
                      <a:pt x="281" y="724"/>
                      <a:pt x="281" y="724"/>
                      <a:pt x="281" y="724"/>
                    </a:cubicBezTo>
                    <a:cubicBezTo>
                      <a:pt x="278" y="718"/>
                      <a:pt x="278" y="718"/>
                      <a:pt x="278" y="718"/>
                    </a:cubicBezTo>
                    <a:cubicBezTo>
                      <a:pt x="272" y="719"/>
                      <a:pt x="272" y="719"/>
                      <a:pt x="272" y="719"/>
                    </a:cubicBezTo>
                    <a:cubicBezTo>
                      <a:pt x="270" y="724"/>
                      <a:pt x="270" y="724"/>
                      <a:pt x="270" y="724"/>
                    </a:cubicBezTo>
                    <a:cubicBezTo>
                      <a:pt x="270" y="719"/>
                      <a:pt x="270" y="719"/>
                      <a:pt x="270" y="719"/>
                    </a:cubicBezTo>
                    <a:cubicBezTo>
                      <a:pt x="270" y="719"/>
                      <a:pt x="267" y="719"/>
                      <a:pt x="266" y="720"/>
                    </a:cubicBezTo>
                    <a:cubicBezTo>
                      <a:pt x="264" y="721"/>
                      <a:pt x="263" y="724"/>
                      <a:pt x="263" y="724"/>
                    </a:cubicBezTo>
                    <a:cubicBezTo>
                      <a:pt x="263" y="724"/>
                      <a:pt x="262" y="723"/>
                      <a:pt x="259" y="726"/>
                    </a:cubicBezTo>
                    <a:cubicBezTo>
                      <a:pt x="257" y="729"/>
                      <a:pt x="253" y="739"/>
                      <a:pt x="253" y="739"/>
                    </a:cubicBezTo>
                    <a:cubicBezTo>
                      <a:pt x="253" y="739"/>
                      <a:pt x="248" y="741"/>
                      <a:pt x="248" y="746"/>
                    </a:cubicBezTo>
                    <a:cubicBezTo>
                      <a:pt x="247" y="753"/>
                      <a:pt x="253" y="753"/>
                      <a:pt x="253" y="757"/>
                    </a:cubicBezTo>
                    <a:cubicBezTo>
                      <a:pt x="251" y="762"/>
                      <a:pt x="249" y="763"/>
                      <a:pt x="249" y="763"/>
                    </a:cubicBezTo>
                    <a:cubicBezTo>
                      <a:pt x="251" y="765"/>
                      <a:pt x="251" y="765"/>
                      <a:pt x="251" y="765"/>
                    </a:cubicBezTo>
                    <a:cubicBezTo>
                      <a:pt x="251" y="772"/>
                      <a:pt x="251" y="772"/>
                      <a:pt x="251" y="772"/>
                    </a:cubicBezTo>
                    <a:cubicBezTo>
                      <a:pt x="254" y="773"/>
                      <a:pt x="254" y="773"/>
                      <a:pt x="254" y="773"/>
                    </a:cubicBezTo>
                    <a:cubicBezTo>
                      <a:pt x="254" y="776"/>
                      <a:pt x="254" y="776"/>
                      <a:pt x="254" y="776"/>
                    </a:cubicBezTo>
                    <a:cubicBezTo>
                      <a:pt x="254" y="776"/>
                      <a:pt x="257" y="775"/>
                      <a:pt x="257" y="776"/>
                    </a:cubicBezTo>
                    <a:cubicBezTo>
                      <a:pt x="257" y="777"/>
                      <a:pt x="255" y="778"/>
                      <a:pt x="255" y="778"/>
                    </a:cubicBezTo>
                    <a:cubicBezTo>
                      <a:pt x="255" y="782"/>
                      <a:pt x="255" y="782"/>
                      <a:pt x="255" y="782"/>
                    </a:cubicBezTo>
                    <a:cubicBezTo>
                      <a:pt x="255" y="783"/>
                      <a:pt x="253" y="787"/>
                      <a:pt x="253" y="787"/>
                    </a:cubicBezTo>
                    <a:cubicBezTo>
                      <a:pt x="258" y="785"/>
                      <a:pt x="258" y="785"/>
                      <a:pt x="258" y="785"/>
                    </a:cubicBezTo>
                    <a:cubicBezTo>
                      <a:pt x="261" y="779"/>
                      <a:pt x="261" y="779"/>
                      <a:pt x="261" y="779"/>
                    </a:cubicBezTo>
                    <a:cubicBezTo>
                      <a:pt x="260" y="779"/>
                      <a:pt x="260" y="779"/>
                      <a:pt x="260" y="779"/>
                    </a:cubicBezTo>
                    <a:cubicBezTo>
                      <a:pt x="261" y="774"/>
                      <a:pt x="261" y="774"/>
                      <a:pt x="261" y="774"/>
                    </a:cubicBezTo>
                    <a:cubicBezTo>
                      <a:pt x="262" y="772"/>
                      <a:pt x="262" y="772"/>
                      <a:pt x="262" y="772"/>
                    </a:cubicBezTo>
                    <a:cubicBezTo>
                      <a:pt x="261" y="772"/>
                      <a:pt x="261" y="772"/>
                      <a:pt x="261" y="772"/>
                    </a:cubicBezTo>
                    <a:cubicBezTo>
                      <a:pt x="266" y="766"/>
                      <a:pt x="266" y="766"/>
                      <a:pt x="266" y="766"/>
                    </a:cubicBezTo>
                    <a:cubicBezTo>
                      <a:pt x="271" y="763"/>
                      <a:pt x="271" y="763"/>
                      <a:pt x="271" y="763"/>
                    </a:cubicBezTo>
                    <a:cubicBezTo>
                      <a:pt x="271" y="758"/>
                      <a:pt x="271" y="758"/>
                      <a:pt x="271" y="758"/>
                    </a:cubicBezTo>
                    <a:cubicBezTo>
                      <a:pt x="277" y="750"/>
                      <a:pt x="277" y="750"/>
                      <a:pt x="277" y="750"/>
                    </a:cubicBezTo>
                    <a:cubicBezTo>
                      <a:pt x="274" y="750"/>
                      <a:pt x="274" y="750"/>
                      <a:pt x="274" y="750"/>
                    </a:cubicBezTo>
                    <a:cubicBezTo>
                      <a:pt x="271" y="746"/>
                      <a:pt x="271" y="746"/>
                      <a:pt x="271" y="746"/>
                    </a:cubicBezTo>
                    <a:cubicBezTo>
                      <a:pt x="271" y="746"/>
                      <a:pt x="273" y="743"/>
                      <a:pt x="274" y="740"/>
                    </a:cubicBezTo>
                    <a:cubicBezTo>
                      <a:pt x="274" y="738"/>
                      <a:pt x="271" y="735"/>
                      <a:pt x="271" y="735"/>
                    </a:cubicBezTo>
                    <a:cubicBezTo>
                      <a:pt x="272" y="730"/>
                      <a:pt x="272" y="730"/>
                      <a:pt x="272" y="730"/>
                    </a:cubicBezTo>
                    <a:lnTo>
                      <a:pt x="277" y="731"/>
                    </a:lnTo>
                    <a:close/>
                    <a:moveTo>
                      <a:pt x="280" y="719"/>
                    </a:moveTo>
                    <a:cubicBezTo>
                      <a:pt x="282" y="721"/>
                      <a:pt x="282" y="721"/>
                      <a:pt x="282" y="721"/>
                    </a:cubicBezTo>
                    <a:cubicBezTo>
                      <a:pt x="286" y="711"/>
                      <a:pt x="286" y="711"/>
                      <a:pt x="286" y="711"/>
                    </a:cubicBezTo>
                    <a:cubicBezTo>
                      <a:pt x="281" y="712"/>
                      <a:pt x="281" y="712"/>
                      <a:pt x="281" y="712"/>
                    </a:cubicBezTo>
                    <a:lnTo>
                      <a:pt x="280" y="719"/>
                    </a:lnTo>
                    <a:close/>
                    <a:moveTo>
                      <a:pt x="286" y="715"/>
                    </a:moveTo>
                    <a:cubicBezTo>
                      <a:pt x="290" y="715"/>
                      <a:pt x="290" y="715"/>
                      <a:pt x="290" y="715"/>
                    </a:cubicBezTo>
                    <a:cubicBezTo>
                      <a:pt x="291" y="712"/>
                      <a:pt x="291" y="712"/>
                      <a:pt x="291" y="712"/>
                    </a:cubicBezTo>
                    <a:cubicBezTo>
                      <a:pt x="288" y="712"/>
                      <a:pt x="288" y="712"/>
                      <a:pt x="288" y="712"/>
                    </a:cubicBezTo>
                    <a:lnTo>
                      <a:pt x="286" y="715"/>
                    </a:lnTo>
                    <a:close/>
                    <a:moveTo>
                      <a:pt x="282" y="691"/>
                    </a:moveTo>
                    <a:cubicBezTo>
                      <a:pt x="287" y="688"/>
                      <a:pt x="287" y="688"/>
                      <a:pt x="287" y="688"/>
                    </a:cubicBezTo>
                    <a:cubicBezTo>
                      <a:pt x="280" y="684"/>
                      <a:pt x="280" y="684"/>
                      <a:pt x="280" y="684"/>
                    </a:cubicBezTo>
                    <a:cubicBezTo>
                      <a:pt x="281" y="689"/>
                      <a:pt x="281" y="689"/>
                      <a:pt x="281" y="689"/>
                    </a:cubicBezTo>
                    <a:lnTo>
                      <a:pt x="282" y="691"/>
                    </a:lnTo>
                    <a:close/>
                    <a:moveTo>
                      <a:pt x="243" y="630"/>
                    </a:moveTo>
                    <a:cubicBezTo>
                      <a:pt x="255" y="631"/>
                      <a:pt x="255" y="631"/>
                      <a:pt x="255" y="631"/>
                    </a:cubicBezTo>
                    <a:cubicBezTo>
                      <a:pt x="256" y="630"/>
                      <a:pt x="256" y="630"/>
                      <a:pt x="256" y="630"/>
                    </a:cubicBezTo>
                    <a:cubicBezTo>
                      <a:pt x="254" y="626"/>
                      <a:pt x="254" y="626"/>
                      <a:pt x="254" y="626"/>
                    </a:cubicBezTo>
                    <a:cubicBezTo>
                      <a:pt x="251" y="625"/>
                      <a:pt x="251" y="625"/>
                      <a:pt x="251" y="625"/>
                    </a:cubicBezTo>
                    <a:cubicBezTo>
                      <a:pt x="248" y="626"/>
                      <a:pt x="248" y="626"/>
                      <a:pt x="248" y="626"/>
                    </a:cubicBezTo>
                    <a:cubicBezTo>
                      <a:pt x="249" y="628"/>
                      <a:pt x="249" y="628"/>
                      <a:pt x="249" y="628"/>
                    </a:cubicBezTo>
                    <a:cubicBezTo>
                      <a:pt x="243" y="628"/>
                      <a:pt x="243" y="628"/>
                      <a:pt x="243" y="628"/>
                    </a:cubicBezTo>
                    <a:lnTo>
                      <a:pt x="243" y="630"/>
                    </a:lnTo>
                    <a:close/>
                    <a:moveTo>
                      <a:pt x="254" y="615"/>
                    </a:moveTo>
                    <a:cubicBezTo>
                      <a:pt x="253" y="620"/>
                      <a:pt x="253" y="620"/>
                      <a:pt x="253" y="620"/>
                    </a:cubicBezTo>
                    <a:cubicBezTo>
                      <a:pt x="258" y="617"/>
                      <a:pt x="258" y="617"/>
                      <a:pt x="258" y="617"/>
                    </a:cubicBezTo>
                    <a:lnTo>
                      <a:pt x="254" y="615"/>
                    </a:lnTo>
                    <a:close/>
                    <a:moveTo>
                      <a:pt x="266" y="610"/>
                    </a:moveTo>
                    <a:cubicBezTo>
                      <a:pt x="265" y="607"/>
                      <a:pt x="265" y="607"/>
                      <a:pt x="265" y="607"/>
                    </a:cubicBezTo>
                    <a:cubicBezTo>
                      <a:pt x="259" y="610"/>
                      <a:pt x="259" y="610"/>
                      <a:pt x="259" y="610"/>
                    </a:cubicBezTo>
                    <a:cubicBezTo>
                      <a:pt x="262" y="612"/>
                      <a:pt x="262" y="612"/>
                      <a:pt x="262" y="612"/>
                    </a:cubicBezTo>
                    <a:lnTo>
                      <a:pt x="266" y="610"/>
                    </a:lnTo>
                    <a:close/>
                    <a:moveTo>
                      <a:pt x="258" y="630"/>
                    </a:moveTo>
                    <a:cubicBezTo>
                      <a:pt x="261" y="629"/>
                      <a:pt x="261" y="629"/>
                      <a:pt x="261" y="629"/>
                    </a:cubicBezTo>
                    <a:cubicBezTo>
                      <a:pt x="258" y="626"/>
                      <a:pt x="258" y="626"/>
                      <a:pt x="258" y="626"/>
                    </a:cubicBezTo>
                    <a:lnTo>
                      <a:pt x="258" y="630"/>
                    </a:lnTo>
                    <a:close/>
                    <a:moveTo>
                      <a:pt x="249" y="651"/>
                    </a:moveTo>
                    <a:cubicBezTo>
                      <a:pt x="253" y="644"/>
                      <a:pt x="253" y="644"/>
                      <a:pt x="253" y="644"/>
                    </a:cubicBezTo>
                    <a:cubicBezTo>
                      <a:pt x="250" y="643"/>
                      <a:pt x="250" y="643"/>
                      <a:pt x="250" y="643"/>
                    </a:cubicBezTo>
                    <a:cubicBezTo>
                      <a:pt x="246" y="649"/>
                      <a:pt x="246" y="649"/>
                      <a:pt x="246" y="649"/>
                    </a:cubicBezTo>
                    <a:lnTo>
                      <a:pt x="249" y="651"/>
                    </a:lnTo>
                    <a:close/>
                    <a:moveTo>
                      <a:pt x="245" y="653"/>
                    </a:moveTo>
                    <a:cubicBezTo>
                      <a:pt x="244" y="656"/>
                      <a:pt x="245" y="658"/>
                      <a:pt x="247" y="656"/>
                    </a:cubicBezTo>
                    <a:cubicBezTo>
                      <a:pt x="249" y="653"/>
                      <a:pt x="246" y="651"/>
                      <a:pt x="245" y="653"/>
                    </a:cubicBezTo>
                    <a:close/>
                    <a:moveTo>
                      <a:pt x="238" y="652"/>
                    </a:moveTo>
                    <a:cubicBezTo>
                      <a:pt x="241" y="653"/>
                      <a:pt x="241" y="653"/>
                      <a:pt x="241" y="653"/>
                    </a:cubicBezTo>
                    <a:cubicBezTo>
                      <a:pt x="243" y="649"/>
                      <a:pt x="243" y="649"/>
                      <a:pt x="243" y="649"/>
                    </a:cubicBezTo>
                    <a:cubicBezTo>
                      <a:pt x="242" y="649"/>
                      <a:pt x="242" y="649"/>
                      <a:pt x="242" y="649"/>
                    </a:cubicBezTo>
                    <a:lnTo>
                      <a:pt x="238" y="652"/>
                    </a:lnTo>
                    <a:close/>
                    <a:moveTo>
                      <a:pt x="251" y="632"/>
                    </a:moveTo>
                    <a:cubicBezTo>
                      <a:pt x="249" y="633"/>
                      <a:pt x="249" y="633"/>
                      <a:pt x="249" y="633"/>
                    </a:cubicBezTo>
                    <a:cubicBezTo>
                      <a:pt x="246" y="635"/>
                      <a:pt x="246" y="635"/>
                      <a:pt x="246" y="635"/>
                    </a:cubicBezTo>
                    <a:cubicBezTo>
                      <a:pt x="251" y="636"/>
                      <a:pt x="251" y="636"/>
                      <a:pt x="251" y="636"/>
                    </a:cubicBezTo>
                    <a:lnTo>
                      <a:pt x="251" y="632"/>
                    </a:lnTo>
                    <a:close/>
                    <a:moveTo>
                      <a:pt x="229" y="662"/>
                    </a:moveTo>
                    <a:cubicBezTo>
                      <a:pt x="229" y="664"/>
                      <a:pt x="229" y="664"/>
                      <a:pt x="229" y="664"/>
                    </a:cubicBezTo>
                    <a:cubicBezTo>
                      <a:pt x="232" y="666"/>
                      <a:pt x="232" y="666"/>
                      <a:pt x="232" y="666"/>
                    </a:cubicBezTo>
                    <a:cubicBezTo>
                      <a:pt x="231" y="661"/>
                      <a:pt x="231" y="661"/>
                      <a:pt x="231" y="661"/>
                    </a:cubicBezTo>
                    <a:lnTo>
                      <a:pt x="229" y="662"/>
                    </a:lnTo>
                    <a:close/>
                    <a:moveTo>
                      <a:pt x="246" y="562"/>
                    </a:moveTo>
                    <a:cubicBezTo>
                      <a:pt x="244" y="562"/>
                      <a:pt x="244" y="562"/>
                      <a:pt x="244" y="562"/>
                    </a:cubicBezTo>
                    <a:cubicBezTo>
                      <a:pt x="243" y="558"/>
                      <a:pt x="243" y="558"/>
                      <a:pt x="243" y="558"/>
                    </a:cubicBezTo>
                    <a:cubicBezTo>
                      <a:pt x="241" y="554"/>
                      <a:pt x="241" y="554"/>
                      <a:pt x="241" y="554"/>
                    </a:cubicBezTo>
                    <a:cubicBezTo>
                      <a:pt x="240" y="554"/>
                      <a:pt x="240" y="554"/>
                      <a:pt x="240" y="554"/>
                    </a:cubicBezTo>
                    <a:cubicBezTo>
                      <a:pt x="241" y="560"/>
                      <a:pt x="241" y="560"/>
                      <a:pt x="241" y="560"/>
                    </a:cubicBezTo>
                    <a:cubicBezTo>
                      <a:pt x="246" y="567"/>
                      <a:pt x="246" y="567"/>
                      <a:pt x="246" y="567"/>
                    </a:cubicBezTo>
                    <a:lnTo>
                      <a:pt x="246" y="562"/>
                    </a:lnTo>
                    <a:close/>
                    <a:moveTo>
                      <a:pt x="245" y="571"/>
                    </a:moveTo>
                    <a:cubicBezTo>
                      <a:pt x="248" y="572"/>
                      <a:pt x="249" y="569"/>
                      <a:pt x="246" y="569"/>
                    </a:cubicBezTo>
                    <a:cubicBezTo>
                      <a:pt x="243" y="569"/>
                      <a:pt x="243" y="571"/>
                      <a:pt x="245" y="571"/>
                    </a:cubicBezTo>
                    <a:close/>
                    <a:moveTo>
                      <a:pt x="253" y="571"/>
                    </a:moveTo>
                    <a:cubicBezTo>
                      <a:pt x="250" y="571"/>
                      <a:pt x="250" y="574"/>
                      <a:pt x="253" y="576"/>
                    </a:cubicBezTo>
                    <a:cubicBezTo>
                      <a:pt x="255" y="577"/>
                      <a:pt x="256" y="576"/>
                      <a:pt x="256" y="573"/>
                    </a:cubicBezTo>
                    <a:cubicBezTo>
                      <a:pt x="255" y="571"/>
                      <a:pt x="254" y="571"/>
                      <a:pt x="253" y="571"/>
                    </a:cubicBezTo>
                    <a:close/>
                    <a:moveTo>
                      <a:pt x="200" y="696"/>
                    </a:moveTo>
                    <a:cubicBezTo>
                      <a:pt x="199" y="693"/>
                      <a:pt x="199" y="693"/>
                      <a:pt x="199" y="693"/>
                    </a:cubicBezTo>
                    <a:cubicBezTo>
                      <a:pt x="198" y="693"/>
                      <a:pt x="198" y="693"/>
                      <a:pt x="198" y="693"/>
                    </a:cubicBezTo>
                    <a:cubicBezTo>
                      <a:pt x="198" y="699"/>
                      <a:pt x="198" y="699"/>
                      <a:pt x="198" y="699"/>
                    </a:cubicBezTo>
                    <a:cubicBezTo>
                      <a:pt x="202" y="698"/>
                      <a:pt x="202" y="698"/>
                      <a:pt x="202" y="698"/>
                    </a:cubicBezTo>
                    <a:lnTo>
                      <a:pt x="200" y="696"/>
                    </a:lnTo>
                    <a:close/>
                    <a:moveTo>
                      <a:pt x="198" y="739"/>
                    </a:moveTo>
                    <a:cubicBezTo>
                      <a:pt x="195" y="736"/>
                      <a:pt x="195" y="736"/>
                      <a:pt x="195" y="736"/>
                    </a:cubicBezTo>
                    <a:cubicBezTo>
                      <a:pt x="195" y="740"/>
                      <a:pt x="195" y="740"/>
                      <a:pt x="195" y="740"/>
                    </a:cubicBezTo>
                    <a:lnTo>
                      <a:pt x="198" y="739"/>
                    </a:lnTo>
                    <a:close/>
                    <a:moveTo>
                      <a:pt x="266" y="598"/>
                    </a:moveTo>
                    <a:cubicBezTo>
                      <a:pt x="263" y="596"/>
                      <a:pt x="263" y="596"/>
                      <a:pt x="263" y="596"/>
                    </a:cubicBezTo>
                    <a:cubicBezTo>
                      <a:pt x="261" y="598"/>
                      <a:pt x="261" y="598"/>
                      <a:pt x="261" y="598"/>
                    </a:cubicBezTo>
                    <a:lnTo>
                      <a:pt x="266" y="598"/>
                    </a:lnTo>
                    <a:close/>
                    <a:moveTo>
                      <a:pt x="205" y="485"/>
                    </a:moveTo>
                    <a:cubicBezTo>
                      <a:pt x="206" y="482"/>
                      <a:pt x="206" y="482"/>
                      <a:pt x="206" y="482"/>
                    </a:cubicBezTo>
                    <a:cubicBezTo>
                      <a:pt x="202" y="479"/>
                      <a:pt x="202" y="479"/>
                      <a:pt x="202" y="479"/>
                    </a:cubicBezTo>
                    <a:cubicBezTo>
                      <a:pt x="200" y="482"/>
                      <a:pt x="200" y="482"/>
                      <a:pt x="200" y="482"/>
                    </a:cubicBezTo>
                    <a:lnTo>
                      <a:pt x="205" y="485"/>
                    </a:lnTo>
                    <a:close/>
                    <a:moveTo>
                      <a:pt x="199" y="439"/>
                    </a:moveTo>
                    <a:cubicBezTo>
                      <a:pt x="201" y="439"/>
                      <a:pt x="201" y="439"/>
                      <a:pt x="201" y="439"/>
                    </a:cubicBezTo>
                    <a:cubicBezTo>
                      <a:pt x="200" y="432"/>
                      <a:pt x="200" y="432"/>
                      <a:pt x="200" y="432"/>
                    </a:cubicBezTo>
                    <a:cubicBezTo>
                      <a:pt x="198" y="431"/>
                      <a:pt x="198" y="431"/>
                      <a:pt x="198" y="431"/>
                    </a:cubicBezTo>
                    <a:lnTo>
                      <a:pt x="199" y="439"/>
                    </a:lnTo>
                    <a:close/>
                    <a:moveTo>
                      <a:pt x="217" y="421"/>
                    </a:moveTo>
                    <a:cubicBezTo>
                      <a:pt x="216" y="419"/>
                      <a:pt x="216" y="419"/>
                      <a:pt x="216" y="419"/>
                    </a:cubicBezTo>
                    <a:cubicBezTo>
                      <a:pt x="214" y="419"/>
                      <a:pt x="214" y="419"/>
                      <a:pt x="214" y="419"/>
                    </a:cubicBezTo>
                    <a:cubicBezTo>
                      <a:pt x="214" y="421"/>
                      <a:pt x="214" y="421"/>
                      <a:pt x="214" y="421"/>
                    </a:cubicBezTo>
                    <a:cubicBezTo>
                      <a:pt x="214" y="425"/>
                      <a:pt x="214" y="425"/>
                      <a:pt x="214" y="425"/>
                    </a:cubicBezTo>
                    <a:lnTo>
                      <a:pt x="217" y="421"/>
                    </a:lnTo>
                    <a:close/>
                    <a:moveTo>
                      <a:pt x="220" y="411"/>
                    </a:moveTo>
                    <a:cubicBezTo>
                      <a:pt x="215" y="412"/>
                      <a:pt x="214" y="415"/>
                      <a:pt x="216" y="416"/>
                    </a:cubicBezTo>
                    <a:cubicBezTo>
                      <a:pt x="220" y="418"/>
                      <a:pt x="223" y="411"/>
                      <a:pt x="220" y="411"/>
                    </a:cubicBezTo>
                    <a:close/>
                    <a:moveTo>
                      <a:pt x="234" y="392"/>
                    </a:moveTo>
                    <a:cubicBezTo>
                      <a:pt x="232" y="384"/>
                      <a:pt x="232" y="384"/>
                      <a:pt x="232" y="384"/>
                    </a:cubicBezTo>
                    <a:cubicBezTo>
                      <a:pt x="231" y="393"/>
                      <a:pt x="231" y="393"/>
                      <a:pt x="231" y="393"/>
                    </a:cubicBezTo>
                    <a:lnTo>
                      <a:pt x="234" y="392"/>
                    </a:lnTo>
                    <a:close/>
                    <a:moveTo>
                      <a:pt x="294" y="340"/>
                    </a:moveTo>
                    <a:cubicBezTo>
                      <a:pt x="294" y="343"/>
                      <a:pt x="294" y="343"/>
                      <a:pt x="294" y="343"/>
                    </a:cubicBezTo>
                    <a:cubicBezTo>
                      <a:pt x="297" y="342"/>
                      <a:pt x="297" y="342"/>
                      <a:pt x="297" y="342"/>
                    </a:cubicBezTo>
                    <a:cubicBezTo>
                      <a:pt x="296" y="336"/>
                      <a:pt x="296" y="336"/>
                      <a:pt x="296" y="336"/>
                    </a:cubicBezTo>
                    <a:lnTo>
                      <a:pt x="294" y="340"/>
                    </a:lnTo>
                    <a:close/>
                    <a:moveTo>
                      <a:pt x="293" y="335"/>
                    </a:moveTo>
                    <a:cubicBezTo>
                      <a:pt x="290" y="340"/>
                      <a:pt x="294" y="336"/>
                      <a:pt x="294" y="336"/>
                    </a:cubicBezTo>
                    <a:cubicBezTo>
                      <a:pt x="296" y="333"/>
                      <a:pt x="295" y="331"/>
                      <a:pt x="293" y="335"/>
                    </a:cubicBezTo>
                    <a:close/>
                    <a:moveTo>
                      <a:pt x="298" y="236"/>
                    </a:moveTo>
                    <a:cubicBezTo>
                      <a:pt x="300" y="240"/>
                      <a:pt x="300" y="240"/>
                      <a:pt x="300" y="240"/>
                    </a:cubicBezTo>
                    <a:cubicBezTo>
                      <a:pt x="306" y="242"/>
                      <a:pt x="306" y="242"/>
                      <a:pt x="306" y="242"/>
                    </a:cubicBezTo>
                    <a:cubicBezTo>
                      <a:pt x="307" y="241"/>
                      <a:pt x="307" y="241"/>
                      <a:pt x="307" y="241"/>
                    </a:cubicBezTo>
                    <a:cubicBezTo>
                      <a:pt x="304" y="239"/>
                      <a:pt x="304" y="239"/>
                      <a:pt x="304" y="239"/>
                    </a:cubicBezTo>
                    <a:cubicBezTo>
                      <a:pt x="305" y="236"/>
                      <a:pt x="305" y="236"/>
                      <a:pt x="305" y="236"/>
                    </a:cubicBezTo>
                    <a:cubicBezTo>
                      <a:pt x="303" y="235"/>
                      <a:pt x="303" y="235"/>
                      <a:pt x="303" y="235"/>
                    </a:cubicBezTo>
                    <a:cubicBezTo>
                      <a:pt x="302" y="237"/>
                      <a:pt x="302" y="237"/>
                      <a:pt x="302" y="237"/>
                    </a:cubicBezTo>
                    <a:cubicBezTo>
                      <a:pt x="302" y="235"/>
                      <a:pt x="302" y="235"/>
                      <a:pt x="302" y="235"/>
                    </a:cubicBezTo>
                    <a:lnTo>
                      <a:pt x="298" y="236"/>
                    </a:lnTo>
                    <a:close/>
                    <a:moveTo>
                      <a:pt x="312" y="222"/>
                    </a:moveTo>
                    <a:cubicBezTo>
                      <a:pt x="315" y="226"/>
                      <a:pt x="315" y="226"/>
                      <a:pt x="315" y="226"/>
                    </a:cubicBezTo>
                    <a:cubicBezTo>
                      <a:pt x="314" y="221"/>
                      <a:pt x="314" y="221"/>
                      <a:pt x="314" y="221"/>
                    </a:cubicBezTo>
                    <a:lnTo>
                      <a:pt x="312" y="222"/>
                    </a:lnTo>
                    <a:close/>
                    <a:moveTo>
                      <a:pt x="320" y="227"/>
                    </a:moveTo>
                    <a:cubicBezTo>
                      <a:pt x="322" y="224"/>
                      <a:pt x="322" y="224"/>
                      <a:pt x="322" y="224"/>
                    </a:cubicBezTo>
                    <a:cubicBezTo>
                      <a:pt x="317" y="225"/>
                      <a:pt x="317" y="225"/>
                      <a:pt x="317" y="225"/>
                    </a:cubicBezTo>
                    <a:lnTo>
                      <a:pt x="320" y="227"/>
                    </a:lnTo>
                    <a:close/>
                    <a:moveTo>
                      <a:pt x="322" y="222"/>
                    </a:moveTo>
                    <a:cubicBezTo>
                      <a:pt x="326" y="222"/>
                      <a:pt x="326" y="222"/>
                      <a:pt x="326" y="222"/>
                    </a:cubicBezTo>
                    <a:cubicBezTo>
                      <a:pt x="326" y="221"/>
                      <a:pt x="326" y="221"/>
                      <a:pt x="326" y="221"/>
                    </a:cubicBezTo>
                    <a:cubicBezTo>
                      <a:pt x="322" y="220"/>
                      <a:pt x="322" y="220"/>
                      <a:pt x="322" y="220"/>
                    </a:cubicBezTo>
                    <a:lnTo>
                      <a:pt x="322" y="222"/>
                    </a:lnTo>
                    <a:close/>
                    <a:moveTo>
                      <a:pt x="325" y="217"/>
                    </a:moveTo>
                    <a:cubicBezTo>
                      <a:pt x="326" y="213"/>
                      <a:pt x="326" y="213"/>
                      <a:pt x="326" y="213"/>
                    </a:cubicBezTo>
                    <a:cubicBezTo>
                      <a:pt x="322" y="215"/>
                      <a:pt x="322" y="215"/>
                      <a:pt x="322" y="215"/>
                    </a:cubicBezTo>
                    <a:lnTo>
                      <a:pt x="325" y="217"/>
                    </a:lnTo>
                    <a:close/>
                    <a:moveTo>
                      <a:pt x="319" y="219"/>
                    </a:moveTo>
                    <a:cubicBezTo>
                      <a:pt x="317" y="218"/>
                      <a:pt x="315" y="219"/>
                      <a:pt x="315" y="219"/>
                    </a:cubicBezTo>
                    <a:cubicBezTo>
                      <a:pt x="315" y="219"/>
                      <a:pt x="314" y="220"/>
                      <a:pt x="316" y="221"/>
                    </a:cubicBezTo>
                    <a:cubicBezTo>
                      <a:pt x="319" y="221"/>
                      <a:pt x="320" y="220"/>
                      <a:pt x="319" y="219"/>
                    </a:cubicBezTo>
                    <a:close/>
                    <a:moveTo>
                      <a:pt x="354" y="202"/>
                    </a:moveTo>
                    <a:cubicBezTo>
                      <a:pt x="356" y="202"/>
                      <a:pt x="356" y="202"/>
                      <a:pt x="356" y="202"/>
                    </a:cubicBezTo>
                    <a:cubicBezTo>
                      <a:pt x="356" y="200"/>
                      <a:pt x="356" y="200"/>
                      <a:pt x="356" y="200"/>
                    </a:cubicBezTo>
                    <a:cubicBezTo>
                      <a:pt x="354" y="200"/>
                      <a:pt x="354" y="200"/>
                      <a:pt x="354" y="200"/>
                    </a:cubicBezTo>
                    <a:lnTo>
                      <a:pt x="354" y="20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29" name="Spain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2852738" y="4773613"/>
                <a:ext cx="1344612" cy="1111250"/>
              </a:xfrm>
              <a:custGeom>
                <a:avLst/>
                <a:gdLst/>
                <a:ahLst/>
                <a:cxnLst>
                  <a:cxn ang="0">
                    <a:pos x="482" y="410"/>
                  </a:cxn>
                  <a:cxn ang="0">
                    <a:pos x="472" y="381"/>
                  </a:cxn>
                  <a:cxn ang="0">
                    <a:pos x="474" y="395"/>
                  </a:cxn>
                  <a:cxn ang="0">
                    <a:pos x="484" y="379"/>
                  </a:cxn>
                  <a:cxn ang="0">
                    <a:pos x="576" y="333"/>
                  </a:cxn>
                  <a:cxn ang="0">
                    <a:pos x="530" y="360"/>
                  </a:cxn>
                  <a:cxn ang="0">
                    <a:pos x="560" y="372"/>
                  </a:cxn>
                  <a:cxn ang="0">
                    <a:pos x="584" y="358"/>
                  </a:cxn>
                  <a:cxn ang="0">
                    <a:pos x="575" y="348"/>
                  </a:cxn>
                  <a:cxn ang="0">
                    <a:pos x="506" y="163"/>
                  </a:cxn>
                  <a:cxn ang="0">
                    <a:pos x="494" y="147"/>
                  </a:cxn>
                  <a:cxn ang="0">
                    <a:pos x="456" y="138"/>
                  </a:cxn>
                  <a:cxn ang="0">
                    <a:pos x="417" y="128"/>
                  </a:cxn>
                  <a:cxn ang="0">
                    <a:pos x="406" y="115"/>
                  </a:cxn>
                  <a:cxn ang="0">
                    <a:pos x="369" y="104"/>
                  </a:cxn>
                  <a:cxn ang="0">
                    <a:pos x="364" y="86"/>
                  </a:cxn>
                  <a:cxn ang="0">
                    <a:pos x="297" y="75"/>
                  </a:cxn>
                  <a:cxn ang="0">
                    <a:pos x="262" y="62"/>
                  </a:cxn>
                  <a:cxn ang="0">
                    <a:pos x="178" y="37"/>
                  </a:cxn>
                  <a:cxn ang="0">
                    <a:pos x="115" y="21"/>
                  </a:cxn>
                  <a:cxn ang="0">
                    <a:pos x="89" y="10"/>
                  </a:cxn>
                  <a:cxn ang="0">
                    <a:pos x="69" y="1"/>
                  </a:cxn>
                  <a:cxn ang="0">
                    <a:pos x="62" y="17"/>
                  </a:cxn>
                  <a:cxn ang="0">
                    <a:pos x="16" y="19"/>
                  </a:cxn>
                  <a:cxn ang="0">
                    <a:pos x="5" y="37"/>
                  </a:cxn>
                  <a:cxn ang="0">
                    <a:pos x="3" y="58"/>
                  </a:cxn>
                  <a:cxn ang="0">
                    <a:pos x="14" y="69"/>
                  </a:cxn>
                  <a:cxn ang="0">
                    <a:pos x="7" y="78"/>
                  </a:cxn>
                  <a:cxn ang="0">
                    <a:pos x="11" y="87"/>
                  </a:cxn>
                  <a:cxn ang="0">
                    <a:pos x="16" y="98"/>
                  </a:cxn>
                  <a:cxn ang="0">
                    <a:pos x="41" y="107"/>
                  </a:cxn>
                  <a:cxn ang="0">
                    <a:pos x="63" y="126"/>
                  </a:cxn>
                  <a:cxn ang="0">
                    <a:pos x="100" y="128"/>
                  </a:cxn>
                  <a:cxn ang="0">
                    <a:pos x="112" y="150"/>
                  </a:cxn>
                  <a:cxn ang="0">
                    <a:pos x="90" y="185"/>
                  </a:cxn>
                  <a:cxn ang="0">
                    <a:pos x="74" y="235"/>
                  </a:cxn>
                  <a:cxn ang="0">
                    <a:pos x="59" y="270"/>
                  </a:cxn>
                  <a:cxn ang="0">
                    <a:pos x="46" y="306"/>
                  </a:cxn>
                  <a:cxn ang="0">
                    <a:pos x="34" y="364"/>
                  </a:cxn>
                  <a:cxn ang="0">
                    <a:pos x="21" y="384"/>
                  </a:cxn>
                  <a:cxn ang="0">
                    <a:pos x="23" y="428"/>
                  </a:cxn>
                  <a:cxn ang="0">
                    <a:pos x="32" y="433"/>
                  </a:cxn>
                  <a:cxn ang="0">
                    <a:pos x="50" y="466"/>
                  </a:cxn>
                  <a:cxn ang="0">
                    <a:pos x="60" y="483"/>
                  </a:cxn>
                  <a:cxn ang="0">
                    <a:pos x="72" y="507"/>
                  </a:cxn>
                  <a:cxn ang="0">
                    <a:pos x="95" y="520"/>
                  </a:cxn>
                  <a:cxn ang="0">
                    <a:pos x="141" y="498"/>
                  </a:cxn>
                  <a:cxn ang="0">
                    <a:pos x="217" y="498"/>
                  </a:cxn>
                  <a:cxn ang="0">
                    <a:pos x="284" y="500"/>
                  </a:cxn>
                  <a:cxn ang="0">
                    <a:pos x="324" y="462"/>
                  </a:cxn>
                  <a:cxn ang="0">
                    <a:pos x="359" y="455"/>
                  </a:cxn>
                  <a:cxn ang="0">
                    <a:pos x="367" y="428"/>
                  </a:cxn>
                  <a:cxn ang="0">
                    <a:pos x="404" y="403"/>
                  </a:cxn>
                  <a:cxn ang="0">
                    <a:pos x="415" y="317"/>
                  </a:cxn>
                  <a:cxn ang="0">
                    <a:pos x="453" y="277"/>
                  </a:cxn>
                  <a:cxn ang="0">
                    <a:pos x="457" y="277"/>
                  </a:cxn>
                  <a:cxn ang="0">
                    <a:pos x="484" y="248"/>
                  </a:cxn>
                  <a:cxn ang="0">
                    <a:pos x="589" y="199"/>
                  </a:cxn>
                  <a:cxn ang="0">
                    <a:pos x="590" y="174"/>
                  </a:cxn>
                  <a:cxn ang="0">
                    <a:pos x="551" y="171"/>
                  </a:cxn>
                  <a:cxn ang="0">
                    <a:pos x="519" y="161"/>
                  </a:cxn>
                  <a:cxn ang="0">
                    <a:pos x="617" y="340"/>
                  </a:cxn>
                </a:cxnLst>
                <a:rect l="0" t="0" r="r" b="b"/>
                <a:pathLst>
                  <a:path w="631" h="522">
                    <a:moveTo>
                      <a:pt x="476" y="401"/>
                    </a:moveTo>
                    <a:cubicBezTo>
                      <a:pt x="474" y="405"/>
                      <a:pt x="474" y="405"/>
                      <a:pt x="474" y="405"/>
                    </a:cubicBezTo>
                    <a:cubicBezTo>
                      <a:pt x="475" y="410"/>
                      <a:pt x="475" y="410"/>
                      <a:pt x="475" y="410"/>
                    </a:cubicBezTo>
                    <a:cubicBezTo>
                      <a:pt x="478" y="407"/>
                      <a:pt x="478" y="407"/>
                      <a:pt x="478" y="407"/>
                    </a:cubicBezTo>
                    <a:cubicBezTo>
                      <a:pt x="482" y="410"/>
                      <a:pt x="482" y="410"/>
                      <a:pt x="482" y="410"/>
                    </a:cubicBezTo>
                    <a:cubicBezTo>
                      <a:pt x="484" y="408"/>
                      <a:pt x="484" y="408"/>
                      <a:pt x="484" y="408"/>
                    </a:cubicBezTo>
                    <a:cubicBezTo>
                      <a:pt x="480" y="406"/>
                      <a:pt x="480" y="406"/>
                      <a:pt x="480" y="406"/>
                    </a:cubicBezTo>
                    <a:lnTo>
                      <a:pt x="476" y="401"/>
                    </a:lnTo>
                    <a:close/>
                    <a:moveTo>
                      <a:pt x="484" y="379"/>
                    </a:moveTo>
                    <a:cubicBezTo>
                      <a:pt x="480" y="379"/>
                      <a:pt x="472" y="381"/>
                      <a:pt x="472" y="381"/>
                    </a:cubicBezTo>
                    <a:cubicBezTo>
                      <a:pt x="473" y="387"/>
                      <a:pt x="473" y="387"/>
                      <a:pt x="473" y="387"/>
                    </a:cubicBezTo>
                    <a:cubicBezTo>
                      <a:pt x="468" y="388"/>
                      <a:pt x="468" y="388"/>
                      <a:pt x="468" y="388"/>
                    </a:cubicBezTo>
                    <a:cubicBezTo>
                      <a:pt x="467" y="393"/>
                      <a:pt x="467" y="393"/>
                      <a:pt x="467" y="393"/>
                    </a:cubicBezTo>
                    <a:cubicBezTo>
                      <a:pt x="472" y="396"/>
                      <a:pt x="472" y="396"/>
                      <a:pt x="472" y="396"/>
                    </a:cubicBezTo>
                    <a:cubicBezTo>
                      <a:pt x="474" y="395"/>
                      <a:pt x="474" y="395"/>
                      <a:pt x="474" y="395"/>
                    </a:cubicBezTo>
                    <a:cubicBezTo>
                      <a:pt x="475" y="397"/>
                      <a:pt x="475" y="397"/>
                      <a:pt x="475" y="397"/>
                    </a:cubicBezTo>
                    <a:cubicBezTo>
                      <a:pt x="477" y="392"/>
                      <a:pt x="477" y="392"/>
                      <a:pt x="477" y="392"/>
                    </a:cubicBezTo>
                    <a:cubicBezTo>
                      <a:pt x="480" y="392"/>
                      <a:pt x="480" y="392"/>
                      <a:pt x="480" y="392"/>
                    </a:cubicBezTo>
                    <a:cubicBezTo>
                      <a:pt x="488" y="387"/>
                      <a:pt x="488" y="387"/>
                      <a:pt x="488" y="387"/>
                    </a:cubicBezTo>
                    <a:cubicBezTo>
                      <a:pt x="488" y="387"/>
                      <a:pt x="490" y="379"/>
                      <a:pt x="484" y="379"/>
                    </a:cubicBezTo>
                    <a:close/>
                    <a:moveTo>
                      <a:pt x="575" y="348"/>
                    </a:moveTo>
                    <a:cubicBezTo>
                      <a:pt x="572" y="347"/>
                      <a:pt x="571" y="342"/>
                      <a:pt x="571" y="342"/>
                    </a:cubicBezTo>
                    <a:cubicBezTo>
                      <a:pt x="575" y="338"/>
                      <a:pt x="575" y="338"/>
                      <a:pt x="575" y="338"/>
                    </a:cubicBezTo>
                    <a:cubicBezTo>
                      <a:pt x="572" y="338"/>
                      <a:pt x="572" y="338"/>
                      <a:pt x="572" y="338"/>
                    </a:cubicBezTo>
                    <a:cubicBezTo>
                      <a:pt x="576" y="333"/>
                      <a:pt x="576" y="333"/>
                      <a:pt x="576" y="333"/>
                    </a:cubicBezTo>
                    <a:cubicBezTo>
                      <a:pt x="576" y="333"/>
                      <a:pt x="565" y="333"/>
                      <a:pt x="555" y="337"/>
                    </a:cubicBezTo>
                    <a:cubicBezTo>
                      <a:pt x="545" y="341"/>
                      <a:pt x="541" y="348"/>
                      <a:pt x="541" y="348"/>
                    </a:cubicBezTo>
                    <a:cubicBezTo>
                      <a:pt x="538" y="347"/>
                      <a:pt x="538" y="347"/>
                      <a:pt x="538" y="347"/>
                    </a:cubicBezTo>
                    <a:cubicBezTo>
                      <a:pt x="530" y="352"/>
                      <a:pt x="530" y="352"/>
                      <a:pt x="530" y="352"/>
                    </a:cubicBezTo>
                    <a:cubicBezTo>
                      <a:pt x="530" y="360"/>
                      <a:pt x="530" y="360"/>
                      <a:pt x="530" y="360"/>
                    </a:cubicBezTo>
                    <a:cubicBezTo>
                      <a:pt x="534" y="358"/>
                      <a:pt x="534" y="358"/>
                      <a:pt x="534" y="358"/>
                    </a:cubicBezTo>
                    <a:cubicBezTo>
                      <a:pt x="534" y="358"/>
                      <a:pt x="537" y="363"/>
                      <a:pt x="538" y="363"/>
                    </a:cubicBezTo>
                    <a:cubicBezTo>
                      <a:pt x="540" y="363"/>
                      <a:pt x="541" y="358"/>
                      <a:pt x="545" y="358"/>
                    </a:cubicBezTo>
                    <a:cubicBezTo>
                      <a:pt x="550" y="359"/>
                      <a:pt x="547" y="363"/>
                      <a:pt x="550" y="369"/>
                    </a:cubicBezTo>
                    <a:cubicBezTo>
                      <a:pt x="555" y="374"/>
                      <a:pt x="560" y="372"/>
                      <a:pt x="560" y="372"/>
                    </a:cubicBezTo>
                    <a:cubicBezTo>
                      <a:pt x="563" y="378"/>
                      <a:pt x="563" y="378"/>
                      <a:pt x="563" y="378"/>
                    </a:cubicBezTo>
                    <a:cubicBezTo>
                      <a:pt x="568" y="376"/>
                      <a:pt x="568" y="376"/>
                      <a:pt x="568" y="376"/>
                    </a:cubicBezTo>
                    <a:cubicBezTo>
                      <a:pt x="568" y="376"/>
                      <a:pt x="571" y="375"/>
                      <a:pt x="574" y="373"/>
                    </a:cubicBezTo>
                    <a:cubicBezTo>
                      <a:pt x="577" y="371"/>
                      <a:pt x="577" y="365"/>
                      <a:pt x="577" y="365"/>
                    </a:cubicBezTo>
                    <a:cubicBezTo>
                      <a:pt x="584" y="358"/>
                      <a:pt x="584" y="358"/>
                      <a:pt x="584" y="358"/>
                    </a:cubicBezTo>
                    <a:cubicBezTo>
                      <a:pt x="583" y="357"/>
                      <a:pt x="583" y="357"/>
                      <a:pt x="583" y="357"/>
                    </a:cubicBezTo>
                    <a:cubicBezTo>
                      <a:pt x="586" y="357"/>
                      <a:pt x="586" y="357"/>
                      <a:pt x="586" y="357"/>
                    </a:cubicBezTo>
                    <a:cubicBezTo>
                      <a:pt x="589" y="349"/>
                      <a:pt x="589" y="349"/>
                      <a:pt x="589" y="349"/>
                    </a:cubicBezTo>
                    <a:cubicBezTo>
                      <a:pt x="582" y="344"/>
                      <a:pt x="582" y="344"/>
                      <a:pt x="582" y="344"/>
                    </a:cubicBezTo>
                    <a:cubicBezTo>
                      <a:pt x="582" y="344"/>
                      <a:pt x="579" y="348"/>
                      <a:pt x="575" y="348"/>
                    </a:cubicBezTo>
                    <a:close/>
                    <a:moveTo>
                      <a:pt x="520" y="161"/>
                    </a:moveTo>
                    <a:cubicBezTo>
                      <a:pt x="520" y="161"/>
                      <a:pt x="516" y="165"/>
                      <a:pt x="515" y="165"/>
                    </a:cubicBezTo>
                    <a:cubicBezTo>
                      <a:pt x="514" y="165"/>
                      <a:pt x="513" y="164"/>
                      <a:pt x="513" y="164"/>
                    </a:cubicBezTo>
                    <a:cubicBezTo>
                      <a:pt x="509" y="167"/>
                      <a:pt x="509" y="167"/>
                      <a:pt x="509" y="167"/>
                    </a:cubicBezTo>
                    <a:cubicBezTo>
                      <a:pt x="506" y="163"/>
                      <a:pt x="506" y="163"/>
                      <a:pt x="506" y="163"/>
                    </a:cubicBezTo>
                    <a:cubicBezTo>
                      <a:pt x="503" y="160"/>
                      <a:pt x="503" y="160"/>
                      <a:pt x="503" y="160"/>
                    </a:cubicBezTo>
                    <a:cubicBezTo>
                      <a:pt x="506" y="156"/>
                      <a:pt x="506" y="156"/>
                      <a:pt x="506" y="156"/>
                    </a:cubicBezTo>
                    <a:cubicBezTo>
                      <a:pt x="508" y="152"/>
                      <a:pt x="508" y="152"/>
                      <a:pt x="508" y="152"/>
                    </a:cubicBezTo>
                    <a:cubicBezTo>
                      <a:pt x="508" y="152"/>
                      <a:pt x="507" y="148"/>
                      <a:pt x="504" y="145"/>
                    </a:cubicBezTo>
                    <a:cubicBezTo>
                      <a:pt x="501" y="144"/>
                      <a:pt x="494" y="147"/>
                      <a:pt x="494" y="147"/>
                    </a:cubicBezTo>
                    <a:cubicBezTo>
                      <a:pt x="494" y="147"/>
                      <a:pt x="489" y="140"/>
                      <a:pt x="488" y="139"/>
                    </a:cubicBezTo>
                    <a:cubicBezTo>
                      <a:pt x="486" y="137"/>
                      <a:pt x="481" y="138"/>
                      <a:pt x="481" y="138"/>
                    </a:cubicBezTo>
                    <a:cubicBezTo>
                      <a:pt x="481" y="138"/>
                      <a:pt x="477" y="134"/>
                      <a:pt x="472" y="134"/>
                    </a:cubicBezTo>
                    <a:cubicBezTo>
                      <a:pt x="466" y="134"/>
                      <a:pt x="472" y="141"/>
                      <a:pt x="467" y="143"/>
                    </a:cubicBezTo>
                    <a:cubicBezTo>
                      <a:pt x="462" y="147"/>
                      <a:pt x="456" y="138"/>
                      <a:pt x="456" y="138"/>
                    </a:cubicBezTo>
                    <a:cubicBezTo>
                      <a:pt x="456" y="138"/>
                      <a:pt x="455" y="142"/>
                      <a:pt x="452" y="142"/>
                    </a:cubicBezTo>
                    <a:cubicBezTo>
                      <a:pt x="451" y="142"/>
                      <a:pt x="451" y="139"/>
                      <a:pt x="448" y="137"/>
                    </a:cubicBezTo>
                    <a:cubicBezTo>
                      <a:pt x="446" y="135"/>
                      <a:pt x="435" y="139"/>
                      <a:pt x="435" y="139"/>
                    </a:cubicBezTo>
                    <a:cubicBezTo>
                      <a:pt x="425" y="127"/>
                      <a:pt x="425" y="127"/>
                      <a:pt x="425" y="127"/>
                    </a:cubicBezTo>
                    <a:cubicBezTo>
                      <a:pt x="417" y="128"/>
                      <a:pt x="417" y="128"/>
                      <a:pt x="417" y="128"/>
                    </a:cubicBezTo>
                    <a:cubicBezTo>
                      <a:pt x="416" y="127"/>
                      <a:pt x="416" y="127"/>
                      <a:pt x="416" y="127"/>
                    </a:cubicBezTo>
                    <a:cubicBezTo>
                      <a:pt x="412" y="131"/>
                      <a:pt x="412" y="131"/>
                      <a:pt x="412" y="131"/>
                    </a:cubicBezTo>
                    <a:cubicBezTo>
                      <a:pt x="406" y="122"/>
                      <a:pt x="406" y="122"/>
                      <a:pt x="406" y="122"/>
                    </a:cubicBezTo>
                    <a:cubicBezTo>
                      <a:pt x="408" y="116"/>
                      <a:pt x="408" y="116"/>
                      <a:pt x="408" y="116"/>
                    </a:cubicBezTo>
                    <a:cubicBezTo>
                      <a:pt x="406" y="115"/>
                      <a:pt x="406" y="115"/>
                      <a:pt x="406" y="115"/>
                    </a:cubicBezTo>
                    <a:cubicBezTo>
                      <a:pt x="397" y="117"/>
                      <a:pt x="397" y="117"/>
                      <a:pt x="397" y="117"/>
                    </a:cubicBezTo>
                    <a:cubicBezTo>
                      <a:pt x="380" y="106"/>
                      <a:pt x="380" y="106"/>
                      <a:pt x="380" y="106"/>
                    </a:cubicBezTo>
                    <a:cubicBezTo>
                      <a:pt x="380" y="102"/>
                      <a:pt x="380" y="102"/>
                      <a:pt x="380" y="102"/>
                    </a:cubicBezTo>
                    <a:cubicBezTo>
                      <a:pt x="375" y="108"/>
                      <a:pt x="375" y="108"/>
                      <a:pt x="375" y="108"/>
                    </a:cubicBezTo>
                    <a:cubicBezTo>
                      <a:pt x="375" y="108"/>
                      <a:pt x="371" y="107"/>
                      <a:pt x="369" y="104"/>
                    </a:cubicBezTo>
                    <a:cubicBezTo>
                      <a:pt x="367" y="102"/>
                      <a:pt x="370" y="101"/>
                      <a:pt x="374" y="100"/>
                    </a:cubicBezTo>
                    <a:cubicBezTo>
                      <a:pt x="377" y="100"/>
                      <a:pt x="376" y="91"/>
                      <a:pt x="376" y="91"/>
                    </a:cubicBezTo>
                    <a:cubicBezTo>
                      <a:pt x="370" y="89"/>
                      <a:pt x="370" y="89"/>
                      <a:pt x="370" y="89"/>
                    </a:cubicBezTo>
                    <a:cubicBezTo>
                      <a:pt x="370" y="89"/>
                      <a:pt x="367" y="91"/>
                      <a:pt x="365" y="90"/>
                    </a:cubicBezTo>
                    <a:cubicBezTo>
                      <a:pt x="363" y="89"/>
                      <a:pt x="364" y="86"/>
                      <a:pt x="364" y="86"/>
                    </a:cubicBezTo>
                    <a:cubicBezTo>
                      <a:pt x="360" y="86"/>
                      <a:pt x="360" y="86"/>
                      <a:pt x="360" y="86"/>
                    </a:cubicBezTo>
                    <a:cubicBezTo>
                      <a:pt x="360" y="86"/>
                      <a:pt x="357" y="81"/>
                      <a:pt x="358" y="81"/>
                    </a:cubicBezTo>
                    <a:cubicBezTo>
                      <a:pt x="335" y="84"/>
                      <a:pt x="335" y="84"/>
                      <a:pt x="335" y="84"/>
                    </a:cubicBezTo>
                    <a:cubicBezTo>
                      <a:pt x="335" y="84"/>
                      <a:pt x="314" y="70"/>
                      <a:pt x="306" y="70"/>
                    </a:cubicBezTo>
                    <a:cubicBezTo>
                      <a:pt x="300" y="71"/>
                      <a:pt x="297" y="75"/>
                      <a:pt x="297" y="75"/>
                    </a:cubicBezTo>
                    <a:cubicBezTo>
                      <a:pt x="286" y="66"/>
                      <a:pt x="286" y="66"/>
                      <a:pt x="286" y="66"/>
                    </a:cubicBezTo>
                    <a:cubicBezTo>
                      <a:pt x="280" y="66"/>
                      <a:pt x="280" y="66"/>
                      <a:pt x="280" y="66"/>
                    </a:cubicBezTo>
                    <a:cubicBezTo>
                      <a:pt x="281" y="62"/>
                      <a:pt x="281" y="62"/>
                      <a:pt x="281" y="62"/>
                    </a:cubicBezTo>
                    <a:cubicBezTo>
                      <a:pt x="276" y="59"/>
                      <a:pt x="276" y="59"/>
                      <a:pt x="276" y="59"/>
                    </a:cubicBezTo>
                    <a:cubicBezTo>
                      <a:pt x="262" y="62"/>
                      <a:pt x="262" y="62"/>
                      <a:pt x="262" y="62"/>
                    </a:cubicBezTo>
                    <a:cubicBezTo>
                      <a:pt x="265" y="59"/>
                      <a:pt x="265" y="59"/>
                      <a:pt x="265" y="59"/>
                    </a:cubicBezTo>
                    <a:cubicBezTo>
                      <a:pt x="262" y="57"/>
                      <a:pt x="262" y="57"/>
                      <a:pt x="262" y="57"/>
                    </a:cubicBezTo>
                    <a:cubicBezTo>
                      <a:pt x="231" y="59"/>
                      <a:pt x="231" y="59"/>
                      <a:pt x="231" y="59"/>
                    </a:cubicBezTo>
                    <a:cubicBezTo>
                      <a:pt x="197" y="42"/>
                      <a:pt x="197" y="42"/>
                      <a:pt x="197" y="42"/>
                    </a:cubicBezTo>
                    <a:cubicBezTo>
                      <a:pt x="178" y="37"/>
                      <a:pt x="178" y="37"/>
                      <a:pt x="178" y="37"/>
                    </a:cubicBezTo>
                    <a:cubicBezTo>
                      <a:pt x="178" y="37"/>
                      <a:pt x="177" y="29"/>
                      <a:pt x="171" y="28"/>
                    </a:cubicBezTo>
                    <a:cubicBezTo>
                      <a:pt x="166" y="27"/>
                      <a:pt x="161" y="31"/>
                      <a:pt x="161" y="31"/>
                    </a:cubicBezTo>
                    <a:cubicBezTo>
                      <a:pt x="152" y="26"/>
                      <a:pt x="152" y="26"/>
                      <a:pt x="152" y="26"/>
                    </a:cubicBezTo>
                    <a:cubicBezTo>
                      <a:pt x="136" y="27"/>
                      <a:pt x="136" y="27"/>
                      <a:pt x="136" y="27"/>
                    </a:cubicBezTo>
                    <a:cubicBezTo>
                      <a:pt x="115" y="21"/>
                      <a:pt x="115" y="21"/>
                      <a:pt x="115" y="21"/>
                    </a:cubicBezTo>
                    <a:cubicBezTo>
                      <a:pt x="111" y="26"/>
                      <a:pt x="111" y="26"/>
                      <a:pt x="111" y="26"/>
                    </a:cubicBezTo>
                    <a:cubicBezTo>
                      <a:pt x="112" y="22"/>
                      <a:pt x="112" y="22"/>
                      <a:pt x="112" y="22"/>
                    </a:cubicBezTo>
                    <a:cubicBezTo>
                      <a:pt x="103" y="18"/>
                      <a:pt x="103" y="18"/>
                      <a:pt x="103" y="18"/>
                    </a:cubicBezTo>
                    <a:cubicBezTo>
                      <a:pt x="103" y="18"/>
                      <a:pt x="99" y="8"/>
                      <a:pt x="96" y="7"/>
                    </a:cubicBezTo>
                    <a:cubicBezTo>
                      <a:pt x="92" y="6"/>
                      <a:pt x="89" y="10"/>
                      <a:pt x="89" y="10"/>
                    </a:cubicBezTo>
                    <a:cubicBezTo>
                      <a:pt x="88" y="5"/>
                      <a:pt x="88" y="5"/>
                      <a:pt x="88" y="5"/>
                    </a:cubicBezTo>
                    <a:cubicBezTo>
                      <a:pt x="83" y="2"/>
                      <a:pt x="83" y="2"/>
                      <a:pt x="83" y="2"/>
                    </a:cubicBezTo>
                    <a:cubicBezTo>
                      <a:pt x="75" y="5"/>
                      <a:pt x="75" y="5"/>
                      <a:pt x="75" y="5"/>
                    </a:cubicBezTo>
                    <a:cubicBezTo>
                      <a:pt x="79" y="0"/>
                      <a:pt x="79" y="0"/>
                      <a:pt x="79" y="0"/>
                    </a:cubicBezTo>
                    <a:cubicBezTo>
                      <a:pt x="69" y="1"/>
                      <a:pt x="69" y="1"/>
                      <a:pt x="69" y="1"/>
                    </a:cubicBezTo>
                    <a:cubicBezTo>
                      <a:pt x="68" y="5"/>
                      <a:pt x="68" y="5"/>
                      <a:pt x="68" y="5"/>
                    </a:cubicBezTo>
                    <a:cubicBezTo>
                      <a:pt x="68" y="5"/>
                      <a:pt x="63" y="5"/>
                      <a:pt x="57" y="8"/>
                    </a:cubicBezTo>
                    <a:cubicBezTo>
                      <a:pt x="53" y="11"/>
                      <a:pt x="55" y="14"/>
                      <a:pt x="55" y="14"/>
                    </a:cubicBezTo>
                    <a:cubicBezTo>
                      <a:pt x="54" y="17"/>
                      <a:pt x="54" y="17"/>
                      <a:pt x="54" y="17"/>
                    </a:cubicBezTo>
                    <a:cubicBezTo>
                      <a:pt x="62" y="17"/>
                      <a:pt x="62" y="17"/>
                      <a:pt x="62" y="17"/>
                    </a:cubicBezTo>
                    <a:cubicBezTo>
                      <a:pt x="55" y="24"/>
                      <a:pt x="55" y="24"/>
                      <a:pt x="55" y="24"/>
                    </a:cubicBezTo>
                    <a:cubicBezTo>
                      <a:pt x="52" y="18"/>
                      <a:pt x="52" y="18"/>
                      <a:pt x="52" y="18"/>
                    </a:cubicBezTo>
                    <a:cubicBezTo>
                      <a:pt x="33" y="19"/>
                      <a:pt x="33" y="19"/>
                      <a:pt x="33" y="19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16" y="19"/>
                      <a:pt x="16" y="19"/>
                      <a:pt x="16" y="19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8" y="25"/>
                      <a:pt x="8" y="25"/>
                      <a:pt x="8" y="25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5" y="37"/>
                      <a:pt x="5" y="37"/>
                      <a:pt x="5" y="37"/>
                    </a:cubicBezTo>
                    <a:cubicBezTo>
                      <a:pt x="5" y="48"/>
                      <a:pt x="5" y="48"/>
                      <a:pt x="5" y="48"/>
                    </a:cubicBezTo>
                    <a:cubicBezTo>
                      <a:pt x="16" y="45"/>
                      <a:pt x="16" y="45"/>
                      <a:pt x="16" y="45"/>
                    </a:cubicBezTo>
                    <a:cubicBezTo>
                      <a:pt x="15" y="50"/>
                      <a:pt x="15" y="50"/>
                      <a:pt x="15" y="50"/>
                    </a:cubicBezTo>
                    <a:cubicBezTo>
                      <a:pt x="8" y="52"/>
                      <a:pt x="8" y="52"/>
                      <a:pt x="8" y="52"/>
                    </a:cubicBezTo>
                    <a:cubicBezTo>
                      <a:pt x="3" y="58"/>
                      <a:pt x="3" y="58"/>
                      <a:pt x="3" y="58"/>
                    </a:cubicBezTo>
                    <a:cubicBezTo>
                      <a:pt x="6" y="63"/>
                      <a:pt x="6" y="63"/>
                      <a:pt x="6" y="63"/>
                    </a:cubicBezTo>
                    <a:cubicBezTo>
                      <a:pt x="22" y="56"/>
                      <a:pt x="22" y="56"/>
                      <a:pt x="22" y="56"/>
                    </a:cubicBezTo>
                    <a:cubicBezTo>
                      <a:pt x="17" y="62"/>
                      <a:pt x="17" y="62"/>
                      <a:pt x="17" y="62"/>
                    </a:cubicBezTo>
                    <a:cubicBezTo>
                      <a:pt x="13" y="63"/>
                      <a:pt x="13" y="63"/>
                      <a:pt x="13" y="63"/>
                    </a:cubicBezTo>
                    <a:cubicBezTo>
                      <a:pt x="14" y="69"/>
                      <a:pt x="14" y="69"/>
                      <a:pt x="14" y="69"/>
                    </a:cubicBezTo>
                    <a:cubicBezTo>
                      <a:pt x="8" y="68"/>
                      <a:pt x="8" y="68"/>
                      <a:pt x="8" y="68"/>
                    </a:cubicBezTo>
                    <a:cubicBezTo>
                      <a:pt x="11" y="75"/>
                      <a:pt x="11" y="75"/>
                      <a:pt x="11" y="75"/>
                    </a:cubicBezTo>
                    <a:cubicBezTo>
                      <a:pt x="19" y="75"/>
                      <a:pt x="19" y="75"/>
                      <a:pt x="19" y="75"/>
                    </a:cubicBezTo>
                    <a:cubicBezTo>
                      <a:pt x="15" y="78"/>
                      <a:pt x="15" y="78"/>
                      <a:pt x="15" y="78"/>
                    </a:cubicBezTo>
                    <a:cubicBezTo>
                      <a:pt x="7" y="78"/>
                      <a:pt x="7" y="78"/>
                      <a:pt x="7" y="78"/>
                    </a:cubicBezTo>
                    <a:cubicBezTo>
                      <a:pt x="8" y="82"/>
                      <a:pt x="8" y="82"/>
                      <a:pt x="8" y="82"/>
                    </a:cubicBezTo>
                    <a:cubicBezTo>
                      <a:pt x="17" y="82"/>
                      <a:pt x="17" y="82"/>
                      <a:pt x="17" y="82"/>
                    </a:cubicBezTo>
                    <a:cubicBezTo>
                      <a:pt x="19" y="80"/>
                      <a:pt x="19" y="80"/>
                      <a:pt x="19" y="80"/>
                    </a:cubicBezTo>
                    <a:cubicBezTo>
                      <a:pt x="20" y="81"/>
                      <a:pt x="20" y="81"/>
                      <a:pt x="20" y="81"/>
                    </a:cubicBezTo>
                    <a:cubicBezTo>
                      <a:pt x="11" y="87"/>
                      <a:pt x="11" y="87"/>
                      <a:pt x="11" y="87"/>
                    </a:cubicBezTo>
                    <a:cubicBezTo>
                      <a:pt x="5" y="92"/>
                      <a:pt x="5" y="92"/>
                      <a:pt x="5" y="92"/>
                    </a:cubicBezTo>
                    <a:cubicBezTo>
                      <a:pt x="2" y="107"/>
                      <a:pt x="2" y="107"/>
                      <a:pt x="2" y="107"/>
                    </a:cubicBezTo>
                    <a:cubicBezTo>
                      <a:pt x="4" y="107"/>
                      <a:pt x="4" y="107"/>
                      <a:pt x="4" y="107"/>
                    </a:cubicBezTo>
                    <a:cubicBezTo>
                      <a:pt x="11" y="103"/>
                      <a:pt x="11" y="103"/>
                      <a:pt x="11" y="103"/>
                    </a:cubicBezTo>
                    <a:cubicBezTo>
                      <a:pt x="16" y="98"/>
                      <a:pt x="16" y="98"/>
                      <a:pt x="16" y="98"/>
                    </a:cubicBezTo>
                    <a:cubicBezTo>
                      <a:pt x="30" y="101"/>
                      <a:pt x="30" y="101"/>
                      <a:pt x="30" y="101"/>
                    </a:cubicBezTo>
                    <a:cubicBezTo>
                      <a:pt x="39" y="97"/>
                      <a:pt x="39" y="97"/>
                      <a:pt x="39" y="97"/>
                    </a:cubicBezTo>
                    <a:cubicBezTo>
                      <a:pt x="37" y="103"/>
                      <a:pt x="37" y="103"/>
                      <a:pt x="37" y="103"/>
                    </a:cubicBezTo>
                    <a:cubicBezTo>
                      <a:pt x="41" y="104"/>
                      <a:pt x="41" y="104"/>
                      <a:pt x="41" y="104"/>
                    </a:cubicBezTo>
                    <a:cubicBezTo>
                      <a:pt x="41" y="107"/>
                      <a:pt x="41" y="107"/>
                      <a:pt x="41" y="107"/>
                    </a:cubicBezTo>
                    <a:cubicBezTo>
                      <a:pt x="41" y="107"/>
                      <a:pt x="26" y="113"/>
                      <a:pt x="34" y="120"/>
                    </a:cubicBezTo>
                    <a:cubicBezTo>
                      <a:pt x="42" y="127"/>
                      <a:pt x="46" y="118"/>
                      <a:pt x="46" y="118"/>
                    </a:cubicBezTo>
                    <a:cubicBezTo>
                      <a:pt x="49" y="122"/>
                      <a:pt x="49" y="122"/>
                      <a:pt x="49" y="122"/>
                    </a:cubicBezTo>
                    <a:cubicBezTo>
                      <a:pt x="56" y="120"/>
                      <a:pt x="56" y="120"/>
                      <a:pt x="56" y="120"/>
                    </a:cubicBezTo>
                    <a:cubicBezTo>
                      <a:pt x="63" y="126"/>
                      <a:pt x="63" y="126"/>
                      <a:pt x="63" y="126"/>
                    </a:cubicBezTo>
                    <a:cubicBezTo>
                      <a:pt x="68" y="124"/>
                      <a:pt x="68" y="124"/>
                      <a:pt x="68" y="124"/>
                    </a:cubicBezTo>
                    <a:cubicBezTo>
                      <a:pt x="68" y="124"/>
                      <a:pt x="72" y="131"/>
                      <a:pt x="78" y="128"/>
                    </a:cubicBezTo>
                    <a:cubicBezTo>
                      <a:pt x="84" y="127"/>
                      <a:pt x="82" y="121"/>
                      <a:pt x="85" y="121"/>
                    </a:cubicBezTo>
                    <a:cubicBezTo>
                      <a:pt x="89" y="121"/>
                      <a:pt x="90" y="125"/>
                      <a:pt x="90" y="125"/>
                    </a:cubicBezTo>
                    <a:cubicBezTo>
                      <a:pt x="100" y="128"/>
                      <a:pt x="100" y="128"/>
                      <a:pt x="100" y="128"/>
                    </a:cubicBezTo>
                    <a:cubicBezTo>
                      <a:pt x="104" y="125"/>
                      <a:pt x="104" y="125"/>
                      <a:pt x="104" y="125"/>
                    </a:cubicBezTo>
                    <a:cubicBezTo>
                      <a:pt x="104" y="127"/>
                      <a:pt x="104" y="127"/>
                      <a:pt x="104" y="127"/>
                    </a:cubicBezTo>
                    <a:cubicBezTo>
                      <a:pt x="113" y="129"/>
                      <a:pt x="113" y="129"/>
                      <a:pt x="113" y="129"/>
                    </a:cubicBezTo>
                    <a:cubicBezTo>
                      <a:pt x="111" y="141"/>
                      <a:pt x="111" y="141"/>
                      <a:pt x="111" y="141"/>
                    </a:cubicBezTo>
                    <a:cubicBezTo>
                      <a:pt x="111" y="141"/>
                      <a:pt x="108" y="150"/>
                      <a:pt x="112" y="150"/>
                    </a:cubicBezTo>
                    <a:cubicBezTo>
                      <a:pt x="116" y="150"/>
                      <a:pt x="124" y="150"/>
                      <a:pt x="124" y="154"/>
                    </a:cubicBezTo>
                    <a:cubicBezTo>
                      <a:pt x="123" y="159"/>
                      <a:pt x="116" y="168"/>
                      <a:pt x="116" y="168"/>
                    </a:cubicBezTo>
                    <a:cubicBezTo>
                      <a:pt x="116" y="168"/>
                      <a:pt x="106" y="175"/>
                      <a:pt x="104" y="175"/>
                    </a:cubicBezTo>
                    <a:cubicBezTo>
                      <a:pt x="98" y="175"/>
                      <a:pt x="98" y="175"/>
                      <a:pt x="98" y="175"/>
                    </a:cubicBezTo>
                    <a:cubicBezTo>
                      <a:pt x="90" y="185"/>
                      <a:pt x="90" y="185"/>
                      <a:pt x="90" y="185"/>
                    </a:cubicBezTo>
                    <a:cubicBezTo>
                      <a:pt x="83" y="185"/>
                      <a:pt x="83" y="185"/>
                      <a:pt x="83" y="185"/>
                    </a:cubicBezTo>
                    <a:cubicBezTo>
                      <a:pt x="86" y="197"/>
                      <a:pt x="86" y="197"/>
                      <a:pt x="86" y="197"/>
                    </a:cubicBezTo>
                    <a:cubicBezTo>
                      <a:pt x="78" y="222"/>
                      <a:pt x="78" y="222"/>
                      <a:pt x="78" y="222"/>
                    </a:cubicBezTo>
                    <a:cubicBezTo>
                      <a:pt x="80" y="230"/>
                      <a:pt x="80" y="230"/>
                      <a:pt x="80" y="230"/>
                    </a:cubicBezTo>
                    <a:cubicBezTo>
                      <a:pt x="74" y="235"/>
                      <a:pt x="74" y="235"/>
                      <a:pt x="74" y="235"/>
                    </a:cubicBezTo>
                    <a:cubicBezTo>
                      <a:pt x="74" y="235"/>
                      <a:pt x="67" y="234"/>
                      <a:pt x="67" y="239"/>
                    </a:cubicBezTo>
                    <a:cubicBezTo>
                      <a:pt x="67" y="244"/>
                      <a:pt x="71" y="251"/>
                      <a:pt x="71" y="251"/>
                    </a:cubicBezTo>
                    <a:cubicBezTo>
                      <a:pt x="66" y="262"/>
                      <a:pt x="66" y="262"/>
                      <a:pt x="66" y="262"/>
                    </a:cubicBezTo>
                    <a:cubicBezTo>
                      <a:pt x="63" y="262"/>
                      <a:pt x="63" y="262"/>
                      <a:pt x="63" y="262"/>
                    </a:cubicBezTo>
                    <a:cubicBezTo>
                      <a:pt x="59" y="270"/>
                      <a:pt x="59" y="270"/>
                      <a:pt x="59" y="270"/>
                    </a:cubicBezTo>
                    <a:cubicBezTo>
                      <a:pt x="32" y="265"/>
                      <a:pt x="32" y="265"/>
                      <a:pt x="32" y="265"/>
                    </a:cubicBezTo>
                    <a:cubicBezTo>
                      <a:pt x="38" y="280"/>
                      <a:pt x="38" y="280"/>
                      <a:pt x="38" y="280"/>
                    </a:cubicBezTo>
                    <a:cubicBezTo>
                      <a:pt x="38" y="280"/>
                      <a:pt x="42" y="278"/>
                      <a:pt x="42" y="280"/>
                    </a:cubicBezTo>
                    <a:cubicBezTo>
                      <a:pt x="42" y="283"/>
                      <a:pt x="39" y="287"/>
                      <a:pt x="39" y="287"/>
                    </a:cubicBezTo>
                    <a:cubicBezTo>
                      <a:pt x="46" y="306"/>
                      <a:pt x="46" y="306"/>
                      <a:pt x="46" y="306"/>
                    </a:cubicBezTo>
                    <a:cubicBezTo>
                      <a:pt x="46" y="306"/>
                      <a:pt x="56" y="304"/>
                      <a:pt x="54" y="310"/>
                    </a:cubicBezTo>
                    <a:cubicBezTo>
                      <a:pt x="52" y="316"/>
                      <a:pt x="44" y="325"/>
                      <a:pt x="44" y="325"/>
                    </a:cubicBezTo>
                    <a:cubicBezTo>
                      <a:pt x="34" y="328"/>
                      <a:pt x="34" y="328"/>
                      <a:pt x="34" y="328"/>
                    </a:cubicBezTo>
                    <a:cubicBezTo>
                      <a:pt x="25" y="345"/>
                      <a:pt x="25" y="345"/>
                      <a:pt x="25" y="345"/>
                    </a:cubicBezTo>
                    <a:cubicBezTo>
                      <a:pt x="34" y="364"/>
                      <a:pt x="34" y="364"/>
                      <a:pt x="34" y="364"/>
                    </a:cubicBezTo>
                    <a:cubicBezTo>
                      <a:pt x="43" y="364"/>
                      <a:pt x="43" y="364"/>
                      <a:pt x="43" y="364"/>
                    </a:cubicBezTo>
                    <a:cubicBezTo>
                      <a:pt x="41" y="368"/>
                      <a:pt x="41" y="368"/>
                      <a:pt x="41" y="368"/>
                    </a:cubicBezTo>
                    <a:cubicBezTo>
                      <a:pt x="38" y="375"/>
                      <a:pt x="38" y="375"/>
                      <a:pt x="38" y="375"/>
                    </a:cubicBezTo>
                    <a:cubicBezTo>
                      <a:pt x="23" y="376"/>
                      <a:pt x="23" y="376"/>
                      <a:pt x="23" y="376"/>
                    </a:cubicBezTo>
                    <a:cubicBezTo>
                      <a:pt x="21" y="384"/>
                      <a:pt x="21" y="384"/>
                      <a:pt x="21" y="384"/>
                    </a:cubicBezTo>
                    <a:cubicBezTo>
                      <a:pt x="21" y="384"/>
                      <a:pt x="14" y="386"/>
                      <a:pt x="10" y="392"/>
                    </a:cubicBezTo>
                    <a:cubicBezTo>
                      <a:pt x="6" y="397"/>
                      <a:pt x="4" y="401"/>
                      <a:pt x="4" y="401"/>
                    </a:cubicBezTo>
                    <a:cubicBezTo>
                      <a:pt x="6" y="408"/>
                      <a:pt x="6" y="408"/>
                      <a:pt x="6" y="408"/>
                    </a:cubicBezTo>
                    <a:cubicBezTo>
                      <a:pt x="6" y="425"/>
                      <a:pt x="6" y="425"/>
                      <a:pt x="6" y="425"/>
                    </a:cubicBezTo>
                    <a:cubicBezTo>
                      <a:pt x="23" y="428"/>
                      <a:pt x="23" y="428"/>
                      <a:pt x="23" y="428"/>
                    </a:cubicBezTo>
                    <a:cubicBezTo>
                      <a:pt x="26" y="432"/>
                      <a:pt x="26" y="432"/>
                      <a:pt x="26" y="432"/>
                    </a:cubicBezTo>
                    <a:cubicBezTo>
                      <a:pt x="29" y="428"/>
                      <a:pt x="29" y="428"/>
                      <a:pt x="29" y="428"/>
                    </a:cubicBezTo>
                    <a:cubicBezTo>
                      <a:pt x="36" y="425"/>
                      <a:pt x="36" y="425"/>
                      <a:pt x="36" y="425"/>
                    </a:cubicBezTo>
                    <a:cubicBezTo>
                      <a:pt x="33" y="429"/>
                      <a:pt x="33" y="429"/>
                      <a:pt x="33" y="429"/>
                    </a:cubicBezTo>
                    <a:cubicBezTo>
                      <a:pt x="32" y="433"/>
                      <a:pt x="32" y="433"/>
                      <a:pt x="32" y="433"/>
                    </a:cubicBezTo>
                    <a:cubicBezTo>
                      <a:pt x="32" y="433"/>
                      <a:pt x="38" y="439"/>
                      <a:pt x="43" y="443"/>
                    </a:cubicBezTo>
                    <a:cubicBezTo>
                      <a:pt x="50" y="449"/>
                      <a:pt x="54" y="462"/>
                      <a:pt x="54" y="462"/>
                    </a:cubicBezTo>
                    <a:cubicBezTo>
                      <a:pt x="55" y="458"/>
                      <a:pt x="55" y="458"/>
                      <a:pt x="55" y="458"/>
                    </a:cubicBezTo>
                    <a:cubicBezTo>
                      <a:pt x="55" y="458"/>
                      <a:pt x="57" y="463"/>
                      <a:pt x="55" y="465"/>
                    </a:cubicBezTo>
                    <a:cubicBezTo>
                      <a:pt x="53" y="466"/>
                      <a:pt x="50" y="466"/>
                      <a:pt x="50" y="466"/>
                    </a:cubicBezTo>
                    <a:cubicBezTo>
                      <a:pt x="51" y="473"/>
                      <a:pt x="51" y="473"/>
                      <a:pt x="51" y="473"/>
                    </a:cubicBezTo>
                    <a:cubicBezTo>
                      <a:pt x="55" y="473"/>
                      <a:pt x="55" y="473"/>
                      <a:pt x="55" y="473"/>
                    </a:cubicBezTo>
                    <a:cubicBezTo>
                      <a:pt x="55" y="478"/>
                      <a:pt x="55" y="478"/>
                      <a:pt x="55" y="478"/>
                    </a:cubicBezTo>
                    <a:cubicBezTo>
                      <a:pt x="58" y="478"/>
                      <a:pt x="58" y="478"/>
                      <a:pt x="58" y="478"/>
                    </a:cubicBezTo>
                    <a:cubicBezTo>
                      <a:pt x="60" y="483"/>
                      <a:pt x="60" y="483"/>
                      <a:pt x="60" y="483"/>
                    </a:cubicBezTo>
                    <a:cubicBezTo>
                      <a:pt x="58" y="485"/>
                      <a:pt x="58" y="485"/>
                      <a:pt x="58" y="485"/>
                    </a:cubicBezTo>
                    <a:cubicBezTo>
                      <a:pt x="56" y="481"/>
                      <a:pt x="56" y="481"/>
                      <a:pt x="56" y="481"/>
                    </a:cubicBezTo>
                    <a:cubicBezTo>
                      <a:pt x="54" y="481"/>
                      <a:pt x="54" y="481"/>
                      <a:pt x="54" y="481"/>
                    </a:cubicBezTo>
                    <a:cubicBezTo>
                      <a:pt x="63" y="505"/>
                      <a:pt x="63" y="505"/>
                      <a:pt x="63" y="505"/>
                    </a:cubicBezTo>
                    <a:cubicBezTo>
                      <a:pt x="72" y="507"/>
                      <a:pt x="72" y="507"/>
                      <a:pt x="72" y="507"/>
                    </a:cubicBezTo>
                    <a:cubicBezTo>
                      <a:pt x="75" y="515"/>
                      <a:pt x="75" y="515"/>
                      <a:pt x="75" y="515"/>
                    </a:cubicBezTo>
                    <a:cubicBezTo>
                      <a:pt x="83" y="519"/>
                      <a:pt x="83" y="519"/>
                      <a:pt x="83" y="519"/>
                    </a:cubicBezTo>
                    <a:cubicBezTo>
                      <a:pt x="84" y="522"/>
                      <a:pt x="84" y="522"/>
                      <a:pt x="84" y="522"/>
                    </a:cubicBezTo>
                    <a:cubicBezTo>
                      <a:pt x="89" y="519"/>
                      <a:pt x="89" y="519"/>
                      <a:pt x="89" y="519"/>
                    </a:cubicBezTo>
                    <a:cubicBezTo>
                      <a:pt x="95" y="520"/>
                      <a:pt x="95" y="520"/>
                      <a:pt x="95" y="520"/>
                    </a:cubicBezTo>
                    <a:cubicBezTo>
                      <a:pt x="95" y="520"/>
                      <a:pt x="95" y="516"/>
                      <a:pt x="96" y="515"/>
                    </a:cubicBezTo>
                    <a:cubicBezTo>
                      <a:pt x="98" y="513"/>
                      <a:pt x="101" y="517"/>
                      <a:pt x="101" y="517"/>
                    </a:cubicBezTo>
                    <a:cubicBezTo>
                      <a:pt x="113" y="502"/>
                      <a:pt x="113" y="502"/>
                      <a:pt x="113" y="502"/>
                    </a:cubicBezTo>
                    <a:cubicBezTo>
                      <a:pt x="129" y="499"/>
                      <a:pt x="129" y="499"/>
                      <a:pt x="129" y="499"/>
                    </a:cubicBezTo>
                    <a:cubicBezTo>
                      <a:pt x="129" y="499"/>
                      <a:pt x="133" y="502"/>
                      <a:pt x="141" y="498"/>
                    </a:cubicBezTo>
                    <a:cubicBezTo>
                      <a:pt x="150" y="494"/>
                      <a:pt x="154" y="490"/>
                      <a:pt x="154" y="490"/>
                    </a:cubicBezTo>
                    <a:cubicBezTo>
                      <a:pt x="165" y="491"/>
                      <a:pt x="165" y="491"/>
                      <a:pt x="165" y="491"/>
                    </a:cubicBezTo>
                    <a:cubicBezTo>
                      <a:pt x="191" y="493"/>
                      <a:pt x="191" y="493"/>
                      <a:pt x="191" y="493"/>
                    </a:cubicBezTo>
                    <a:cubicBezTo>
                      <a:pt x="206" y="499"/>
                      <a:pt x="206" y="499"/>
                      <a:pt x="206" y="499"/>
                    </a:cubicBezTo>
                    <a:cubicBezTo>
                      <a:pt x="217" y="498"/>
                      <a:pt x="217" y="498"/>
                      <a:pt x="217" y="498"/>
                    </a:cubicBezTo>
                    <a:cubicBezTo>
                      <a:pt x="243" y="505"/>
                      <a:pt x="243" y="505"/>
                      <a:pt x="243" y="505"/>
                    </a:cubicBezTo>
                    <a:cubicBezTo>
                      <a:pt x="249" y="505"/>
                      <a:pt x="249" y="505"/>
                      <a:pt x="249" y="505"/>
                    </a:cubicBezTo>
                    <a:cubicBezTo>
                      <a:pt x="249" y="505"/>
                      <a:pt x="252" y="497"/>
                      <a:pt x="262" y="498"/>
                    </a:cubicBezTo>
                    <a:cubicBezTo>
                      <a:pt x="272" y="499"/>
                      <a:pt x="273" y="509"/>
                      <a:pt x="273" y="509"/>
                    </a:cubicBezTo>
                    <a:cubicBezTo>
                      <a:pt x="284" y="500"/>
                      <a:pt x="284" y="500"/>
                      <a:pt x="284" y="500"/>
                    </a:cubicBezTo>
                    <a:cubicBezTo>
                      <a:pt x="291" y="497"/>
                      <a:pt x="291" y="497"/>
                      <a:pt x="291" y="497"/>
                    </a:cubicBezTo>
                    <a:cubicBezTo>
                      <a:pt x="297" y="480"/>
                      <a:pt x="297" y="480"/>
                      <a:pt x="297" y="480"/>
                    </a:cubicBezTo>
                    <a:cubicBezTo>
                      <a:pt x="312" y="469"/>
                      <a:pt x="312" y="469"/>
                      <a:pt x="312" y="469"/>
                    </a:cubicBezTo>
                    <a:cubicBezTo>
                      <a:pt x="316" y="469"/>
                      <a:pt x="316" y="469"/>
                      <a:pt x="316" y="469"/>
                    </a:cubicBezTo>
                    <a:cubicBezTo>
                      <a:pt x="316" y="469"/>
                      <a:pt x="319" y="462"/>
                      <a:pt x="324" y="462"/>
                    </a:cubicBezTo>
                    <a:cubicBezTo>
                      <a:pt x="329" y="460"/>
                      <a:pt x="334" y="466"/>
                      <a:pt x="334" y="466"/>
                    </a:cubicBezTo>
                    <a:cubicBezTo>
                      <a:pt x="334" y="466"/>
                      <a:pt x="340" y="463"/>
                      <a:pt x="341" y="463"/>
                    </a:cubicBezTo>
                    <a:cubicBezTo>
                      <a:pt x="343" y="463"/>
                      <a:pt x="345" y="465"/>
                      <a:pt x="345" y="465"/>
                    </a:cubicBezTo>
                    <a:cubicBezTo>
                      <a:pt x="360" y="463"/>
                      <a:pt x="360" y="463"/>
                      <a:pt x="360" y="463"/>
                    </a:cubicBezTo>
                    <a:cubicBezTo>
                      <a:pt x="359" y="455"/>
                      <a:pt x="359" y="455"/>
                      <a:pt x="359" y="455"/>
                    </a:cubicBezTo>
                    <a:cubicBezTo>
                      <a:pt x="355" y="459"/>
                      <a:pt x="355" y="459"/>
                      <a:pt x="355" y="459"/>
                    </a:cubicBezTo>
                    <a:cubicBezTo>
                      <a:pt x="351" y="454"/>
                      <a:pt x="351" y="454"/>
                      <a:pt x="351" y="454"/>
                    </a:cubicBezTo>
                    <a:cubicBezTo>
                      <a:pt x="358" y="440"/>
                      <a:pt x="358" y="440"/>
                      <a:pt x="358" y="440"/>
                    </a:cubicBezTo>
                    <a:cubicBezTo>
                      <a:pt x="363" y="439"/>
                      <a:pt x="363" y="439"/>
                      <a:pt x="363" y="439"/>
                    </a:cubicBezTo>
                    <a:cubicBezTo>
                      <a:pt x="363" y="439"/>
                      <a:pt x="365" y="432"/>
                      <a:pt x="367" y="428"/>
                    </a:cubicBezTo>
                    <a:cubicBezTo>
                      <a:pt x="369" y="425"/>
                      <a:pt x="373" y="426"/>
                      <a:pt x="373" y="426"/>
                    </a:cubicBezTo>
                    <a:cubicBezTo>
                      <a:pt x="375" y="418"/>
                      <a:pt x="375" y="418"/>
                      <a:pt x="375" y="418"/>
                    </a:cubicBezTo>
                    <a:cubicBezTo>
                      <a:pt x="379" y="419"/>
                      <a:pt x="379" y="419"/>
                      <a:pt x="379" y="419"/>
                    </a:cubicBezTo>
                    <a:cubicBezTo>
                      <a:pt x="389" y="408"/>
                      <a:pt x="389" y="408"/>
                      <a:pt x="389" y="408"/>
                    </a:cubicBezTo>
                    <a:cubicBezTo>
                      <a:pt x="404" y="403"/>
                      <a:pt x="404" y="403"/>
                      <a:pt x="404" y="403"/>
                    </a:cubicBezTo>
                    <a:cubicBezTo>
                      <a:pt x="413" y="395"/>
                      <a:pt x="413" y="395"/>
                      <a:pt x="413" y="395"/>
                    </a:cubicBezTo>
                    <a:cubicBezTo>
                      <a:pt x="413" y="389"/>
                      <a:pt x="413" y="389"/>
                      <a:pt x="413" y="389"/>
                    </a:cubicBezTo>
                    <a:cubicBezTo>
                      <a:pt x="413" y="389"/>
                      <a:pt x="407" y="389"/>
                      <a:pt x="402" y="385"/>
                    </a:cubicBezTo>
                    <a:cubicBezTo>
                      <a:pt x="398" y="381"/>
                      <a:pt x="392" y="347"/>
                      <a:pt x="392" y="347"/>
                    </a:cubicBezTo>
                    <a:cubicBezTo>
                      <a:pt x="415" y="317"/>
                      <a:pt x="415" y="317"/>
                      <a:pt x="415" y="317"/>
                    </a:cubicBezTo>
                    <a:cubicBezTo>
                      <a:pt x="416" y="309"/>
                      <a:pt x="416" y="309"/>
                      <a:pt x="416" y="309"/>
                    </a:cubicBezTo>
                    <a:cubicBezTo>
                      <a:pt x="420" y="310"/>
                      <a:pt x="420" y="310"/>
                      <a:pt x="420" y="310"/>
                    </a:cubicBezTo>
                    <a:cubicBezTo>
                      <a:pt x="436" y="293"/>
                      <a:pt x="436" y="293"/>
                      <a:pt x="436" y="293"/>
                    </a:cubicBezTo>
                    <a:cubicBezTo>
                      <a:pt x="436" y="293"/>
                      <a:pt x="444" y="281"/>
                      <a:pt x="447" y="279"/>
                    </a:cubicBezTo>
                    <a:cubicBezTo>
                      <a:pt x="450" y="276"/>
                      <a:pt x="453" y="277"/>
                      <a:pt x="453" y="277"/>
                    </a:cubicBezTo>
                    <a:cubicBezTo>
                      <a:pt x="452" y="279"/>
                      <a:pt x="452" y="279"/>
                      <a:pt x="452" y="279"/>
                    </a:cubicBezTo>
                    <a:cubicBezTo>
                      <a:pt x="449" y="279"/>
                      <a:pt x="449" y="279"/>
                      <a:pt x="449" y="279"/>
                    </a:cubicBezTo>
                    <a:cubicBezTo>
                      <a:pt x="449" y="281"/>
                      <a:pt x="449" y="281"/>
                      <a:pt x="449" y="281"/>
                    </a:cubicBezTo>
                    <a:cubicBezTo>
                      <a:pt x="452" y="282"/>
                      <a:pt x="452" y="282"/>
                      <a:pt x="452" y="282"/>
                    </a:cubicBezTo>
                    <a:cubicBezTo>
                      <a:pt x="457" y="277"/>
                      <a:pt x="457" y="277"/>
                      <a:pt x="457" y="277"/>
                    </a:cubicBezTo>
                    <a:cubicBezTo>
                      <a:pt x="457" y="277"/>
                      <a:pt x="462" y="276"/>
                      <a:pt x="464" y="274"/>
                    </a:cubicBezTo>
                    <a:cubicBezTo>
                      <a:pt x="465" y="273"/>
                      <a:pt x="457" y="266"/>
                      <a:pt x="457" y="266"/>
                    </a:cubicBezTo>
                    <a:cubicBezTo>
                      <a:pt x="472" y="251"/>
                      <a:pt x="472" y="251"/>
                      <a:pt x="472" y="251"/>
                    </a:cubicBezTo>
                    <a:cubicBezTo>
                      <a:pt x="481" y="251"/>
                      <a:pt x="481" y="251"/>
                      <a:pt x="481" y="251"/>
                    </a:cubicBezTo>
                    <a:cubicBezTo>
                      <a:pt x="484" y="248"/>
                      <a:pt x="484" y="248"/>
                      <a:pt x="484" y="248"/>
                    </a:cubicBezTo>
                    <a:cubicBezTo>
                      <a:pt x="484" y="248"/>
                      <a:pt x="499" y="245"/>
                      <a:pt x="506" y="245"/>
                    </a:cubicBezTo>
                    <a:cubicBezTo>
                      <a:pt x="511" y="245"/>
                      <a:pt x="524" y="245"/>
                      <a:pt x="530" y="242"/>
                    </a:cubicBezTo>
                    <a:cubicBezTo>
                      <a:pt x="537" y="238"/>
                      <a:pt x="533" y="236"/>
                      <a:pt x="541" y="232"/>
                    </a:cubicBezTo>
                    <a:cubicBezTo>
                      <a:pt x="549" y="227"/>
                      <a:pt x="575" y="221"/>
                      <a:pt x="581" y="216"/>
                    </a:cubicBezTo>
                    <a:cubicBezTo>
                      <a:pt x="588" y="211"/>
                      <a:pt x="590" y="202"/>
                      <a:pt x="589" y="199"/>
                    </a:cubicBezTo>
                    <a:cubicBezTo>
                      <a:pt x="589" y="196"/>
                      <a:pt x="586" y="192"/>
                      <a:pt x="587" y="189"/>
                    </a:cubicBezTo>
                    <a:cubicBezTo>
                      <a:pt x="588" y="186"/>
                      <a:pt x="592" y="189"/>
                      <a:pt x="594" y="187"/>
                    </a:cubicBezTo>
                    <a:cubicBezTo>
                      <a:pt x="597" y="186"/>
                      <a:pt x="597" y="182"/>
                      <a:pt x="597" y="182"/>
                    </a:cubicBezTo>
                    <a:cubicBezTo>
                      <a:pt x="591" y="179"/>
                      <a:pt x="591" y="179"/>
                      <a:pt x="591" y="179"/>
                    </a:cubicBezTo>
                    <a:cubicBezTo>
                      <a:pt x="590" y="174"/>
                      <a:pt x="590" y="174"/>
                      <a:pt x="590" y="174"/>
                    </a:cubicBezTo>
                    <a:cubicBezTo>
                      <a:pt x="583" y="174"/>
                      <a:pt x="583" y="174"/>
                      <a:pt x="583" y="174"/>
                    </a:cubicBezTo>
                    <a:cubicBezTo>
                      <a:pt x="583" y="174"/>
                      <a:pt x="582" y="171"/>
                      <a:pt x="576" y="169"/>
                    </a:cubicBezTo>
                    <a:cubicBezTo>
                      <a:pt x="568" y="168"/>
                      <a:pt x="565" y="178"/>
                      <a:pt x="563" y="178"/>
                    </a:cubicBezTo>
                    <a:cubicBezTo>
                      <a:pt x="558" y="178"/>
                      <a:pt x="558" y="178"/>
                      <a:pt x="558" y="178"/>
                    </a:cubicBezTo>
                    <a:cubicBezTo>
                      <a:pt x="558" y="178"/>
                      <a:pt x="555" y="175"/>
                      <a:pt x="551" y="171"/>
                    </a:cubicBezTo>
                    <a:cubicBezTo>
                      <a:pt x="547" y="167"/>
                      <a:pt x="540" y="174"/>
                      <a:pt x="535" y="174"/>
                    </a:cubicBezTo>
                    <a:cubicBezTo>
                      <a:pt x="531" y="174"/>
                      <a:pt x="530" y="170"/>
                      <a:pt x="530" y="170"/>
                    </a:cubicBezTo>
                    <a:cubicBezTo>
                      <a:pt x="530" y="170"/>
                      <a:pt x="532" y="164"/>
                      <a:pt x="532" y="163"/>
                    </a:cubicBezTo>
                    <a:cubicBezTo>
                      <a:pt x="532" y="161"/>
                      <a:pt x="526" y="166"/>
                      <a:pt x="526" y="166"/>
                    </a:cubicBezTo>
                    <a:cubicBezTo>
                      <a:pt x="519" y="161"/>
                      <a:pt x="519" y="161"/>
                      <a:pt x="519" y="161"/>
                    </a:cubicBezTo>
                    <a:lnTo>
                      <a:pt x="520" y="161"/>
                    </a:lnTo>
                    <a:close/>
                    <a:moveTo>
                      <a:pt x="622" y="329"/>
                    </a:moveTo>
                    <a:cubicBezTo>
                      <a:pt x="616" y="328"/>
                      <a:pt x="607" y="333"/>
                      <a:pt x="607" y="333"/>
                    </a:cubicBezTo>
                    <a:cubicBezTo>
                      <a:pt x="608" y="339"/>
                      <a:pt x="608" y="339"/>
                      <a:pt x="608" y="339"/>
                    </a:cubicBezTo>
                    <a:cubicBezTo>
                      <a:pt x="608" y="339"/>
                      <a:pt x="613" y="339"/>
                      <a:pt x="617" y="340"/>
                    </a:cubicBezTo>
                    <a:cubicBezTo>
                      <a:pt x="621" y="340"/>
                      <a:pt x="624" y="345"/>
                      <a:pt x="624" y="345"/>
                    </a:cubicBezTo>
                    <a:cubicBezTo>
                      <a:pt x="630" y="347"/>
                      <a:pt x="630" y="347"/>
                      <a:pt x="630" y="347"/>
                    </a:cubicBezTo>
                    <a:cubicBezTo>
                      <a:pt x="631" y="341"/>
                      <a:pt x="631" y="341"/>
                      <a:pt x="631" y="341"/>
                    </a:cubicBezTo>
                    <a:cubicBezTo>
                      <a:pt x="631" y="341"/>
                      <a:pt x="627" y="331"/>
                      <a:pt x="622" y="329"/>
                    </a:cubicBez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30" name="Slovenia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165725" y="4545013"/>
                <a:ext cx="307975" cy="217487"/>
              </a:xfrm>
              <a:custGeom>
                <a:avLst/>
                <a:gdLst/>
                <a:ahLst/>
                <a:cxnLst>
                  <a:cxn ang="0">
                    <a:pos x="119" y="13"/>
                  </a:cxn>
                  <a:cxn ang="0">
                    <a:pos x="108" y="13"/>
                  </a:cxn>
                  <a:cxn ang="0">
                    <a:pos x="96" y="20"/>
                  </a:cxn>
                  <a:cxn ang="0">
                    <a:pos x="83" y="20"/>
                  </a:cxn>
                  <a:cxn ang="0">
                    <a:pos x="68" y="22"/>
                  </a:cxn>
                  <a:cxn ang="0">
                    <a:pos x="59" y="30"/>
                  </a:cxn>
                  <a:cxn ang="0">
                    <a:pos x="46" y="34"/>
                  </a:cxn>
                  <a:cxn ang="0">
                    <a:pos x="33" y="33"/>
                  </a:cxn>
                  <a:cxn ang="0">
                    <a:pos x="18" y="31"/>
                  </a:cxn>
                  <a:cxn ang="0">
                    <a:pos x="15" y="36"/>
                  </a:cxn>
                  <a:cxn ang="0">
                    <a:pos x="0" y="45"/>
                  </a:cxn>
                  <a:cxn ang="0">
                    <a:pos x="14" y="53"/>
                  </a:cxn>
                  <a:cxn ang="0">
                    <a:pos x="5" y="68"/>
                  </a:cxn>
                  <a:cxn ang="0">
                    <a:pos x="11" y="78"/>
                  </a:cxn>
                  <a:cxn ang="0">
                    <a:pos x="18" y="91"/>
                  </a:cxn>
                  <a:cxn ang="0">
                    <a:pos x="7" y="99"/>
                  </a:cxn>
                  <a:cxn ang="0">
                    <a:pos x="19" y="98"/>
                  </a:cxn>
                  <a:cxn ang="0">
                    <a:pos x="32" y="97"/>
                  </a:cxn>
                  <a:cxn ang="0">
                    <a:pos x="52" y="93"/>
                  </a:cxn>
                  <a:cxn ang="0">
                    <a:pos x="55" y="88"/>
                  </a:cxn>
                  <a:cxn ang="0">
                    <a:pos x="58" y="88"/>
                  </a:cxn>
                  <a:cxn ang="0">
                    <a:pos x="72" y="97"/>
                  </a:cxn>
                  <a:cxn ang="0">
                    <a:pos x="80" y="96"/>
                  </a:cxn>
                  <a:cxn ang="0">
                    <a:pos x="94" y="94"/>
                  </a:cxn>
                  <a:cxn ang="0">
                    <a:pos x="95" y="83"/>
                  </a:cxn>
                  <a:cxn ang="0">
                    <a:pos x="85" y="80"/>
                  </a:cxn>
                  <a:cxn ang="0">
                    <a:pos x="107" y="71"/>
                  </a:cxn>
                  <a:cxn ang="0">
                    <a:pos x="102" y="50"/>
                  </a:cxn>
                  <a:cxn ang="0">
                    <a:pos x="124" y="31"/>
                  </a:cxn>
                  <a:cxn ang="0">
                    <a:pos x="132" y="23"/>
                  </a:cxn>
                  <a:cxn ang="0">
                    <a:pos x="145" y="20"/>
                  </a:cxn>
                  <a:cxn ang="0">
                    <a:pos x="137" y="11"/>
                  </a:cxn>
                  <a:cxn ang="0">
                    <a:pos x="133" y="3"/>
                  </a:cxn>
                  <a:cxn ang="0">
                    <a:pos x="121" y="3"/>
                  </a:cxn>
                </a:cxnLst>
                <a:rect l="0" t="0" r="r" b="b"/>
                <a:pathLst>
                  <a:path w="145" h="102">
                    <a:moveTo>
                      <a:pt x="117" y="6"/>
                    </a:moveTo>
                    <a:cubicBezTo>
                      <a:pt x="115" y="10"/>
                      <a:pt x="119" y="13"/>
                      <a:pt x="119" y="13"/>
                    </a:cubicBezTo>
                    <a:cubicBezTo>
                      <a:pt x="116" y="15"/>
                      <a:pt x="116" y="15"/>
                      <a:pt x="116" y="15"/>
                    </a:cubicBezTo>
                    <a:cubicBezTo>
                      <a:pt x="116" y="15"/>
                      <a:pt x="114" y="12"/>
                      <a:pt x="108" y="13"/>
                    </a:cubicBezTo>
                    <a:cubicBezTo>
                      <a:pt x="100" y="13"/>
                      <a:pt x="100" y="15"/>
                      <a:pt x="100" y="15"/>
                    </a:cubicBezTo>
                    <a:cubicBezTo>
                      <a:pt x="96" y="20"/>
                      <a:pt x="96" y="20"/>
                      <a:pt x="96" y="20"/>
                    </a:cubicBezTo>
                    <a:cubicBezTo>
                      <a:pt x="96" y="20"/>
                      <a:pt x="94" y="18"/>
                      <a:pt x="91" y="18"/>
                    </a:cubicBezTo>
                    <a:cubicBezTo>
                      <a:pt x="88" y="17"/>
                      <a:pt x="83" y="20"/>
                      <a:pt x="83" y="20"/>
                    </a:cubicBezTo>
                    <a:cubicBezTo>
                      <a:pt x="77" y="19"/>
                      <a:pt x="77" y="19"/>
                      <a:pt x="77" y="19"/>
                    </a:cubicBezTo>
                    <a:cubicBezTo>
                      <a:pt x="77" y="19"/>
                      <a:pt x="72" y="21"/>
                      <a:pt x="68" y="22"/>
                    </a:cubicBezTo>
                    <a:cubicBezTo>
                      <a:pt x="65" y="22"/>
                      <a:pt x="66" y="28"/>
                      <a:pt x="64" y="29"/>
                    </a:cubicBezTo>
                    <a:cubicBezTo>
                      <a:pt x="62" y="30"/>
                      <a:pt x="59" y="30"/>
                      <a:pt x="59" y="30"/>
                    </a:cubicBezTo>
                    <a:cubicBezTo>
                      <a:pt x="53" y="37"/>
                      <a:pt x="53" y="37"/>
                      <a:pt x="53" y="37"/>
                    </a:cubicBezTo>
                    <a:cubicBezTo>
                      <a:pt x="46" y="34"/>
                      <a:pt x="46" y="34"/>
                      <a:pt x="46" y="34"/>
                    </a:cubicBezTo>
                    <a:cubicBezTo>
                      <a:pt x="35" y="36"/>
                      <a:pt x="35" y="36"/>
                      <a:pt x="35" y="36"/>
                    </a:cubicBezTo>
                    <a:cubicBezTo>
                      <a:pt x="33" y="33"/>
                      <a:pt x="33" y="33"/>
                      <a:pt x="33" y="33"/>
                    </a:cubicBezTo>
                    <a:cubicBezTo>
                      <a:pt x="23" y="30"/>
                      <a:pt x="23" y="30"/>
                      <a:pt x="23" y="30"/>
                    </a:cubicBezTo>
                    <a:cubicBezTo>
                      <a:pt x="18" y="31"/>
                      <a:pt x="18" y="31"/>
                      <a:pt x="18" y="31"/>
                    </a:cubicBezTo>
                    <a:cubicBezTo>
                      <a:pt x="14" y="30"/>
                      <a:pt x="14" y="30"/>
                      <a:pt x="14" y="30"/>
                    </a:cubicBezTo>
                    <a:cubicBezTo>
                      <a:pt x="15" y="31"/>
                      <a:pt x="16" y="35"/>
                      <a:pt x="15" y="36"/>
                    </a:cubicBezTo>
                    <a:cubicBezTo>
                      <a:pt x="10" y="36"/>
                      <a:pt x="10" y="36"/>
                      <a:pt x="10" y="36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3" y="51"/>
                      <a:pt x="3" y="51"/>
                      <a:pt x="3" y="51"/>
                    </a:cubicBezTo>
                    <a:cubicBezTo>
                      <a:pt x="3" y="51"/>
                      <a:pt x="13" y="47"/>
                      <a:pt x="14" y="53"/>
                    </a:cubicBezTo>
                    <a:cubicBezTo>
                      <a:pt x="14" y="57"/>
                      <a:pt x="4" y="62"/>
                      <a:pt x="4" y="62"/>
                    </a:cubicBezTo>
                    <a:cubicBezTo>
                      <a:pt x="5" y="68"/>
                      <a:pt x="5" y="68"/>
                      <a:pt x="5" y="68"/>
                    </a:cubicBezTo>
                    <a:cubicBezTo>
                      <a:pt x="5" y="68"/>
                      <a:pt x="13" y="62"/>
                      <a:pt x="14" y="65"/>
                    </a:cubicBezTo>
                    <a:cubicBezTo>
                      <a:pt x="15" y="67"/>
                      <a:pt x="11" y="78"/>
                      <a:pt x="11" y="78"/>
                    </a:cubicBezTo>
                    <a:cubicBezTo>
                      <a:pt x="11" y="78"/>
                      <a:pt x="23" y="78"/>
                      <a:pt x="23" y="84"/>
                    </a:cubicBezTo>
                    <a:cubicBezTo>
                      <a:pt x="23" y="88"/>
                      <a:pt x="18" y="91"/>
                      <a:pt x="18" y="91"/>
                    </a:cubicBezTo>
                    <a:cubicBezTo>
                      <a:pt x="11" y="94"/>
                      <a:pt x="11" y="94"/>
                      <a:pt x="11" y="94"/>
                    </a:cubicBezTo>
                    <a:cubicBezTo>
                      <a:pt x="7" y="99"/>
                      <a:pt x="7" y="99"/>
                      <a:pt x="7" y="99"/>
                    </a:cubicBezTo>
                    <a:cubicBezTo>
                      <a:pt x="7" y="99"/>
                      <a:pt x="12" y="102"/>
                      <a:pt x="14" y="102"/>
                    </a:cubicBezTo>
                    <a:cubicBezTo>
                      <a:pt x="15" y="102"/>
                      <a:pt x="19" y="98"/>
                      <a:pt x="19" y="98"/>
                    </a:cubicBezTo>
                    <a:cubicBezTo>
                      <a:pt x="25" y="102"/>
                      <a:pt x="25" y="102"/>
                      <a:pt x="25" y="102"/>
                    </a:cubicBezTo>
                    <a:cubicBezTo>
                      <a:pt x="32" y="97"/>
                      <a:pt x="32" y="97"/>
                      <a:pt x="32" y="97"/>
                    </a:cubicBezTo>
                    <a:cubicBezTo>
                      <a:pt x="35" y="99"/>
                      <a:pt x="35" y="99"/>
                      <a:pt x="35" y="99"/>
                    </a:cubicBezTo>
                    <a:cubicBezTo>
                      <a:pt x="52" y="93"/>
                      <a:pt x="52" y="93"/>
                      <a:pt x="52" y="93"/>
                    </a:cubicBezTo>
                    <a:cubicBezTo>
                      <a:pt x="53" y="89"/>
                      <a:pt x="53" y="89"/>
                      <a:pt x="53" y="89"/>
                    </a:cubicBezTo>
                    <a:cubicBezTo>
                      <a:pt x="55" y="88"/>
                      <a:pt x="55" y="88"/>
                      <a:pt x="55" y="88"/>
                    </a:cubicBezTo>
                    <a:cubicBezTo>
                      <a:pt x="55" y="88"/>
                      <a:pt x="54" y="85"/>
                      <a:pt x="55" y="84"/>
                    </a:cubicBezTo>
                    <a:cubicBezTo>
                      <a:pt x="58" y="84"/>
                      <a:pt x="58" y="88"/>
                      <a:pt x="58" y="88"/>
                    </a:cubicBezTo>
                    <a:cubicBezTo>
                      <a:pt x="62" y="93"/>
                      <a:pt x="62" y="93"/>
                      <a:pt x="62" y="93"/>
                    </a:cubicBezTo>
                    <a:cubicBezTo>
                      <a:pt x="72" y="97"/>
                      <a:pt x="72" y="97"/>
                      <a:pt x="72" y="97"/>
                    </a:cubicBezTo>
                    <a:cubicBezTo>
                      <a:pt x="72" y="97"/>
                      <a:pt x="71" y="92"/>
                      <a:pt x="72" y="92"/>
                    </a:cubicBezTo>
                    <a:cubicBezTo>
                      <a:pt x="75" y="92"/>
                      <a:pt x="80" y="96"/>
                      <a:pt x="80" y="96"/>
                    </a:cubicBezTo>
                    <a:cubicBezTo>
                      <a:pt x="80" y="96"/>
                      <a:pt x="78" y="99"/>
                      <a:pt x="84" y="99"/>
                    </a:cubicBezTo>
                    <a:cubicBezTo>
                      <a:pt x="91" y="99"/>
                      <a:pt x="94" y="94"/>
                      <a:pt x="94" y="94"/>
                    </a:cubicBezTo>
                    <a:cubicBezTo>
                      <a:pt x="94" y="94"/>
                      <a:pt x="88" y="90"/>
                      <a:pt x="91" y="88"/>
                    </a:cubicBezTo>
                    <a:cubicBezTo>
                      <a:pt x="93" y="86"/>
                      <a:pt x="95" y="83"/>
                      <a:pt x="95" y="83"/>
                    </a:cubicBezTo>
                    <a:cubicBezTo>
                      <a:pt x="93" y="80"/>
                      <a:pt x="93" y="80"/>
                      <a:pt x="93" y="80"/>
                    </a:cubicBezTo>
                    <a:cubicBezTo>
                      <a:pt x="93" y="80"/>
                      <a:pt x="83" y="84"/>
                      <a:pt x="85" y="80"/>
                    </a:cubicBezTo>
                    <a:cubicBezTo>
                      <a:pt x="87" y="76"/>
                      <a:pt x="101" y="69"/>
                      <a:pt x="101" y="69"/>
                    </a:cubicBezTo>
                    <a:cubicBezTo>
                      <a:pt x="107" y="71"/>
                      <a:pt x="107" y="71"/>
                      <a:pt x="107" y="71"/>
                    </a:cubicBezTo>
                    <a:cubicBezTo>
                      <a:pt x="109" y="58"/>
                      <a:pt x="109" y="58"/>
                      <a:pt x="109" y="58"/>
                    </a:cubicBezTo>
                    <a:cubicBezTo>
                      <a:pt x="109" y="58"/>
                      <a:pt x="99" y="54"/>
                      <a:pt x="102" y="50"/>
                    </a:cubicBezTo>
                    <a:cubicBezTo>
                      <a:pt x="105" y="46"/>
                      <a:pt x="124" y="38"/>
                      <a:pt x="124" y="38"/>
                    </a:cubicBezTo>
                    <a:cubicBezTo>
                      <a:pt x="124" y="38"/>
                      <a:pt x="121" y="31"/>
                      <a:pt x="124" y="31"/>
                    </a:cubicBezTo>
                    <a:cubicBezTo>
                      <a:pt x="126" y="31"/>
                      <a:pt x="132" y="34"/>
                      <a:pt x="132" y="34"/>
                    </a:cubicBezTo>
                    <a:cubicBezTo>
                      <a:pt x="132" y="34"/>
                      <a:pt x="129" y="23"/>
                      <a:pt x="132" y="23"/>
                    </a:cubicBezTo>
                    <a:cubicBezTo>
                      <a:pt x="136" y="22"/>
                      <a:pt x="145" y="25"/>
                      <a:pt x="145" y="25"/>
                    </a:cubicBezTo>
                    <a:cubicBezTo>
                      <a:pt x="145" y="20"/>
                      <a:pt x="145" y="20"/>
                      <a:pt x="145" y="20"/>
                    </a:cubicBezTo>
                    <a:cubicBezTo>
                      <a:pt x="145" y="20"/>
                      <a:pt x="137" y="21"/>
                      <a:pt x="137" y="18"/>
                    </a:cubicBezTo>
                    <a:cubicBezTo>
                      <a:pt x="137" y="11"/>
                      <a:pt x="137" y="11"/>
                      <a:pt x="137" y="11"/>
                    </a:cubicBezTo>
                    <a:cubicBezTo>
                      <a:pt x="137" y="11"/>
                      <a:pt x="133" y="12"/>
                      <a:pt x="133" y="9"/>
                    </a:cubicBezTo>
                    <a:cubicBezTo>
                      <a:pt x="134" y="7"/>
                      <a:pt x="137" y="5"/>
                      <a:pt x="133" y="3"/>
                    </a:cubicBezTo>
                    <a:cubicBezTo>
                      <a:pt x="132" y="3"/>
                      <a:pt x="128" y="2"/>
                      <a:pt x="124" y="0"/>
                    </a:cubicBezTo>
                    <a:cubicBezTo>
                      <a:pt x="121" y="3"/>
                      <a:pt x="121" y="3"/>
                      <a:pt x="121" y="3"/>
                    </a:cubicBezTo>
                    <a:cubicBezTo>
                      <a:pt x="121" y="3"/>
                      <a:pt x="119" y="2"/>
                      <a:pt x="117" y="6"/>
                    </a:cubicBezTo>
                    <a:close/>
                  </a:path>
                </a:pathLst>
              </a:custGeom>
              <a:solidFill>
                <a:srgbClr val="FDC795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31" name="Slovakia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483225" y="4140200"/>
                <a:ext cx="523875" cy="277812"/>
              </a:xfrm>
              <a:custGeom>
                <a:avLst/>
                <a:gdLst/>
                <a:ahLst/>
                <a:cxnLst>
                  <a:cxn ang="0">
                    <a:pos x="221" y="7"/>
                  </a:cxn>
                  <a:cxn ang="0">
                    <a:pos x="202" y="1"/>
                  </a:cxn>
                  <a:cxn ang="0">
                    <a:pos x="179" y="7"/>
                  </a:cxn>
                  <a:cxn ang="0">
                    <a:pos x="165" y="9"/>
                  </a:cxn>
                  <a:cxn ang="0">
                    <a:pos x="141" y="16"/>
                  </a:cxn>
                  <a:cxn ang="0">
                    <a:pos x="130" y="23"/>
                  </a:cxn>
                  <a:cxn ang="0">
                    <a:pos x="125" y="19"/>
                  </a:cxn>
                  <a:cxn ang="0">
                    <a:pos x="116" y="14"/>
                  </a:cxn>
                  <a:cxn ang="0">
                    <a:pos x="113" y="11"/>
                  </a:cxn>
                  <a:cxn ang="0">
                    <a:pos x="102" y="9"/>
                  </a:cxn>
                  <a:cxn ang="0">
                    <a:pos x="96" y="16"/>
                  </a:cxn>
                  <a:cxn ang="0">
                    <a:pos x="86" y="10"/>
                  </a:cxn>
                  <a:cxn ang="0">
                    <a:pos x="76" y="13"/>
                  </a:cxn>
                  <a:cxn ang="0">
                    <a:pos x="64" y="23"/>
                  </a:cxn>
                  <a:cxn ang="0">
                    <a:pos x="51" y="43"/>
                  </a:cxn>
                  <a:cxn ang="0">
                    <a:pos x="43" y="53"/>
                  </a:cxn>
                  <a:cxn ang="0">
                    <a:pos x="14" y="59"/>
                  </a:cxn>
                  <a:cxn ang="0">
                    <a:pos x="4" y="73"/>
                  </a:cxn>
                  <a:cxn ang="0">
                    <a:pos x="0" y="90"/>
                  </a:cxn>
                  <a:cxn ang="0">
                    <a:pos x="9" y="105"/>
                  </a:cxn>
                  <a:cxn ang="0">
                    <a:pos x="14" y="117"/>
                  </a:cxn>
                  <a:cxn ang="0">
                    <a:pos x="37" y="126"/>
                  </a:cxn>
                  <a:cxn ang="0">
                    <a:pos x="56" y="129"/>
                  </a:cxn>
                  <a:cxn ang="0">
                    <a:pos x="76" y="126"/>
                  </a:cxn>
                  <a:cxn ang="0">
                    <a:pos x="93" y="118"/>
                  </a:cxn>
                  <a:cxn ang="0">
                    <a:pos x="102" y="104"/>
                  </a:cxn>
                  <a:cxn ang="0">
                    <a:pos x="123" y="89"/>
                  </a:cxn>
                  <a:cxn ang="0">
                    <a:pos x="155" y="83"/>
                  </a:cxn>
                  <a:cxn ang="0">
                    <a:pos x="185" y="63"/>
                  </a:cxn>
                  <a:cxn ang="0">
                    <a:pos x="210" y="63"/>
                  </a:cxn>
                  <a:cxn ang="0">
                    <a:pos x="225" y="67"/>
                  </a:cxn>
                  <a:cxn ang="0">
                    <a:pos x="232" y="55"/>
                  </a:cxn>
                  <a:cxn ang="0">
                    <a:pos x="241" y="30"/>
                  </a:cxn>
                  <a:cxn ang="0">
                    <a:pos x="222" y="14"/>
                  </a:cxn>
                </a:cxnLst>
                <a:rect l="0" t="0" r="r" b="b"/>
                <a:pathLst>
                  <a:path w="246" h="130">
                    <a:moveTo>
                      <a:pt x="222" y="14"/>
                    </a:moveTo>
                    <a:cubicBezTo>
                      <a:pt x="222" y="14"/>
                      <a:pt x="222" y="9"/>
                      <a:pt x="221" y="7"/>
                    </a:cubicBezTo>
                    <a:cubicBezTo>
                      <a:pt x="220" y="5"/>
                      <a:pt x="208" y="5"/>
                      <a:pt x="208" y="5"/>
                    </a:cubicBezTo>
                    <a:cubicBezTo>
                      <a:pt x="202" y="1"/>
                      <a:pt x="202" y="1"/>
                      <a:pt x="202" y="1"/>
                    </a:cubicBezTo>
                    <a:cubicBezTo>
                      <a:pt x="202" y="1"/>
                      <a:pt x="199" y="0"/>
                      <a:pt x="192" y="1"/>
                    </a:cubicBezTo>
                    <a:cubicBezTo>
                      <a:pt x="184" y="3"/>
                      <a:pt x="179" y="7"/>
                      <a:pt x="179" y="7"/>
                    </a:cubicBezTo>
                    <a:cubicBezTo>
                      <a:pt x="179" y="7"/>
                      <a:pt x="178" y="13"/>
                      <a:pt x="173" y="14"/>
                    </a:cubicBezTo>
                    <a:cubicBezTo>
                      <a:pt x="166" y="15"/>
                      <a:pt x="165" y="9"/>
                      <a:pt x="165" y="9"/>
                    </a:cubicBezTo>
                    <a:cubicBezTo>
                      <a:pt x="153" y="9"/>
                      <a:pt x="153" y="9"/>
                      <a:pt x="153" y="9"/>
                    </a:cubicBezTo>
                    <a:cubicBezTo>
                      <a:pt x="146" y="10"/>
                      <a:pt x="141" y="16"/>
                      <a:pt x="141" y="16"/>
                    </a:cubicBezTo>
                    <a:cubicBezTo>
                      <a:pt x="138" y="26"/>
                      <a:pt x="138" y="26"/>
                      <a:pt x="138" y="26"/>
                    </a:cubicBezTo>
                    <a:cubicBezTo>
                      <a:pt x="130" y="23"/>
                      <a:pt x="130" y="23"/>
                      <a:pt x="130" y="23"/>
                    </a:cubicBezTo>
                    <a:cubicBezTo>
                      <a:pt x="130" y="23"/>
                      <a:pt x="126" y="26"/>
                      <a:pt x="124" y="26"/>
                    </a:cubicBezTo>
                    <a:cubicBezTo>
                      <a:pt x="120" y="26"/>
                      <a:pt x="125" y="19"/>
                      <a:pt x="125" y="19"/>
                    </a:cubicBezTo>
                    <a:cubicBezTo>
                      <a:pt x="122" y="12"/>
                      <a:pt x="122" y="12"/>
                      <a:pt x="122" y="12"/>
                    </a:cubicBezTo>
                    <a:cubicBezTo>
                      <a:pt x="116" y="14"/>
                      <a:pt x="116" y="14"/>
                      <a:pt x="116" y="14"/>
                    </a:cubicBezTo>
                    <a:cubicBezTo>
                      <a:pt x="117" y="11"/>
                      <a:pt x="117" y="11"/>
                      <a:pt x="117" y="11"/>
                    </a:cubicBezTo>
                    <a:cubicBezTo>
                      <a:pt x="113" y="11"/>
                      <a:pt x="113" y="11"/>
                      <a:pt x="113" y="11"/>
                    </a:cubicBezTo>
                    <a:cubicBezTo>
                      <a:pt x="113" y="11"/>
                      <a:pt x="112" y="4"/>
                      <a:pt x="108" y="3"/>
                    </a:cubicBezTo>
                    <a:cubicBezTo>
                      <a:pt x="103" y="3"/>
                      <a:pt x="102" y="9"/>
                      <a:pt x="102" y="9"/>
                    </a:cubicBezTo>
                    <a:cubicBezTo>
                      <a:pt x="99" y="9"/>
                      <a:pt x="99" y="9"/>
                      <a:pt x="99" y="9"/>
                    </a:cubicBezTo>
                    <a:cubicBezTo>
                      <a:pt x="96" y="16"/>
                      <a:pt x="96" y="16"/>
                      <a:pt x="96" y="16"/>
                    </a:cubicBezTo>
                    <a:cubicBezTo>
                      <a:pt x="86" y="18"/>
                      <a:pt x="86" y="18"/>
                      <a:pt x="86" y="18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3" y="10"/>
                      <a:pt x="83" y="10"/>
                      <a:pt x="83" y="10"/>
                    </a:cubicBezTo>
                    <a:cubicBezTo>
                      <a:pt x="76" y="13"/>
                      <a:pt x="76" y="13"/>
                      <a:pt x="76" y="13"/>
                    </a:cubicBezTo>
                    <a:cubicBezTo>
                      <a:pt x="69" y="12"/>
                      <a:pt x="69" y="12"/>
                      <a:pt x="69" y="12"/>
                    </a:cubicBezTo>
                    <a:cubicBezTo>
                      <a:pt x="69" y="12"/>
                      <a:pt x="68" y="20"/>
                      <a:pt x="64" y="23"/>
                    </a:cubicBezTo>
                    <a:cubicBezTo>
                      <a:pt x="60" y="26"/>
                      <a:pt x="58" y="24"/>
                      <a:pt x="54" y="27"/>
                    </a:cubicBezTo>
                    <a:cubicBezTo>
                      <a:pt x="52" y="31"/>
                      <a:pt x="54" y="39"/>
                      <a:pt x="51" y="43"/>
                    </a:cubicBezTo>
                    <a:cubicBezTo>
                      <a:pt x="49" y="47"/>
                      <a:pt x="47" y="43"/>
                      <a:pt x="44" y="46"/>
                    </a:cubicBezTo>
                    <a:cubicBezTo>
                      <a:pt x="41" y="50"/>
                      <a:pt x="43" y="53"/>
                      <a:pt x="43" y="53"/>
                    </a:cubicBezTo>
                    <a:cubicBezTo>
                      <a:pt x="30" y="61"/>
                      <a:pt x="30" y="61"/>
                      <a:pt x="30" y="61"/>
                    </a:cubicBezTo>
                    <a:cubicBezTo>
                      <a:pt x="30" y="61"/>
                      <a:pt x="18" y="57"/>
                      <a:pt x="14" y="59"/>
                    </a:cubicBezTo>
                    <a:cubicBezTo>
                      <a:pt x="10" y="61"/>
                      <a:pt x="5" y="69"/>
                      <a:pt x="4" y="72"/>
                    </a:cubicBezTo>
                    <a:cubicBezTo>
                      <a:pt x="4" y="73"/>
                      <a:pt x="4" y="73"/>
                      <a:pt x="4" y="73"/>
                    </a:cubicBezTo>
                    <a:cubicBezTo>
                      <a:pt x="4" y="83"/>
                      <a:pt x="4" y="83"/>
                      <a:pt x="4" y="83"/>
                    </a:cubicBezTo>
                    <a:cubicBezTo>
                      <a:pt x="4" y="83"/>
                      <a:pt x="1" y="85"/>
                      <a:pt x="0" y="90"/>
                    </a:cubicBezTo>
                    <a:cubicBezTo>
                      <a:pt x="0" y="95"/>
                      <a:pt x="7" y="99"/>
                      <a:pt x="7" y="99"/>
                    </a:cubicBezTo>
                    <a:cubicBezTo>
                      <a:pt x="9" y="105"/>
                      <a:pt x="9" y="105"/>
                      <a:pt x="9" y="105"/>
                    </a:cubicBezTo>
                    <a:cubicBezTo>
                      <a:pt x="9" y="105"/>
                      <a:pt x="12" y="109"/>
                      <a:pt x="14" y="113"/>
                    </a:cubicBezTo>
                    <a:cubicBezTo>
                      <a:pt x="14" y="114"/>
                      <a:pt x="15" y="116"/>
                      <a:pt x="14" y="117"/>
                    </a:cubicBezTo>
                    <a:cubicBezTo>
                      <a:pt x="18" y="116"/>
                      <a:pt x="22" y="116"/>
                      <a:pt x="25" y="117"/>
                    </a:cubicBezTo>
                    <a:cubicBezTo>
                      <a:pt x="30" y="118"/>
                      <a:pt x="37" y="126"/>
                      <a:pt x="37" y="126"/>
                    </a:cubicBezTo>
                    <a:cubicBezTo>
                      <a:pt x="37" y="126"/>
                      <a:pt x="41" y="130"/>
                      <a:pt x="46" y="130"/>
                    </a:cubicBezTo>
                    <a:cubicBezTo>
                      <a:pt x="50" y="130"/>
                      <a:pt x="56" y="129"/>
                      <a:pt x="56" y="129"/>
                    </a:cubicBezTo>
                    <a:cubicBezTo>
                      <a:pt x="63" y="129"/>
                      <a:pt x="63" y="129"/>
                      <a:pt x="63" y="129"/>
                    </a:cubicBezTo>
                    <a:cubicBezTo>
                      <a:pt x="76" y="126"/>
                      <a:pt x="76" y="126"/>
                      <a:pt x="76" y="126"/>
                    </a:cubicBezTo>
                    <a:cubicBezTo>
                      <a:pt x="86" y="125"/>
                      <a:pt x="86" y="125"/>
                      <a:pt x="86" y="125"/>
                    </a:cubicBezTo>
                    <a:cubicBezTo>
                      <a:pt x="93" y="118"/>
                      <a:pt x="93" y="118"/>
                      <a:pt x="93" y="118"/>
                    </a:cubicBezTo>
                    <a:cubicBezTo>
                      <a:pt x="93" y="118"/>
                      <a:pt x="86" y="113"/>
                      <a:pt x="90" y="106"/>
                    </a:cubicBezTo>
                    <a:cubicBezTo>
                      <a:pt x="93" y="101"/>
                      <a:pt x="102" y="104"/>
                      <a:pt x="102" y="104"/>
                    </a:cubicBezTo>
                    <a:cubicBezTo>
                      <a:pt x="119" y="98"/>
                      <a:pt x="119" y="98"/>
                      <a:pt x="119" y="98"/>
                    </a:cubicBezTo>
                    <a:cubicBezTo>
                      <a:pt x="119" y="98"/>
                      <a:pt x="118" y="90"/>
                      <a:pt x="123" y="89"/>
                    </a:cubicBezTo>
                    <a:cubicBezTo>
                      <a:pt x="127" y="88"/>
                      <a:pt x="138" y="94"/>
                      <a:pt x="138" y="94"/>
                    </a:cubicBezTo>
                    <a:cubicBezTo>
                      <a:pt x="138" y="94"/>
                      <a:pt x="150" y="87"/>
                      <a:pt x="155" y="83"/>
                    </a:cubicBezTo>
                    <a:cubicBezTo>
                      <a:pt x="159" y="79"/>
                      <a:pt x="158" y="69"/>
                      <a:pt x="163" y="66"/>
                    </a:cubicBezTo>
                    <a:cubicBezTo>
                      <a:pt x="168" y="62"/>
                      <a:pt x="176" y="61"/>
                      <a:pt x="185" y="63"/>
                    </a:cubicBezTo>
                    <a:cubicBezTo>
                      <a:pt x="194" y="67"/>
                      <a:pt x="201" y="58"/>
                      <a:pt x="201" y="58"/>
                    </a:cubicBezTo>
                    <a:cubicBezTo>
                      <a:pt x="210" y="63"/>
                      <a:pt x="210" y="63"/>
                      <a:pt x="210" y="63"/>
                    </a:cubicBezTo>
                    <a:cubicBezTo>
                      <a:pt x="210" y="63"/>
                      <a:pt x="211" y="71"/>
                      <a:pt x="216" y="72"/>
                    </a:cubicBezTo>
                    <a:cubicBezTo>
                      <a:pt x="222" y="73"/>
                      <a:pt x="222" y="69"/>
                      <a:pt x="225" y="67"/>
                    </a:cubicBezTo>
                    <a:cubicBezTo>
                      <a:pt x="228" y="64"/>
                      <a:pt x="234" y="66"/>
                      <a:pt x="234" y="66"/>
                    </a:cubicBezTo>
                    <a:cubicBezTo>
                      <a:pt x="234" y="66"/>
                      <a:pt x="232" y="59"/>
                      <a:pt x="232" y="55"/>
                    </a:cubicBezTo>
                    <a:cubicBezTo>
                      <a:pt x="232" y="51"/>
                      <a:pt x="240" y="43"/>
                      <a:pt x="240" y="43"/>
                    </a:cubicBezTo>
                    <a:cubicBezTo>
                      <a:pt x="241" y="30"/>
                      <a:pt x="241" y="30"/>
                      <a:pt x="241" y="30"/>
                    </a:cubicBezTo>
                    <a:cubicBezTo>
                      <a:pt x="246" y="18"/>
                      <a:pt x="246" y="18"/>
                      <a:pt x="246" y="18"/>
                    </a:cubicBezTo>
                    <a:lnTo>
                      <a:pt x="222" y="14"/>
                    </a:lnTo>
                    <a:close/>
                  </a:path>
                </a:pathLst>
              </a:custGeom>
              <a:solidFill>
                <a:srgbClr val="FDC795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32" name="Serbia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708650" y="4608513"/>
                <a:ext cx="463550" cy="525041"/>
              </a:xfrm>
              <a:custGeom>
                <a:avLst/>
                <a:gdLst/>
                <a:ahLst/>
                <a:cxnLst>
                  <a:cxn ang="0">
                    <a:pos x="137" y="108"/>
                  </a:cxn>
                  <a:cxn ang="0">
                    <a:pos x="136" y="89"/>
                  </a:cxn>
                  <a:cxn ang="0">
                    <a:pos x="134" y="77"/>
                  </a:cxn>
                  <a:cxn ang="0">
                    <a:pos x="135" y="65"/>
                  </a:cxn>
                  <a:cxn ang="0">
                    <a:pos x="128" y="58"/>
                  </a:cxn>
                  <a:cxn ang="0">
                    <a:pos x="105" y="65"/>
                  </a:cxn>
                  <a:cxn ang="0">
                    <a:pos x="96" y="56"/>
                  </a:cxn>
                  <a:cxn ang="0">
                    <a:pos x="94" y="41"/>
                  </a:cxn>
                  <a:cxn ang="0">
                    <a:pos x="77" y="38"/>
                  </a:cxn>
                  <a:cxn ang="0">
                    <a:pos x="65" y="24"/>
                  </a:cxn>
                  <a:cxn ang="0">
                    <a:pos x="57" y="11"/>
                  </a:cxn>
                  <a:cxn ang="0">
                    <a:pos x="50" y="9"/>
                  </a:cxn>
                  <a:cxn ang="0">
                    <a:pos x="31" y="5"/>
                  </a:cxn>
                  <a:cxn ang="0">
                    <a:pos x="11" y="14"/>
                  </a:cxn>
                  <a:cxn ang="0">
                    <a:pos x="0" y="19"/>
                  </a:cxn>
                  <a:cxn ang="0">
                    <a:pos x="8" y="33"/>
                  </a:cxn>
                  <a:cxn ang="0">
                    <a:pos x="14" y="48"/>
                  </a:cxn>
                  <a:cxn ang="0">
                    <a:pos x="14" y="50"/>
                  </a:cxn>
                  <a:cxn ang="0">
                    <a:pos x="24" y="64"/>
                  </a:cxn>
                  <a:cxn ang="0">
                    <a:pos x="15" y="82"/>
                  </a:cxn>
                  <a:cxn ang="0">
                    <a:pos x="24" y="92"/>
                  </a:cxn>
                  <a:cxn ang="0">
                    <a:pos x="21" y="106"/>
                  </a:cxn>
                  <a:cxn ang="0">
                    <a:pos x="24" y="124"/>
                  </a:cxn>
                  <a:cxn ang="0">
                    <a:pos x="31" y="132"/>
                  </a:cxn>
                  <a:cxn ang="0">
                    <a:pos x="47" y="143"/>
                  </a:cxn>
                  <a:cxn ang="0">
                    <a:pos x="64" y="155"/>
                  </a:cxn>
                  <a:cxn ang="0">
                    <a:pos x="65" y="158"/>
                  </a:cxn>
                  <a:cxn ang="0">
                    <a:pos x="73" y="154"/>
                  </a:cxn>
                  <a:cxn ang="0">
                    <a:pos x="77" y="145"/>
                  </a:cxn>
                  <a:cxn ang="0">
                    <a:pos x="78" y="138"/>
                  </a:cxn>
                  <a:cxn ang="0">
                    <a:pos x="83" y="134"/>
                  </a:cxn>
                  <a:cxn ang="0">
                    <a:pos x="83" y="140"/>
                  </a:cxn>
                  <a:cxn ang="0">
                    <a:pos x="88" y="141"/>
                  </a:cxn>
                  <a:cxn ang="0">
                    <a:pos x="90" y="143"/>
                  </a:cxn>
                  <a:cxn ang="0">
                    <a:pos x="98" y="146"/>
                  </a:cxn>
                  <a:cxn ang="0">
                    <a:pos x="102" y="150"/>
                  </a:cxn>
                  <a:cxn ang="0">
                    <a:pos x="107" y="154"/>
                  </a:cxn>
                  <a:cxn ang="0">
                    <a:pos x="112" y="156"/>
                  </a:cxn>
                  <a:cxn ang="0">
                    <a:pos x="118" y="161"/>
                  </a:cxn>
                  <a:cxn ang="0">
                    <a:pos x="116" y="170"/>
                  </a:cxn>
                  <a:cxn ang="0">
                    <a:pos x="114" y="176"/>
                  </a:cxn>
                  <a:cxn ang="0">
                    <a:pos x="125" y="172"/>
                  </a:cxn>
                  <a:cxn ang="0">
                    <a:pos x="140" y="170"/>
                  </a:cxn>
                  <a:cxn ang="0">
                    <a:pos x="143" y="150"/>
                  </a:cxn>
                  <a:cxn ang="0">
                    <a:pos x="150" y="142"/>
                  </a:cxn>
                  <a:cxn ang="0">
                    <a:pos x="150" y="119"/>
                  </a:cxn>
                </a:cxnLst>
                <a:rect l="0" t="0" r="r" b="b"/>
                <a:pathLst>
                  <a:path w="158" h="177">
                    <a:moveTo>
                      <a:pt x="150" y="119"/>
                    </a:moveTo>
                    <a:cubicBezTo>
                      <a:pt x="148" y="117"/>
                      <a:pt x="139" y="115"/>
                      <a:pt x="139" y="115"/>
                    </a:cubicBezTo>
                    <a:cubicBezTo>
                      <a:pt x="137" y="108"/>
                      <a:pt x="137" y="108"/>
                      <a:pt x="137" y="108"/>
                    </a:cubicBezTo>
                    <a:cubicBezTo>
                      <a:pt x="131" y="102"/>
                      <a:pt x="131" y="102"/>
                      <a:pt x="131" y="102"/>
                    </a:cubicBezTo>
                    <a:cubicBezTo>
                      <a:pt x="132" y="91"/>
                      <a:pt x="132" y="91"/>
                      <a:pt x="132" y="91"/>
                    </a:cubicBezTo>
                    <a:cubicBezTo>
                      <a:pt x="132" y="91"/>
                      <a:pt x="135" y="90"/>
                      <a:pt x="136" y="89"/>
                    </a:cubicBezTo>
                    <a:cubicBezTo>
                      <a:pt x="137" y="87"/>
                      <a:pt x="137" y="83"/>
                      <a:pt x="137" y="83"/>
                    </a:cubicBezTo>
                    <a:cubicBezTo>
                      <a:pt x="137" y="83"/>
                      <a:pt x="140" y="80"/>
                      <a:pt x="139" y="77"/>
                    </a:cubicBezTo>
                    <a:cubicBezTo>
                      <a:pt x="138" y="74"/>
                      <a:pt x="134" y="77"/>
                      <a:pt x="134" y="77"/>
                    </a:cubicBezTo>
                    <a:cubicBezTo>
                      <a:pt x="132" y="69"/>
                      <a:pt x="132" y="69"/>
                      <a:pt x="132" y="69"/>
                    </a:cubicBezTo>
                    <a:cubicBezTo>
                      <a:pt x="134" y="69"/>
                      <a:pt x="134" y="69"/>
                      <a:pt x="134" y="69"/>
                    </a:cubicBezTo>
                    <a:cubicBezTo>
                      <a:pt x="135" y="65"/>
                      <a:pt x="135" y="65"/>
                      <a:pt x="135" y="65"/>
                    </a:cubicBezTo>
                    <a:cubicBezTo>
                      <a:pt x="138" y="66"/>
                      <a:pt x="138" y="66"/>
                      <a:pt x="138" y="66"/>
                    </a:cubicBezTo>
                    <a:cubicBezTo>
                      <a:pt x="139" y="63"/>
                      <a:pt x="139" y="63"/>
                      <a:pt x="139" y="63"/>
                    </a:cubicBezTo>
                    <a:cubicBezTo>
                      <a:pt x="139" y="63"/>
                      <a:pt x="135" y="60"/>
                      <a:pt x="128" y="58"/>
                    </a:cubicBezTo>
                    <a:cubicBezTo>
                      <a:pt x="123" y="58"/>
                      <a:pt x="122" y="71"/>
                      <a:pt x="119" y="71"/>
                    </a:cubicBezTo>
                    <a:cubicBezTo>
                      <a:pt x="116" y="72"/>
                      <a:pt x="116" y="65"/>
                      <a:pt x="113" y="64"/>
                    </a:cubicBezTo>
                    <a:cubicBezTo>
                      <a:pt x="111" y="62"/>
                      <a:pt x="108" y="67"/>
                      <a:pt x="105" y="65"/>
                    </a:cubicBezTo>
                    <a:cubicBezTo>
                      <a:pt x="102" y="65"/>
                      <a:pt x="100" y="61"/>
                      <a:pt x="99" y="60"/>
                    </a:cubicBezTo>
                    <a:cubicBezTo>
                      <a:pt x="97" y="60"/>
                      <a:pt x="90" y="58"/>
                      <a:pt x="90" y="58"/>
                    </a:cubicBezTo>
                    <a:cubicBezTo>
                      <a:pt x="96" y="56"/>
                      <a:pt x="96" y="56"/>
                      <a:pt x="96" y="56"/>
                    </a:cubicBezTo>
                    <a:cubicBezTo>
                      <a:pt x="97" y="53"/>
                      <a:pt x="97" y="53"/>
                      <a:pt x="97" y="53"/>
                    </a:cubicBezTo>
                    <a:cubicBezTo>
                      <a:pt x="90" y="52"/>
                      <a:pt x="90" y="52"/>
                      <a:pt x="90" y="52"/>
                    </a:cubicBezTo>
                    <a:cubicBezTo>
                      <a:pt x="90" y="52"/>
                      <a:pt x="94" y="46"/>
                      <a:pt x="94" y="41"/>
                    </a:cubicBezTo>
                    <a:cubicBezTo>
                      <a:pt x="93" y="35"/>
                      <a:pt x="84" y="39"/>
                      <a:pt x="84" y="39"/>
                    </a:cubicBezTo>
                    <a:cubicBezTo>
                      <a:pt x="81" y="36"/>
                      <a:pt x="81" y="36"/>
                      <a:pt x="81" y="36"/>
                    </a:cubicBezTo>
                    <a:cubicBezTo>
                      <a:pt x="77" y="38"/>
                      <a:pt x="77" y="38"/>
                      <a:pt x="77" y="38"/>
                    </a:cubicBezTo>
                    <a:cubicBezTo>
                      <a:pt x="66" y="30"/>
                      <a:pt x="66" y="30"/>
                      <a:pt x="66" y="30"/>
                    </a:cubicBezTo>
                    <a:cubicBezTo>
                      <a:pt x="69" y="27"/>
                      <a:pt x="69" y="27"/>
                      <a:pt x="69" y="27"/>
                    </a:cubicBezTo>
                    <a:cubicBezTo>
                      <a:pt x="65" y="24"/>
                      <a:pt x="65" y="24"/>
                      <a:pt x="65" y="24"/>
                    </a:cubicBezTo>
                    <a:cubicBezTo>
                      <a:pt x="67" y="16"/>
                      <a:pt x="67" y="16"/>
                      <a:pt x="67" y="16"/>
                    </a:cubicBezTo>
                    <a:cubicBezTo>
                      <a:pt x="67" y="16"/>
                      <a:pt x="63" y="19"/>
                      <a:pt x="61" y="19"/>
                    </a:cubicBezTo>
                    <a:cubicBezTo>
                      <a:pt x="58" y="19"/>
                      <a:pt x="57" y="11"/>
                      <a:pt x="57" y="11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3" y="8"/>
                      <a:pt x="53" y="8"/>
                      <a:pt x="53" y="8"/>
                    </a:cubicBezTo>
                    <a:cubicBezTo>
                      <a:pt x="50" y="9"/>
                      <a:pt x="50" y="9"/>
                      <a:pt x="50" y="9"/>
                    </a:cubicBezTo>
                    <a:cubicBezTo>
                      <a:pt x="45" y="1"/>
                      <a:pt x="45" y="1"/>
                      <a:pt x="45" y="1"/>
                    </a:cubicBezTo>
                    <a:cubicBezTo>
                      <a:pt x="39" y="1"/>
                      <a:pt x="39" y="1"/>
                      <a:pt x="39" y="1"/>
                    </a:cubicBezTo>
                    <a:cubicBezTo>
                      <a:pt x="32" y="0"/>
                      <a:pt x="31" y="5"/>
                      <a:pt x="31" y="5"/>
                    </a:cubicBezTo>
                    <a:cubicBezTo>
                      <a:pt x="31" y="5"/>
                      <a:pt x="28" y="3"/>
                      <a:pt x="26" y="3"/>
                    </a:cubicBezTo>
                    <a:cubicBezTo>
                      <a:pt x="24" y="3"/>
                      <a:pt x="21" y="6"/>
                      <a:pt x="19" y="8"/>
                    </a:cubicBezTo>
                    <a:cubicBezTo>
                      <a:pt x="17" y="11"/>
                      <a:pt x="11" y="14"/>
                      <a:pt x="11" y="14"/>
                    </a:cubicBezTo>
                    <a:cubicBezTo>
                      <a:pt x="7" y="13"/>
                      <a:pt x="7" y="13"/>
                      <a:pt x="7" y="13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2" y="21"/>
                      <a:pt x="4" y="24"/>
                      <a:pt x="4" y="24"/>
                    </a:cubicBezTo>
                    <a:cubicBezTo>
                      <a:pt x="4" y="28"/>
                      <a:pt x="0" y="32"/>
                      <a:pt x="2" y="33"/>
                    </a:cubicBezTo>
                    <a:cubicBezTo>
                      <a:pt x="5" y="37"/>
                      <a:pt x="5" y="33"/>
                      <a:pt x="8" y="33"/>
                    </a:cubicBezTo>
                    <a:cubicBezTo>
                      <a:pt x="12" y="33"/>
                      <a:pt x="11" y="37"/>
                      <a:pt x="6" y="39"/>
                    </a:cubicBezTo>
                    <a:cubicBezTo>
                      <a:pt x="2" y="40"/>
                      <a:pt x="6" y="43"/>
                      <a:pt x="6" y="43"/>
                    </a:cubicBezTo>
                    <a:cubicBezTo>
                      <a:pt x="14" y="48"/>
                      <a:pt x="14" y="48"/>
                      <a:pt x="14" y="48"/>
                    </a:cubicBezTo>
                    <a:cubicBezTo>
                      <a:pt x="22" y="48"/>
                      <a:pt x="22" y="48"/>
                      <a:pt x="22" y="48"/>
                    </a:cubicBezTo>
                    <a:cubicBezTo>
                      <a:pt x="22" y="50"/>
                      <a:pt x="22" y="50"/>
                      <a:pt x="22" y="50"/>
                    </a:cubicBezTo>
                    <a:cubicBezTo>
                      <a:pt x="14" y="50"/>
                      <a:pt x="14" y="50"/>
                      <a:pt x="14" y="50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3" y="62"/>
                      <a:pt x="13" y="62"/>
                      <a:pt x="13" y="62"/>
                    </a:cubicBezTo>
                    <a:cubicBezTo>
                      <a:pt x="24" y="64"/>
                      <a:pt x="24" y="64"/>
                      <a:pt x="24" y="64"/>
                    </a:cubicBezTo>
                    <a:cubicBezTo>
                      <a:pt x="21" y="66"/>
                      <a:pt x="21" y="66"/>
                      <a:pt x="21" y="66"/>
                    </a:cubicBezTo>
                    <a:cubicBezTo>
                      <a:pt x="21" y="66"/>
                      <a:pt x="21" y="73"/>
                      <a:pt x="19" y="75"/>
                    </a:cubicBezTo>
                    <a:cubicBezTo>
                      <a:pt x="18" y="78"/>
                      <a:pt x="15" y="82"/>
                      <a:pt x="15" y="82"/>
                    </a:cubicBezTo>
                    <a:cubicBezTo>
                      <a:pt x="16" y="85"/>
                      <a:pt x="16" y="85"/>
                      <a:pt x="16" y="85"/>
                    </a:cubicBezTo>
                    <a:cubicBezTo>
                      <a:pt x="16" y="85"/>
                      <a:pt x="13" y="90"/>
                      <a:pt x="15" y="91"/>
                    </a:cubicBezTo>
                    <a:cubicBezTo>
                      <a:pt x="18" y="92"/>
                      <a:pt x="24" y="92"/>
                      <a:pt x="24" y="92"/>
                    </a:cubicBezTo>
                    <a:cubicBezTo>
                      <a:pt x="34" y="101"/>
                      <a:pt x="34" y="101"/>
                      <a:pt x="34" y="101"/>
                    </a:cubicBezTo>
                    <a:cubicBezTo>
                      <a:pt x="34" y="101"/>
                      <a:pt x="34" y="106"/>
                      <a:pt x="31" y="106"/>
                    </a:cubicBezTo>
                    <a:cubicBezTo>
                      <a:pt x="27" y="106"/>
                      <a:pt x="21" y="106"/>
                      <a:pt x="21" y="106"/>
                    </a:cubicBezTo>
                    <a:cubicBezTo>
                      <a:pt x="27" y="114"/>
                      <a:pt x="27" y="114"/>
                      <a:pt x="27" y="114"/>
                    </a:cubicBezTo>
                    <a:cubicBezTo>
                      <a:pt x="27" y="114"/>
                      <a:pt x="37" y="122"/>
                      <a:pt x="32" y="124"/>
                    </a:cubicBezTo>
                    <a:cubicBezTo>
                      <a:pt x="28" y="128"/>
                      <a:pt x="24" y="124"/>
                      <a:pt x="24" y="124"/>
                    </a:cubicBezTo>
                    <a:cubicBezTo>
                      <a:pt x="24" y="125"/>
                      <a:pt x="24" y="125"/>
                      <a:pt x="24" y="125"/>
                    </a:cubicBezTo>
                    <a:cubicBezTo>
                      <a:pt x="26" y="129"/>
                      <a:pt x="26" y="129"/>
                      <a:pt x="26" y="129"/>
                    </a:cubicBezTo>
                    <a:cubicBezTo>
                      <a:pt x="31" y="132"/>
                      <a:pt x="31" y="132"/>
                      <a:pt x="31" y="132"/>
                    </a:cubicBezTo>
                    <a:cubicBezTo>
                      <a:pt x="37" y="136"/>
                      <a:pt x="37" y="136"/>
                      <a:pt x="37" y="136"/>
                    </a:cubicBezTo>
                    <a:cubicBezTo>
                      <a:pt x="43" y="141"/>
                      <a:pt x="43" y="141"/>
                      <a:pt x="43" y="141"/>
                    </a:cubicBezTo>
                    <a:cubicBezTo>
                      <a:pt x="47" y="143"/>
                      <a:pt x="47" y="143"/>
                      <a:pt x="47" y="143"/>
                    </a:cubicBezTo>
                    <a:cubicBezTo>
                      <a:pt x="60" y="149"/>
                      <a:pt x="60" y="149"/>
                      <a:pt x="60" y="149"/>
                    </a:cubicBezTo>
                    <a:cubicBezTo>
                      <a:pt x="64" y="150"/>
                      <a:pt x="64" y="150"/>
                      <a:pt x="64" y="150"/>
                    </a:cubicBezTo>
                    <a:cubicBezTo>
                      <a:pt x="64" y="155"/>
                      <a:pt x="64" y="155"/>
                      <a:pt x="64" y="155"/>
                    </a:cubicBezTo>
                    <a:cubicBezTo>
                      <a:pt x="61" y="156"/>
                      <a:pt x="61" y="156"/>
                      <a:pt x="61" y="156"/>
                    </a:cubicBezTo>
                    <a:cubicBezTo>
                      <a:pt x="61" y="157"/>
                      <a:pt x="61" y="157"/>
                      <a:pt x="61" y="158"/>
                    </a:cubicBezTo>
                    <a:cubicBezTo>
                      <a:pt x="65" y="158"/>
                      <a:pt x="65" y="158"/>
                      <a:pt x="65" y="158"/>
                    </a:cubicBezTo>
                    <a:cubicBezTo>
                      <a:pt x="69" y="158"/>
                      <a:pt x="69" y="158"/>
                      <a:pt x="69" y="158"/>
                    </a:cubicBezTo>
                    <a:cubicBezTo>
                      <a:pt x="69" y="158"/>
                      <a:pt x="71" y="157"/>
                      <a:pt x="71" y="157"/>
                    </a:cubicBezTo>
                    <a:cubicBezTo>
                      <a:pt x="72" y="156"/>
                      <a:pt x="72" y="155"/>
                      <a:pt x="73" y="154"/>
                    </a:cubicBezTo>
                    <a:cubicBezTo>
                      <a:pt x="73" y="154"/>
                      <a:pt x="72" y="153"/>
                      <a:pt x="73" y="152"/>
                    </a:cubicBezTo>
                    <a:cubicBezTo>
                      <a:pt x="74" y="151"/>
                      <a:pt x="76" y="149"/>
                      <a:pt x="76" y="149"/>
                    </a:cubicBezTo>
                    <a:cubicBezTo>
                      <a:pt x="76" y="149"/>
                      <a:pt x="77" y="145"/>
                      <a:pt x="77" y="145"/>
                    </a:cubicBezTo>
                    <a:cubicBezTo>
                      <a:pt x="76" y="144"/>
                      <a:pt x="76" y="143"/>
                      <a:pt x="75" y="143"/>
                    </a:cubicBezTo>
                    <a:cubicBezTo>
                      <a:pt x="75" y="142"/>
                      <a:pt x="76" y="139"/>
                      <a:pt x="76" y="139"/>
                    </a:cubicBezTo>
                    <a:cubicBezTo>
                      <a:pt x="76" y="139"/>
                      <a:pt x="77" y="138"/>
                      <a:pt x="78" y="138"/>
                    </a:cubicBezTo>
                    <a:cubicBezTo>
                      <a:pt x="79" y="137"/>
                      <a:pt x="80" y="138"/>
                      <a:pt x="81" y="138"/>
                    </a:cubicBezTo>
                    <a:cubicBezTo>
                      <a:pt x="81" y="138"/>
                      <a:pt x="82" y="135"/>
                      <a:pt x="82" y="135"/>
                    </a:cubicBezTo>
                    <a:cubicBezTo>
                      <a:pt x="82" y="136"/>
                      <a:pt x="82" y="134"/>
                      <a:pt x="83" y="134"/>
                    </a:cubicBezTo>
                    <a:cubicBezTo>
                      <a:pt x="84" y="134"/>
                      <a:pt x="84" y="136"/>
                      <a:pt x="84" y="136"/>
                    </a:cubicBezTo>
                    <a:cubicBezTo>
                      <a:pt x="84" y="136"/>
                      <a:pt x="85" y="137"/>
                      <a:pt x="85" y="138"/>
                    </a:cubicBezTo>
                    <a:cubicBezTo>
                      <a:pt x="84" y="139"/>
                      <a:pt x="83" y="140"/>
                      <a:pt x="83" y="140"/>
                    </a:cubicBezTo>
                    <a:cubicBezTo>
                      <a:pt x="83" y="140"/>
                      <a:pt x="84" y="141"/>
                      <a:pt x="84" y="141"/>
                    </a:cubicBezTo>
                    <a:cubicBezTo>
                      <a:pt x="85" y="141"/>
                      <a:pt x="85" y="141"/>
                      <a:pt x="85" y="141"/>
                    </a:cubicBezTo>
                    <a:cubicBezTo>
                      <a:pt x="88" y="141"/>
                      <a:pt x="88" y="141"/>
                      <a:pt x="88" y="141"/>
                    </a:cubicBezTo>
                    <a:cubicBezTo>
                      <a:pt x="88" y="141"/>
                      <a:pt x="88" y="142"/>
                      <a:pt x="88" y="142"/>
                    </a:cubicBezTo>
                    <a:cubicBezTo>
                      <a:pt x="89" y="142"/>
                      <a:pt x="89" y="142"/>
                      <a:pt x="90" y="143"/>
                    </a:cubicBezTo>
                    <a:cubicBezTo>
                      <a:pt x="90" y="143"/>
                      <a:pt x="90" y="143"/>
                      <a:pt x="90" y="143"/>
                    </a:cubicBezTo>
                    <a:cubicBezTo>
                      <a:pt x="91" y="144"/>
                      <a:pt x="93" y="143"/>
                      <a:pt x="94" y="143"/>
                    </a:cubicBezTo>
                    <a:cubicBezTo>
                      <a:pt x="95" y="143"/>
                      <a:pt x="95" y="145"/>
                      <a:pt x="95" y="145"/>
                    </a:cubicBezTo>
                    <a:cubicBezTo>
                      <a:pt x="95" y="145"/>
                      <a:pt x="97" y="145"/>
                      <a:pt x="98" y="146"/>
                    </a:cubicBezTo>
                    <a:cubicBezTo>
                      <a:pt x="98" y="146"/>
                      <a:pt x="98" y="149"/>
                      <a:pt x="98" y="149"/>
                    </a:cubicBezTo>
                    <a:cubicBezTo>
                      <a:pt x="98" y="149"/>
                      <a:pt x="99" y="150"/>
                      <a:pt x="100" y="150"/>
                    </a:cubicBezTo>
                    <a:cubicBezTo>
                      <a:pt x="101" y="150"/>
                      <a:pt x="102" y="150"/>
                      <a:pt x="102" y="150"/>
                    </a:cubicBezTo>
                    <a:cubicBezTo>
                      <a:pt x="102" y="150"/>
                      <a:pt x="103" y="152"/>
                      <a:pt x="103" y="152"/>
                    </a:cubicBezTo>
                    <a:cubicBezTo>
                      <a:pt x="105" y="153"/>
                      <a:pt x="105" y="153"/>
                      <a:pt x="105" y="153"/>
                    </a:cubicBezTo>
                    <a:cubicBezTo>
                      <a:pt x="107" y="154"/>
                      <a:pt x="107" y="154"/>
                      <a:pt x="107" y="154"/>
                    </a:cubicBezTo>
                    <a:cubicBezTo>
                      <a:pt x="110" y="155"/>
                      <a:pt x="110" y="155"/>
                      <a:pt x="110" y="155"/>
                    </a:cubicBezTo>
                    <a:cubicBezTo>
                      <a:pt x="111" y="155"/>
                      <a:pt x="111" y="155"/>
                      <a:pt x="111" y="155"/>
                    </a:cubicBezTo>
                    <a:cubicBezTo>
                      <a:pt x="112" y="156"/>
                      <a:pt x="112" y="156"/>
                      <a:pt x="112" y="156"/>
                    </a:cubicBezTo>
                    <a:cubicBezTo>
                      <a:pt x="114" y="157"/>
                      <a:pt x="114" y="157"/>
                      <a:pt x="114" y="157"/>
                    </a:cubicBezTo>
                    <a:cubicBezTo>
                      <a:pt x="114" y="157"/>
                      <a:pt x="116" y="157"/>
                      <a:pt x="117" y="158"/>
                    </a:cubicBezTo>
                    <a:cubicBezTo>
                      <a:pt x="117" y="158"/>
                      <a:pt x="118" y="161"/>
                      <a:pt x="118" y="161"/>
                    </a:cubicBezTo>
                    <a:cubicBezTo>
                      <a:pt x="118" y="161"/>
                      <a:pt x="119" y="163"/>
                      <a:pt x="119" y="163"/>
                    </a:cubicBezTo>
                    <a:cubicBezTo>
                      <a:pt x="119" y="164"/>
                      <a:pt x="118" y="166"/>
                      <a:pt x="118" y="166"/>
                    </a:cubicBezTo>
                    <a:cubicBezTo>
                      <a:pt x="116" y="170"/>
                      <a:pt x="116" y="170"/>
                      <a:pt x="116" y="170"/>
                    </a:cubicBezTo>
                    <a:cubicBezTo>
                      <a:pt x="116" y="170"/>
                      <a:pt x="115" y="172"/>
                      <a:pt x="115" y="172"/>
                    </a:cubicBezTo>
                    <a:cubicBezTo>
                      <a:pt x="115" y="173"/>
                      <a:pt x="114" y="174"/>
                      <a:pt x="114" y="174"/>
                    </a:cubicBezTo>
                    <a:cubicBezTo>
                      <a:pt x="114" y="174"/>
                      <a:pt x="114" y="175"/>
                      <a:pt x="114" y="176"/>
                    </a:cubicBezTo>
                    <a:cubicBezTo>
                      <a:pt x="114" y="176"/>
                      <a:pt x="113" y="176"/>
                      <a:pt x="112" y="177"/>
                    </a:cubicBezTo>
                    <a:cubicBezTo>
                      <a:pt x="114" y="177"/>
                      <a:pt x="115" y="177"/>
                      <a:pt x="116" y="177"/>
                    </a:cubicBezTo>
                    <a:cubicBezTo>
                      <a:pt x="120" y="177"/>
                      <a:pt x="125" y="172"/>
                      <a:pt x="125" y="172"/>
                    </a:cubicBezTo>
                    <a:cubicBezTo>
                      <a:pt x="132" y="173"/>
                      <a:pt x="132" y="173"/>
                      <a:pt x="132" y="173"/>
                    </a:cubicBezTo>
                    <a:cubicBezTo>
                      <a:pt x="137" y="168"/>
                      <a:pt x="137" y="168"/>
                      <a:pt x="137" y="168"/>
                    </a:cubicBezTo>
                    <a:cubicBezTo>
                      <a:pt x="140" y="170"/>
                      <a:pt x="140" y="170"/>
                      <a:pt x="140" y="170"/>
                    </a:cubicBezTo>
                    <a:cubicBezTo>
                      <a:pt x="146" y="162"/>
                      <a:pt x="146" y="162"/>
                      <a:pt x="146" y="162"/>
                    </a:cubicBezTo>
                    <a:cubicBezTo>
                      <a:pt x="140" y="156"/>
                      <a:pt x="140" y="156"/>
                      <a:pt x="140" y="156"/>
                    </a:cubicBezTo>
                    <a:cubicBezTo>
                      <a:pt x="143" y="150"/>
                      <a:pt x="143" y="150"/>
                      <a:pt x="143" y="150"/>
                    </a:cubicBezTo>
                    <a:cubicBezTo>
                      <a:pt x="139" y="148"/>
                      <a:pt x="139" y="148"/>
                      <a:pt x="139" y="148"/>
                    </a:cubicBezTo>
                    <a:cubicBezTo>
                      <a:pt x="139" y="148"/>
                      <a:pt x="139" y="146"/>
                      <a:pt x="142" y="144"/>
                    </a:cubicBezTo>
                    <a:cubicBezTo>
                      <a:pt x="145" y="141"/>
                      <a:pt x="148" y="143"/>
                      <a:pt x="150" y="142"/>
                    </a:cubicBezTo>
                    <a:cubicBezTo>
                      <a:pt x="151" y="141"/>
                      <a:pt x="152" y="139"/>
                      <a:pt x="152" y="139"/>
                    </a:cubicBezTo>
                    <a:cubicBezTo>
                      <a:pt x="158" y="128"/>
                      <a:pt x="158" y="128"/>
                      <a:pt x="158" y="128"/>
                    </a:cubicBezTo>
                    <a:cubicBezTo>
                      <a:pt x="158" y="128"/>
                      <a:pt x="155" y="121"/>
                      <a:pt x="150" y="119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33" name="Russia" descr="© INSCALE GmbH, 05.05.2010&#10;http://www.presentationload.com/"/>
              <p:cNvSpPr>
                <a:spLocks noChangeAspect="1"/>
              </p:cNvSpPr>
              <p:nvPr/>
            </p:nvSpPr>
            <p:spPr bwMode="auto">
              <a:xfrm>
                <a:off x="5670550" y="3346450"/>
                <a:ext cx="249237" cy="136525"/>
              </a:xfrm>
              <a:custGeom>
                <a:avLst/>
                <a:gdLst/>
                <a:ahLst/>
                <a:cxnLst>
                  <a:cxn ang="0">
                    <a:pos x="73" y="18"/>
                  </a:cxn>
                  <a:cxn ang="0">
                    <a:pos x="75" y="13"/>
                  </a:cxn>
                  <a:cxn ang="0">
                    <a:pos x="67" y="7"/>
                  </a:cxn>
                  <a:cxn ang="0">
                    <a:pos x="60" y="7"/>
                  </a:cxn>
                  <a:cxn ang="0">
                    <a:pos x="53" y="9"/>
                  </a:cxn>
                  <a:cxn ang="0">
                    <a:pos x="53" y="7"/>
                  </a:cxn>
                  <a:cxn ang="0">
                    <a:pos x="46" y="6"/>
                  </a:cxn>
                  <a:cxn ang="0">
                    <a:pos x="41" y="4"/>
                  </a:cxn>
                  <a:cxn ang="0">
                    <a:pos x="37" y="5"/>
                  </a:cxn>
                  <a:cxn ang="0">
                    <a:pos x="34" y="2"/>
                  </a:cxn>
                  <a:cxn ang="0">
                    <a:pos x="33" y="5"/>
                  </a:cxn>
                  <a:cxn ang="0">
                    <a:pos x="30" y="5"/>
                  </a:cxn>
                  <a:cxn ang="0">
                    <a:pos x="34" y="16"/>
                  </a:cxn>
                  <a:cxn ang="0">
                    <a:pos x="29" y="19"/>
                  </a:cxn>
                  <a:cxn ang="0">
                    <a:pos x="24" y="19"/>
                  </a:cxn>
                  <a:cxn ang="0">
                    <a:pos x="21" y="18"/>
                  </a:cxn>
                  <a:cxn ang="0">
                    <a:pos x="16" y="19"/>
                  </a:cxn>
                  <a:cxn ang="0">
                    <a:pos x="24" y="7"/>
                  </a:cxn>
                  <a:cxn ang="0">
                    <a:pos x="24" y="5"/>
                  </a:cxn>
                  <a:cxn ang="0">
                    <a:pos x="27" y="1"/>
                  </a:cxn>
                  <a:cxn ang="0">
                    <a:pos x="26" y="0"/>
                  </a:cxn>
                  <a:cxn ang="0">
                    <a:pos x="24" y="1"/>
                  </a:cxn>
                  <a:cxn ang="0">
                    <a:pos x="21" y="7"/>
                  </a:cxn>
                  <a:cxn ang="0">
                    <a:pos x="15" y="16"/>
                  </a:cxn>
                  <a:cxn ang="0">
                    <a:pos x="13" y="18"/>
                  </a:cxn>
                  <a:cxn ang="0">
                    <a:pos x="1" y="20"/>
                  </a:cxn>
                  <a:cxn ang="0">
                    <a:pos x="0" y="24"/>
                  </a:cxn>
                  <a:cxn ang="0">
                    <a:pos x="2" y="26"/>
                  </a:cxn>
                  <a:cxn ang="0">
                    <a:pos x="0" y="34"/>
                  </a:cxn>
                  <a:cxn ang="0">
                    <a:pos x="2" y="34"/>
                  </a:cxn>
                  <a:cxn ang="0">
                    <a:pos x="2" y="32"/>
                  </a:cxn>
                  <a:cxn ang="0">
                    <a:pos x="4" y="31"/>
                  </a:cxn>
                  <a:cxn ang="0">
                    <a:pos x="5" y="33"/>
                  </a:cxn>
                  <a:cxn ang="0">
                    <a:pos x="8" y="30"/>
                  </a:cxn>
                  <a:cxn ang="0">
                    <a:pos x="14" y="31"/>
                  </a:cxn>
                  <a:cxn ang="0">
                    <a:pos x="10" y="32"/>
                  </a:cxn>
                  <a:cxn ang="0">
                    <a:pos x="10" y="34"/>
                  </a:cxn>
                  <a:cxn ang="0">
                    <a:pos x="5" y="37"/>
                  </a:cxn>
                  <a:cxn ang="0">
                    <a:pos x="4" y="36"/>
                  </a:cxn>
                  <a:cxn ang="0">
                    <a:pos x="2" y="42"/>
                  </a:cxn>
                  <a:cxn ang="0">
                    <a:pos x="39" y="42"/>
                  </a:cxn>
                  <a:cxn ang="0">
                    <a:pos x="75" y="36"/>
                  </a:cxn>
                  <a:cxn ang="0">
                    <a:pos x="72" y="25"/>
                  </a:cxn>
                  <a:cxn ang="0">
                    <a:pos x="73" y="18"/>
                  </a:cxn>
                </a:cxnLst>
                <a:rect l="0" t="0" r="r" b="b"/>
                <a:pathLst>
                  <a:path w="78" h="43">
                    <a:moveTo>
                      <a:pt x="73" y="18"/>
                    </a:moveTo>
                    <a:cubicBezTo>
                      <a:pt x="73" y="18"/>
                      <a:pt x="78" y="15"/>
                      <a:pt x="75" y="13"/>
                    </a:cubicBezTo>
                    <a:cubicBezTo>
                      <a:pt x="73" y="11"/>
                      <a:pt x="67" y="7"/>
                      <a:pt x="67" y="7"/>
                    </a:cubicBezTo>
                    <a:cubicBezTo>
                      <a:pt x="60" y="7"/>
                      <a:pt x="60" y="7"/>
                      <a:pt x="60" y="7"/>
                    </a:cubicBezTo>
                    <a:cubicBezTo>
                      <a:pt x="53" y="9"/>
                      <a:pt x="53" y="9"/>
                      <a:pt x="53" y="9"/>
                    </a:cubicBezTo>
                    <a:cubicBezTo>
                      <a:pt x="53" y="7"/>
                      <a:pt x="53" y="7"/>
                      <a:pt x="53" y="7"/>
                    </a:cubicBezTo>
                    <a:cubicBezTo>
                      <a:pt x="53" y="7"/>
                      <a:pt x="49" y="8"/>
                      <a:pt x="46" y="6"/>
                    </a:cubicBezTo>
                    <a:cubicBezTo>
                      <a:pt x="43" y="5"/>
                      <a:pt x="41" y="4"/>
                      <a:pt x="41" y="4"/>
                    </a:cubicBezTo>
                    <a:cubicBezTo>
                      <a:pt x="37" y="5"/>
                      <a:pt x="37" y="5"/>
                      <a:pt x="37" y="5"/>
                    </a:cubicBezTo>
                    <a:cubicBezTo>
                      <a:pt x="34" y="2"/>
                      <a:pt x="34" y="2"/>
                      <a:pt x="34" y="2"/>
                    </a:cubicBezTo>
                    <a:cubicBezTo>
                      <a:pt x="33" y="5"/>
                      <a:pt x="33" y="5"/>
                      <a:pt x="33" y="5"/>
                    </a:cubicBezTo>
                    <a:cubicBezTo>
                      <a:pt x="30" y="5"/>
                      <a:pt x="30" y="5"/>
                      <a:pt x="30" y="5"/>
                    </a:cubicBezTo>
                    <a:cubicBezTo>
                      <a:pt x="34" y="16"/>
                      <a:pt x="34" y="16"/>
                      <a:pt x="34" y="16"/>
                    </a:cubicBezTo>
                    <a:cubicBezTo>
                      <a:pt x="29" y="19"/>
                      <a:pt x="29" y="19"/>
                      <a:pt x="29" y="19"/>
                    </a:cubicBezTo>
                    <a:cubicBezTo>
                      <a:pt x="24" y="19"/>
                      <a:pt x="24" y="19"/>
                      <a:pt x="24" y="19"/>
                    </a:cubicBezTo>
                    <a:cubicBezTo>
                      <a:pt x="24" y="19"/>
                      <a:pt x="22" y="18"/>
                      <a:pt x="21" y="18"/>
                    </a:cubicBezTo>
                    <a:cubicBezTo>
                      <a:pt x="20" y="18"/>
                      <a:pt x="16" y="19"/>
                      <a:pt x="16" y="19"/>
                    </a:cubicBezTo>
                    <a:cubicBezTo>
                      <a:pt x="24" y="7"/>
                      <a:pt x="24" y="7"/>
                      <a:pt x="24" y="7"/>
                    </a:cubicBezTo>
                    <a:cubicBezTo>
                      <a:pt x="24" y="5"/>
                      <a:pt x="24" y="5"/>
                      <a:pt x="24" y="5"/>
                    </a:cubicBezTo>
                    <a:cubicBezTo>
                      <a:pt x="27" y="1"/>
                      <a:pt x="27" y="1"/>
                      <a:pt x="27" y="1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21" y="7"/>
                      <a:pt x="21" y="7"/>
                      <a:pt x="21" y="7"/>
                    </a:cubicBezTo>
                    <a:cubicBezTo>
                      <a:pt x="15" y="16"/>
                      <a:pt x="15" y="16"/>
                      <a:pt x="15" y="16"/>
                    </a:cubicBezTo>
                    <a:cubicBezTo>
                      <a:pt x="13" y="18"/>
                      <a:pt x="13" y="18"/>
                      <a:pt x="13" y="18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2" y="26"/>
                      <a:pt x="2" y="26"/>
                      <a:pt x="2" y="26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2" y="34"/>
                      <a:pt x="2" y="34"/>
                      <a:pt x="2" y="34"/>
                    </a:cubicBezTo>
                    <a:cubicBezTo>
                      <a:pt x="2" y="32"/>
                      <a:pt x="2" y="32"/>
                      <a:pt x="2" y="32"/>
                    </a:cubicBezTo>
                    <a:cubicBezTo>
                      <a:pt x="4" y="31"/>
                      <a:pt x="4" y="31"/>
                      <a:pt x="4" y="31"/>
                    </a:cubicBezTo>
                    <a:cubicBezTo>
                      <a:pt x="5" y="33"/>
                      <a:pt x="5" y="33"/>
                      <a:pt x="5" y="33"/>
                    </a:cubicBezTo>
                    <a:cubicBezTo>
                      <a:pt x="8" y="30"/>
                      <a:pt x="8" y="30"/>
                      <a:pt x="8" y="30"/>
                    </a:cubicBezTo>
                    <a:cubicBezTo>
                      <a:pt x="14" y="31"/>
                      <a:pt x="14" y="31"/>
                      <a:pt x="14" y="31"/>
                    </a:cubicBezTo>
                    <a:cubicBezTo>
                      <a:pt x="10" y="32"/>
                      <a:pt x="10" y="32"/>
                      <a:pt x="10" y="32"/>
                    </a:cubicBezTo>
                    <a:cubicBezTo>
                      <a:pt x="10" y="34"/>
                      <a:pt x="10" y="34"/>
                      <a:pt x="10" y="34"/>
                    </a:cubicBezTo>
                    <a:cubicBezTo>
                      <a:pt x="5" y="37"/>
                      <a:pt x="5" y="37"/>
                      <a:pt x="5" y="37"/>
                    </a:cubicBezTo>
                    <a:cubicBezTo>
                      <a:pt x="4" y="36"/>
                      <a:pt x="4" y="36"/>
                      <a:pt x="4" y="36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7" y="42"/>
                      <a:pt x="30" y="43"/>
                      <a:pt x="39" y="42"/>
                    </a:cubicBezTo>
                    <a:cubicBezTo>
                      <a:pt x="49" y="42"/>
                      <a:pt x="75" y="36"/>
                      <a:pt x="75" y="36"/>
                    </a:cubicBezTo>
                    <a:cubicBezTo>
                      <a:pt x="75" y="36"/>
                      <a:pt x="71" y="31"/>
                      <a:pt x="72" y="25"/>
                    </a:cubicBezTo>
                    <a:cubicBezTo>
                      <a:pt x="72" y="21"/>
                      <a:pt x="73" y="18"/>
                      <a:pt x="73" y="18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34" name="Romania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5838825" y="4219575"/>
                <a:ext cx="955675" cy="679450"/>
              </a:xfrm>
              <a:custGeom>
                <a:avLst/>
                <a:gdLst/>
                <a:ahLst/>
                <a:cxnLst>
                  <a:cxn ang="0">
                    <a:pos x="428" y="156"/>
                  </a:cxn>
                  <a:cxn ang="0">
                    <a:pos x="402" y="170"/>
                  </a:cxn>
                  <a:cxn ang="0">
                    <a:pos x="387" y="175"/>
                  </a:cxn>
                  <a:cxn ang="0">
                    <a:pos x="365" y="162"/>
                  </a:cxn>
                  <a:cxn ang="0">
                    <a:pos x="361" y="136"/>
                  </a:cxn>
                  <a:cxn ang="0">
                    <a:pos x="361" y="116"/>
                  </a:cxn>
                  <a:cxn ang="0">
                    <a:pos x="350" y="83"/>
                  </a:cxn>
                  <a:cxn ang="0">
                    <a:pos x="332" y="65"/>
                  </a:cxn>
                  <a:cxn ang="0">
                    <a:pos x="291" y="18"/>
                  </a:cxn>
                  <a:cxn ang="0">
                    <a:pos x="247" y="24"/>
                  </a:cxn>
                  <a:cxn ang="0">
                    <a:pos x="202" y="51"/>
                  </a:cxn>
                  <a:cxn ang="0">
                    <a:pos x="164" y="44"/>
                  </a:cxn>
                  <a:cxn ang="0">
                    <a:pos x="115" y="37"/>
                  </a:cxn>
                  <a:cxn ang="0">
                    <a:pos x="107" y="47"/>
                  </a:cxn>
                  <a:cxn ang="0">
                    <a:pos x="93" y="67"/>
                  </a:cxn>
                  <a:cxn ang="0">
                    <a:pos x="81" y="70"/>
                  </a:cxn>
                  <a:cxn ang="0">
                    <a:pos x="71" y="94"/>
                  </a:cxn>
                  <a:cxn ang="0">
                    <a:pos x="65" y="108"/>
                  </a:cxn>
                  <a:cxn ang="0">
                    <a:pos x="59" y="125"/>
                  </a:cxn>
                  <a:cxn ang="0">
                    <a:pos x="55" y="140"/>
                  </a:cxn>
                  <a:cxn ang="0">
                    <a:pos x="45" y="148"/>
                  </a:cxn>
                  <a:cxn ang="0">
                    <a:pos x="43" y="164"/>
                  </a:cxn>
                  <a:cxn ang="0">
                    <a:pos x="27" y="174"/>
                  </a:cxn>
                  <a:cxn ang="0">
                    <a:pos x="12" y="181"/>
                  </a:cxn>
                  <a:cxn ang="0">
                    <a:pos x="0" y="184"/>
                  </a:cxn>
                  <a:cxn ang="0">
                    <a:pos x="12" y="194"/>
                  </a:cxn>
                  <a:cxn ang="0">
                    <a:pos x="17" y="197"/>
                  </a:cxn>
                  <a:cxn ang="0">
                    <a:pos x="31" y="205"/>
                  </a:cxn>
                  <a:cxn ang="0">
                    <a:pos x="33" y="219"/>
                  </a:cxn>
                  <a:cxn ang="0">
                    <a:pos x="45" y="235"/>
                  </a:cxn>
                  <a:cxn ang="0">
                    <a:pos x="55" y="237"/>
                  </a:cxn>
                  <a:cxn ang="0">
                    <a:pos x="63" y="254"/>
                  </a:cxn>
                  <a:cxn ang="0">
                    <a:pos x="71" y="260"/>
                  </a:cxn>
                  <a:cxn ang="0">
                    <a:pos x="75" y="266"/>
                  </a:cxn>
                  <a:cxn ang="0">
                    <a:pos x="95" y="271"/>
                  </a:cxn>
                  <a:cxn ang="0">
                    <a:pos x="115" y="263"/>
                  </a:cxn>
                  <a:cxn ang="0">
                    <a:pos x="129" y="274"/>
                  </a:cxn>
                  <a:cxn ang="0">
                    <a:pos x="123" y="278"/>
                  </a:cxn>
                  <a:cxn ang="0">
                    <a:pos x="123" y="290"/>
                  </a:cxn>
                  <a:cxn ang="0">
                    <a:pos x="129" y="294"/>
                  </a:cxn>
                  <a:cxn ang="0">
                    <a:pos x="148" y="302"/>
                  </a:cxn>
                  <a:cxn ang="0">
                    <a:pos x="151" y="318"/>
                  </a:cxn>
                  <a:cxn ang="0">
                    <a:pos x="179" y="314"/>
                  </a:cxn>
                  <a:cxn ang="0">
                    <a:pos x="206" y="318"/>
                  </a:cxn>
                  <a:cxn ang="0">
                    <a:pos x="229" y="310"/>
                  </a:cxn>
                  <a:cxn ang="0">
                    <a:pos x="250" y="310"/>
                  </a:cxn>
                  <a:cxn ang="0">
                    <a:pos x="271" y="309"/>
                  </a:cxn>
                  <a:cxn ang="0">
                    <a:pos x="308" y="275"/>
                  </a:cxn>
                  <a:cxn ang="0">
                    <a:pos x="355" y="268"/>
                  </a:cxn>
                  <a:cxn ang="0">
                    <a:pos x="372" y="268"/>
                  </a:cxn>
                  <a:cxn ang="0">
                    <a:pos x="385" y="272"/>
                  </a:cxn>
                  <a:cxn ang="0">
                    <a:pos x="413" y="273"/>
                  </a:cxn>
                  <a:cxn ang="0">
                    <a:pos x="408" y="239"/>
                  </a:cxn>
                  <a:cxn ang="0">
                    <a:pos x="411" y="221"/>
                  </a:cxn>
                  <a:cxn ang="0">
                    <a:pos x="407" y="207"/>
                  </a:cxn>
                  <a:cxn ang="0">
                    <a:pos x="413" y="191"/>
                  </a:cxn>
                  <a:cxn ang="0">
                    <a:pos x="420" y="193"/>
                  </a:cxn>
                  <a:cxn ang="0">
                    <a:pos x="424" y="195"/>
                  </a:cxn>
                  <a:cxn ang="0">
                    <a:pos x="419" y="204"/>
                  </a:cxn>
                  <a:cxn ang="0">
                    <a:pos x="431" y="199"/>
                  </a:cxn>
                  <a:cxn ang="0">
                    <a:pos x="443" y="167"/>
                  </a:cxn>
                  <a:cxn ang="0">
                    <a:pos x="418" y="212"/>
                  </a:cxn>
                  <a:cxn ang="0">
                    <a:pos x="418" y="207"/>
                  </a:cxn>
                </a:cxnLst>
                <a:rect l="0" t="0" r="r" b="b"/>
                <a:pathLst>
                  <a:path w="448" h="319">
                    <a:moveTo>
                      <a:pt x="443" y="167"/>
                    </a:moveTo>
                    <a:cubicBezTo>
                      <a:pt x="443" y="167"/>
                      <a:pt x="439" y="158"/>
                      <a:pt x="428" y="156"/>
                    </a:cubicBezTo>
                    <a:cubicBezTo>
                      <a:pt x="419" y="155"/>
                      <a:pt x="407" y="170"/>
                      <a:pt x="407" y="170"/>
                    </a:cubicBezTo>
                    <a:cubicBezTo>
                      <a:pt x="402" y="170"/>
                      <a:pt x="402" y="170"/>
                      <a:pt x="402" y="170"/>
                    </a:cubicBezTo>
                    <a:cubicBezTo>
                      <a:pt x="402" y="177"/>
                      <a:pt x="402" y="177"/>
                      <a:pt x="402" y="177"/>
                    </a:cubicBezTo>
                    <a:cubicBezTo>
                      <a:pt x="402" y="177"/>
                      <a:pt x="399" y="178"/>
                      <a:pt x="387" y="175"/>
                    </a:cubicBezTo>
                    <a:cubicBezTo>
                      <a:pt x="376" y="173"/>
                      <a:pt x="377" y="167"/>
                      <a:pt x="377" y="167"/>
                    </a:cubicBezTo>
                    <a:cubicBezTo>
                      <a:pt x="365" y="162"/>
                      <a:pt x="365" y="162"/>
                      <a:pt x="365" y="162"/>
                    </a:cubicBezTo>
                    <a:cubicBezTo>
                      <a:pt x="368" y="156"/>
                      <a:pt x="368" y="156"/>
                      <a:pt x="368" y="156"/>
                    </a:cubicBezTo>
                    <a:cubicBezTo>
                      <a:pt x="361" y="136"/>
                      <a:pt x="361" y="136"/>
                      <a:pt x="361" y="136"/>
                    </a:cubicBezTo>
                    <a:cubicBezTo>
                      <a:pt x="357" y="119"/>
                      <a:pt x="357" y="119"/>
                      <a:pt x="357" y="119"/>
                    </a:cubicBezTo>
                    <a:cubicBezTo>
                      <a:pt x="361" y="116"/>
                      <a:pt x="361" y="116"/>
                      <a:pt x="361" y="116"/>
                    </a:cubicBezTo>
                    <a:cubicBezTo>
                      <a:pt x="361" y="116"/>
                      <a:pt x="361" y="102"/>
                      <a:pt x="360" y="94"/>
                    </a:cubicBezTo>
                    <a:cubicBezTo>
                      <a:pt x="358" y="85"/>
                      <a:pt x="350" y="83"/>
                      <a:pt x="350" y="83"/>
                    </a:cubicBezTo>
                    <a:cubicBezTo>
                      <a:pt x="350" y="83"/>
                      <a:pt x="349" y="76"/>
                      <a:pt x="346" y="71"/>
                    </a:cubicBezTo>
                    <a:cubicBezTo>
                      <a:pt x="345" y="67"/>
                      <a:pt x="332" y="65"/>
                      <a:pt x="332" y="65"/>
                    </a:cubicBezTo>
                    <a:cubicBezTo>
                      <a:pt x="332" y="65"/>
                      <a:pt x="316" y="46"/>
                      <a:pt x="310" y="40"/>
                    </a:cubicBezTo>
                    <a:cubicBezTo>
                      <a:pt x="304" y="36"/>
                      <a:pt x="299" y="33"/>
                      <a:pt x="291" y="18"/>
                    </a:cubicBezTo>
                    <a:cubicBezTo>
                      <a:pt x="285" y="4"/>
                      <a:pt x="270" y="2"/>
                      <a:pt x="270" y="2"/>
                    </a:cubicBezTo>
                    <a:cubicBezTo>
                      <a:pt x="252" y="0"/>
                      <a:pt x="247" y="24"/>
                      <a:pt x="247" y="24"/>
                    </a:cubicBezTo>
                    <a:cubicBezTo>
                      <a:pt x="247" y="24"/>
                      <a:pt x="230" y="33"/>
                      <a:pt x="215" y="37"/>
                    </a:cubicBezTo>
                    <a:cubicBezTo>
                      <a:pt x="199" y="41"/>
                      <a:pt x="211" y="48"/>
                      <a:pt x="202" y="51"/>
                    </a:cubicBezTo>
                    <a:cubicBezTo>
                      <a:pt x="192" y="53"/>
                      <a:pt x="182" y="40"/>
                      <a:pt x="178" y="39"/>
                    </a:cubicBezTo>
                    <a:cubicBezTo>
                      <a:pt x="173" y="37"/>
                      <a:pt x="164" y="44"/>
                      <a:pt x="164" y="44"/>
                    </a:cubicBezTo>
                    <a:cubicBezTo>
                      <a:pt x="164" y="44"/>
                      <a:pt x="141" y="45"/>
                      <a:pt x="129" y="46"/>
                    </a:cubicBezTo>
                    <a:cubicBezTo>
                      <a:pt x="116" y="47"/>
                      <a:pt x="122" y="37"/>
                      <a:pt x="115" y="37"/>
                    </a:cubicBezTo>
                    <a:cubicBezTo>
                      <a:pt x="110" y="37"/>
                      <a:pt x="111" y="48"/>
                      <a:pt x="111" y="48"/>
                    </a:cubicBezTo>
                    <a:cubicBezTo>
                      <a:pt x="107" y="47"/>
                      <a:pt x="107" y="47"/>
                      <a:pt x="107" y="47"/>
                    </a:cubicBezTo>
                    <a:cubicBezTo>
                      <a:pt x="105" y="52"/>
                      <a:pt x="105" y="52"/>
                      <a:pt x="105" y="52"/>
                    </a:cubicBezTo>
                    <a:cubicBezTo>
                      <a:pt x="93" y="67"/>
                      <a:pt x="93" y="67"/>
                      <a:pt x="93" y="67"/>
                    </a:cubicBezTo>
                    <a:cubicBezTo>
                      <a:pt x="84" y="67"/>
                      <a:pt x="84" y="67"/>
                      <a:pt x="84" y="67"/>
                    </a:cubicBezTo>
                    <a:cubicBezTo>
                      <a:pt x="81" y="70"/>
                      <a:pt x="81" y="70"/>
                      <a:pt x="81" y="70"/>
                    </a:cubicBezTo>
                    <a:cubicBezTo>
                      <a:pt x="70" y="87"/>
                      <a:pt x="70" y="87"/>
                      <a:pt x="70" y="87"/>
                    </a:cubicBezTo>
                    <a:cubicBezTo>
                      <a:pt x="71" y="94"/>
                      <a:pt x="71" y="94"/>
                      <a:pt x="71" y="94"/>
                    </a:cubicBezTo>
                    <a:cubicBezTo>
                      <a:pt x="67" y="97"/>
                      <a:pt x="67" y="97"/>
                      <a:pt x="67" y="97"/>
                    </a:cubicBezTo>
                    <a:cubicBezTo>
                      <a:pt x="65" y="108"/>
                      <a:pt x="65" y="108"/>
                      <a:pt x="65" y="108"/>
                    </a:cubicBezTo>
                    <a:cubicBezTo>
                      <a:pt x="58" y="119"/>
                      <a:pt x="58" y="119"/>
                      <a:pt x="58" y="119"/>
                    </a:cubicBezTo>
                    <a:cubicBezTo>
                      <a:pt x="59" y="125"/>
                      <a:pt x="59" y="125"/>
                      <a:pt x="59" y="125"/>
                    </a:cubicBezTo>
                    <a:cubicBezTo>
                      <a:pt x="53" y="135"/>
                      <a:pt x="53" y="135"/>
                      <a:pt x="53" y="135"/>
                    </a:cubicBezTo>
                    <a:cubicBezTo>
                      <a:pt x="55" y="140"/>
                      <a:pt x="55" y="140"/>
                      <a:pt x="55" y="140"/>
                    </a:cubicBezTo>
                    <a:cubicBezTo>
                      <a:pt x="49" y="148"/>
                      <a:pt x="49" y="148"/>
                      <a:pt x="49" y="148"/>
                    </a:cubicBezTo>
                    <a:cubicBezTo>
                      <a:pt x="45" y="148"/>
                      <a:pt x="45" y="148"/>
                      <a:pt x="45" y="148"/>
                    </a:cubicBezTo>
                    <a:cubicBezTo>
                      <a:pt x="47" y="161"/>
                      <a:pt x="47" y="161"/>
                      <a:pt x="47" y="161"/>
                    </a:cubicBezTo>
                    <a:cubicBezTo>
                      <a:pt x="43" y="164"/>
                      <a:pt x="43" y="164"/>
                      <a:pt x="43" y="164"/>
                    </a:cubicBezTo>
                    <a:cubicBezTo>
                      <a:pt x="43" y="164"/>
                      <a:pt x="45" y="170"/>
                      <a:pt x="42" y="173"/>
                    </a:cubicBezTo>
                    <a:cubicBezTo>
                      <a:pt x="39" y="177"/>
                      <a:pt x="33" y="173"/>
                      <a:pt x="27" y="174"/>
                    </a:cubicBezTo>
                    <a:cubicBezTo>
                      <a:pt x="22" y="175"/>
                      <a:pt x="24" y="182"/>
                      <a:pt x="21" y="183"/>
                    </a:cubicBezTo>
                    <a:cubicBezTo>
                      <a:pt x="17" y="184"/>
                      <a:pt x="12" y="181"/>
                      <a:pt x="12" y="181"/>
                    </a:cubicBezTo>
                    <a:cubicBezTo>
                      <a:pt x="10" y="184"/>
                      <a:pt x="10" y="184"/>
                      <a:pt x="10" y="184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7" y="195"/>
                      <a:pt x="7" y="195"/>
                      <a:pt x="7" y="195"/>
                    </a:cubicBezTo>
                    <a:cubicBezTo>
                      <a:pt x="12" y="194"/>
                      <a:pt x="12" y="194"/>
                      <a:pt x="12" y="194"/>
                    </a:cubicBezTo>
                    <a:cubicBezTo>
                      <a:pt x="15" y="197"/>
                      <a:pt x="15" y="197"/>
                      <a:pt x="15" y="197"/>
                    </a:cubicBezTo>
                    <a:cubicBezTo>
                      <a:pt x="17" y="197"/>
                      <a:pt x="17" y="197"/>
                      <a:pt x="17" y="197"/>
                    </a:cubicBezTo>
                    <a:cubicBezTo>
                      <a:pt x="17" y="197"/>
                      <a:pt x="18" y="208"/>
                      <a:pt x="22" y="208"/>
                    </a:cubicBezTo>
                    <a:cubicBezTo>
                      <a:pt x="25" y="208"/>
                      <a:pt x="31" y="205"/>
                      <a:pt x="31" y="205"/>
                    </a:cubicBezTo>
                    <a:cubicBezTo>
                      <a:pt x="28" y="216"/>
                      <a:pt x="28" y="216"/>
                      <a:pt x="28" y="216"/>
                    </a:cubicBezTo>
                    <a:cubicBezTo>
                      <a:pt x="33" y="219"/>
                      <a:pt x="33" y="219"/>
                      <a:pt x="33" y="219"/>
                    </a:cubicBezTo>
                    <a:cubicBezTo>
                      <a:pt x="30" y="224"/>
                      <a:pt x="30" y="224"/>
                      <a:pt x="30" y="224"/>
                    </a:cubicBezTo>
                    <a:cubicBezTo>
                      <a:pt x="45" y="235"/>
                      <a:pt x="45" y="235"/>
                      <a:pt x="45" y="235"/>
                    </a:cubicBezTo>
                    <a:cubicBezTo>
                      <a:pt x="50" y="233"/>
                      <a:pt x="50" y="233"/>
                      <a:pt x="50" y="233"/>
                    </a:cubicBezTo>
                    <a:cubicBezTo>
                      <a:pt x="55" y="237"/>
                      <a:pt x="55" y="237"/>
                      <a:pt x="55" y="237"/>
                    </a:cubicBezTo>
                    <a:cubicBezTo>
                      <a:pt x="55" y="237"/>
                      <a:pt x="67" y="231"/>
                      <a:pt x="68" y="239"/>
                    </a:cubicBezTo>
                    <a:cubicBezTo>
                      <a:pt x="68" y="247"/>
                      <a:pt x="63" y="254"/>
                      <a:pt x="63" y="254"/>
                    </a:cubicBezTo>
                    <a:cubicBezTo>
                      <a:pt x="72" y="256"/>
                      <a:pt x="72" y="256"/>
                      <a:pt x="72" y="256"/>
                    </a:cubicBezTo>
                    <a:cubicBezTo>
                      <a:pt x="71" y="260"/>
                      <a:pt x="71" y="260"/>
                      <a:pt x="71" y="260"/>
                    </a:cubicBezTo>
                    <a:cubicBezTo>
                      <a:pt x="63" y="263"/>
                      <a:pt x="63" y="263"/>
                      <a:pt x="63" y="263"/>
                    </a:cubicBezTo>
                    <a:cubicBezTo>
                      <a:pt x="63" y="263"/>
                      <a:pt x="72" y="265"/>
                      <a:pt x="75" y="266"/>
                    </a:cubicBezTo>
                    <a:cubicBezTo>
                      <a:pt x="77" y="267"/>
                      <a:pt x="79" y="272"/>
                      <a:pt x="83" y="273"/>
                    </a:cubicBezTo>
                    <a:cubicBezTo>
                      <a:pt x="88" y="275"/>
                      <a:pt x="92" y="268"/>
                      <a:pt x="95" y="271"/>
                    </a:cubicBezTo>
                    <a:cubicBezTo>
                      <a:pt x="99" y="273"/>
                      <a:pt x="99" y="282"/>
                      <a:pt x="103" y="281"/>
                    </a:cubicBezTo>
                    <a:cubicBezTo>
                      <a:pt x="107" y="281"/>
                      <a:pt x="108" y="263"/>
                      <a:pt x="115" y="263"/>
                    </a:cubicBezTo>
                    <a:cubicBezTo>
                      <a:pt x="124" y="265"/>
                      <a:pt x="130" y="270"/>
                      <a:pt x="130" y="270"/>
                    </a:cubicBezTo>
                    <a:cubicBezTo>
                      <a:pt x="129" y="274"/>
                      <a:pt x="129" y="274"/>
                      <a:pt x="129" y="274"/>
                    </a:cubicBezTo>
                    <a:cubicBezTo>
                      <a:pt x="125" y="272"/>
                      <a:pt x="125" y="272"/>
                      <a:pt x="125" y="272"/>
                    </a:cubicBezTo>
                    <a:cubicBezTo>
                      <a:pt x="123" y="278"/>
                      <a:pt x="123" y="278"/>
                      <a:pt x="123" y="278"/>
                    </a:cubicBezTo>
                    <a:cubicBezTo>
                      <a:pt x="120" y="278"/>
                      <a:pt x="120" y="278"/>
                      <a:pt x="120" y="278"/>
                    </a:cubicBezTo>
                    <a:cubicBezTo>
                      <a:pt x="123" y="290"/>
                      <a:pt x="123" y="290"/>
                      <a:pt x="123" y="290"/>
                    </a:cubicBezTo>
                    <a:cubicBezTo>
                      <a:pt x="123" y="290"/>
                      <a:pt x="129" y="286"/>
                      <a:pt x="130" y="290"/>
                    </a:cubicBezTo>
                    <a:cubicBezTo>
                      <a:pt x="131" y="291"/>
                      <a:pt x="130" y="293"/>
                      <a:pt x="129" y="294"/>
                    </a:cubicBezTo>
                    <a:cubicBezTo>
                      <a:pt x="133" y="296"/>
                      <a:pt x="139" y="299"/>
                      <a:pt x="141" y="299"/>
                    </a:cubicBezTo>
                    <a:cubicBezTo>
                      <a:pt x="145" y="300"/>
                      <a:pt x="148" y="298"/>
                      <a:pt x="148" y="302"/>
                    </a:cubicBezTo>
                    <a:cubicBezTo>
                      <a:pt x="149" y="307"/>
                      <a:pt x="142" y="306"/>
                      <a:pt x="141" y="312"/>
                    </a:cubicBezTo>
                    <a:cubicBezTo>
                      <a:pt x="141" y="317"/>
                      <a:pt x="145" y="318"/>
                      <a:pt x="151" y="318"/>
                    </a:cubicBezTo>
                    <a:cubicBezTo>
                      <a:pt x="156" y="319"/>
                      <a:pt x="166" y="310"/>
                      <a:pt x="170" y="310"/>
                    </a:cubicBezTo>
                    <a:cubicBezTo>
                      <a:pt x="173" y="310"/>
                      <a:pt x="179" y="314"/>
                      <a:pt x="179" y="314"/>
                    </a:cubicBezTo>
                    <a:cubicBezTo>
                      <a:pt x="187" y="314"/>
                      <a:pt x="187" y="314"/>
                      <a:pt x="187" y="314"/>
                    </a:cubicBezTo>
                    <a:cubicBezTo>
                      <a:pt x="187" y="314"/>
                      <a:pt x="196" y="319"/>
                      <a:pt x="206" y="318"/>
                    </a:cubicBezTo>
                    <a:cubicBezTo>
                      <a:pt x="217" y="317"/>
                      <a:pt x="218" y="312"/>
                      <a:pt x="221" y="309"/>
                    </a:cubicBezTo>
                    <a:cubicBezTo>
                      <a:pt x="225" y="308"/>
                      <a:pt x="226" y="310"/>
                      <a:pt x="229" y="310"/>
                    </a:cubicBezTo>
                    <a:cubicBezTo>
                      <a:pt x="234" y="312"/>
                      <a:pt x="243" y="307"/>
                      <a:pt x="243" y="307"/>
                    </a:cubicBezTo>
                    <a:cubicBezTo>
                      <a:pt x="250" y="310"/>
                      <a:pt x="250" y="310"/>
                      <a:pt x="250" y="310"/>
                    </a:cubicBezTo>
                    <a:cubicBezTo>
                      <a:pt x="256" y="307"/>
                      <a:pt x="256" y="307"/>
                      <a:pt x="256" y="307"/>
                    </a:cubicBezTo>
                    <a:cubicBezTo>
                      <a:pt x="256" y="307"/>
                      <a:pt x="258" y="312"/>
                      <a:pt x="271" y="309"/>
                    </a:cubicBezTo>
                    <a:cubicBezTo>
                      <a:pt x="283" y="306"/>
                      <a:pt x="286" y="298"/>
                      <a:pt x="290" y="292"/>
                    </a:cubicBezTo>
                    <a:cubicBezTo>
                      <a:pt x="294" y="286"/>
                      <a:pt x="302" y="276"/>
                      <a:pt x="308" y="275"/>
                    </a:cubicBezTo>
                    <a:cubicBezTo>
                      <a:pt x="313" y="274"/>
                      <a:pt x="328" y="265"/>
                      <a:pt x="337" y="262"/>
                    </a:cubicBezTo>
                    <a:cubicBezTo>
                      <a:pt x="345" y="259"/>
                      <a:pt x="351" y="267"/>
                      <a:pt x="355" y="268"/>
                    </a:cubicBezTo>
                    <a:cubicBezTo>
                      <a:pt x="359" y="269"/>
                      <a:pt x="365" y="262"/>
                      <a:pt x="367" y="262"/>
                    </a:cubicBezTo>
                    <a:cubicBezTo>
                      <a:pt x="369" y="262"/>
                      <a:pt x="369" y="267"/>
                      <a:pt x="372" y="268"/>
                    </a:cubicBezTo>
                    <a:cubicBezTo>
                      <a:pt x="375" y="269"/>
                      <a:pt x="381" y="262"/>
                      <a:pt x="381" y="262"/>
                    </a:cubicBezTo>
                    <a:cubicBezTo>
                      <a:pt x="385" y="272"/>
                      <a:pt x="385" y="272"/>
                      <a:pt x="385" y="272"/>
                    </a:cubicBezTo>
                    <a:cubicBezTo>
                      <a:pt x="385" y="272"/>
                      <a:pt x="393" y="274"/>
                      <a:pt x="397" y="274"/>
                    </a:cubicBezTo>
                    <a:cubicBezTo>
                      <a:pt x="401" y="275"/>
                      <a:pt x="413" y="273"/>
                      <a:pt x="413" y="273"/>
                    </a:cubicBezTo>
                    <a:cubicBezTo>
                      <a:pt x="413" y="273"/>
                      <a:pt x="415" y="265"/>
                      <a:pt x="414" y="257"/>
                    </a:cubicBezTo>
                    <a:cubicBezTo>
                      <a:pt x="414" y="249"/>
                      <a:pt x="408" y="239"/>
                      <a:pt x="408" y="239"/>
                    </a:cubicBezTo>
                    <a:cubicBezTo>
                      <a:pt x="419" y="214"/>
                      <a:pt x="419" y="214"/>
                      <a:pt x="419" y="214"/>
                    </a:cubicBezTo>
                    <a:cubicBezTo>
                      <a:pt x="411" y="221"/>
                      <a:pt x="411" y="221"/>
                      <a:pt x="411" y="221"/>
                    </a:cubicBezTo>
                    <a:cubicBezTo>
                      <a:pt x="411" y="209"/>
                      <a:pt x="411" y="209"/>
                      <a:pt x="411" y="209"/>
                    </a:cubicBezTo>
                    <a:cubicBezTo>
                      <a:pt x="407" y="207"/>
                      <a:pt x="407" y="207"/>
                      <a:pt x="407" y="207"/>
                    </a:cubicBezTo>
                    <a:cubicBezTo>
                      <a:pt x="415" y="203"/>
                      <a:pt x="415" y="203"/>
                      <a:pt x="415" y="203"/>
                    </a:cubicBezTo>
                    <a:cubicBezTo>
                      <a:pt x="415" y="203"/>
                      <a:pt x="411" y="197"/>
                      <a:pt x="413" y="191"/>
                    </a:cubicBezTo>
                    <a:cubicBezTo>
                      <a:pt x="414" y="184"/>
                      <a:pt x="421" y="189"/>
                      <a:pt x="421" y="189"/>
                    </a:cubicBezTo>
                    <a:cubicBezTo>
                      <a:pt x="420" y="193"/>
                      <a:pt x="420" y="193"/>
                      <a:pt x="420" y="193"/>
                    </a:cubicBezTo>
                    <a:cubicBezTo>
                      <a:pt x="422" y="198"/>
                      <a:pt x="422" y="198"/>
                      <a:pt x="422" y="198"/>
                    </a:cubicBezTo>
                    <a:cubicBezTo>
                      <a:pt x="424" y="195"/>
                      <a:pt x="424" y="195"/>
                      <a:pt x="424" y="195"/>
                    </a:cubicBezTo>
                    <a:cubicBezTo>
                      <a:pt x="426" y="198"/>
                      <a:pt x="426" y="198"/>
                      <a:pt x="426" y="198"/>
                    </a:cubicBezTo>
                    <a:cubicBezTo>
                      <a:pt x="419" y="204"/>
                      <a:pt x="419" y="204"/>
                      <a:pt x="419" y="204"/>
                    </a:cubicBezTo>
                    <a:cubicBezTo>
                      <a:pt x="423" y="207"/>
                      <a:pt x="423" y="207"/>
                      <a:pt x="423" y="207"/>
                    </a:cubicBezTo>
                    <a:cubicBezTo>
                      <a:pt x="423" y="207"/>
                      <a:pt x="428" y="202"/>
                      <a:pt x="431" y="199"/>
                    </a:cubicBezTo>
                    <a:cubicBezTo>
                      <a:pt x="434" y="198"/>
                      <a:pt x="439" y="198"/>
                      <a:pt x="443" y="192"/>
                    </a:cubicBezTo>
                    <a:cubicBezTo>
                      <a:pt x="448" y="187"/>
                      <a:pt x="443" y="167"/>
                      <a:pt x="443" y="167"/>
                    </a:cubicBezTo>
                    <a:close/>
                    <a:moveTo>
                      <a:pt x="415" y="211"/>
                    </a:moveTo>
                    <a:cubicBezTo>
                      <a:pt x="418" y="212"/>
                      <a:pt x="418" y="212"/>
                      <a:pt x="418" y="212"/>
                    </a:cubicBezTo>
                    <a:cubicBezTo>
                      <a:pt x="420" y="209"/>
                      <a:pt x="420" y="209"/>
                      <a:pt x="420" y="209"/>
                    </a:cubicBezTo>
                    <a:cubicBezTo>
                      <a:pt x="418" y="207"/>
                      <a:pt x="418" y="207"/>
                      <a:pt x="418" y="207"/>
                    </a:cubicBezTo>
                    <a:lnTo>
                      <a:pt x="415" y="211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35" name="Portugal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2684463" y="4979988"/>
                <a:ext cx="431800" cy="715962"/>
              </a:xfrm>
              <a:custGeom>
                <a:avLst/>
                <a:gdLst/>
                <a:ahLst/>
                <a:cxnLst>
                  <a:cxn ang="0">
                    <a:pos x="89" y="295"/>
                  </a:cxn>
                  <a:cxn ang="0">
                    <a:pos x="102" y="279"/>
                  </a:cxn>
                  <a:cxn ang="0">
                    <a:pos x="120" y="271"/>
                  </a:cxn>
                  <a:cxn ang="0">
                    <a:pos x="113" y="267"/>
                  </a:cxn>
                  <a:cxn ang="0">
                    <a:pos x="113" y="231"/>
                  </a:cxn>
                  <a:cxn ang="0">
                    <a:pos x="133" y="213"/>
                  </a:cxn>
                  <a:cxn ang="0">
                    <a:pos x="118" y="190"/>
                  </a:cxn>
                  <a:cxn ang="0">
                    <a:pos x="117" y="183"/>
                  </a:cxn>
                  <a:cxn ang="0">
                    <a:pos x="138" y="173"/>
                  </a:cxn>
                  <a:cxn ang="0">
                    <a:pos x="145" y="165"/>
                  </a:cxn>
                  <a:cxn ang="0">
                    <a:pos x="146" y="142"/>
                  </a:cxn>
                  <a:cxn ang="0">
                    <a:pos x="159" y="133"/>
                  </a:cxn>
                  <a:cxn ang="0">
                    <a:pos x="165" y="100"/>
                  </a:cxn>
                  <a:cxn ang="0">
                    <a:pos x="169" y="88"/>
                  </a:cxn>
                  <a:cxn ang="0">
                    <a:pos x="183" y="78"/>
                  </a:cxn>
                  <a:cxn ang="0">
                    <a:pos x="203" y="57"/>
                  </a:cxn>
                  <a:cxn ang="0">
                    <a:pos x="190" y="44"/>
                  </a:cxn>
                  <a:cxn ang="0">
                    <a:pos x="183" y="30"/>
                  </a:cxn>
                  <a:cxn ang="0">
                    <a:pos x="179" y="31"/>
                  </a:cxn>
                  <a:cxn ang="0">
                    <a:pos x="164" y="24"/>
                  </a:cxn>
                  <a:cxn ang="0">
                    <a:pos x="147" y="27"/>
                  </a:cxn>
                  <a:cxn ang="0">
                    <a:pos x="135" y="23"/>
                  </a:cxn>
                  <a:cxn ang="0">
                    <a:pos x="125" y="21"/>
                  </a:cxn>
                  <a:cxn ang="0">
                    <a:pos x="120" y="10"/>
                  </a:cxn>
                  <a:cxn ang="0">
                    <a:pos x="116" y="6"/>
                  </a:cxn>
                  <a:cxn ang="0">
                    <a:pos x="109" y="4"/>
                  </a:cxn>
                  <a:cxn ang="0">
                    <a:pos x="90" y="6"/>
                  </a:cxn>
                  <a:cxn ang="0">
                    <a:pos x="78" y="14"/>
                  </a:cxn>
                  <a:cxn ang="0">
                    <a:pos x="82" y="21"/>
                  </a:cxn>
                  <a:cxn ang="0">
                    <a:pos x="79" y="30"/>
                  </a:cxn>
                  <a:cxn ang="0">
                    <a:pos x="79" y="67"/>
                  </a:cxn>
                  <a:cxn ang="0">
                    <a:pos x="70" y="89"/>
                  </a:cxn>
                  <a:cxn ang="0">
                    <a:pos x="77" y="81"/>
                  </a:cxn>
                  <a:cxn ang="0">
                    <a:pos x="77" y="90"/>
                  </a:cxn>
                  <a:cxn ang="0">
                    <a:pos x="53" y="115"/>
                  </a:cxn>
                  <a:cxn ang="0">
                    <a:pos x="39" y="147"/>
                  </a:cxn>
                  <a:cxn ang="0">
                    <a:pos x="35" y="155"/>
                  </a:cxn>
                  <a:cxn ang="0">
                    <a:pos x="28" y="164"/>
                  </a:cxn>
                  <a:cxn ang="0">
                    <a:pos x="17" y="165"/>
                  </a:cxn>
                  <a:cxn ang="0">
                    <a:pos x="10" y="181"/>
                  </a:cxn>
                  <a:cxn ang="0">
                    <a:pos x="2" y="197"/>
                  </a:cxn>
                  <a:cxn ang="0">
                    <a:pos x="17" y="209"/>
                  </a:cxn>
                  <a:cxn ang="0">
                    <a:pos x="30" y="207"/>
                  </a:cxn>
                  <a:cxn ang="0">
                    <a:pos x="20" y="216"/>
                  </a:cxn>
                  <a:cxn ang="0">
                    <a:pos x="12" y="213"/>
                  </a:cxn>
                  <a:cxn ang="0">
                    <a:pos x="11" y="226"/>
                  </a:cxn>
                  <a:cxn ang="0">
                    <a:pos x="29" y="225"/>
                  </a:cxn>
                  <a:cxn ang="0">
                    <a:pos x="36" y="224"/>
                  </a:cxn>
                  <a:cxn ang="0">
                    <a:pos x="40" y="233"/>
                  </a:cxn>
                  <a:cxn ang="0">
                    <a:pos x="30" y="228"/>
                  </a:cxn>
                  <a:cxn ang="0">
                    <a:pos x="19" y="260"/>
                  </a:cxn>
                  <a:cxn ang="0">
                    <a:pos x="21" y="275"/>
                  </a:cxn>
                  <a:cxn ang="0">
                    <a:pos x="16" y="297"/>
                  </a:cxn>
                  <a:cxn ang="0">
                    <a:pos x="10" y="308"/>
                  </a:cxn>
                  <a:cxn ang="0">
                    <a:pos x="0" y="322"/>
                  </a:cxn>
                  <a:cxn ang="0">
                    <a:pos x="51" y="334"/>
                  </a:cxn>
                  <a:cxn ang="0">
                    <a:pos x="73" y="328"/>
                  </a:cxn>
                  <a:cxn ang="0">
                    <a:pos x="85" y="311"/>
                  </a:cxn>
                </a:cxnLst>
                <a:rect l="0" t="0" r="r" b="b"/>
                <a:pathLst>
                  <a:path w="203" h="336">
                    <a:moveTo>
                      <a:pt x="83" y="304"/>
                    </a:moveTo>
                    <a:cubicBezTo>
                      <a:pt x="83" y="304"/>
                      <a:pt x="85" y="300"/>
                      <a:pt x="89" y="295"/>
                    </a:cubicBezTo>
                    <a:cubicBezTo>
                      <a:pt x="93" y="289"/>
                      <a:pt x="100" y="287"/>
                      <a:pt x="100" y="287"/>
                    </a:cubicBezTo>
                    <a:cubicBezTo>
                      <a:pt x="102" y="279"/>
                      <a:pt x="102" y="279"/>
                      <a:pt x="102" y="279"/>
                    </a:cubicBezTo>
                    <a:cubicBezTo>
                      <a:pt x="117" y="278"/>
                      <a:pt x="117" y="278"/>
                      <a:pt x="117" y="278"/>
                    </a:cubicBezTo>
                    <a:cubicBezTo>
                      <a:pt x="120" y="271"/>
                      <a:pt x="120" y="271"/>
                      <a:pt x="120" y="271"/>
                    </a:cubicBezTo>
                    <a:cubicBezTo>
                      <a:pt x="122" y="267"/>
                      <a:pt x="122" y="267"/>
                      <a:pt x="122" y="267"/>
                    </a:cubicBezTo>
                    <a:cubicBezTo>
                      <a:pt x="113" y="267"/>
                      <a:pt x="113" y="267"/>
                      <a:pt x="113" y="267"/>
                    </a:cubicBezTo>
                    <a:cubicBezTo>
                      <a:pt x="104" y="248"/>
                      <a:pt x="104" y="248"/>
                      <a:pt x="104" y="248"/>
                    </a:cubicBezTo>
                    <a:cubicBezTo>
                      <a:pt x="113" y="231"/>
                      <a:pt x="113" y="231"/>
                      <a:pt x="113" y="231"/>
                    </a:cubicBezTo>
                    <a:cubicBezTo>
                      <a:pt x="123" y="228"/>
                      <a:pt x="123" y="228"/>
                      <a:pt x="123" y="228"/>
                    </a:cubicBezTo>
                    <a:cubicBezTo>
                      <a:pt x="123" y="228"/>
                      <a:pt x="131" y="219"/>
                      <a:pt x="133" y="213"/>
                    </a:cubicBezTo>
                    <a:cubicBezTo>
                      <a:pt x="135" y="207"/>
                      <a:pt x="125" y="209"/>
                      <a:pt x="125" y="209"/>
                    </a:cubicBezTo>
                    <a:cubicBezTo>
                      <a:pt x="118" y="190"/>
                      <a:pt x="118" y="190"/>
                      <a:pt x="118" y="190"/>
                    </a:cubicBezTo>
                    <a:cubicBezTo>
                      <a:pt x="118" y="190"/>
                      <a:pt x="121" y="186"/>
                      <a:pt x="121" y="183"/>
                    </a:cubicBezTo>
                    <a:cubicBezTo>
                      <a:pt x="121" y="181"/>
                      <a:pt x="117" y="183"/>
                      <a:pt x="117" y="183"/>
                    </a:cubicBezTo>
                    <a:cubicBezTo>
                      <a:pt x="111" y="168"/>
                      <a:pt x="111" y="168"/>
                      <a:pt x="111" y="168"/>
                    </a:cubicBezTo>
                    <a:cubicBezTo>
                      <a:pt x="138" y="173"/>
                      <a:pt x="138" y="173"/>
                      <a:pt x="138" y="173"/>
                    </a:cubicBezTo>
                    <a:cubicBezTo>
                      <a:pt x="142" y="165"/>
                      <a:pt x="142" y="165"/>
                      <a:pt x="142" y="165"/>
                    </a:cubicBezTo>
                    <a:cubicBezTo>
                      <a:pt x="145" y="165"/>
                      <a:pt x="145" y="165"/>
                      <a:pt x="145" y="165"/>
                    </a:cubicBezTo>
                    <a:cubicBezTo>
                      <a:pt x="150" y="154"/>
                      <a:pt x="150" y="154"/>
                      <a:pt x="150" y="154"/>
                    </a:cubicBezTo>
                    <a:cubicBezTo>
                      <a:pt x="150" y="154"/>
                      <a:pt x="146" y="147"/>
                      <a:pt x="146" y="142"/>
                    </a:cubicBezTo>
                    <a:cubicBezTo>
                      <a:pt x="146" y="137"/>
                      <a:pt x="153" y="138"/>
                      <a:pt x="153" y="138"/>
                    </a:cubicBezTo>
                    <a:cubicBezTo>
                      <a:pt x="159" y="133"/>
                      <a:pt x="159" y="133"/>
                      <a:pt x="159" y="133"/>
                    </a:cubicBezTo>
                    <a:cubicBezTo>
                      <a:pt x="157" y="125"/>
                      <a:pt x="157" y="125"/>
                      <a:pt x="157" y="125"/>
                    </a:cubicBezTo>
                    <a:cubicBezTo>
                      <a:pt x="165" y="100"/>
                      <a:pt x="165" y="100"/>
                      <a:pt x="165" y="100"/>
                    </a:cubicBezTo>
                    <a:cubicBezTo>
                      <a:pt x="162" y="88"/>
                      <a:pt x="162" y="88"/>
                      <a:pt x="162" y="88"/>
                    </a:cubicBezTo>
                    <a:cubicBezTo>
                      <a:pt x="169" y="88"/>
                      <a:pt x="169" y="88"/>
                      <a:pt x="169" y="88"/>
                    </a:cubicBezTo>
                    <a:cubicBezTo>
                      <a:pt x="177" y="78"/>
                      <a:pt x="177" y="78"/>
                      <a:pt x="177" y="78"/>
                    </a:cubicBezTo>
                    <a:cubicBezTo>
                      <a:pt x="183" y="78"/>
                      <a:pt x="183" y="78"/>
                      <a:pt x="183" y="78"/>
                    </a:cubicBezTo>
                    <a:cubicBezTo>
                      <a:pt x="185" y="78"/>
                      <a:pt x="195" y="71"/>
                      <a:pt x="195" y="71"/>
                    </a:cubicBezTo>
                    <a:cubicBezTo>
                      <a:pt x="195" y="71"/>
                      <a:pt x="202" y="62"/>
                      <a:pt x="203" y="57"/>
                    </a:cubicBezTo>
                    <a:cubicBezTo>
                      <a:pt x="203" y="53"/>
                      <a:pt x="195" y="53"/>
                      <a:pt x="191" y="53"/>
                    </a:cubicBezTo>
                    <a:cubicBezTo>
                      <a:pt x="187" y="53"/>
                      <a:pt x="190" y="44"/>
                      <a:pt x="190" y="44"/>
                    </a:cubicBezTo>
                    <a:cubicBezTo>
                      <a:pt x="192" y="32"/>
                      <a:pt x="192" y="32"/>
                      <a:pt x="192" y="32"/>
                    </a:cubicBezTo>
                    <a:cubicBezTo>
                      <a:pt x="183" y="30"/>
                      <a:pt x="183" y="30"/>
                      <a:pt x="183" y="30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79" y="31"/>
                      <a:pt x="179" y="31"/>
                      <a:pt x="179" y="31"/>
                    </a:cubicBezTo>
                    <a:cubicBezTo>
                      <a:pt x="169" y="28"/>
                      <a:pt x="169" y="28"/>
                      <a:pt x="169" y="28"/>
                    </a:cubicBezTo>
                    <a:cubicBezTo>
                      <a:pt x="169" y="28"/>
                      <a:pt x="168" y="24"/>
                      <a:pt x="164" y="24"/>
                    </a:cubicBezTo>
                    <a:cubicBezTo>
                      <a:pt x="161" y="24"/>
                      <a:pt x="163" y="30"/>
                      <a:pt x="157" y="31"/>
                    </a:cubicBezTo>
                    <a:cubicBezTo>
                      <a:pt x="151" y="34"/>
                      <a:pt x="147" y="27"/>
                      <a:pt x="147" y="27"/>
                    </a:cubicBezTo>
                    <a:cubicBezTo>
                      <a:pt x="142" y="29"/>
                      <a:pt x="142" y="29"/>
                      <a:pt x="142" y="29"/>
                    </a:cubicBezTo>
                    <a:cubicBezTo>
                      <a:pt x="135" y="23"/>
                      <a:pt x="135" y="23"/>
                      <a:pt x="135" y="23"/>
                    </a:cubicBezTo>
                    <a:cubicBezTo>
                      <a:pt x="128" y="25"/>
                      <a:pt x="128" y="25"/>
                      <a:pt x="128" y="25"/>
                    </a:cubicBezTo>
                    <a:cubicBezTo>
                      <a:pt x="125" y="21"/>
                      <a:pt x="125" y="21"/>
                      <a:pt x="125" y="21"/>
                    </a:cubicBezTo>
                    <a:cubicBezTo>
                      <a:pt x="125" y="21"/>
                      <a:pt x="121" y="30"/>
                      <a:pt x="113" y="23"/>
                    </a:cubicBezTo>
                    <a:cubicBezTo>
                      <a:pt x="105" y="16"/>
                      <a:pt x="120" y="10"/>
                      <a:pt x="120" y="10"/>
                    </a:cubicBezTo>
                    <a:cubicBezTo>
                      <a:pt x="120" y="7"/>
                      <a:pt x="120" y="7"/>
                      <a:pt x="120" y="7"/>
                    </a:cubicBezTo>
                    <a:cubicBezTo>
                      <a:pt x="116" y="6"/>
                      <a:pt x="116" y="6"/>
                      <a:pt x="116" y="6"/>
                    </a:cubicBezTo>
                    <a:cubicBezTo>
                      <a:pt x="118" y="0"/>
                      <a:pt x="118" y="0"/>
                      <a:pt x="118" y="0"/>
                    </a:cubicBezTo>
                    <a:cubicBezTo>
                      <a:pt x="109" y="4"/>
                      <a:pt x="109" y="4"/>
                      <a:pt x="109" y="4"/>
                    </a:cubicBezTo>
                    <a:cubicBezTo>
                      <a:pt x="95" y="1"/>
                      <a:pt x="95" y="1"/>
                      <a:pt x="95" y="1"/>
                    </a:cubicBezTo>
                    <a:cubicBezTo>
                      <a:pt x="90" y="6"/>
                      <a:pt x="90" y="6"/>
                      <a:pt x="90" y="6"/>
                    </a:cubicBezTo>
                    <a:cubicBezTo>
                      <a:pt x="83" y="10"/>
                      <a:pt x="83" y="10"/>
                      <a:pt x="83" y="10"/>
                    </a:cubicBezTo>
                    <a:cubicBezTo>
                      <a:pt x="78" y="14"/>
                      <a:pt x="78" y="14"/>
                      <a:pt x="78" y="14"/>
                    </a:cubicBezTo>
                    <a:cubicBezTo>
                      <a:pt x="77" y="21"/>
                      <a:pt x="77" y="21"/>
                      <a:pt x="77" y="21"/>
                    </a:cubicBezTo>
                    <a:cubicBezTo>
                      <a:pt x="82" y="21"/>
                      <a:pt x="82" y="21"/>
                      <a:pt x="82" y="21"/>
                    </a:cubicBezTo>
                    <a:cubicBezTo>
                      <a:pt x="79" y="24"/>
                      <a:pt x="79" y="24"/>
                      <a:pt x="79" y="24"/>
                    </a:cubicBezTo>
                    <a:cubicBezTo>
                      <a:pt x="79" y="30"/>
                      <a:pt x="79" y="30"/>
                      <a:pt x="79" y="30"/>
                    </a:cubicBezTo>
                    <a:cubicBezTo>
                      <a:pt x="78" y="39"/>
                      <a:pt x="78" y="39"/>
                      <a:pt x="78" y="39"/>
                    </a:cubicBezTo>
                    <a:cubicBezTo>
                      <a:pt x="79" y="67"/>
                      <a:pt x="79" y="67"/>
                      <a:pt x="79" y="67"/>
                    </a:cubicBezTo>
                    <a:cubicBezTo>
                      <a:pt x="69" y="86"/>
                      <a:pt x="69" y="86"/>
                      <a:pt x="69" y="86"/>
                    </a:cubicBezTo>
                    <a:cubicBezTo>
                      <a:pt x="70" y="89"/>
                      <a:pt x="70" y="89"/>
                      <a:pt x="70" y="89"/>
                    </a:cubicBezTo>
                    <a:cubicBezTo>
                      <a:pt x="75" y="81"/>
                      <a:pt x="75" y="81"/>
                      <a:pt x="75" y="81"/>
                    </a:cubicBezTo>
                    <a:cubicBezTo>
                      <a:pt x="77" y="81"/>
                      <a:pt x="77" y="81"/>
                      <a:pt x="77" y="81"/>
                    </a:cubicBezTo>
                    <a:cubicBezTo>
                      <a:pt x="75" y="86"/>
                      <a:pt x="75" y="86"/>
                      <a:pt x="75" y="86"/>
                    </a:cubicBezTo>
                    <a:cubicBezTo>
                      <a:pt x="77" y="90"/>
                      <a:pt x="77" y="90"/>
                      <a:pt x="77" y="90"/>
                    </a:cubicBezTo>
                    <a:cubicBezTo>
                      <a:pt x="68" y="91"/>
                      <a:pt x="68" y="91"/>
                      <a:pt x="68" y="91"/>
                    </a:cubicBezTo>
                    <a:cubicBezTo>
                      <a:pt x="53" y="115"/>
                      <a:pt x="53" y="115"/>
                      <a:pt x="53" y="115"/>
                    </a:cubicBezTo>
                    <a:cubicBezTo>
                      <a:pt x="54" y="119"/>
                      <a:pt x="54" y="119"/>
                      <a:pt x="54" y="119"/>
                    </a:cubicBezTo>
                    <a:cubicBezTo>
                      <a:pt x="39" y="147"/>
                      <a:pt x="39" y="147"/>
                      <a:pt x="39" y="147"/>
                    </a:cubicBezTo>
                    <a:cubicBezTo>
                      <a:pt x="34" y="152"/>
                      <a:pt x="34" y="152"/>
                      <a:pt x="34" y="152"/>
                    </a:cubicBezTo>
                    <a:cubicBezTo>
                      <a:pt x="35" y="155"/>
                      <a:pt x="35" y="155"/>
                      <a:pt x="35" y="155"/>
                    </a:cubicBezTo>
                    <a:cubicBezTo>
                      <a:pt x="28" y="160"/>
                      <a:pt x="28" y="160"/>
                      <a:pt x="28" y="160"/>
                    </a:cubicBezTo>
                    <a:cubicBezTo>
                      <a:pt x="28" y="164"/>
                      <a:pt x="28" y="164"/>
                      <a:pt x="28" y="164"/>
                    </a:cubicBezTo>
                    <a:cubicBezTo>
                      <a:pt x="26" y="163"/>
                      <a:pt x="26" y="163"/>
                      <a:pt x="26" y="163"/>
                    </a:cubicBezTo>
                    <a:cubicBezTo>
                      <a:pt x="17" y="165"/>
                      <a:pt x="17" y="165"/>
                      <a:pt x="17" y="165"/>
                    </a:cubicBezTo>
                    <a:cubicBezTo>
                      <a:pt x="17" y="172"/>
                      <a:pt x="17" y="172"/>
                      <a:pt x="17" y="172"/>
                    </a:cubicBezTo>
                    <a:cubicBezTo>
                      <a:pt x="10" y="181"/>
                      <a:pt x="10" y="181"/>
                      <a:pt x="10" y="181"/>
                    </a:cubicBezTo>
                    <a:cubicBezTo>
                      <a:pt x="10" y="189"/>
                      <a:pt x="10" y="189"/>
                      <a:pt x="10" y="189"/>
                    </a:cubicBezTo>
                    <a:cubicBezTo>
                      <a:pt x="2" y="197"/>
                      <a:pt x="2" y="197"/>
                      <a:pt x="2" y="197"/>
                    </a:cubicBezTo>
                    <a:cubicBezTo>
                      <a:pt x="2" y="204"/>
                      <a:pt x="2" y="204"/>
                      <a:pt x="2" y="204"/>
                    </a:cubicBezTo>
                    <a:cubicBezTo>
                      <a:pt x="17" y="209"/>
                      <a:pt x="17" y="209"/>
                      <a:pt x="17" y="209"/>
                    </a:cubicBezTo>
                    <a:cubicBezTo>
                      <a:pt x="29" y="197"/>
                      <a:pt x="29" y="197"/>
                      <a:pt x="29" y="197"/>
                    </a:cubicBezTo>
                    <a:cubicBezTo>
                      <a:pt x="30" y="207"/>
                      <a:pt x="30" y="207"/>
                      <a:pt x="30" y="207"/>
                    </a:cubicBezTo>
                    <a:cubicBezTo>
                      <a:pt x="23" y="211"/>
                      <a:pt x="23" y="211"/>
                      <a:pt x="23" y="211"/>
                    </a:cubicBezTo>
                    <a:cubicBezTo>
                      <a:pt x="20" y="216"/>
                      <a:pt x="20" y="216"/>
                      <a:pt x="20" y="216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2" y="213"/>
                      <a:pt x="12" y="213"/>
                      <a:pt x="12" y="213"/>
                    </a:cubicBezTo>
                    <a:cubicBezTo>
                      <a:pt x="12" y="218"/>
                      <a:pt x="12" y="218"/>
                      <a:pt x="12" y="218"/>
                    </a:cubicBezTo>
                    <a:cubicBezTo>
                      <a:pt x="11" y="220"/>
                      <a:pt x="11" y="226"/>
                      <a:pt x="11" y="226"/>
                    </a:cubicBezTo>
                    <a:cubicBezTo>
                      <a:pt x="11" y="226"/>
                      <a:pt x="18" y="229"/>
                      <a:pt x="20" y="228"/>
                    </a:cubicBezTo>
                    <a:cubicBezTo>
                      <a:pt x="22" y="227"/>
                      <a:pt x="29" y="225"/>
                      <a:pt x="29" y="225"/>
                    </a:cubicBezTo>
                    <a:cubicBezTo>
                      <a:pt x="33" y="227"/>
                      <a:pt x="33" y="227"/>
                      <a:pt x="33" y="227"/>
                    </a:cubicBezTo>
                    <a:cubicBezTo>
                      <a:pt x="36" y="224"/>
                      <a:pt x="36" y="224"/>
                      <a:pt x="36" y="224"/>
                    </a:cubicBezTo>
                    <a:cubicBezTo>
                      <a:pt x="35" y="229"/>
                      <a:pt x="35" y="229"/>
                      <a:pt x="35" y="229"/>
                    </a:cubicBezTo>
                    <a:cubicBezTo>
                      <a:pt x="40" y="233"/>
                      <a:pt x="40" y="233"/>
                      <a:pt x="40" y="233"/>
                    </a:cubicBezTo>
                    <a:cubicBezTo>
                      <a:pt x="36" y="233"/>
                      <a:pt x="36" y="233"/>
                      <a:pt x="36" y="233"/>
                    </a:cubicBezTo>
                    <a:cubicBezTo>
                      <a:pt x="30" y="228"/>
                      <a:pt x="30" y="228"/>
                      <a:pt x="30" y="228"/>
                    </a:cubicBezTo>
                    <a:cubicBezTo>
                      <a:pt x="30" y="228"/>
                      <a:pt x="32" y="239"/>
                      <a:pt x="30" y="244"/>
                    </a:cubicBezTo>
                    <a:cubicBezTo>
                      <a:pt x="27" y="250"/>
                      <a:pt x="19" y="260"/>
                      <a:pt x="19" y="260"/>
                    </a:cubicBezTo>
                    <a:cubicBezTo>
                      <a:pt x="23" y="264"/>
                      <a:pt x="23" y="264"/>
                      <a:pt x="23" y="264"/>
                    </a:cubicBezTo>
                    <a:cubicBezTo>
                      <a:pt x="21" y="275"/>
                      <a:pt x="21" y="275"/>
                      <a:pt x="21" y="275"/>
                    </a:cubicBezTo>
                    <a:cubicBezTo>
                      <a:pt x="21" y="275"/>
                      <a:pt x="17" y="282"/>
                      <a:pt x="17" y="286"/>
                    </a:cubicBezTo>
                    <a:cubicBezTo>
                      <a:pt x="17" y="289"/>
                      <a:pt x="18" y="295"/>
                      <a:pt x="16" y="297"/>
                    </a:cubicBezTo>
                    <a:cubicBezTo>
                      <a:pt x="13" y="300"/>
                      <a:pt x="10" y="304"/>
                      <a:pt x="10" y="304"/>
                    </a:cubicBezTo>
                    <a:cubicBezTo>
                      <a:pt x="10" y="308"/>
                      <a:pt x="10" y="308"/>
                      <a:pt x="10" y="308"/>
                    </a:cubicBezTo>
                    <a:cubicBezTo>
                      <a:pt x="0" y="318"/>
                      <a:pt x="0" y="318"/>
                      <a:pt x="0" y="318"/>
                    </a:cubicBezTo>
                    <a:cubicBezTo>
                      <a:pt x="0" y="322"/>
                      <a:pt x="0" y="322"/>
                      <a:pt x="0" y="322"/>
                    </a:cubicBezTo>
                    <a:cubicBezTo>
                      <a:pt x="0" y="322"/>
                      <a:pt x="12" y="319"/>
                      <a:pt x="19" y="318"/>
                    </a:cubicBezTo>
                    <a:cubicBezTo>
                      <a:pt x="27" y="318"/>
                      <a:pt x="51" y="334"/>
                      <a:pt x="51" y="334"/>
                    </a:cubicBezTo>
                    <a:cubicBezTo>
                      <a:pt x="51" y="334"/>
                      <a:pt x="57" y="336"/>
                      <a:pt x="63" y="334"/>
                    </a:cubicBezTo>
                    <a:cubicBezTo>
                      <a:pt x="68" y="332"/>
                      <a:pt x="73" y="328"/>
                      <a:pt x="73" y="328"/>
                    </a:cubicBezTo>
                    <a:cubicBezTo>
                      <a:pt x="85" y="328"/>
                      <a:pt x="85" y="328"/>
                      <a:pt x="85" y="328"/>
                    </a:cubicBezTo>
                    <a:cubicBezTo>
                      <a:pt x="85" y="311"/>
                      <a:pt x="85" y="311"/>
                      <a:pt x="85" y="311"/>
                    </a:cubicBezTo>
                    <a:lnTo>
                      <a:pt x="83" y="304"/>
                    </a:ln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36" name="Poland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195888" y="3438525"/>
                <a:ext cx="917575" cy="757237"/>
              </a:xfrm>
              <a:custGeom>
                <a:avLst/>
                <a:gdLst/>
                <a:ahLst/>
                <a:cxnLst>
                  <a:cxn ang="0">
                    <a:pos x="430" y="225"/>
                  </a:cxn>
                  <a:cxn ang="0">
                    <a:pos x="402" y="196"/>
                  </a:cxn>
                  <a:cxn ang="0">
                    <a:pos x="398" y="168"/>
                  </a:cxn>
                  <a:cxn ang="0">
                    <a:pos x="390" y="146"/>
                  </a:cxn>
                  <a:cxn ang="0">
                    <a:pos x="398" y="112"/>
                  </a:cxn>
                  <a:cxn ang="0">
                    <a:pos x="393" y="84"/>
                  </a:cxn>
                  <a:cxn ang="0">
                    <a:pos x="376" y="44"/>
                  </a:cxn>
                  <a:cxn ang="0">
                    <a:pos x="364" y="17"/>
                  </a:cxn>
                  <a:cxn ang="0">
                    <a:pos x="337" y="9"/>
                  </a:cxn>
                  <a:cxn ang="0">
                    <a:pos x="224" y="18"/>
                  </a:cxn>
                  <a:cxn ang="0">
                    <a:pos x="216" y="26"/>
                  </a:cxn>
                  <a:cxn ang="0">
                    <a:pos x="204" y="33"/>
                  </a:cxn>
                  <a:cxn ang="0">
                    <a:pos x="212" y="23"/>
                  </a:cxn>
                  <a:cxn ang="0">
                    <a:pos x="211" y="22"/>
                  </a:cxn>
                  <a:cxn ang="0">
                    <a:pos x="173" y="8"/>
                  </a:cxn>
                  <a:cxn ang="0">
                    <a:pos x="175" y="5"/>
                  </a:cxn>
                  <a:cxn ang="0">
                    <a:pos x="123" y="9"/>
                  </a:cxn>
                  <a:cxn ang="0">
                    <a:pos x="88" y="30"/>
                  </a:cxn>
                  <a:cxn ang="0">
                    <a:pos x="38" y="46"/>
                  </a:cxn>
                  <a:cxn ang="0">
                    <a:pos x="6" y="60"/>
                  </a:cxn>
                  <a:cxn ang="0">
                    <a:pos x="16" y="63"/>
                  </a:cxn>
                  <a:cxn ang="0">
                    <a:pos x="24" y="58"/>
                  </a:cxn>
                  <a:cxn ang="0">
                    <a:pos x="19" y="80"/>
                  </a:cxn>
                  <a:cxn ang="0">
                    <a:pos x="22" y="88"/>
                  </a:cxn>
                  <a:cxn ang="0">
                    <a:pos x="6" y="83"/>
                  </a:cxn>
                  <a:cxn ang="0">
                    <a:pos x="2" y="124"/>
                  </a:cxn>
                  <a:cxn ang="0">
                    <a:pos x="19" y="163"/>
                  </a:cxn>
                  <a:cxn ang="0">
                    <a:pos x="24" y="195"/>
                  </a:cxn>
                  <a:cxn ang="0">
                    <a:pos x="39" y="226"/>
                  </a:cxn>
                  <a:cxn ang="0">
                    <a:pos x="36" y="261"/>
                  </a:cxn>
                  <a:cxn ang="0">
                    <a:pos x="44" y="258"/>
                  </a:cxn>
                  <a:cxn ang="0">
                    <a:pos x="58" y="264"/>
                  </a:cxn>
                  <a:cxn ang="0">
                    <a:pos x="88" y="275"/>
                  </a:cxn>
                  <a:cxn ang="0">
                    <a:pos x="109" y="280"/>
                  </a:cxn>
                  <a:cxn ang="0">
                    <a:pos x="114" y="308"/>
                  </a:cxn>
                  <a:cxn ang="0">
                    <a:pos x="134" y="302"/>
                  </a:cxn>
                  <a:cxn ang="0">
                    <a:pos x="127" y="287"/>
                  </a:cxn>
                  <a:cxn ang="0">
                    <a:pos x="162" y="293"/>
                  </a:cxn>
                  <a:cxn ang="0">
                    <a:pos x="166" y="308"/>
                  </a:cxn>
                  <a:cxn ang="0">
                    <a:pos x="176" y="309"/>
                  </a:cxn>
                  <a:cxn ang="0">
                    <a:pos x="205" y="329"/>
                  </a:cxn>
                  <a:cxn ang="0">
                    <a:pos x="221" y="340"/>
                  </a:cxn>
                  <a:cxn ang="0">
                    <a:pos x="234" y="339"/>
                  </a:cxn>
                  <a:cxn ang="0">
                    <a:pos x="248" y="341"/>
                  </a:cxn>
                  <a:cxn ang="0">
                    <a:pos x="257" y="342"/>
                  </a:cxn>
                  <a:cxn ang="0">
                    <a:pos x="265" y="353"/>
                  </a:cxn>
                  <a:cxn ang="0">
                    <a:pos x="288" y="339"/>
                  </a:cxn>
                  <a:cxn ang="0">
                    <a:pos x="314" y="337"/>
                  </a:cxn>
                  <a:cxn ang="0">
                    <a:pos x="343" y="335"/>
                  </a:cxn>
                  <a:cxn ang="0">
                    <a:pos x="381" y="348"/>
                  </a:cxn>
                  <a:cxn ang="0">
                    <a:pos x="386" y="341"/>
                  </a:cxn>
                  <a:cxn ang="0">
                    <a:pos x="392" y="301"/>
                  </a:cxn>
                  <a:cxn ang="0">
                    <a:pos x="428" y="254"/>
                  </a:cxn>
                </a:cxnLst>
                <a:rect l="0" t="0" r="r" b="b"/>
                <a:pathLst>
                  <a:path w="431" h="356">
                    <a:moveTo>
                      <a:pt x="422" y="231"/>
                    </a:moveTo>
                    <a:cubicBezTo>
                      <a:pt x="423" y="229"/>
                      <a:pt x="427" y="228"/>
                      <a:pt x="427" y="228"/>
                    </a:cubicBezTo>
                    <a:cubicBezTo>
                      <a:pt x="430" y="225"/>
                      <a:pt x="430" y="225"/>
                      <a:pt x="430" y="225"/>
                    </a:cubicBezTo>
                    <a:cubicBezTo>
                      <a:pt x="430" y="225"/>
                      <a:pt x="422" y="222"/>
                      <a:pt x="419" y="218"/>
                    </a:cubicBezTo>
                    <a:cubicBezTo>
                      <a:pt x="417" y="215"/>
                      <a:pt x="415" y="210"/>
                      <a:pt x="411" y="207"/>
                    </a:cubicBezTo>
                    <a:cubicBezTo>
                      <a:pt x="407" y="203"/>
                      <a:pt x="402" y="202"/>
                      <a:pt x="402" y="196"/>
                    </a:cubicBezTo>
                    <a:cubicBezTo>
                      <a:pt x="402" y="189"/>
                      <a:pt x="398" y="185"/>
                      <a:pt x="396" y="181"/>
                    </a:cubicBezTo>
                    <a:cubicBezTo>
                      <a:pt x="394" y="178"/>
                      <a:pt x="394" y="172"/>
                      <a:pt x="394" y="172"/>
                    </a:cubicBezTo>
                    <a:cubicBezTo>
                      <a:pt x="398" y="168"/>
                      <a:pt x="398" y="168"/>
                      <a:pt x="398" y="168"/>
                    </a:cubicBezTo>
                    <a:cubicBezTo>
                      <a:pt x="395" y="162"/>
                      <a:pt x="395" y="162"/>
                      <a:pt x="395" y="162"/>
                    </a:cubicBezTo>
                    <a:cubicBezTo>
                      <a:pt x="397" y="154"/>
                      <a:pt x="397" y="154"/>
                      <a:pt x="397" y="154"/>
                    </a:cubicBezTo>
                    <a:cubicBezTo>
                      <a:pt x="397" y="154"/>
                      <a:pt x="399" y="149"/>
                      <a:pt x="390" y="146"/>
                    </a:cubicBezTo>
                    <a:cubicBezTo>
                      <a:pt x="380" y="141"/>
                      <a:pt x="373" y="141"/>
                      <a:pt x="373" y="141"/>
                    </a:cubicBezTo>
                    <a:cubicBezTo>
                      <a:pt x="373" y="141"/>
                      <a:pt x="374" y="126"/>
                      <a:pt x="380" y="120"/>
                    </a:cubicBezTo>
                    <a:cubicBezTo>
                      <a:pt x="386" y="115"/>
                      <a:pt x="398" y="112"/>
                      <a:pt x="398" y="112"/>
                    </a:cubicBezTo>
                    <a:cubicBezTo>
                      <a:pt x="396" y="93"/>
                      <a:pt x="396" y="93"/>
                      <a:pt x="396" y="93"/>
                    </a:cubicBezTo>
                    <a:cubicBezTo>
                      <a:pt x="398" y="92"/>
                      <a:pt x="398" y="92"/>
                      <a:pt x="398" y="92"/>
                    </a:cubicBezTo>
                    <a:cubicBezTo>
                      <a:pt x="393" y="84"/>
                      <a:pt x="393" y="84"/>
                      <a:pt x="393" y="84"/>
                    </a:cubicBezTo>
                    <a:cubicBezTo>
                      <a:pt x="395" y="80"/>
                      <a:pt x="395" y="80"/>
                      <a:pt x="395" y="80"/>
                    </a:cubicBezTo>
                    <a:cubicBezTo>
                      <a:pt x="395" y="80"/>
                      <a:pt x="380" y="62"/>
                      <a:pt x="379" y="56"/>
                    </a:cubicBezTo>
                    <a:cubicBezTo>
                      <a:pt x="377" y="50"/>
                      <a:pt x="376" y="44"/>
                      <a:pt x="376" y="44"/>
                    </a:cubicBezTo>
                    <a:cubicBezTo>
                      <a:pt x="368" y="31"/>
                      <a:pt x="368" y="31"/>
                      <a:pt x="368" y="31"/>
                    </a:cubicBezTo>
                    <a:cubicBezTo>
                      <a:pt x="365" y="28"/>
                      <a:pt x="365" y="28"/>
                      <a:pt x="365" y="28"/>
                    </a:cubicBezTo>
                    <a:cubicBezTo>
                      <a:pt x="365" y="28"/>
                      <a:pt x="368" y="25"/>
                      <a:pt x="364" y="17"/>
                    </a:cubicBezTo>
                    <a:cubicBezTo>
                      <a:pt x="359" y="9"/>
                      <a:pt x="351" y="11"/>
                      <a:pt x="347" y="11"/>
                    </a:cubicBezTo>
                    <a:cubicBezTo>
                      <a:pt x="343" y="10"/>
                      <a:pt x="344" y="6"/>
                      <a:pt x="341" y="5"/>
                    </a:cubicBezTo>
                    <a:cubicBezTo>
                      <a:pt x="338" y="4"/>
                      <a:pt x="337" y="9"/>
                      <a:pt x="337" y="9"/>
                    </a:cubicBezTo>
                    <a:cubicBezTo>
                      <a:pt x="335" y="9"/>
                      <a:pt x="335" y="9"/>
                      <a:pt x="335" y="9"/>
                    </a:cubicBezTo>
                    <a:cubicBezTo>
                      <a:pt x="334" y="9"/>
                      <a:pt x="296" y="19"/>
                      <a:pt x="280" y="19"/>
                    </a:cubicBezTo>
                    <a:cubicBezTo>
                      <a:pt x="265" y="20"/>
                      <a:pt x="224" y="18"/>
                      <a:pt x="224" y="18"/>
                    </a:cubicBezTo>
                    <a:cubicBezTo>
                      <a:pt x="221" y="21"/>
                      <a:pt x="221" y="21"/>
                      <a:pt x="221" y="21"/>
                    </a:cubicBezTo>
                    <a:cubicBezTo>
                      <a:pt x="217" y="21"/>
                      <a:pt x="217" y="21"/>
                      <a:pt x="217" y="21"/>
                    </a:cubicBezTo>
                    <a:cubicBezTo>
                      <a:pt x="216" y="26"/>
                      <a:pt x="216" y="26"/>
                      <a:pt x="216" y="26"/>
                    </a:cubicBezTo>
                    <a:cubicBezTo>
                      <a:pt x="216" y="26"/>
                      <a:pt x="212" y="27"/>
                      <a:pt x="210" y="29"/>
                    </a:cubicBezTo>
                    <a:cubicBezTo>
                      <a:pt x="209" y="30"/>
                      <a:pt x="208" y="35"/>
                      <a:pt x="208" y="35"/>
                    </a:cubicBezTo>
                    <a:cubicBezTo>
                      <a:pt x="204" y="33"/>
                      <a:pt x="204" y="33"/>
                      <a:pt x="204" y="33"/>
                    </a:cubicBezTo>
                    <a:cubicBezTo>
                      <a:pt x="200" y="33"/>
                      <a:pt x="200" y="33"/>
                      <a:pt x="200" y="33"/>
                    </a:cubicBezTo>
                    <a:cubicBezTo>
                      <a:pt x="202" y="29"/>
                      <a:pt x="202" y="29"/>
                      <a:pt x="202" y="29"/>
                    </a:cubicBezTo>
                    <a:cubicBezTo>
                      <a:pt x="202" y="29"/>
                      <a:pt x="209" y="25"/>
                      <a:pt x="212" y="23"/>
                    </a:cubicBezTo>
                    <a:cubicBezTo>
                      <a:pt x="216" y="21"/>
                      <a:pt x="224" y="9"/>
                      <a:pt x="224" y="9"/>
                    </a:cubicBezTo>
                    <a:cubicBezTo>
                      <a:pt x="222" y="7"/>
                      <a:pt x="222" y="7"/>
                      <a:pt x="222" y="7"/>
                    </a:cubicBezTo>
                    <a:cubicBezTo>
                      <a:pt x="222" y="7"/>
                      <a:pt x="214" y="21"/>
                      <a:pt x="211" y="22"/>
                    </a:cubicBezTo>
                    <a:cubicBezTo>
                      <a:pt x="209" y="22"/>
                      <a:pt x="191" y="36"/>
                      <a:pt x="180" y="27"/>
                    </a:cubicBezTo>
                    <a:cubicBezTo>
                      <a:pt x="168" y="19"/>
                      <a:pt x="166" y="6"/>
                      <a:pt x="166" y="6"/>
                    </a:cubicBezTo>
                    <a:cubicBezTo>
                      <a:pt x="166" y="6"/>
                      <a:pt x="171" y="7"/>
                      <a:pt x="173" y="8"/>
                    </a:cubicBezTo>
                    <a:cubicBezTo>
                      <a:pt x="176" y="9"/>
                      <a:pt x="181" y="14"/>
                      <a:pt x="181" y="14"/>
                    </a:cubicBezTo>
                    <a:cubicBezTo>
                      <a:pt x="182" y="12"/>
                      <a:pt x="182" y="12"/>
                      <a:pt x="182" y="12"/>
                    </a:cubicBezTo>
                    <a:cubicBezTo>
                      <a:pt x="182" y="12"/>
                      <a:pt x="178" y="7"/>
                      <a:pt x="175" y="5"/>
                    </a:cubicBezTo>
                    <a:cubicBezTo>
                      <a:pt x="171" y="4"/>
                      <a:pt x="164" y="0"/>
                      <a:pt x="160" y="0"/>
                    </a:cubicBezTo>
                    <a:cubicBezTo>
                      <a:pt x="156" y="0"/>
                      <a:pt x="140" y="6"/>
                      <a:pt x="136" y="7"/>
                    </a:cubicBezTo>
                    <a:cubicBezTo>
                      <a:pt x="132" y="7"/>
                      <a:pt x="128" y="9"/>
                      <a:pt x="123" y="9"/>
                    </a:cubicBezTo>
                    <a:cubicBezTo>
                      <a:pt x="119" y="10"/>
                      <a:pt x="111" y="18"/>
                      <a:pt x="107" y="20"/>
                    </a:cubicBezTo>
                    <a:cubicBezTo>
                      <a:pt x="103" y="22"/>
                      <a:pt x="98" y="21"/>
                      <a:pt x="95" y="24"/>
                    </a:cubicBezTo>
                    <a:cubicBezTo>
                      <a:pt x="92" y="26"/>
                      <a:pt x="92" y="26"/>
                      <a:pt x="88" y="30"/>
                    </a:cubicBezTo>
                    <a:cubicBezTo>
                      <a:pt x="85" y="34"/>
                      <a:pt x="82" y="37"/>
                      <a:pt x="82" y="37"/>
                    </a:cubicBezTo>
                    <a:cubicBezTo>
                      <a:pt x="60" y="43"/>
                      <a:pt x="42" y="43"/>
                      <a:pt x="42" y="43"/>
                    </a:cubicBezTo>
                    <a:cubicBezTo>
                      <a:pt x="38" y="46"/>
                      <a:pt x="38" y="46"/>
                      <a:pt x="38" y="46"/>
                    </a:cubicBezTo>
                    <a:cubicBezTo>
                      <a:pt x="24" y="51"/>
                      <a:pt x="24" y="51"/>
                      <a:pt x="24" y="51"/>
                    </a:cubicBezTo>
                    <a:cubicBezTo>
                      <a:pt x="20" y="52"/>
                      <a:pt x="20" y="52"/>
                      <a:pt x="20" y="52"/>
                    </a:cubicBezTo>
                    <a:cubicBezTo>
                      <a:pt x="6" y="60"/>
                      <a:pt x="6" y="60"/>
                      <a:pt x="6" y="60"/>
                    </a:cubicBezTo>
                    <a:cubicBezTo>
                      <a:pt x="7" y="62"/>
                      <a:pt x="7" y="62"/>
                      <a:pt x="7" y="62"/>
                    </a:cubicBezTo>
                    <a:cubicBezTo>
                      <a:pt x="11" y="61"/>
                      <a:pt x="11" y="61"/>
                      <a:pt x="11" y="61"/>
                    </a:cubicBezTo>
                    <a:cubicBezTo>
                      <a:pt x="16" y="63"/>
                      <a:pt x="16" y="63"/>
                      <a:pt x="16" y="63"/>
                    </a:cubicBezTo>
                    <a:cubicBezTo>
                      <a:pt x="20" y="55"/>
                      <a:pt x="20" y="55"/>
                      <a:pt x="20" y="55"/>
                    </a:cubicBezTo>
                    <a:cubicBezTo>
                      <a:pt x="25" y="53"/>
                      <a:pt x="25" y="53"/>
                      <a:pt x="25" y="53"/>
                    </a:cubicBezTo>
                    <a:cubicBezTo>
                      <a:pt x="24" y="58"/>
                      <a:pt x="24" y="58"/>
                      <a:pt x="24" y="58"/>
                    </a:cubicBezTo>
                    <a:cubicBezTo>
                      <a:pt x="24" y="58"/>
                      <a:pt x="19" y="60"/>
                      <a:pt x="19" y="63"/>
                    </a:cubicBezTo>
                    <a:cubicBezTo>
                      <a:pt x="20" y="66"/>
                      <a:pt x="22" y="72"/>
                      <a:pt x="22" y="73"/>
                    </a:cubicBezTo>
                    <a:cubicBezTo>
                      <a:pt x="22" y="74"/>
                      <a:pt x="18" y="77"/>
                      <a:pt x="19" y="80"/>
                    </a:cubicBezTo>
                    <a:cubicBezTo>
                      <a:pt x="21" y="81"/>
                      <a:pt x="30" y="94"/>
                      <a:pt x="26" y="96"/>
                    </a:cubicBezTo>
                    <a:cubicBezTo>
                      <a:pt x="24" y="98"/>
                      <a:pt x="19" y="97"/>
                      <a:pt x="20" y="94"/>
                    </a:cubicBezTo>
                    <a:cubicBezTo>
                      <a:pt x="21" y="91"/>
                      <a:pt x="22" y="88"/>
                      <a:pt x="22" y="88"/>
                    </a:cubicBezTo>
                    <a:cubicBezTo>
                      <a:pt x="19" y="82"/>
                      <a:pt x="19" y="82"/>
                      <a:pt x="19" y="82"/>
                    </a:cubicBezTo>
                    <a:cubicBezTo>
                      <a:pt x="19" y="82"/>
                      <a:pt x="12" y="81"/>
                      <a:pt x="9" y="81"/>
                    </a:cubicBezTo>
                    <a:cubicBezTo>
                      <a:pt x="8" y="81"/>
                      <a:pt x="7" y="82"/>
                      <a:pt x="6" y="83"/>
                    </a:cubicBezTo>
                    <a:cubicBezTo>
                      <a:pt x="7" y="87"/>
                      <a:pt x="7" y="94"/>
                      <a:pt x="9" y="98"/>
                    </a:cubicBezTo>
                    <a:cubicBezTo>
                      <a:pt x="13" y="104"/>
                      <a:pt x="11" y="110"/>
                      <a:pt x="9" y="117"/>
                    </a:cubicBezTo>
                    <a:cubicBezTo>
                      <a:pt x="8" y="121"/>
                      <a:pt x="4" y="121"/>
                      <a:pt x="2" y="124"/>
                    </a:cubicBezTo>
                    <a:cubicBezTo>
                      <a:pt x="1" y="125"/>
                      <a:pt x="1" y="131"/>
                      <a:pt x="0" y="133"/>
                    </a:cubicBezTo>
                    <a:cubicBezTo>
                      <a:pt x="9" y="134"/>
                      <a:pt x="22" y="148"/>
                      <a:pt x="22" y="155"/>
                    </a:cubicBezTo>
                    <a:cubicBezTo>
                      <a:pt x="22" y="159"/>
                      <a:pt x="18" y="157"/>
                      <a:pt x="19" y="163"/>
                    </a:cubicBezTo>
                    <a:cubicBezTo>
                      <a:pt x="20" y="167"/>
                      <a:pt x="20" y="168"/>
                      <a:pt x="24" y="170"/>
                    </a:cubicBezTo>
                    <a:cubicBezTo>
                      <a:pt x="28" y="171"/>
                      <a:pt x="24" y="181"/>
                      <a:pt x="25" y="181"/>
                    </a:cubicBezTo>
                    <a:cubicBezTo>
                      <a:pt x="31" y="182"/>
                      <a:pt x="26" y="192"/>
                      <a:pt x="24" y="195"/>
                    </a:cubicBezTo>
                    <a:cubicBezTo>
                      <a:pt x="20" y="200"/>
                      <a:pt x="28" y="204"/>
                      <a:pt x="30" y="210"/>
                    </a:cubicBezTo>
                    <a:cubicBezTo>
                      <a:pt x="32" y="212"/>
                      <a:pt x="26" y="216"/>
                      <a:pt x="30" y="218"/>
                    </a:cubicBezTo>
                    <a:cubicBezTo>
                      <a:pt x="34" y="220"/>
                      <a:pt x="39" y="219"/>
                      <a:pt x="39" y="226"/>
                    </a:cubicBezTo>
                    <a:cubicBezTo>
                      <a:pt x="39" y="232"/>
                      <a:pt x="45" y="235"/>
                      <a:pt x="42" y="242"/>
                    </a:cubicBezTo>
                    <a:cubicBezTo>
                      <a:pt x="42" y="246"/>
                      <a:pt x="40" y="257"/>
                      <a:pt x="37" y="259"/>
                    </a:cubicBezTo>
                    <a:cubicBezTo>
                      <a:pt x="37" y="260"/>
                      <a:pt x="37" y="260"/>
                      <a:pt x="36" y="261"/>
                    </a:cubicBezTo>
                    <a:cubicBezTo>
                      <a:pt x="44" y="263"/>
                      <a:pt x="44" y="263"/>
                      <a:pt x="44" y="263"/>
                    </a:cubicBezTo>
                    <a:cubicBezTo>
                      <a:pt x="46" y="261"/>
                      <a:pt x="46" y="261"/>
                      <a:pt x="46" y="261"/>
                    </a:cubicBezTo>
                    <a:cubicBezTo>
                      <a:pt x="44" y="258"/>
                      <a:pt x="44" y="258"/>
                      <a:pt x="44" y="258"/>
                    </a:cubicBezTo>
                    <a:cubicBezTo>
                      <a:pt x="46" y="255"/>
                      <a:pt x="46" y="255"/>
                      <a:pt x="46" y="255"/>
                    </a:cubicBezTo>
                    <a:cubicBezTo>
                      <a:pt x="60" y="257"/>
                      <a:pt x="60" y="257"/>
                      <a:pt x="60" y="257"/>
                    </a:cubicBezTo>
                    <a:cubicBezTo>
                      <a:pt x="58" y="264"/>
                      <a:pt x="58" y="264"/>
                      <a:pt x="58" y="264"/>
                    </a:cubicBezTo>
                    <a:cubicBezTo>
                      <a:pt x="66" y="272"/>
                      <a:pt x="66" y="272"/>
                      <a:pt x="66" y="272"/>
                    </a:cubicBezTo>
                    <a:cubicBezTo>
                      <a:pt x="66" y="267"/>
                      <a:pt x="66" y="267"/>
                      <a:pt x="66" y="267"/>
                    </a:cubicBezTo>
                    <a:cubicBezTo>
                      <a:pt x="88" y="275"/>
                      <a:pt x="88" y="275"/>
                      <a:pt x="88" y="275"/>
                    </a:cubicBezTo>
                    <a:cubicBezTo>
                      <a:pt x="89" y="281"/>
                      <a:pt x="89" y="281"/>
                      <a:pt x="89" y="281"/>
                    </a:cubicBezTo>
                    <a:cubicBezTo>
                      <a:pt x="102" y="275"/>
                      <a:pt x="102" y="275"/>
                      <a:pt x="102" y="275"/>
                    </a:cubicBezTo>
                    <a:cubicBezTo>
                      <a:pt x="109" y="280"/>
                      <a:pt x="109" y="280"/>
                      <a:pt x="109" y="280"/>
                    </a:cubicBezTo>
                    <a:cubicBezTo>
                      <a:pt x="109" y="280"/>
                      <a:pt x="96" y="288"/>
                      <a:pt x="98" y="291"/>
                    </a:cubicBezTo>
                    <a:cubicBezTo>
                      <a:pt x="100" y="293"/>
                      <a:pt x="109" y="292"/>
                      <a:pt x="110" y="295"/>
                    </a:cubicBezTo>
                    <a:cubicBezTo>
                      <a:pt x="112" y="298"/>
                      <a:pt x="111" y="306"/>
                      <a:pt x="114" y="308"/>
                    </a:cubicBezTo>
                    <a:cubicBezTo>
                      <a:pt x="117" y="310"/>
                      <a:pt x="123" y="308"/>
                      <a:pt x="124" y="306"/>
                    </a:cubicBezTo>
                    <a:cubicBezTo>
                      <a:pt x="124" y="304"/>
                      <a:pt x="130" y="301"/>
                      <a:pt x="130" y="301"/>
                    </a:cubicBezTo>
                    <a:cubicBezTo>
                      <a:pt x="134" y="302"/>
                      <a:pt x="134" y="302"/>
                      <a:pt x="134" y="302"/>
                    </a:cubicBezTo>
                    <a:cubicBezTo>
                      <a:pt x="134" y="302"/>
                      <a:pt x="136" y="296"/>
                      <a:pt x="134" y="296"/>
                    </a:cubicBezTo>
                    <a:cubicBezTo>
                      <a:pt x="132" y="296"/>
                      <a:pt x="128" y="293"/>
                      <a:pt x="128" y="293"/>
                    </a:cubicBezTo>
                    <a:cubicBezTo>
                      <a:pt x="127" y="287"/>
                      <a:pt x="127" y="287"/>
                      <a:pt x="127" y="287"/>
                    </a:cubicBezTo>
                    <a:cubicBezTo>
                      <a:pt x="127" y="287"/>
                      <a:pt x="134" y="289"/>
                      <a:pt x="140" y="291"/>
                    </a:cubicBezTo>
                    <a:cubicBezTo>
                      <a:pt x="146" y="293"/>
                      <a:pt x="150" y="298"/>
                      <a:pt x="150" y="298"/>
                    </a:cubicBezTo>
                    <a:cubicBezTo>
                      <a:pt x="162" y="293"/>
                      <a:pt x="162" y="293"/>
                      <a:pt x="162" y="293"/>
                    </a:cubicBezTo>
                    <a:cubicBezTo>
                      <a:pt x="166" y="298"/>
                      <a:pt x="166" y="298"/>
                      <a:pt x="166" y="298"/>
                    </a:cubicBezTo>
                    <a:cubicBezTo>
                      <a:pt x="162" y="303"/>
                      <a:pt x="162" y="303"/>
                      <a:pt x="162" y="303"/>
                    </a:cubicBezTo>
                    <a:cubicBezTo>
                      <a:pt x="162" y="303"/>
                      <a:pt x="165" y="307"/>
                      <a:pt x="166" y="308"/>
                    </a:cubicBezTo>
                    <a:cubicBezTo>
                      <a:pt x="168" y="309"/>
                      <a:pt x="170" y="315"/>
                      <a:pt x="170" y="315"/>
                    </a:cubicBezTo>
                    <a:cubicBezTo>
                      <a:pt x="175" y="313"/>
                      <a:pt x="175" y="313"/>
                      <a:pt x="175" y="313"/>
                    </a:cubicBezTo>
                    <a:cubicBezTo>
                      <a:pt x="176" y="309"/>
                      <a:pt x="176" y="309"/>
                      <a:pt x="176" y="309"/>
                    </a:cubicBezTo>
                    <a:cubicBezTo>
                      <a:pt x="192" y="314"/>
                      <a:pt x="192" y="314"/>
                      <a:pt x="192" y="314"/>
                    </a:cubicBezTo>
                    <a:cubicBezTo>
                      <a:pt x="202" y="317"/>
                      <a:pt x="202" y="317"/>
                      <a:pt x="202" y="317"/>
                    </a:cubicBezTo>
                    <a:cubicBezTo>
                      <a:pt x="205" y="329"/>
                      <a:pt x="205" y="329"/>
                      <a:pt x="205" y="329"/>
                    </a:cubicBezTo>
                    <a:cubicBezTo>
                      <a:pt x="214" y="329"/>
                      <a:pt x="214" y="329"/>
                      <a:pt x="214" y="329"/>
                    </a:cubicBezTo>
                    <a:cubicBezTo>
                      <a:pt x="218" y="340"/>
                      <a:pt x="218" y="340"/>
                      <a:pt x="218" y="340"/>
                    </a:cubicBezTo>
                    <a:cubicBezTo>
                      <a:pt x="221" y="340"/>
                      <a:pt x="221" y="340"/>
                      <a:pt x="221" y="340"/>
                    </a:cubicBezTo>
                    <a:cubicBezTo>
                      <a:pt x="221" y="348"/>
                      <a:pt x="221" y="348"/>
                      <a:pt x="221" y="348"/>
                    </a:cubicBezTo>
                    <a:cubicBezTo>
                      <a:pt x="231" y="346"/>
                      <a:pt x="231" y="346"/>
                      <a:pt x="231" y="346"/>
                    </a:cubicBezTo>
                    <a:cubicBezTo>
                      <a:pt x="234" y="339"/>
                      <a:pt x="234" y="339"/>
                      <a:pt x="234" y="339"/>
                    </a:cubicBezTo>
                    <a:cubicBezTo>
                      <a:pt x="237" y="339"/>
                      <a:pt x="237" y="339"/>
                      <a:pt x="237" y="339"/>
                    </a:cubicBezTo>
                    <a:cubicBezTo>
                      <a:pt x="237" y="339"/>
                      <a:pt x="238" y="333"/>
                      <a:pt x="243" y="333"/>
                    </a:cubicBezTo>
                    <a:cubicBezTo>
                      <a:pt x="247" y="334"/>
                      <a:pt x="248" y="341"/>
                      <a:pt x="248" y="341"/>
                    </a:cubicBezTo>
                    <a:cubicBezTo>
                      <a:pt x="252" y="341"/>
                      <a:pt x="252" y="341"/>
                      <a:pt x="252" y="341"/>
                    </a:cubicBezTo>
                    <a:cubicBezTo>
                      <a:pt x="251" y="344"/>
                      <a:pt x="251" y="344"/>
                      <a:pt x="251" y="344"/>
                    </a:cubicBezTo>
                    <a:cubicBezTo>
                      <a:pt x="257" y="342"/>
                      <a:pt x="257" y="342"/>
                      <a:pt x="257" y="342"/>
                    </a:cubicBezTo>
                    <a:cubicBezTo>
                      <a:pt x="260" y="349"/>
                      <a:pt x="260" y="349"/>
                      <a:pt x="260" y="349"/>
                    </a:cubicBezTo>
                    <a:cubicBezTo>
                      <a:pt x="260" y="349"/>
                      <a:pt x="255" y="356"/>
                      <a:pt x="259" y="356"/>
                    </a:cubicBezTo>
                    <a:cubicBezTo>
                      <a:pt x="261" y="356"/>
                      <a:pt x="265" y="353"/>
                      <a:pt x="265" y="353"/>
                    </a:cubicBezTo>
                    <a:cubicBezTo>
                      <a:pt x="273" y="356"/>
                      <a:pt x="273" y="356"/>
                      <a:pt x="273" y="356"/>
                    </a:cubicBezTo>
                    <a:cubicBezTo>
                      <a:pt x="276" y="346"/>
                      <a:pt x="276" y="346"/>
                      <a:pt x="276" y="346"/>
                    </a:cubicBezTo>
                    <a:cubicBezTo>
                      <a:pt x="276" y="346"/>
                      <a:pt x="281" y="340"/>
                      <a:pt x="288" y="339"/>
                    </a:cubicBezTo>
                    <a:cubicBezTo>
                      <a:pt x="300" y="339"/>
                      <a:pt x="300" y="339"/>
                      <a:pt x="300" y="339"/>
                    </a:cubicBezTo>
                    <a:cubicBezTo>
                      <a:pt x="300" y="339"/>
                      <a:pt x="301" y="345"/>
                      <a:pt x="308" y="344"/>
                    </a:cubicBezTo>
                    <a:cubicBezTo>
                      <a:pt x="313" y="343"/>
                      <a:pt x="314" y="337"/>
                      <a:pt x="314" y="337"/>
                    </a:cubicBezTo>
                    <a:cubicBezTo>
                      <a:pt x="314" y="337"/>
                      <a:pt x="319" y="333"/>
                      <a:pt x="327" y="331"/>
                    </a:cubicBezTo>
                    <a:cubicBezTo>
                      <a:pt x="334" y="330"/>
                      <a:pt x="337" y="331"/>
                      <a:pt x="337" y="331"/>
                    </a:cubicBezTo>
                    <a:cubicBezTo>
                      <a:pt x="343" y="335"/>
                      <a:pt x="343" y="335"/>
                      <a:pt x="343" y="335"/>
                    </a:cubicBezTo>
                    <a:cubicBezTo>
                      <a:pt x="343" y="335"/>
                      <a:pt x="355" y="335"/>
                      <a:pt x="356" y="337"/>
                    </a:cubicBezTo>
                    <a:cubicBezTo>
                      <a:pt x="357" y="339"/>
                      <a:pt x="357" y="344"/>
                      <a:pt x="357" y="344"/>
                    </a:cubicBezTo>
                    <a:cubicBezTo>
                      <a:pt x="381" y="348"/>
                      <a:pt x="381" y="348"/>
                      <a:pt x="381" y="348"/>
                    </a:cubicBezTo>
                    <a:cubicBezTo>
                      <a:pt x="395" y="352"/>
                      <a:pt x="395" y="352"/>
                      <a:pt x="395" y="352"/>
                    </a:cubicBezTo>
                    <a:cubicBezTo>
                      <a:pt x="396" y="346"/>
                      <a:pt x="396" y="346"/>
                      <a:pt x="396" y="346"/>
                    </a:cubicBezTo>
                    <a:cubicBezTo>
                      <a:pt x="396" y="346"/>
                      <a:pt x="388" y="344"/>
                      <a:pt x="386" y="341"/>
                    </a:cubicBezTo>
                    <a:cubicBezTo>
                      <a:pt x="385" y="338"/>
                      <a:pt x="386" y="335"/>
                      <a:pt x="385" y="330"/>
                    </a:cubicBezTo>
                    <a:cubicBezTo>
                      <a:pt x="385" y="325"/>
                      <a:pt x="379" y="318"/>
                      <a:pt x="379" y="318"/>
                    </a:cubicBezTo>
                    <a:cubicBezTo>
                      <a:pt x="379" y="318"/>
                      <a:pt x="389" y="308"/>
                      <a:pt x="392" y="301"/>
                    </a:cubicBezTo>
                    <a:cubicBezTo>
                      <a:pt x="396" y="294"/>
                      <a:pt x="397" y="283"/>
                      <a:pt x="400" y="279"/>
                    </a:cubicBezTo>
                    <a:cubicBezTo>
                      <a:pt x="404" y="276"/>
                      <a:pt x="414" y="258"/>
                      <a:pt x="414" y="258"/>
                    </a:cubicBezTo>
                    <a:cubicBezTo>
                      <a:pt x="414" y="258"/>
                      <a:pt x="425" y="261"/>
                      <a:pt x="428" y="254"/>
                    </a:cubicBezTo>
                    <a:cubicBezTo>
                      <a:pt x="431" y="246"/>
                      <a:pt x="431" y="238"/>
                      <a:pt x="428" y="235"/>
                    </a:cubicBezTo>
                    <a:cubicBezTo>
                      <a:pt x="425" y="234"/>
                      <a:pt x="421" y="233"/>
                      <a:pt x="422" y="231"/>
                    </a:cubicBez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37" name="Norway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4508500" y="1143000"/>
                <a:ext cx="1471612" cy="1873250"/>
              </a:xfrm>
              <a:custGeom>
                <a:avLst/>
                <a:gdLst/>
                <a:ahLst/>
                <a:cxnLst>
                  <a:cxn ang="0">
                    <a:pos x="626" y="61"/>
                  </a:cxn>
                  <a:cxn ang="0">
                    <a:pos x="605" y="40"/>
                  </a:cxn>
                  <a:cxn ang="0">
                    <a:pos x="586" y="22"/>
                  </a:cxn>
                  <a:cxn ang="0">
                    <a:pos x="547" y="55"/>
                  </a:cxn>
                  <a:cxn ang="0">
                    <a:pos x="532" y="46"/>
                  </a:cxn>
                  <a:cxn ang="0">
                    <a:pos x="465" y="77"/>
                  </a:cxn>
                  <a:cxn ang="0">
                    <a:pos x="445" y="116"/>
                  </a:cxn>
                  <a:cxn ang="0">
                    <a:pos x="410" y="132"/>
                  </a:cxn>
                  <a:cxn ang="0">
                    <a:pos x="380" y="181"/>
                  </a:cxn>
                  <a:cxn ang="0">
                    <a:pos x="374" y="209"/>
                  </a:cxn>
                  <a:cxn ang="0">
                    <a:pos x="330" y="227"/>
                  </a:cxn>
                  <a:cxn ang="0">
                    <a:pos x="331" y="254"/>
                  </a:cxn>
                  <a:cxn ang="0">
                    <a:pos x="331" y="290"/>
                  </a:cxn>
                  <a:cxn ang="0">
                    <a:pos x="275" y="339"/>
                  </a:cxn>
                  <a:cxn ang="0">
                    <a:pos x="261" y="381"/>
                  </a:cxn>
                  <a:cxn ang="0">
                    <a:pos x="252" y="428"/>
                  </a:cxn>
                  <a:cxn ang="0">
                    <a:pos x="198" y="471"/>
                  </a:cxn>
                  <a:cxn ang="0">
                    <a:pos x="224" y="509"/>
                  </a:cxn>
                  <a:cxn ang="0">
                    <a:pos x="141" y="534"/>
                  </a:cxn>
                  <a:cxn ang="0">
                    <a:pos x="122" y="571"/>
                  </a:cxn>
                  <a:cxn ang="0">
                    <a:pos x="96" y="584"/>
                  </a:cxn>
                  <a:cxn ang="0">
                    <a:pos x="69" y="595"/>
                  </a:cxn>
                  <a:cxn ang="0">
                    <a:pos x="26" y="611"/>
                  </a:cxn>
                  <a:cxn ang="0">
                    <a:pos x="23" y="650"/>
                  </a:cxn>
                  <a:cxn ang="0">
                    <a:pos x="83" y="675"/>
                  </a:cxn>
                  <a:cxn ang="0">
                    <a:pos x="74" y="678"/>
                  </a:cxn>
                  <a:cxn ang="0">
                    <a:pos x="38" y="704"/>
                  </a:cxn>
                  <a:cxn ang="0">
                    <a:pos x="55" y="723"/>
                  </a:cxn>
                  <a:cxn ang="0">
                    <a:pos x="42" y="766"/>
                  </a:cxn>
                  <a:cxn ang="0">
                    <a:pos x="26" y="785"/>
                  </a:cxn>
                  <a:cxn ang="0">
                    <a:pos x="34" y="813"/>
                  </a:cxn>
                  <a:cxn ang="0">
                    <a:pos x="65" y="873"/>
                  </a:cxn>
                  <a:cxn ang="0">
                    <a:pos x="182" y="789"/>
                  </a:cxn>
                  <a:cxn ang="0">
                    <a:pos x="230" y="815"/>
                  </a:cxn>
                  <a:cxn ang="0">
                    <a:pos x="305" y="482"/>
                  </a:cxn>
                  <a:cxn ang="0">
                    <a:pos x="443" y="205"/>
                  </a:cxn>
                  <a:cxn ang="0">
                    <a:pos x="595" y="78"/>
                  </a:cxn>
                  <a:cxn ang="0">
                    <a:pos x="18" y="803"/>
                  </a:cxn>
                  <a:cxn ang="0">
                    <a:pos x="10" y="767"/>
                  </a:cxn>
                  <a:cxn ang="0">
                    <a:pos x="14" y="743"/>
                  </a:cxn>
                  <a:cxn ang="0">
                    <a:pos x="10" y="711"/>
                  </a:cxn>
                  <a:cxn ang="0">
                    <a:pos x="8" y="699"/>
                  </a:cxn>
                  <a:cxn ang="0">
                    <a:pos x="7" y="680"/>
                  </a:cxn>
                  <a:cxn ang="0">
                    <a:pos x="15" y="632"/>
                  </a:cxn>
                  <a:cxn ang="0">
                    <a:pos x="44" y="600"/>
                  </a:cxn>
                  <a:cxn ang="0">
                    <a:pos x="58" y="582"/>
                  </a:cxn>
                  <a:cxn ang="0">
                    <a:pos x="106" y="551"/>
                  </a:cxn>
                  <a:cxn ang="0">
                    <a:pos x="123" y="537"/>
                  </a:cxn>
                  <a:cxn ang="0">
                    <a:pos x="162" y="515"/>
                  </a:cxn>
                  <a:cxn ang="0">
                    <a:pos x="259" y="367"/>
                  </a:cxn>
                  <a:cxn ang="0">
                    <a:pos x="264" y="359"/>
                  </a:cxn>
                  <a:cxn ang="0">
                    <a:pos x="301" y="294"/>
                  </a:cxn>
                  <a:cxn ang="0">
                    <a:pos x="351" y="208"/>
                  </a:cxn>
                  <a:cxn ang="0">
                    <a:pos x="296" y="220"/>
                  </a:cxn>
                  <a:cxn ang="0">
                    <a:pos x="362" y="187"/>
                  </a:cxn>
                  <a:cxn ang="0">
                    <a:pos x="322" y="218"/>
                  </a:cxn>
                  <a:cxn ang="0">
                    <a:pos x="320" y="183"/>
                  </a:cxn>
                  <a:cxn ang="0">
                    <a:pos x="367" y="152"/>
                  </a:cxn>
                  <a:cxn ang="0">
                    <a:pos x="411" y="97"/>
                  </a:cxn>
                  <a:cxn ang="0">
                    <a:pos x="407" y="97"/>
                  </a:cxn>
                  <a:cxn ang="0">
                    <a:pos x="492" y="40"/>
                  </a:cxn>
                  <a:cxn ang="0">
                    <a:pos x="514" y="56"/>
                  </a:cxn>
                  <a:cxn ang="0">
                    <a:pos x="538" y="19"/>
                  </a:cxn>
                </a:cxnLst>
                <a:rect l="0" t="0" r="r" b="b"/>
                <a:pathLst>
                  <a:path w="690" h="880">
                    <a:moveTo>
                      <a:pt x="685" y="71"/>
                    </a:moveTo>
                    <a:cubicBezTo>
                      <a:pt x="685" y="68"/>
                      <a:pt x="685" y="68"/>
                      <a:pt x="685" y="68"/>
                    </a:cubicBezTo>
                    <a:cubicBezTo>
                      <a:pt x="681" y="68"/>
                      <a:pt x="681" y="68"/>
                      <a:pt x="681" y="68"/>
                    </a:cubicBezTo>
                    <a:cubicBezTo>
                      <a:pt x="681" y="68"/>
                      <a:pt x="681" y="66"/>
                      <a:pt x="678" y="66"/>
                    </a:cubicBezTo>
                    <a:cubicBezTo>
                      <a:pt x="673" y="66"/>
                      <a:pt x="673" y="66"/>
                      <a:pt x="673" y="66"/>
                    </a:cubicBezTo>
                    <a:cubicBezTo>
                      <a:pt x="675" y="75"/>
                      <a:pt x="675" y="75"/>
                      <a:pt x="675" y="75"/>
                    </a:cubicBezTo>
                    <a:cubicBezTo>
                      <a:pt x="673" y="76"/>
                      <a:pt x="673" y="76"/>
                      <a:pt x="673" y="76"/>
                    </a:cubicBezTo>
                    <a:cubicBezTo>
                      <a:pt x="673" y="72"/>
                      <a:pt x="673" y="72"/>
                      <a:pt x="673" y="72"/>
                    </a:cubicBezTo>
                    <a:cubicBezTo>
                      <a:pt x="668" y="64"/>
                      <a:pt x="668" y="64"/>
                      <a:pt x="668" y="64"/>
                    </a:cubicBezTo>
                    <a:cubicBezTo>
                      <a:pt x="666" y="64"/>
                      <a:pt x="666" y="64"/>
                      <a:pt x="666" y="64"/>
                    </a:cubicBezTo>
                    <a:cubicBezTo>
                      <a:pt x="668" y="72"/>
                      <a:pt x="668" y="72"/>
                      <a:pt x="668" y="72"/>
                    </a:cubicBezTo>
                    <a:cubicBezTo>
                      <a:pt x="666" y="76"/>
                      <a:pt x="666" y="76"/>
                      <a:pt x="666" y="76"/>
                    </a:cubicBezTo>
                    <a:cubicBezTo>
                      <a:pt x="664" y="73"/>
                      <a:pt x="664" y="73"/>
                      <a:pt x="664" y="73"/>
                    </a:cubicBezTo>
                    <a:cubicBezTo>
                      <a:pt x="662" y="76"/>
                      <a:pt x="662" y="76"/>
                      <a:pt x="662" y="76"/>
                    </a:cubicBezTo>
                    <a:cubicBezTo>
                      <a:pt x="659" y="77"/>
                      <a:pt x="659" y="77"/>
                      <a:pt x="659" y="77"/>
                    </a:cubicBezTo>
                    <a:cubicBezTo>
                      <a:pt x="659" y="77"/>
                      <a:pt x="656" y="81"/>
                      <a:pt x="655" y="81"/>
                    </a:cubicBezTo>
                    <a:cubicBezTo>
                      <a:pt x="654" y="80"/>
                      <a:pt x="655" y="77"/>
                      <a:pt x="656" y="75"/>
                    </a:cubicBezTo>
                    <a:cubicBezTo>
                      <a:pt x="657" y="74"/>
                      <a:pt x="657" y="67"/>
                      <a:pt x="654" y="66"/>
                    </a:cubicBezTo>
                    <a:cubicBezTo>
                      <a:pt x="652" y="64"/>
                      <a:pt x="649" y="71"/>
                      <a:pt x="649" y="71"/>
                    </a:cubicBezTo>
                    <a:cubicBezTo>
                      <a:pt x="647" y="71"/>
                      <a:pt x="647" y="71"/>
                      <a:pt x="647" y="71"/>
                    </a:cubicBezTo>
                    <a:cubicBezTo>
                      <a:pt x="647" y="71"/>
                      <a:pt x="653" y="64"/>
                      <a:pt x="649" y="62"/>
                    </a:cubicBezTo>
                    <a:cubicBezTo>
                      <a:pt x="645" y="59"/>
                      <a:pt x="641" y="62"/>
                      <a:pt x="641" y="62"/>
                    </a:cubicBezTo>
                    <a:cubicBezTo>
                      <a:pt x="637" y="59"/>
                      <a:pt x="637" y="59"/>
                      <a:pt x="637" y="59"/>
                    </a:cubicBezTo>
                    <a:cubicBezTo>
                      <a:pt x="633" y="61"/>
                      <a:pt x="633" y="61"/>
                      <a:pt x="633" y="61"/>
                    </a:cubicBezTo>
                    <a:cubicBezTo>
                      <a:pt x="632" y="59"/>
                      <a:pt x="632" y="59"/>
                      <a:pt x="632" y="59"/>
                    </a:cubicBezTo>
                    <a:cubicBezTo>
                      <a:pt x="632" y="59"/>
                      <a:pt x="629" y="62"/>
                      <a:pt x="626" y="61"/>
                    </a:cubicBezTo>
                    <a:cubicBezTo>
                      <a:pt x="624" y="60"/>
                      <a:pt x="626" y="58"/>
                      <a:pt x="626" y="58"/>
                    </a:cubicBezTo>
                    <a:cubicBezTo>
                      <a:pt x="626" y="57"/>
                      <a:pt x="624" y="56"/>
                      <a:pt x="625" y="53"/>
                    </a:cubicBezTo>
                    <a:cubicBezTo>
                      <a:pt x="625" y="51"/>
                      <a:pt x="646" y="57"/>
                      <a:pt x="646" y="57"/>
                    </a:cubicBezTo>
                    <a:cubicBezTo>
                      <a:pt x="646" y="57"/>
                      <a:pt x="655" y="57"/>
                      <a:pt x="662" y="52"/>
                    </a:cubicBezTo>
                    <a:cubicBezTo>
                      <a:pt x="668" y="47"/>
                      <a:pt x="666" y="41"/>
                      <a:pt x="666" y="41"/>
                    </a:cubicBezTo>
                    <a:cubicBezTo>
                      <a:pt x="666" y="41"/>
                      <a:pt x="678" y="35"/>
                      <a:pt x="677" y="30"/>
                    </a:cubicBezTo>
                    <a:cubicBezTo>
                      <a:pt x="675" y="26"/>
                      <a:pt x="667" y="28"/>
                      <a:pt x="667" y="28"/>
                    </a:cubicBezTo>
                    <a:cubicBezTo>
                      <a:pt x="667" y="28"/>
                      <a:pt x="664" y="24"/>
                      <a:pt x="661" y="24"/>
                    </a:cubicBezTo>
                    <a:cubicBezTo>
                      <a:pt x="656" y="24"/>
                      <a:pt x="652" y="27"/>
                      <a:pt x="652" y="27"/>
                    </a:cubicBezTo>
                    <a:cubicBezTo>
                      <a:pt x="655" y="19"/>
                      <a:pt x="655" y="19"/>
                      <a:pt x="655" y="19"/>
                    </a:cubicBezTo>
                    <a:cubicBezTo>
                      <a:pt x="651" y="19"/>
                      <a:pt x="651" y="19"/>
                      <a:pt x="651" y="19"/>
                    </a:cubicBezTo>
                    <a:cubicBezTo>
                      <a:pt x="651" y="19"/>
                      <a:pt x="652" y="16"/>
                      <a:pt x="648" y="16"/>
                    </a:cubicBezTo>
                    <a:cubicBezTo>
                      <a:pt x="644" y="15"/>
                      <a:pt x="645" y="21"/>
                      <a:pt x="642" y="21"/>
                    </a:cubicBezTo>
                    <a:cubicBezTo>
                      <a:pt x="640" y="22"/>
                      <a:pt x="642" y="16"/>
                      <a:pt x="640" y="16"/>
                    </a:cubicBezTo>
                    <a:cubicBezTo>
                      <a:pt x="639" y="16"/>
                      <a:pt x="632" y="22"/>
                      <a:pt x="632" y="22"/>
                    </a:cubicBezTo>
                    <a:cubicBezTo>
                      <a:pt x="632" y="15"/>
                      <a:pt x="632" y="15"/>
                      <a:pt x="632" y="15"/>
                    </a:cubicBezTo>
                    <a:cubicBezTo>
                      <a:pt x="632" y="15"/>
                      <a:pt x="629" y="10"/>
                      <a:pt x="622" y="11"/>
                    </a:cubicBezTo>
                    <a:cubicBezTo>
                      <a:pt x="615" y="11"/>
                      <a:pt x="616" y="22"/>
                      <a:pt x="616" y="22"/>
                    </a:cubicBezTo>
                    <a:cubicBezTo>
                      <a:pt x="617" y="25"/>
                      <a:pt x="617" y="25"/>
                      <a:pt x="617" y="25"/>
                    </a:cubicBezTo>
                    <a:cubicBezTo>
                      <a:pt x="616" y="36"/>
                      <a:pt x="616" y="36"/>
                      <a:pt x="616" y="36"/>
                    </a:cubicBezTo>
                    <a:cubicBezTo>
                      <a:pt x="619" y="36"/>
                      <a:pt x="619" y="36"/>
                      <a:pt x="619" y="36"/>
                    </a:cubicBezTo>
                    <a:cubicBezTo>
                      <a:pt x="619" y="39"/>
                      <a:pt x="619" y="39"/>
                      <a:pt x="619" y="39"/>
                    </a:cubicBezTo>
                    <a:cubicBezTo>
                      <a:pt x="614" y="39"/>
                      <a:pt x="614" y="39"/>
                      <a:pt x="614" y="39"/>
                    </a:cubicBezTo>
                    <a:cubicBezTo>
                      <a:pt x="613" y="35"/>
                      <a:pt x="613" y="35"/>
                      <a:pt x="613" y="35"/>
                    </a:cubicBezTo>
                    <a:cubicBezTo>
                      <a:pt x="608" y="40"/>
                      <a:pt x="608" y="40"/>
                      <a:pt x="608" y="40"/>
                    </a:cubicBezTo>
                    <a:cubicBezTo>
                      <a:pt x="605" y="40"/>
                      <a:pt x="605" y="40"/>
                      <a:pt x="605" y="40"/>
                    </a:cubicBezTo>
                    <a:cubicBezTo>
                      <a:pt x="605" y="42"/>
                      <a:pt x="605" y="42"/>
                      <a:pt x="605" y="42"/>
                    </a:cubicBezTo>
                    <a:cubicBezTo>
                      <a:pt x="603" y="37"/>
                      <a:pt x="603" y="37"/>
                      <a:pt x="603" y="37"/>
                    </a:cubicBezTo>
                    <a:cubicBezTo>
                      <a:pt x="603" y="37"/>
                      <a:pt x="606" y="34"/>
                      <a:pt x="608" y="33"/>
                    </a:cubicBezTo>
                    <a:cubicBezTo>
                      <a:pt x="610" y="31"/>
                      <a:pt x="612" y="25"/>
                      <a:pt x="610" y="22"/>
                    </a:cubicBezTo>
                    <a:cubicBezTo>
                      <a:pt x="609" y="21"/>
                      <a:pt x="605" y="26"/>
                      <a:pt x="604" y="28"/>
                    </a:cubicBezTo>
                    <a:cubicBezTo>
                      <a:pt x="604" y="30"/>
                      <a:pt x="599" y="32"/>
                      <a:pt x="599" y="32"/>
                    </a:cubicBezTo>
                    <a:cubicBezTo>
                      <a:pt x="599" y="32"/>
                      <a:pt x="601" y="29"/>
                      <a:pt x="602" y="28"/>
                    </a:cubicBezTo>
                    <a:cubicBezTo>
                      <a:pt x="603" y="27"/>
                      <a:pt x="606" y="21"/>
                      <a:pt x="606" y="21"/>
                    </a:cubicBezTo>
                    <a:cubicBezTo>
                      <a:pt x="602" y="21"/>
                      <a:pt x="602" y="21"/>
                      <a:pt x="602" y="21"/>
                    </a:cubicBezTo>
                    <a:cubicBezTo>
                      <a:pt x="601" y="21"/>
                      <a:pt x="598" y="25"/>
                      <a:pt x="598" y="25"/>
                    </a:cubicBezTo>
                    <a:cubicBezTo>
                      <a:pt x="598" y="25"/>
                      <a:pt x="598" y="22"/>
                      <a:pt x="599" y="21"/>
                    </a:cubicBezTo>
                    <a:cubicBezTo>
                      <a:pt x="599" y="19"/>
                      <a:pt x="604" y="19"/>
                      <a:pt x="608" y="18"/>
                    </a:cubicBezTo>
                    <a:cubicBezTo>
                      <a:pt x="613" y="17"/>
                      <a:pt x="612" y="5"/>
                      <a:pt x="612" y="5"/>
                    </a:cubicBezTo>
                    <a:cubicBezTo>
                      <a:pt x="606" y="5"/>
                      <a:pt x="606" y="5"/>
                      <a:pt x="606" y="5"/>
                    </a:cubicBezTo>
                    <a:cubicBezTo>
                      <a:pt x="606" y="5"/>
                      <a:pt x="604" y="8"/>
                      <a:pt x="603" y="6"/>
                    </a:cubicBezTo>
                    <a:cubicBezTo>
                      <a:pt x="601" y="6"/>
                      <a:pt x="604" y="2"/>
                      <a:pt x="602" y="1"/>
                    </a:cubicBezTo>
                    <a:cubicBezTo>
                      <a:pt x="600" y="0"/>
                      <a:pt x="598" y="5"/>
                      <a:pt x="596" y="5"/>
                    </a:cubicBezTo>
                    <a:cubicBezTo>
                      <a:pt x="593" y="6"/>
                      <a:pt x="591" y="1"/>
                      <a:pt x="587" y="2"/>
                    </a:cubicBezTo>
                    <a:cubicBezTo>
                      <a:pt x="584" y="4"/>
                      <a:pt x="591" y="11"/>
                      <a:pt x="589" y="11"/>
                    </a:cubicBezTo>
                    <a:cubicBezTo>
                      <a:pt x="587" y="12"/>
                      <a:pt x="585" y="9"/>
                      <a:pt x="581" y="8"/>
                    </a:cubicBezTo>
                    <a:cubicBezTo>
                      <a:pt x="577" y="8"/>
                      <a:pt x="584" y="13"/>
                      <a:pt x="584" y="13"/>
                    </a:cubicBezTo>
                    <a:cubicBezTo>
                      <a:pt x="581" y="14"/>
                      <a:pt x="581" y="14"/>
                      <a:pt x="581" y="14"/>
                    </a:cubicBezTo>
                    <a:cubicBezTo>
                      <a:pt x="583" y="17"/>
                      <a:pt x="583" y="17"/>
                      <a:pt x="583" y="17"/>
                    </a:cubicBezTo>
                    <a:cubicBezTo>
                      <a:pt x="586" y="17"/>
                      <a:pt x="586" y="17"/>
                      <a:pt x="586" y="17"/>
                    </a:cubicBezTo>
                    <a:cubicBezTo>
                      <a:pt x="593" y="21"/>
                      <a:pt x="593" y="21"/>
                      <a:pt x="593" y="21"/>
                    </a:cubicBezTo>
                    <a:cubicBezTo>
                      <a:pt x="586" y="22"/>
                      <a:pt x="586" y="22"/>
                      <a:pt x="586" y="22"/>
                    </a:cubicBezTo>
                    <a:cubicBezTo>
                      <a:pt x="587" y="27"/>
                      <a:pt x="587" y="27"/>
                      <a:pt x="587" y="27"/>
                    </a:cubicBezTo>
                    <a:cubicBezTo>
                      <a:pt x="583" y="27"/>
                      <a:pt x="583" y="27"/>
                      <a:pt x="583" y="27"/>
                    </a:cubicBezTo>
                    <a:cubicBezTo>
                      <a:pt x="583" y="30"/>
                      <a:pt x="583" y="30"/>
                      <a:pt x="583" y="30"/>
                    </a:cubicBezTo>
                    <a:cubicBezTo>
                      <a:pt x="585" y="31"/>
                      <a:pt x="585" y="31"/>
                      <a:pt x="585" y="31"/>
                    </a:cubicBezTo>
                    <a:cubicBezTo>
                      <a:pt x="585" y="35"/>
                      <a:pt x="585" y="35"/>
                      <a:pt x="585" y="35"/>
                    </a:cubicBezTo>
                    <a:cubicBezTo>
                      <a:pt x="587" y="36"/>
                      <a:pt x="587" y="36"/>
                      <a:pt x="587" y="36"/>
                    </a:cubicBezTo>
                    <a:cubicBezTo>
                      <a:pt x="582" y="37"/>
                      <a:pt x="582" y="37"/>
                      <a:pt x="582" y="37"/>
                    </a:cubicBezTo>
                    <a:cubicBezTo>
                      <a:pt x="587" y="45"/>
                      <a:pt x="587" y="45"/>
                      <a:pt x="587" y="45"/>
                    </a:cubicBezTo>
                    <a:cubicBezTo>
                      <a:pt x="580" y="45"/>
                      <a:pt x="580" y="45"/>
                      <a:pt x="580" y="45"/>
                    </a:cubicBezTo>
                    <a:cubicBezTo>
                      <a:pt x="576" y="55"/>
                      <a:pt x="576" y="55"/>
                      <a:pt x="576" y="55"/>
                    </a:cubicBezTo>
                    <a:cubicBezTo>
                      <a:pt x="574" y="35"/>
                      <a:pt x="574" y="35"/>
                      <a:pt x="574" y="35"/>
                    </a:cubicBezTo>
                    <a:cubicBezTo>
                      <a:pt x="569" y="37"/>
                      <a:pt x="569" y="37"/>
                      <a:pt x="569" y="37"/>
                    </a:cubicBezTo>
                    <a:cubicBezTo>
                      <a:pt x="575" y="26"/>
                      <a:pt x="575" y="26"/>
                      <a:pt x="575" y="26"/>
                    </a:cubicBezTo>
                    <a:cubicBezTo>
                      <a:pt x="573" y="24"/>
                      <a:pt x="573" y="24"/>
                      <a:pt x="573" y="24"/>
                    </a:cubicBezTo>
                    <a:cubicBezTo>
                      <a:pt x="573" y="24"/>
                      <a:pt x="574" y="17"/>
                      <a:pt x="569" y="17"/>
                    </a:cubicBezTo>
                    <a:cubicBezTo>
                      <a:pt x="564" y="18"/>
                      <a:pt x="564" y="32"/>
                      <a:pt x="564" y="32"/>
                    </a:cubicBezTo>
                    <a:cubicBezTo>
                      <a:pt x="560" y="33"/>
                      <a:pt x="560" y="33"/>
                      <a:pt x="560" y="33"/>
                    </a:cubicBezTo>
                    <a:cubicBezTo>
                      <a:pt x="560" y="33"/>
                      <a:pt x="561" y="41"/>
                      <a:pt x="558" y="45"/>
                    </a:cubicBezTo>
                    <a:cubicBezTo>
                      <a:pt x="556" y="50"/>
                      <a:pt x="550" y="60"/>
                      <a:pt x="550" y="60"/>
                    </a:cubicBezTo>
                    <a:cubicBezTo>
                      <a:pt x="550" y="60"/>
                      <a:pt x="555" y="62"/>
                      <a:pt x="554" y="65"/>
                    </a:cubicBezTo>
                    <a:cubicBezTo>
                      <a:pt x="553" y="68"/>
                      <a:pt x="551" y="73"/>
                      <a:pt x="551" y="73"/>
                    </a:cubicBezTo>
                    <a:cubicBezTo>
                      <a:pt x="549" y="78"/>
                      <a:pt x="549" y="78"/>
                      <a:pt x="549" y="78"/>
                    </a:cubicBezTo>
                    <a:cubicBezTo>
                      <a:pt x="546" y="74"/>
                      <a:pt x="546" y="74"/>
                      <a:pt x="546" y="74"/>
                    </a:cubicBezTo>
                    <a:cubicBezTo>
                      <a:pt x="544" y="77"/>
                      <a:pt x="544" y="77"/>
                      <a:pt x="544" y="77"/>
                    </a:cubicBezTo>
                    <a:cubicBezTo>
                      <a:pt x="541" y="71"/>
                      <a:pt x="541" y="71"/>
                      <a:pt x="541" y="71"/>
                    </a:cubicBezTo>
                    <a:cubicBezTo>
                      <a:pt x="547" y="55"/>
                      <a:pt x="547" y="55"/>
                      <a:pt x="547" y="55"/>
                    </a:cubicBezTo>
                    <a:cubicBezTo>
                      <a:pt x="542" y="55"/>
                      <a:pt x="542" y="55"/>
                      <a:pt x="542" y="55"/>
                    </a:cubicBezTo>
                    <a:cubicBezTo>
                      <a:pt x="541" y="52"/>
                      <a:pt x="541" y="52"/>
                      <a:pt x="541" y="52"/>
                    </a:cubicBezTo>
                    <a:cubicBezTo>
                      <a:pt x="553" y="34"/>
                      <a:pt x="553" y="34"/>
                      <a:pt x="553" y="34"/>
                    </a:cubicBezTo>
                    <a:cubicBezTo>
                      <a:pt x="551" y="32"/>
                      <a:pt x="551" y="32"/>
                      <a:pt x="551" y="32"/>
                    </a:cubicBezTo>
                    <a:cubicBezTo>
                      <a:pt x="551" y="32"/>
                      <a:pt x="556" y="25"/>
                      <a:pt x="554" y="24"/>
                    </a:cubicBezTo>
                    <a:cubicBezTo>
                      <a:pt x="552" y="22"/>
                      <a:pt x="546" y="29"/>
                      <a:pt x="546" y="29"/>
                    </a:cubicBezTo>
                    <a:cubicBezTo>
                      <a:pt x="546" y="22"/>
                      <a:pt x="546" y="22"/>
                      <a:pt x="546" y="22"/>
                    </a:cubicBezTo>
                    <a:cubicBezTo>
                      <a:pt x="540" y="22"/>
                      <a:pt x="540" y="22"/>
                      <a:pt x="540" y="22"/>
                    </a:cubicBezTo>
                    <a:cubicBezTo>
                      <a:pt x="542" y="26"/>
                      <a:pt x="542" y="26"/>
                      <a:pt x="542" y="26"/>
                    </a:cubicBezTo>
                    <a:cubicBezTo>
                      <a:pt x="541" y="31"/>
                      <a:pt x="541" y="31"/>
                      <a:pt x="541" y="31"/>
                    </a:cubicBezTo>
                    <a:cubicBezTo>
                      <a:pt x="537" y="26"/>
                      <a:pt x="537" y="26"/>
                      <a:pt x="537" y="26"/>
                    </a:cubicBezTo>
                    <a:cubicBezTo>
                      <a:pt x="534" y="29"/>
                      <a:pt x="534" y="29"/>
                      <a:pt x="534" y="29"/>
                    </a:cubicBezTo>
                    <a:cubicBezTo>
                      <a:pt x="535" y="24"/>
                      <a:pt x="535" y="24"/>
                      <a:pt x="535" y="24"/>
                    </a:cubicBezTo>
                    <a:cubicBezTo>
                      <a:pt x="534" y="22"/>
                      <a:pt x="534" y="22"/>
                      <a:pt x="534" y="22"/>
                    </a:cubicBezTo>
                    <a:cubicBezTo>
                      <a:pt x="532" y="26"/>
                      <a:pt x="532" y="26"/>
                      <a:pt x="532" y="26"/>
                    </a:cubicBezTo>
                    <a:cubicBezTo>
                      <a:pt x="525" y="21"/>
                      <a:pt x="525" y="21"/>
                      <a:pt x="525" y="21"/>
                    </a:cubicBezTo>
                    <a:cubicBezTo>
                      <a:pt x="523" y="27"/>
                      <a:pt x="523" y="27"/>
                      <a:pt x="523" y="27"/>
                    </a:cubicBezTo>
                    <a:cubicBezTo>
                      <a:pt x="530" y="30"/>
                      <a:pt x="530" y="30"/>
                      <a:pt x="530" y="30"/>
                    </a:cubicBezTo>
                    <a:cubicBezTo>
                      <a:pt x="526" y="31"/>
                      <a:pt x="526" y="31"/>
                      <a:pt x="526" y="31"/>
                    </a:cubicBezTo>
                    <a:cubicBezTo>
                      <a:pt x="526" y="35"/>
                      <a:pt x="526" y="35"/>
                      <a:pt x="526" y="35"/>
                    </a:cubicBezTo>
                    <a:cubicBezTo>
                      <a:pt x="523" y="34"/>
                      <a:pt x="523" y="34"/>
                      <a:pt x="523" y="34"/>
                    </a:cubicBezTo>
                    <a:cubicBezTo>
                      <a:pt x="522" y="32"/>
                      <a:pt x="522" y="32"/>
                      <a:pt x="522" y="32"/>
                    </a:cubicBezTo>
                    <a:cubicBezTo>
                      <a:pt x="519" y="32"/>
                      <a:pt x="519" y="32"/>
                      <a:pt x="519" y="32"/>
                    </a:cubicBezTo>
                    <a:cubicBezTo>
                      <a:pt x="519" y="39"/>
                      <a:pt x="519" y="39"/>
                      <a:pt x="519" y="39"/>
                    </a:cubicBezTo>
                    <a:cubicBezTo>
                      <a:pt x="526" y="40"/>
                      <a:pt x="526" y="40"/>
                      <a:pt x="526" y="40"/>
                    </a:cubicBezTo>
                    <a:cubicBezTo>
                      <a:pt x="532" y="46"/>
                      <a:pt x="532" y="46"/>
                      <a:pt x="532" y="46"/>
                    </a:cubicBezTo>
                    <a:cubicBezTo>
                      <a:pt x="532" y="48"/>
                      <a:pt x="532" y="48"/>
                      <a:pt x="532" y="48"/>
                    </a:cubicBezTo>
                    <a:cubicBezTo>
                      <a:pt x="532" y="48"/>
                      <a:pt x="530" y="46"/>
                      <a:pt x="527" y="45"/>
                    </a:cubicBezTo>
                    <a:cubicBezTo>
                      <a:pt x="525" y="43"/>
                      <a:pt x="521" y="43"/>
                      <a:pt x="521" y="43"/>
                    </a:cubicBezTo>
                    <a:cubicBezTo>
                      <a:pt x="520" y="53"/>
                      <a:pt x="520" y="53"/>
                      <a:pt x="520" y="53"/>
                    </a:cubicBezTo>
                    <a:cubicBezTo>
                      <a:pt x="522" y="52"/>
                      <a:pt x="522" y="52"/>
                      <a:pt x="522" y="52"/>
                    </a:cubicBezTo>
                    <a:cubicBezTo>
                      <a:pt x="525" y="58"/>
                      <a:pt x="525" y="58"/>
                      <a:pt x="525" y="58"/>
                    </a:cubicBezTo>
                    <a:cubicBezTo>
                      <a:pt x="525" y="58"/>
                      <a:pt x="522" y="57"/>
                      <a:pt x="519" y="56"/>
                    </a:cubicBezTo>
                    <a:cubicBezTo>
                      <a:pt x="515" y="56"/>
                      <a:pt x="514" y="59"/>
                      <a:pt x="514" y="59"/>
                    </a:cubicBezTo>
                    <a:cubicBezTo>
                      <a:pt x="505" y="75"/>
                      <a:pt x="505" y="75"/>
                      <a:pt x="505" y="75"/>
                    </a:cubicBezTo>
                    <a:cubicBezTo>
                      <a:pt x="507" y="75"/>
                      <a:pt x="507" y="75"/>
                      <a:pt x="507" y="75"/>
                    </a:cubicBezTo>
                    <a:cubicBezTo>
                      <a:pt x="504" y="78"/>
                      <a:pt x="504" y="78"/>
                      <a:pt x="504" y="78"/>
                    </a:cubicBezTo>
                    <a:cubicBezTo>
                      <a:pt x="508" y="83"/>
                      <a:pt x="508" y="83"/>
                      <a:pt x="508" y="83"/>
                    </a:cubicBezTo>
                    <a:cubicBezTo>
                      <a:pt x="505" y="85"/>
                      <a:pt x="505" y="85"/>
                      <a:pt x="505" y="85"/>
                    </a:cubicBezTo>
                    <a:cubicBezTo>
                      <a:pt x="513" y="90"/>
                      <a:pt x="513" y="90"/>
                      <a:pt x="513" y="90"/>
                    </a:cubicBezTo>
                    <a:cubicBezTo>
                      <a:pt x="504" y="92"/>
                      <a:pt x="504" y="92"/>
                      <a:pt x="504" y="92"/>
                    </a:cubicBezTo>
                    <a:cubicBezTo>
                      <a:pt x="499" y="83"/>
                      <a:pt x="499" y="83"/>
                      <a:pt x="499" y="83"/>
                    </a:cubicBezTo>
                    <a:cubicBezTo>
                      <a:pt x="486" y="91"/>
                      <a:pt x="486" y="91"/>
                      <a:pt x="486" y="91"/>
                    </a:cubicBezTo>
                    <a:cubicBezTo>
                      <a:pt x="486" y="89"/>
                      <a:pt x="486" y="89"/>
                      <a:pt x="486" y="89"/>
                    </a:cubicBezTo>
                    <a:cubicBezTo>
                      <a:pt x="486" y="89"/>
                      <a:pt x="497" y="83"/>
                      <a:pt x="498" y="79"/>
                    </a:cubicBezTo>
                    <a:cubicBezTo>
                      <a:pt x="499" y="76"/>
                      <a:pt x="489" y="78"/>
                      <a:pt x="489" y="78"/>
                    </a:cubicBezTo>
                    <a:cubicBezTo>
                      <a:pt x="489" y="78"/>
                      <a:pt x="486" y="75"/>
                      <a:pt x="484" y="78"/>
                    </a:cubicBezTo>
                    <a:cubicBezTo>
                      <a:pt x="481" y="81"/>
                      <a:pt x="487" y="84"/>
                      <a:pt x="487" y="84"/>
                    </a:cubicBezTo>
                    <a:cubicBezTo>
                      <a:pt x="483" y="84"/>
                      <a:pt x="483" y="84"/>
                      <a:pt x="483" y="84"/>
                    </a:cubicBezTo>
                    <a:cubicBezTo>
                      <a:pt x="483" y="84"/>
                      <a:pt x="481" y="76"/>
                      <a:pt x="476" y="76"/>
                    </a:cubicBezTo>
                    <a:cubicBezTo>
                      <a:pt x="472" y="76"/>
                      <a:pt x="472" y="82"/>
                      <a:pt x="472" y="82"/>
                    </a:cubicBezTo>
                    <a:cubicBezTo>
                      <a:pt x="465" y="77"/>
                      <a:pt x="465" y="77"/>
                      <a:pt x="465" y="77"/>
                    </a:cubicBezTo>
                    <a:cubicBezTo>
                      <a:pt x="464" y="80"/>
                      <a:pt x="464" y="80"/>
                      <a:pt x="464" y="80"/>
                    </a:cubicBezTo>
                    <a:cubicBezTo>
                      <a:pt x="464" y="80"/>
                      <a:pt x="460" y="79"/>
                      <a:pt x="458" y="82"/>
                    </a:cubicBezTo>
                    <a:cubicBezTo>
                      <a:pt x="456" y="87"/>
                      <a:pt x="465" y="87"/>
                      <a:pt x="465" y="87"/>
                    </a:cubicBezTo>
                    <a:cubicBezTo>
                      <a:pt x="462" y="90"/>
                      <a:pt x="462" y="90"/>
                      <a:pt x="462" y="90"/>
                    </a:cubicBezTo>
                    <a:cubicBezTo>
                      <a:pt x="472" y="92"/>
                      <a:pt x="472" y="92"/>
                      <a:pt x="472" y="92"/>
                    </a:cubicBezTo>
                    <a:cubicBezTo>
                      <a:pt x="477" y="91"/>
                      <a:pt x="477" y="91"/>
                      <a:pt x="477" y="91"/>
                    </a:cubicBezTo>
                    <a:cubicBezTo>
                      <a:pt x="473" y="94"/>
                      <a:pt x="473" y="94"/>
                      <a:pt x="473" y="94"/>
                    </a:cubicBezTo>
                    <a:cubicBezTo>
                      <a:pt x="474" y="95"/>
                      <a:pt x="474" y="95"/>
                      <a:pt x="474" y="95"/>
                    </a:cubicBezTo>
                    <a:cubicBezTo>
                      <a:pt x="478" y="94"/>
                      <a:pt x="478" y="94"/>
                      <a:pt x="478" y="94"/>
                    </a:cubicBezTo>
                    <a:cubicBezTo>
                      <a:pt x="478" y="97"/>
                      <a:pt x="478" y="97"/>
                      <a:pt x="478" y="97"/>
                    </a:cubicBezTo>
                    <a:cubicBezTo>
                      <a:pt x="475" y="97"/>
                      <a:pt x="475" y="97"/>
                      <a:pt x="475" y="97"/>
                    </a:cubicBezTo>
                    <a:cubicBezTo>
                      <a:pt x="478" y="103"/>
                      <a:pt x="478" y="103"/>
                      <a:pt x="478" y="103"/>
                    </a:cubicBezTo>
                    <a:cubicBezTo>
                      <a:pt x="478" y="106"/>
                      <a:pt x="478" y="106"/>
                      <a:pt x="478" y="106"/>
                    </a:cubicBezTo>
                    <a:cubicBezTo>
                      <a:pt x="478" y="106"/>
                      <a:pt x="484" y="110"/>
                      <a:pt x="482" y="111"/>
                    </a:cubicBezTo>
                    <a:cubicBezTo>
                      <a:pt x="479" y="112"/>
                      <a:pt x="474" y="103"/>
                      <a:pt x="474" y="103"/>
                    </a:cubicBezTo>
                    <a:cubicBezTo>
                      <a:pt x="469" y="100"/>
                      <a:pt x="469" y="100"/>
                      <a:pt x="469" y="100"/>
                    </a:cubicBezTo>
                    <a:cubicBezTo>
                      <a:pt x="469" y="100"/>
                      <a:pt x="465" y="94"/>
                      <a:pt x="460" y="94"/>
                    </a:cubicBezTo>
                    <a:cubicBezTo>
                      <a:pt x="457" y="94"/>
                      <a:pt x="459" y="100"/>
                      <a:pt x="459" y="100"/>
                    </a:cubicBezTo>
                    <a:cubicBezTo>
                      <a:pt x="461" y="104"/>
                      <a:pt x="461" y="104"/>
                      <a:pt x="461" y="104"/>
                    </a:cubicBezTo>
                    <a:cubicBezTo>
                      <a:pt x="458" y="106"/>
                      <a:pt x="458" y="106"/>
                      <a:pt x="458" y="106"/>
                    </a:cubicBezTo>
                    <a:cubicBezTo>
                      <a:pt x="456" y="111"/>
                      <a:pt x="456" y="111"/>
                      <a:pt x="456" y="111"/>
                    </a:cubicBezTo>
                    <a:cubicBezTo>
                      <a:pt x="454" y="106"/>
                      <a:pt x="454" y="106"/>
                      <a:pt x="454" y="106"/>
                    </a:cubicBezTo>
                    <a:cubicBezTo>
                      <a:pt x="457" y="102"/>
                      <a:pt x="457" y="102"/>
                      <a:pt x="457" y="102"/>
                    </a:cubicBezTo>
                    <a:cubicBezTo>
                      <a:pt x="457" y="100"/>
                      <a:pt x="457" y="100"/>
                      <a:pt x="457" y="100"/>
                    </a:cubicBezTo>
                    <a:cubicBezTo>
                      <a:pt x="451" y="106"/>
                      <a:pt x="451" y="106"/>
                      <a:pt x="451" y="106"/>
                    </a:cubicBezTo>
                    <a:cubicBezTo>
                      <a:pt x="445" y="116"/>
                      <a:pt x="445" y="116"/>
                      <a:pt x="445" y="116"/>
                    </a:cubicBezTo>
                    <a:cubicBezTo>
                      <a:pt x="448" y="124"/>
                      <a:pt x="448" y="124"/>
                      <a:pt x="448" y="124"/>
                    </a:cubicBezTo>
                    <a:cubicBezTo>
                      <a:pt x="452" y="129"/>
                      <a:pt x="452" y="129"/>
                      <a:pt x="452" y="129"/>
                    </a:cubicBezTo>
                    <a:cubicBezTo>
                      <a:pt x="444" y="126"/>
                      <a:pt x="444" y="126"/>
                      <a:pt x="444" y="126"/>
                    </a:cubicBezTo>
                    <a:cubicBezTo>
                      <a:pt x="442" y="140"/>
                      <a:pt x="442" y="140"/>
                      <a:pt x="442" y="140"/>
                    </a:cubicBezTo>
                    <a:cubicBezTo>
                      <a:pt x="440" y="140"/>
                      <a:pt x="440" y="140"/>
                      <a:pt x="440" y="140"/>
                    </a:cubicBezTo>
                    <a:cubicBezTo>
                      <a:pt x="436" y="147"/>
                      <a:pt x="436" y="147"/>
                      <a:pt x="436" y="147"/>
                    </a:cubicBezTo>
                    <a:cubicBezTo>
                      <a:pt x="434" y="144"/>
                      <a:pt x="434" y="144"/>
                      <a:pt x="434" y="144"/>
                    </a:cubicBezTo>
                    <a:cubicBezTo>
                      <a:pt x="439" y="138"/>
                      <a:pt x="439" y="138"/>
                      <a:pt x="439" y="138"/>
                    </a:cubicBezTo>
                    <a:cubicBezTo>
                      <a:pt x="441" y="129"/>
                      <a:pt x="441" y="129"/>
                      <a:pt x="441" y="129"/>
                    </a:cubicBezTo>
                    <a:cubicBezTo>
                      <a:pt x="440" y="128"/>
                      <a:pt x="440" y="128"/>
                      <a:pt x="440" y="128"/>
                    </a:cubicBezTo>
                    <a:cubicBezTo>
                      <a:pt x="443" y="125"/>
                      <a:pt x="443" y="125"/>
                      <a:pt x="443" y="125"/>
                    </a:cubicBezTo>
                    <a:cubicBezTo>
                      <a:pt x="441" y="120"/>
                      <a:pt x="441" y="120"/>
                      <a:pt x="441" y="120"/>
                    </a:cubicBezTo>
                    <a:cubicBezTo>
                      <a:pt x="441" y="112"/>
                      <a:pt x="441" y="112"/>
                      <a:pt x="441" y="112"/>
                    </a:cubicBezTo>
                    <a:cubicBezTo>
                      <a:pt x="441" y="109"/>
                      <a:pt x="439" y="102"/>
                      <a:pt x="439" y="102"/>
                    </a:cubicBezTo>
                    <a:cubicBezTo>
                      <a:pt x="434" y="106"/>
                      <a:pt x="434" y="106"/>
                      <a:pt x="434" y="106"/>
                    </a:cubicBezTo>
                    <a:cubicBezTo>
                      <a:pt x="434" y="106"/>
                      <a:pt x="435" y="112"/>
                      <a:pt x="432" y="115"/>
                    </a:cubicBezTo>
                    <a:cubicBezTo>
                      <a:pt x="428" y="118"/>
                      <a:pt x="431" y="124"/>
                      <a:pt x="431" y="124"/>
                    </a:cubicBezTo>
                    <a:cubicBezTo>
                      <a:pt x="434" y="126"/>
                      <a:pt x="434" y="126"/>
                      <a:pt x="434" y="126"/>
                    </a:cubicBezTo>
                    <a:cubicBezTo>
                      <a:pt x="429" y="128"/>
                      <a:pt x="429" y="128"/>
                      <a:pt x="429" y="128"/>
                    </a:cubicBezTo>
                    <a:cubicBezTo>
                      <a:pt x="429" y="137"/>
                      <a:pt x="429" y="137"/>
                      <a:pt x="429" y="137"/>
                    </a:cubicBezTo>
                    <a:cubicBezTo>
                      <a:pt x="424" y="138"/>
                      <a:pt x="424" y="138"/>
                      <a:pt x="424" y="138"/>
                    </a:cubicBezTo>
                    <a:cubicBezTo>
                      <a:pt x="427" y="124"/>
                      <a:pt x="427" y="124"/>
                      <a:pt x="427" y="124"/>
                    </a:cubicBezTo>
                    <a:cubicBezTo>
                      <a:pt x="426" y="124"/>
                      <a:pt x="426" y="124"/>
                      <a:pt x="426" y="124"/>
                    </a:cubicBezTo>
                    <a:cubicBezTo>
                      <a:pt x="426" y="113"/>
                      <a:pt x="426" y="113"/>
                      <a:pt x="426" y="113"/>
                    </a:cubicBezTo>
                    <a:cubicBezTo>
                      <a:pt x="426" y="113"/>
                      <a:pt x="421" y="115"/>
                      <a:pt x="413" y="119"/>
                    </a:cubicBezTo>
                    <a:cubicBezTo>
                      <a:pt x="405" y="121"/>
                      <a:pt x="410" y="132"/>
                      <a:pt x="410" y="132"/>
                    </a:cubicBezTo>
                    <a:cubicBezTo>
                      <a:pt x="413" y="132"/>
                      <a:pt x="413" y="132"/>
                      <a:pt x="413" y="132"/>
                    </a:cubicBezTo>
                    <a:cubicBezTo>
                      <a:pt x="413" y="132"/>
                      <a:pt x="413" y="134"/>
                      <a:pt x="412" y="137"/>
                    </a:cubicBezTo>
                    <a:cubicBezTo>
                      <a:pt x="411" y="139"/>
                      <a:pt x="416" y="142"/>
                      <a:pt x="420" y="142"/>
                    </a:cubicBezTo>
                    <a:cubicBezTo>
                      <a:pt x="424" y="143"/>
                      <a:pt x="424" y="150"/>
                      <a:pt x="424" y="150"/>
                    </a:cubicBezTo>
                    <a:cubicBezTo>
                      <a:pt x="427" y="151"/>
                      <a:pt x="427" y="151"/>
                      <a:pt x="427" y="151"/>
                    </a:cubicBezTo>
                    <a:cubicBezTo>
                      <a:pt x="425" y="152"/>
                      <a:pt x="425" y="152"/>
                      <a:pt x="425" y="152"/>
                    </a:cubicBezTo>
                    <a:cubicBezTo>
                      <a:pt x="425" y="152"/>
                      <a:pt x="421" y="150"/>
                      <a:pt x="421" y="147"/>
                    </a:cubicBezTo>
                    <a:cubicBezTo>
                      <a:pt x="421" y="144"/>
                      <a:pt x="416" y="144"/>
                      <a:pt x="412" y="143"/>
                    </a:cubicBezTo>
                    <a:cubicBezTo>
                      <a:pt x="410" y="143"/>
                      <a:pt x="407" y="134"/>
                      <a:pt x="407" y="134"/>
                    </a:cubicBezTo>
                    <a:cubicBezTo>
                      <a:pt x="399" y="136"/>
                      <a:pt x="399" y="136"/>
                      <a:pt x="399" y="136"/>
                    </a:cubicBezTo>
                    <a:cubicBezTo>
                      <a:pt x="399" y="136"/>
                      <a:pt x="400" y="140"/>
                      <a:pt x="402" y="143"/>
                    </a:cubicBezTo>
                    <a:cubicBezTo>
                      <a:pt x="405" y="146"/>
                      <a:pt x="409" y="147"/>
                      <a:pt x="409" y="147"/>
                    </a:cubicBezTo>
                    <a:cubicBezTo>
                      <a:pt x="409" y="147"/>
                      <a:pt x="405" y="148"/>
                      <a:pt x="402" y="146"/>
                    </a:cubicBezTo>
                    <a:cubicBezTo>
                      <a:pt x="399" y="145"/>
                      <a:pt x="394" y="138"/>
                      <a:pt x="394" y="138"/>
                    </a:cubicBezTo>
                    <a:cubicBezTo>
                      <a:pt x="390" y="139"/>
                      <a:pt x="390" y="139"/>
                      <a:pt x="390" y="139"/>
                    </a:cubicBezTo>
                    <a:cubicBezTo>
                      <a:pt x="392" y="145"/>
                      <a:pt x="392" y="145"/>
                      <a:pt x="392" y="145"/>
                    </a:cubicBezTo>
                    <a:cubicBezTo>
                      <a:pt x="388" y="151"/>
                      <a:pt x="388" y="151"/>
                      <a:pt x="388" y="151"/>
                    </a:cubicBezTo>
                    <a:cubicBezTo>
                      <a:pt x="392" y="159"/>
                      <a:pt x="392" y="159"/>
                      <a:pt x="392" y="159"/>
                    </a:cubicBezTo>
                    <a:cubicBezTo>
                      <a:pt x="380" y="160"/>
                      <a:pt x="380" y="160"/>
                      <a:pt x="380" y="160"/>
                    </a:cubicBezTo>
                    <a:cubicBezTo>
                      <a:pt x="384" y="165"/>
                      <a:pt x="384" y="165"/>
                      <a:pt x="384" y="165"/>
                    </a:cubicBezTo>
                    <a:cubicBezTo>
                      <a:pt x="379" y="169"/>
                      <a:pt x="379" y="169"/>
                      <a:pt x="379" y="169"/>
                    </a:cubicBezTo>
                    <a:cubicBezTo>
                      <a:pt x="379" y="175"/>
                      <a:pt x="379" y="175"/>
                      <a:pt x="379" y="175"/>
                    </a:cubicBezTo>
                    <a:cubicBezTo>
                      <a:pt x="384" y="174"/>
                      <a:pt x="384" y="174"/>
                      <a:pt x="384" y="174"/>
                    </a:cubicBezTo>
                    <a:cubicBezTo>
                      <a:pt x="387" y="176"/>
                      <a:pt x="387" y="176"/>
                      <a:pt x="387" y="176"/>
                    </a:cubicBezTo>
                    <a:cubicBezTo>
                      <a:pt x="383" y="176"/>
                      <a:pt x="383" y="176"/>
                      <a:pt x="383" y="176"/>
                    </a:cubicBezTo>
                    <a:cubicBezTo>
                      <a:pt x="380" y="181"/>
                      <a:pt x="380" y="181"/>
                      <a:pt x="380" y="181"/>
                    </a:cubicBezTo>
                    <a:cubicBezTo>
                      <a:pt x="385" y="183"/>
                      <a:pt x="385" y="183"/>
                      <a:pt x="385" y="183"/>
                    </a:cubicBezTo>
                    <a:cubicBezTo>
                      <a:pt x="377" y="183"/>
                      <a:pt x="377" y="183"/>
                      <a:pt x="377" y="183"/>
                    </a:cubicBezTo>
                    <a:cubicBezTo>
                      <a:pt x="371" y="184"/>
                      <a:pt x="377" y="187"/>
                      <a:pt x="377" y="187"/>
                    </a:cubicBezTo>
                    <a:cubicBezTo>
                      <a:pt x="382" y="189"/>
                      <a:pt x="382" y="189"/>
                      <a:pt x="382" y="189"/>
                    </a:cubicBezTo>
                    <a:cubicBezTo>
                      <a:pt x="382" y="189"/>
                      <a:pt x="375" y="187"/>
                      <a:pt x="372" y="188"/>
                    </a:cubicBezTo>
                    <a:cubicBezTo>
                      <a:pt x="370" y="188"/>
                      <a:pt x="371" y="190"/>
                      <a:pt x="371" y="190"/>
                    </a:cubicBezTo>
                    <a:cubicBezTo>
                      <a:pt x="375" y="191"/>
                      <a:pt x="375" y="191"/>
                      <a:pt x="375" y="191"/>
                    </a:cubicBezTo>
                    <a:cubicBezTo>
                      <a:pt x="374" y="195"/>
                      <a:pt x="374" y="195"/>
                      <a:pt x="374" y="195"/>
                    </a:cubicBezTo>
                    <a:cubicBezTo>
                      <a:pt x="374" y="192"/>
                      <a:pt x="374" y="192"/>
                      <a:pt x="374" y="192"/>
                    </a:cubicBezTo>
                    <a:cubicBezTo>
                      <a:pt x="370" y="191"/>
                      <a:pt x="370" y="191"/>
                      <a:pt x="370" y="191"/>
                    </a:cubicBezTo>
                    <a:cubicBezTo>
                      <a:pt x="368" y="188"/>
                      <a:pt x="368" y="188"/>
                      <a:pt x="368" y="188"/>
                    </a:cubicBezTo>
                    <a:cubicBezTo>
                      <a:pt x="367" y="191"/>
                      <a:pt x="367" y="191"/>
                      <a:pt x="367" y="191"/>
                    </a:cubicBezTo>
                    <a:cubicBezTo>
                      <a:pt x="367" y="191"/>
                      <a:pt x="366" y="192"/>
                      <a:pt x="361" y="192"/>
                    </a:cubicBezTo>
                    <a:cubicBezTo>
                      <a:pt x="357" y="192"/>
                      <a:pt x="357" y="200"/>
                      <a:pt x="357" y="200"/>
                    </a:cubicBezTo>
                    <a:cubicBezTo>
                      <a:pt x="355" y="202"/>
                      <a:pt x="355" y="202"/>
                      <a:pt x="355" y="202"/>
                    </a:cubicBezTo>
                    <a:cubicBezTo>
                      <a:pt x="357" y="206"/>
                      <a:pt x="357" y="206"/>
                      <a:pt x="357" y="206"/>
                    </a:cubicBezTo>
                    <a:cubicBezTo>
                      <a:pt x="368" y="203"/>
                      <a:pt x="368" y="203"/>
                      <a:pt x="368" y="203"/>
                    </a:cubicBezTo>
                    <a:cubicBezTo>
                      <a:pt x="368" y="203"/>
                      <a:pt x="369" y="205"/>
                      <a:pt x="372" y="205"/>
                    </a:cubicBezTo>
                    <a:cubicBezTo>
                      <a:pt x="375" y="205"/>
                      <a:pt x="382" y="199"/>
                      <a:pt x="382" y="199"/>
                    </a:cubicBezTo>
                    <a:cubicBezTo>
                      <a:pt x="380" y="203"/>
                      <a:pt x="380" y="203"/>
                      <a:pt x="380" y="203"/>
                    </a:cubicBezTo>
                    <a:cubicBezTo>
                      <a:pt x="385" y="204"/>
                      <a:pt x="385" y="204"/>
                      <a:pt x="385" y="204"/>
                    </a:cubicBezTo>
                    <a:cubicBezTo>
                      <a:pt x="376" y="207"/>
                      <a:pt x="376" y="207"/>
                      <a:pt x="376" y="207"/>
                    </a:cubicBezTo>
                    <a:cubicBezTo>
                      <a:pt x="376" y="213"/>
                      <a:pt x="376" y="213"/>
                      <a:pt x="376" y="213"/>
                    </a:cubicBezTo>
                    <a:cubicBezTo>
                      <a:pt x="379" y="217"/>
                      <a:pt x="379" y="217"/>
                      <a:pt x="379" y="217"/>
                    </a:cubicBezTo>
                    <a:cubicBezTo>
                      <a:pt x="378" y="218"/>
                      <a:pt x="378" y="218"/>
                      <a:pt x="378" y="218"/>
                    </a:cubicBezTo>
                    <a:cubicBezTo>
                      <a:pt x="374" y="209"/>
                      <a:pt x="374" y="209"/>
                      <a:pt x="374" y="209"/>
                    </a:cubicBezTo>
                    <a:cubicBezTo>
                      <a:pt x="367" y="211"/>
                      <a:pt x="367" y="211"/>
                      <a:pt x="367" y="211"/>
                    </a:cubicBezTo>
                    <a:cubicBezTo>
                      <a:pt x="367" y="211"/>
                      <a:pt x="364" y="208"/>
                      <a:pt x="361" y="208"/>
                    </a:cubicBezTo>
                    <a:cubicBezTo>
                      <a:pt x="358" y="207"/>
                      <a:pt x="353" y="209"/>
                      <a:pt x="351" y="213"/>
                    </a:cubicBezTo>
                    <a:cubicBezTo>
                      <a:pt x="348" y="215"/>
                      <a:pt x="355" y="215"/>
                      <a:pt x="358" y="216"/>
                    </a:cubicBezTo>
                    <a:cubicBezTo>
                      <a:pt x="362" y="217"/>
                      <a:pt x="361" y="221"/>
                      <a:pt x="361" y="221"/>
                    </a:cubicBezTo>
                    <a:cubicBezTo>
                      <a:pt x="364" y="223"/>
                      <a:pt x="364" y="223"/>
                      <a:pt x="364" y="223"/>
                    </a:cubicBezTo>
                    <a:cubicBezTo>
                      <a:pt x="363" y="224"/>
                      <a:pt x="363" y="224"/>
                      <a:pt x="363" y="224"/>
                    </a:cubicBezTo>
                    <a:cubicBezTo>
                      <a:pt x="363" y="224"/>
                      <a:pt x="359" y="221"/>
                      <a:pt x="357" y="219"/>
                    </a:cubicBezTo>
                    <a:cubicBezTo>
                      <a:pt x="355" y="217"/>
                      <a:pt x="348" y="216"/>
                      <a:pt x="348" y="216"/>
                    </a:cubicBezTo>
                    <a:cubicBezTo>
                      <a:pt x="347" y="218"/>
                      <a:pt x="347" y="218"/>
                      <a:pt x="347" y="218"/>
                    </a:cubicBezTo>
                    <a:cubicBezTo>
                      <a:pt x="353" y="219"/>
                      <a:pt x="353" y="219"/>
                      <a:pt x="353" y="219"/>
                    </a:cubicBezTo>
                    <a:cubicBezTo>
                      <a:pt x="350" y="221"/>
                      <a:pt x="350" y="221"/>
                      <a:pt x="350" y="221"/>
                    </a:cubicBezTo>
                    <a:cubicBezTo>
                      <a:pt x="352" y="223"/>
                      <a:pt x="352" y="223"/>
                      <a:pt x="352" y="223"/>
                    </a:cubicBezTo>
                    <a:cubicBezTo>
                      <a:pt x="355" y="222"/>
                      <a:pt x="355" y="222"/>
                      <a:pt x="355" y="222"/>
                    </a:cubicBezTo>
                    <a:cubicBezTo>
                      <a:pt x="358" y="223"/>
                      <a:pt x="358" y="223"/>
                      <a:pt x="358" y="223"/>
                    </a:cubicBezTo>
                    <a:cubicBezTo>
                      <a:pt x="351" y="226"/>
                      <a:pt x="351" y="226"/>
                      <a:pt x="351" y="226"/>
                    </a:cubicBezTo>
                    <a:cubicBezTo>
                      <a:pt x="352" y="230"/>
                      <a:pt x="352" y="230"/>
                      <a:pt x="352" y="230"/>
                    </a:cubicBezTo>
                    <a:cubicBezTo>
                      <a:pt x="352" y="230"/>
                      <a:pt x="354" y="229"/>
                      <a:pt x="356" y="231"/>
                    </a:cubicBezTo>
                    <a:cubicBezTo>
                      <a:pt x="357" y="233"/>
                      <a:pt x="352" y="236"/>
                      <a:pt x="348" y="235"/>
                    </a:cubicBezTo>
                    <a:cubicBezTo>
                      <a:pt x="345" y="233"/>
                      <a:pt x="346" y="221"/>
                      <a:pt x="346" y="221"/>
                    </a:cubicBezTo>
                    <a:cubicBezTo>
                      <a:pt x="343" y="221"/>
                      <a:pt x="343" y="221"/>
                      <a:pt x="343" y="221"/>
                    </a:cubicBezTo>
                    <a:cubicBezTo>
                      <a:pt x="338" y="230"/>
                      <a:pt x="338" y="230"/>
                      <a:pt x="338" y="230"/>
                    </a:cubicBezTo>
                    <a:cubicBezTo>
                      <a:pt x="337" y="224"/>
                      <a:pt x="337" y="224"/>
                      <a:pt x="337" y="224"/>
                    </a:cubicBezTo>
                    <a:cubicBezTo>
                      <a:pt x="335" y="224"/>
                      <a:pt x="335" y="224"/>
                      <a:pt x="335" y="224"/>
                    </a:cubicBezTo>
                    <a:cubicBezTo>
                      <a:pt x="334" y="229"/>
                      <a:pt x="334" y="229"/>
                      <a:pt x="334" y="229"/>
                    </a:cubicBezTo>
                    <a:cubicBezTo>
                      <a:pt x="330" y="227"/>
                      <a:pt x="330" y="227"/>
                      <a:pt x="330" y="227"/>
                    </a:cubicBezTo>
                    <a:cubicBezTo>
                      <a:pt x="327" y="235"/>
                      <a:pt x="327" y="235"/>
                      <a:pt x="327" y="235"/>
                    </a:cubicBezTo>
                    <a:cubicBezTo>
                      <a:pt x="329" y="238"/>
                      <a:pt x="329" y="238"/>
                      <a:pt x="329" y="238"/>
                    </a:cubicBezTo>
                    <a:cubicBezTo>
                      <a:pt x="331" y="237"/>
                      <a:pt x="331" y="237"/>
                      <a:pt x="331" y="237"/>
                    </a:cubicBezTo>
                    <a:cubicBezTo>
                      <a:pt x="331" y="234"/>
                      <a:pt x="331" y="234"/>
                      <a:pt x="331" y="234"/>
                    </a:cubicBezTo>
                    <a:cubicBezTo>
                      <a:pt x="335" y="232"/>
                      <a:pt x="335" y="232"/>
                      <a:pt x="335" y="232"/>
                    </a:cubicBezTo>
                    <a:cubicBezTo>
                      <a:pt x="337" y="234"/>
                      <a:pt x="337" y="234"/>
                      <a:pt x="337" y="234"/>
                    </a:cubicBezTo>
                    <a:cubicBezTo>
                      <a:pt x="333" y="237"/>
                      <a:pt x="333" y="237"/>
                      <a:pt x="333" y="237"/>
                    </a:cubicBezTo>
                    <a:cubicBezTo>
                      <a:pt x="335" y="238"/>
                      <a:pt x="335" y="238"/>
                      <a:pt x="335" y="238"/>
                    </a:cubicBezTo>
                    <a:cubicBezTo>
                      <a:pt x="335" y="238"/>
                      <a:pt x="339" y="238"/>
                      <a:pt x="341" y="239"/>
                    </a:cubicBezTo>
                    <a:cubicBezTo>
                      <a:pt x="343" y="239"/>
                      <a:pt x="340" y="236"/>
                      <a:pt x="340" y="234"/>
                    </a:cubicBezTo>
                    <a:cubicBezTo>
                      <a:pt x="340" y="233"/>
                      <a:pt x="344" y="234"/>
                      <a:pt x="345" y="236"/>
                    </a:cubicBezTo>
                    <a:cubicBezTo>
                      <a:pt x="346" y="238"/>
                      <a:pt x="344" y="242"/>
                      <a:pt x="343" y="242"/>
                    </a:cubicBezTo>
                    <a:cubicBezTo>
                      <a:pt x="341" y="244"/>
                      <a:pt x="342" y="242"/>
                      <a:pt x="339" y="240"/>
                    </a:cubicBezTo>
                    <a:cubicBezTo>
                      <a:pt x="336" y="239"/>
                      <a:pt x="334" y="244"/>
                      <a:pt x="330" y="244"/>
                    </a:cubicBezTo>
                    <a:cubicBezTo>
                      <a:pt x="327" y="244"/>
                      <a:pt x="322" y="245"/>
                      <a:pt x="322" y="245"/>
                    </a:cubicBezTo>
                    <a:cubicBezTo>
                      <a:pt x="320" y="246"/>
                      <a:pt x="320" y="246"/>
                      <a:pt x="320" y="246"/>
                    </a:cubicBezTo>
                    <a:cubicBezTo>
                      <a:pt x="322" y="248"/>
                      <a:pt x="322" y="248"/>
                      <a:pt x="322" y="248"/>
                    </a:cubicBezTo>
                    <a:cubicBezTo>
                      <a:pt x="318" y="248"/>
                      <a:pt x="318" y="248"/>
                      <a:pt x="318" y="248"/>
                    </a:cubicBezTo>
                    <a:cubicBezTo>
                      <a:pt x="315" y="252"/>
                      <a:pt x="315" y="252"/>
                      <a:pt x="315" y="252"/>
                    </a:cubicBezTo>
                    <a:cubicBezTo>
                      <a:pt x="321" y="253"/>
                      <a:pt x="321" y="253"/>
                      <a:pt x="321" y="253"/>
                    </a:cubicBezTo>
                    <a:cubicBezTo>
                      <a:pt x="315" y="256"/>
                      <a:pt x="315" y="256"/>
                      <a:pt x="315" y="256"/>
                    </a:cubicBezTo>
                    <a:cubicBezTo>
                      <a:pt x="315" y="256"/>
                      <a:pt x="318" y="260"/>
                      <a:pt x="322" y="258"/>
                    </a:cubicBezTo>
                    <a:cubicBezTo>
                      <a:pt x="327" y="256"/>
                      <a:pt x="331" y="249"/>
                      <a:pt x="331" y="249"/>
                    </a:cubicBezTo>
                    <a:cubicBezTo>
                      <a:pt x="342" y="256"/>
                      <a:pt x="342" y="256"/>
                      <a:pt x="342" y="256"/>
                    </a:cubicBezTo>
                    <a:cubicBezTo>
                      <a:pt x="334" y="253"/>
                      <a:pt x="334" y="253"/>
                      <a:pt x="334" y="253"/>
                    </a:cubicBezTo>
                    <a:cubicBezTo>
                      <a:pt x="331" y="254"/>
                      <a:pt x="331" y="254"/>
                      <a:pt x="331" y="254"/>
                    </a:cubicBezTo>
                    <a:cubicBezTo>
                      <a:pt x="337" y="257"/>
                      <a:pt x="337" y="257"/>
                      <a:pt x="337" y="257"/>
                    </a:cubicBezTo>
                    <a:cubicBezTo>
                      <a:pt x="329" y="256"/>
                      <a:pt x="329" y="256"/>
                      <a:pt x="329" y="256"/>
                    </a:cubicBezTo>
                    <a:cubicBezTo>
                      <a:pt x="326" y="262"/>
                      <a:pt x="326" y="262"/>
                      <a:pt x="326" y="262"/>
                    </a:cubicBezTo>
                    <a:cubicBezTo>
                      <a:pt x="330" y="263"/>
                      <a:pt x="330" y="263"/>
                      <a:pt x="330" y="263"/>
                    </a:cubicBezTo>
                    <a:cubicBezTo>
                      <a:pt x="328" y="267"/>
                      <a:pt x="328" y="267"/>
                      <a:pt x="328" y="267"/>
                    </a:cubicBezTo>
                    <a:cubicBezTo>
                      <a:pt x="329" y="269"/>
                      <a:pt x="335" y="267"/>
                      <a:pt x="335" y="267"/>
                    </a:cubicBezTo>
                    <a:cubicBezTo>
                      <a:pt x="339" y="265"/>
                      <a:pt x="339" y="265"/>
                      <a:pt x="339" y="265"/>
                    </a:cubicBezTo>
                    <a:cubicBezTo>
                      <a:pt x="336" y="274"/>
                      <a:pt x="336" y="274"/>
                      <a:pt x="336" y="274"/>
                    </a:cubicBezTo>
                    <a:cubicBezTo>
                      <a:pt x="340" y="277"/>
                      <a:pt x="340" y="277"/>
                      <a:pt x="340" y="277"/>
                    </a:cubicBezTo>
                    <a:cubicBezTo>
                      <a:pt x="337" y="278"/>
                      <a:pt x="337" y="278"/>
                      <a:pt x="337" y="278"/>
                    </a:cubicBezTo>
                    <a:cubicBezTo>
                      <a:pt x="340" y="281"/>
                      <a:pt x="340" y="281"/>
                      <a:pt x="340" y="281"/>
                    </a:cubicBezTo>
                    <a:cubicBezTo>
                      <a:pt x="340" y="281"/>
                      <a:pt x="339" y="281"/>
                      <a:pt x="337" y="280"/>
                    </a:cubicBezTo>
                    <a:cubicBezTo>
                      <a:pt x="335" y="280"/>
                      <a:pt x="333" y="271"/>
                      <a:pt x="331" y="270"/>
                    </a:cubicBezTo>
                    <a:cubicBezTo>
                      <a:pt x="329" y="270"/>
                      <a:pt x="327" y="271"/>
                      <a:pt x="327" y="271"/>
                    </a:cubicBezTo>
                    <a:cubicBezTo>
                      <a:pt x="327" y="271"/>
                      <a:pt x="325" y="267"/>
                      <a:pt x="322" y="266"/>
                    </a:cubicBezTo>
                    <a:cubicBezTo>
                      <a:pt x="319" y="266"/>
                      <a:pt x="313" y="273"/>
                      <a:pt x="313" y="273"/>
                    </a:cubicBezTo>
                    <a:cubicBezTo>
                      <a:pt x="321" y="274"/>
                      <a:pt x="321" y="274"/>
                      <a:pt x="321" y="274"/>
                    </a:cubicBezTo>
                    <a:cubicBezTo>
                      <a:pt x="321" y="274"/>
                      <a:pt x="318" y="276"/>
                      <a:pt x="314" y="276"/>
                    </a:cubicBezTo>
                    <a:cubicBezTo>
                      <a:pt x="312" y="276"/>
                      <a:pt x="313" y="279"/>
                      <a:pt x="312" y="281"/>
                    </a:cubicBezTo>
                    <a:cubicBezTo>
                      <a:pt x="310" y="283"/>
                      <a:pt x="306" y="285"/>
                      <a:pt x="306" y="285"/>
                    </a:cubicBezTo>
                    <a:cubicBezTo>
                      <a:pt x="317" y="285"/>
                      <a:pt x="317" y="285"/>
                      <a:pt x="317" y="285"/>
                    </a:cubicBezTo>
                    <a:cubicBezTo>
                      <a:pt x="322" y="285"/>
                      <a:pt x="327" y="282"/>
                      <a:pt x="327" y="282"/>
                    </a:cubicBezTo>
                    <a:cubicBezTo>
                      <a:pt x="325" y="286"/>
                      <a:pt x="325" y="286"/>
                      <a:pt x="325" y="286"/>
                    </a:cubicBezTo>
                    <a:cubicBezTo>
                      <a:pt x="335" y="285"/>
                      <a:pt x="335" y="285"/>
                      <a:pt x="335" y="285"/>
                    </a:cubicBezTo>
                    <a:cubicBezTo>
                      <a:pt x="334" y="295"/>
                      <a:pt x="334" y="295"/>
                      <a:pt x="334" y="295"/>
                    </a:cubicBezTo>
                    <a:cubicBezTo>
                      <a:pt x="331" y="290"/>
                      <a:pt x="331" y="290"/>
                      <a:pt x="331" y="290"/>
                    </a:cubicBezTo>
                    <a:cubicBezTo>
                      <a:pt x="323" y="287"/>
                      <a:pt x="323" y="287"/>
                      <a:pt x="323" y="287"/>
                    </a:cubicBezTo>
                    <a:cubicBezTo>
                      <a:pt x="318" y="294"/>
                      <a:pt x="318" y="294"/>
                      <a:pt x="318" y="294"/>
                    </a:cubicBezTo>
                    <a:cubicBezTo>
                      <a:pt x="321" y="287"/>
                      <a:pt x="321" y="287"/>
                      <a:pt x="321" y="287"/>
                    </a:cubicBezTo>
                    <a:cubicBezTo>
                      <a:pt x="308" y="288"/>
                      <a:pt x="308" y="288"/>
                      <a:pt x="308" y="288"/>
                    </a:cubicBezTo>
                    <a:cubicBezTo>
                      <a:pt x="303" y="302"/>
                      <a:pt x="303" y="302"/>
                      <a:pt x="303" y="302"/>
                    </a:cubicBezTo>
                    <a:cubicBezTo>
                      <a:pt x="297" y="301"/>
                      <a:pt x="297" y="301"/>
                      <a:pt x="297" y="301"/>
                    </a:cubicBezTo>
                    <a:cubicBezTo>
                      <a:pt x="296" y="304"/>
                      <a:pt x="296" y="304"/>
                      <a:pt x="296" y="304"/>
                    </a:cubicBezTo>
                    <a:cubicBezTo>
                      <a:pt x="296" y="304"/>
                      <a:pt x="295" y="303"/>
                      <a:pt x="290" y="305"/>
                    </a:cubicBezTo>
                    <a:cubicBezTo>
                      <a:pt x="284" y="308"/>
                      <a:pt x="284" y="311"/>
                      <a:pt x="284" y="311"/>
                    </a:cubicBezTo>
                    <a:cubicBezTo>
                      <a:pt x="293" y="316"/>
                      <a:pt x="293" y="316"/>
                      <a:pt x="293" y="316"/>
                    </a:cubicBezTo>
                    <a:cubicBezTo>
                      <a:pt x="286" y="316"/>
                      <a:pt x="286" y="316"/>
                      <a:pt x="286" y="316"/>
                    </a:cubicBezTo>
                    <a:cubicBezTo>
                      <a:pt x="281" y="317"/>
                      <a:pt x="281" y="317"/>
                      <a:pt x="281" y="317"/>
                    </a:cubicBezTo>
                    <a:cubicBezTo>
                      <a:pt x="288" y="324"/>
                      <a:pt x="288" y="324"/>
                      <a:pt x="288" y="324"/>
                    </a:cubicBezTo>
                    <a:cubicBezTo>
                      <a:pt x="279" y="321"/>
                      <a:pt x="279" y="321"/>
                      <a:pt x="279" y="321"/>
                    </a:cubicBezTo>
                    <a:cubicBezTo>
                      <a:pt x="276" y="321"/>
                      <a:pt x="276" y="321"/>
                      <a:pt x="276" y="321"/>
                    </a:cubicBezTo>
                    <a:cubicBezTo>
                      <a:pt x="282" y="327"/>
                      <a:pt x="282" y="327"/>
                      <a:pt x="282" y="327"/>
                    </a:cubicBezTo>
                    <a:cubicBezTo>
                      <a:pt x="275" y="326"/>
                      <a:pt x="275" y="326"/>
                      <a:pt x="275" y="326"/>
                    </a:cubicBezTo>
                    <a:cubicBezTo>
                      <a:pt x="275" y="328"/>
                      <a:pt x="275" y="328"/>
                      <a:pt x="275" y="328"/>
                    </a:cubicBezTo>
                    <a:cubicBezTo>
                      <a:pt x="278" y="330"/>
                      <a:pt x="278" y="330"/>
                      <a:pt x="278" y="330"/>
                    </a:cubicBezTo>
                    <a:cubicBezTo>
                      <a:pt x="275" y="331"/>
                      <a:pt x="275" y="331"/>
                      <a:pt x="275" y="331"/>
                    </a:cubicBezTo>
                    <a:cubicBezTo>
                      <a:pt x="277" y="333"/>
                      <a:pt x="277" y="333"/>
                      <a:pt x="277" y="333"/>
                    </a:cubicBezTo>
                    <a:cubicBezTo>
                      <a:pt x="281" y="332"/>
                      <a:pt x="281" y="332"/>
                      <a:pt x="281" y="332"/>
                    </a:cubicBezTo>
                    <a:cubicBezTo>
                      <a:pt x="287" y="335"/>
                      <a:pt x="287" y="335"/>
                      <a:pt x="287" y="335"/>
                    </a:cubicBezTo>
                    <a:cubicBezTo>
                      <a:pt x="287" y="335"/>
                      <a:pt x="282" y="334"/>
                      <a:pt x="279" y="335"/>
                    </a:cubicBezTo>
                    <a:cubicBezTo>
                      <a:pt x="276" y="336"/>
                      <a:pt x="278" y="339"/>
                      <a:pt x="278" y="339"/>
                    </a:cubicBezTo>
                    <a:cubicBezTo>
                      <a:pt x="275" y="339"/>
                      <a:pt x="275" y="339"/>
                      <a:pt x="275" y="339"/>
                    </a:cubicBezTo>
                    <a:cubicBezTo>
                      <a:pt x="275" y="335"/>
                      <a:pt x="275" y="335"/>
                      <a:pt x="275" y="335"/>
                    </a:cubicBezTo>
                    <a:cubicBezTo>
                      <a:pt x="271" y="334"/>
                      <a:pt x="271" y="334"/>
                      <a:pt x="271" y="334"/>
                    </a:cubicBezTo>
                    <a:cubicBezTo>
                      <a:pt x="270" y="336"/>
                      <a:pt x="270" y="336"/>
                      <a:pt x="270" y="336"/>
                    </a:cubicBezTo>
                    <a:cubicBezTo>
                      <a:pt x="273" y="340"/>
                      <a:pt x="273" y="340"/>
                      <a:pt x="273" y="340"/>
                    </a:cubicBezTo>
                    <a:cubicBezTo>
                      <a:pt x="273" y="340"/>
                      <a:pt x="270" y="346"/>
                      <a:pt x="272" y="348"/>
                    </a:cubicBezTo>
                    <a:cubicBezTo>
                      <a:pt x="275" y="350"/>
                      <a:pt x="284" y="347"/>
                      <a:pt x="284" y="348"/>
                    </a:cubicBezTo>
                    <a:cubicBezTo>
                      <a:pt x="284" y="349"/>
                      <a:pt x="275" y="350"/>
                      <a:pt x="275" y="350"/>
                    </a:cubicBezTo>
                    <a:cubicBezTo>
                      <a:pt x="271" y="356"/>
                      <a:pt x="271" y="356"/>
                      <a:pt x="271" y="356"/>
                    </a:cubicBezTo>
                    <a:cubicBezTo>
                      <a:pt x="273" y="356"/>
                      <a:pt x="273" y="356"/>
                      <a:pt x="273" y="356"/>
                    </a:cubicBezTo>
                    <a:cubicBezTo>
                      <a:pt x="276" y="353"/>
                      <a:pt x="276" y="353"/>
                      <a:pt x="276" y="353"/>
                    </a:cubicBezTo>
                    <a:cubicBezTo>
                      <a:pt x="285" y="351"/>
                      <a:pt x="285" y="351"/>
                      <a:pt x="285" y="351"/>
                    </a:cubicBezTo>
                    <a:cubicBezTo>
                      <a:pt x="287" y="351"/>
                      <a:pt x="287" y="351"/>
                      <a:pt x="287" y="351"/>
                    </a:cubicBezTo>
                    <a:cubicBezTo>
                      <a:pt x="300" y="347"/>
                      <a:pt x="300" y="347"/>
                      <a:pt x="300" y="347"/>
                    </a:cubicBezTo>
                    <a:cubicBezTo>
                      <a:pt x="292" y="353"/>
                      <a:pt x="292" y="353"/>
                      <a:pt x="292" y="353"/>
                    </a:cubicBezTo>
                    <a:cubicBezTo>
                      <a:pt x="290" y="353"/>
                      <a:pt x="290" y="353"/>
                      <a:pt x="290" y="353"/>
                    </a:cubicBezTo>
                    <a:cubicBezTo>
                      <a:pt x="288" y="355"/>
                      <a:pt x="288" y="355"/>
                      <a:pt x="288" y="355"/>
                    </a:cubicBezTo>
                    <a:cubicBezTo>
                      <a:pt x="292" y="358"/>
                      <a:pt x="292" y="358"/>
                      <a:pt x="292" y="358"/>
                    </a:cubicBezTo>
                    <a:cubicBezTo>
                      <a:pt x="285" y="360"/>
                      <a:pt x="285" y="360"/>
                      <a:pt x="285" y="360"/>
                    </a:cubicBezTo>
                    <a:cubicBezTo>
                      <a:pt x="285" y="360"/>
                      <a:pt x="286" y="355"/>
                      <a:pt x="285" y="353"/>
                    </a:cubicBezTo>
                    <a:cubicBezTo>
                      <a:pt x="282" y="351"/>
                      <a:pt x="277" y="356"/>
                      <a:pt x="275" y="357"/>
                    </a:cubicBezTo>
                    <a:cubicBezTo>
                      <a:pt x="273" y="359"/>
                      <a:pt x="263" y="360"/>
                      <a:pt x="262" y="363"/>
                    </a:cubicBezTo>
                    <a:cubicBezTo>
                      <a:pt x="260" y="366"/>
                      <a:pt x="269" y="364"/>
                      <a:pt x="269" y="364"/>
                    </a:cubicBezTo>
                    <a:cubicBezTo>
                      <a:pt x="268" y="371"/>
                      <a:pt x="268" y="371"/>
                      <a:pt x="268" y="371"/>
                    </a:cubicBezTo>
                    <a:cubicBezTo>
                      <a:pt x="274" y="375"/>
                      <a:pt x="274" y="375"/>
                      <a:pt x="274" y="375"/>
                    </a:cubicBezTo>
                    <a:cubicBezTo>
                      <a:pt x="274" y="375"/>
                      <a:pt x="262" y="372"/>
                      <a:pt x="261" y="375"/>
                    </a:cubicBezTo>
                    <a:cubicBezTo>
                      <a:pt x="259" y="378"/>
                      <a:pt x="261" y="381"/>
                      <a:pt x="261" y="381"/>
                    </a:cubicBezTo>
                    <a:cubicBezTo>
                      <a:pt x="259" y="381"/>
                      <a:pt x="259" y="381"/>
                      <a:pt x="259" y="381"/>
                    </a:cubicBezTo>
                    <a:cubicBezTo>
                      <a:pt x="257" y="383"/>
                      <a:pt x="257" y="383"/>
                      <a:pt x="257" y="383"/>
                    </a:cubicBezTo>
                    <a:cubicBezTo>
                      <a:pt x="259" y="387"/>
                      <a:pt x="259" y="387"/>
                      <a:pt x="259" y="387"/>
                    </a:cubicBezTo>
                    <a:cubicBezTo>
                      <a:pt x="259" y="387"/>
                      <a:pt x="256" y="386"/>
                      <a:pt x="253" y="389"/>
                    </a:cubicBezTo>
                    <a:cubicBezTo>
                      <a:pt x="249" y="391"/>
                      <a:pt x="254" y="398"/>
                      <a:pt x="254" y="398"/>
                    </a:cubicBezTo>
                    <a:cubicBezTo>
                      <a:pt x="258" y="399"/>
                      <a:pt x="258" y="399"/>
                      <a:pt x="258" y="399"/>
                    </a:cubicBezTo>
                    <a:cubicBezTo>
                      <a:pt x="259" y="405"/>
                      <a:pt x="259" y="405"/>
                      <a:pt x="259" y="405"/>
                    </a:cubicBezTo>
                    <a:cubicBezTo>
                      <a:pt x="256" y="406"/>
                      <a:pt x="256" y="406"/>
                      <a:pt x="256" y="406"/>
                    </a:cubicBezTo>
                    <a:cubicBezTo>
                      <a:pt x="249" y="396"/>
                      <a:pt x="249" y="396"/>
                      <a:pt x="249" y="396"/>
                    </a:cubicBezTo>
                    <a:cubicBezTo>
                      <a:pt x="247" y="404"/>
                      <a:pt x="247" y="404"/>
                      <a:pt x="247" y="404"/>
                    </a:cubicBezTo>
                    <a:cubicBezTo>
                      <a:pt x="252" y="404"/>
                      <a:pt x="252" y="404"/>
                      <a:pt x="252" y="404"/>
                    </a:cubicBezTo>
                    <a:cubicBezTo>
                      <a:pt x="252" y="404"/>
                      <a:pt x="248" y="406"/>
                      <a:pt x="246" y="409"/>
                    </a:cubicBezTo>
                    <a:cubicBezTo>
                      <a:pt x="244" y="411"/>
                      <a:pt x="246" y="416"/>
                      <a:pt x="246" y="416"/>
                    </a:cubicBezTo>
                    <a:cubicBezTo>
                      <a:pt x="241" y="418"/>
                      <a:pt x="241" y="418"/>
                      <a:pt x="241" y="418"/>
                    </a:cubicBezTo>
                    <a:cubicBezTo>
                      <a:pt x="243" y="420"/>
                      <a:pt x="243" y="420"/>
                      <a:pt x="243" y="420"/>
                    </a:cubicBezTo>
                    <a:cubicBezTo>
                      <a:pt x="248" y="416"/>
                      <a:pt x="248" y="416"/>
                      <a:pt x="248" y="416"/>
                    </a:cubicBezTo>
                    <a:cubicBezTo>
                      <a:pt x="248" y="413"/>
                      <a:pt x="248" y="413"/>
                      <a:pt x="248" y="413"/>
                    </a:cubicBezTo>
                    <a:cubicBezTo>
                      <a:pt x="253" y="411"/>
                      <a:pt x="253" y="411"/>
                      <a:pt x="253" y="411"/>
                    </a:cubicBezTo>
                    <a:cubicBezTo>
                      <a:pt x="249" y="415"/>
                      <a:pt x="249" y="415"/>
                      <a:pt x="249" y="415"/>
                    </a:cubicBezTo>
                    <a:cubicBezTo>
                      <a:pt x="254" y="419"/>
                      <a:pt x="254" y="419"/>
                      <a:pt x="254" y="419"/>
                    </a:cubicBezTo>
                    <a:cubicBezTo>
                      <a:pt x="253" y="423"/>
                      <a:pt x="253" y="423"/>
                      <a:pt x="253" y="423"/>
                    </a:cubicBezTo>
                    <a:cubicBezTo>
                      <a:pt x="256" y="425"/>
                      <a:pt x="256" y="425"/>
                      <a:pt x="256" y="425"/>
                    </a:cubicBezTo>
                    <a:cubicBezTo>
                      <a:pt x="268" y="412"/>
                      <a:pt x="268" y="412"/>
                      <a:pt x="268" y="412"/>
                    </a:cubicBezTo>
                    <a:cubicBezTo>
                      <a:pt x="271" y="414"/>
                      <a:pt x="271" y="414"/>
                      <a:pt x="271" y="414"/>
                    </a:cubicBezTo>
                    <a:cubicBezTo>
                      <a:pt x="256" y="427"/>
                      <a:pt x="256" y="427"/>
                      <a:pt x="256" y="427"/>
                    </a:cubicBezTo>
                    <a:cubicBezTo>
                      <a:pt x="252" y="428"/>
                      <a:pt x="252" y="428"/>
                      <a:pt x="252" y="428"/>
                    </a:cubicBezTo>
                    <a:cubicBezTo>
                      <a:pt x="249" y="421"/>
                      <a:pt x="249" y="421"/>
                      <a:pt x="249" y="421"/>
                    </a:cubicBezTo>
                    <a:cubicBezTo>
                      <a:pt x="244" y="422"/>
                      <a:pt x="244" y="422"/>
                      <a:pt x="244" y="422"/>
                    </a:cubicBezTo>
                    <a:cubicBezTo>
                      <a:pt x="243" y="424"/>
                      <a:pt x="243" y="424"/>
                      <a:pt x="243" y="424"/>
                    </a:cubicBezTo>
                    <a:cubicBezTo>
                      <a:pt x="243" y="424"/>
                      <a:pt x="239" y="424"/>
                      <a:pt x="239" y="426"/>
                    </a:cubicBezTo>
                    <a:cubicBezTo>
                      <a:pt x="239" y="427"/>
                      <a:pt x="235" y="435"/>
                      <a:pt x="231" y="435"/>
                    </a:cubicBezTo>
                    <a:cubicBezTo>
                      <a:pt x="228" y="436"/>
                      <a:pt x="222" y="440"/>
                      <a:pt x="222" y="440"/>
                    </a:cubicBezTo>
                    <a:cubicBezTo>
                      <a:pt x="224" y="442"/>
                      <a:pt x="224" y="442"/>
                      <a:pt x="224" y="442"/>
                    </a:cubicBezTo>
                    <a:cubicBezTo>
                      <a:pt x="224" y="442"/>
                      <a:pt x="216" y="446"/>
                      <a:pt x="221" y="450"/>
                    </a:cubicBezTo>
                    <a:cubicBezTo>
                      <a:pt x="224" y="452"/>
                      <a:pt x="231" y="441"/>
                      <a:pt x="231" y="441"/>
                    </a:cubicBezTo>
                    <a:cubicBezTo>
                      <a:pt x="242" y="436"/>
                      <a:pt x="242" y="436"/>
                      <a:pt x="242" y="436"/>
                    </a:cubicBezTo>
                    <a:cubicBezTo>
                      <a:pt x="233" y="443"/>
                      <a:pt x="233" y="443"/>
                      <a:pt x="233" y="443"/>
                    </a:cubicBezTo>
                    <a:cubicBezTo>
                      <a:pt x="238" y="446"/>
                      <a:pt x="238" y="446"/>
                      <a:pt x="238" y="446"/>
                    </a:cubicBezTo>
                    <a:cubicBezTo>
                      <a:pt x="238" y="446"/>
                      <a:pt x="232" y="447"/>
                      <a:pt x="228" y="450"/>
                    </a:cubicBezTo>
                    <a:cubicBezTo>
                      <a:pt x="223" y="452"/>
                      <a:pt x="226" y="457"/>
                      <a:pt x="226" y="457"/>
                    </a:cubicBezTo>
                    <a:cubicBezTo>
                      <a:pt x="223" y="458"/>
                      <a:pt x="223" y="458"/>
                      <a:pt x="223" y="458"/>
                    </a:cubicBezTo>
                    <a:cubicBezTo>
                      <a:pt x="219" y="455"/>
                      <a:pt x="219" y="455"/>
                      <a:pt x="219" y="455"/>
                    </a:cubicBezTo>
                    <a:cubicBezTo>
                      <a:pt x="215" y="457"/>
                      <a:pt x="215" y="457"/>
                      <a:pt x="215" y="457"/>
                    </a:cubicBezTo>
                    <a:cubicBezTo>
                      <a:pt x="215" y="457"/>
                      <a:pt x="219" y="463"/>
                      <a:pt x="221" y="465"/>
                    </a:cubicBezTo>
                    <a:cubicBezTo>
                      <a:pt x="222" y="467"/>
                      <a:pt x="231" y="459"/>
                      <a:pt x="231" y="459"/>
                    </a:cubicBezTo>
                    <a:cubicBezTo>
                      <a:pt x="226" y="468"/>
                      <a:pt x="226" y="468"/>
                      <a:pt x="226" y="468"/>
                    </a:cubicBezTo>
                    <a:cubicBezTo>
                      <a:pt x="221" y="471"/>
                      <a:pt x="221" y="471"/>
                      <a:pt x="221" y="471"/>
                    </a:cubicBezTo>
                    <a:cubicBezTo>
                      <a:pt x="213" y="459"/>
                      <a:pt x="213" y="459"/>
                      <a:pt x="213" y="459"/>
                    </a:cubicBezTo>
                    <a:cubicBezTo>
                      <a:pt x="204" y="467"/>
                      <a:pt x="204" y="467"/>
                      <a:pt x="204" y="467"/>
                    </a:cubicBezTo>
                    <a:cubicBezTo>
                      <a:pt x="207" y="470"/>
                      <a:pt x="207" y="470"/>
                      <a:pt x="207" y="470"/>
                    </a:cubicBezTo>
                    <a:cubicBezTo>
                      <a:pt x="200" y="468"/>
                      <a:pt x="200" y="468"/>
                      <a:pt x="200" y="468"/>
                    </a:cubicBezTo>
                    <a:cubicBezTo>
                      <a:pt x="198" y="471"/>
                      <a:pt x="198" y="471"/>
                      <a:pt x="198" y="471"/>
                    </a:cubicBezTo>
                    <a:cubicBezTo>
                      <a:pt x="203" y="474"/>
                      <a:pt x="203" y="474"/>
                      <a:pt x="203" y="474"/>
                    </a:cubicBezTo>
                    <a:cubicBezTo>
                      <a:pt x="198" y="475"/>
                      <a:pt x="198" y="475"/>
                      <a:pt x="198" y="475"/>
                    </a:cubicBezTo>
                    <a:cubicBezTo>
                      <a:pt x="198" y="475"/>
                      <a:pt x="189" y="485"/>
                      <a:pt x="188" y="486"/>
                    </a:cubicBezTo>
                    <a:cubicBezTo>
                      <a:pt x="188" y="487"/>
                      <a:pt x="191" y="490"/>
                      <a:pt x="191" y="490"/>
                    </a:cubicBezTo>
                    <a:cubicBezTo>
                      <a:pt x="184" y="489"/>
                      <a:pt x="184" y="489"/>
                      <a:pt x="184" y="489"/>
                    </a:cubicBezTo>
                    <a:cubicBezTo>
                      <a:pt x="182" y="498"/>
                      <a:pt x="182" y="498"/>
                      <a:pt x="182" y="498"/>
                    </a:cubicBezTo>
                    <a:cubicBezTo>
                      <a:pt x="182" y="498"/>
                      <a:pt x="188" y="498"/>
                      <a:pt x="188" y="500"/>
                    </a:cubicBezTo>
                    <a:cubicBezTo>
                      <a:pt x="188" y="502"/>
                      <a:pt x="179" y="504"/>
                      <a:pt x="174" y="505"/>
                    </a:cubicBezTo>
                    <a:cubicBezTo>
                      <a:pt x="169" y="507"/>
                      <a:pt x="169" y="517"/>
                      <a:pt x="169" y="517"/>
                    </a:cubicBezTo>
                    <a:cubicBezTo>
                      <a:pt x="169" y="517"/>
                      <a:pt x="184" y="509"/>
                      <a:pt x="183" y="514"/>
                    </a:cubicBezTo>
                    <a:cubicBezTo>
                      <a:pt x="183" y="518"/>
                      <a:pt x="176" y="517"/>
                      <a:pt x="176" y="517"/>
                    </a:cubicBezTo>
                    <a:cubicBezTo>
                      <a:pt x="177" y="520"/>
                      <a:pt x="177" y="520"/>
                      <a:pt x="177" y="520"/>
                    </a:cubicBezTo>
                    <a:cubicBezTo>
                      <a:pt x="182" y="522"/>
                      <a:pt x="182" y="522"/>
                      <a:pt x="182" y="522"/>
                    </a:cubicBezTo>
                    <a:cubicBezTo>
                      <a:pt x="179" y="525"/>
                      <a:pt x="179" y="525"/>
                      <a:pt x="179" y="525"/>
                    </a:cubicBezTo>
                    <a:cubicBezTo>
                      <a:pt x="181" y="529"/>
                      <a:pt x="181" y="529"/>
                      <a:pt x="181" y="529"/>
                    </a:cubicBezTo>
                    <a:cubicBezTo>
                      <a:pt x="198" y="520"/>
                      <a:pt x="198" y="520"/>
                      <a:pt x="198" y="520"/>
                    </a:cubicBezTo>
                    <a:cubicBezTo>
                      <a:pt x="198" y="520"/>
                      <a:pt x="202" y="517"/>
                      <a:pt x="203" y="516"/>
                    </a:cubicBezTo>
                    <a:cubicBezTo>
                      <a:pt x="205" y="515"/>
                      <a:pt x="206" y="513"/>
                      <a:pt x="209" y="512"/>
                    </a:cubicBezTo>
                    <a:cubicBezTo>
                      <a:pt x="211" y="512"/>
                      <a:pt x="213" y="508"/>
                      <a:pt x="213" y="505"/>
                    </a:cubicBezTo>
                    <a:cubicBezTo>
                      <a:pt x="213" y="502"/>
                      <a:pt x="202" y="507"/>
                      <a:pt x="202" y="507"/>
                    </a:cubicBezTo>
                    <a:cubicBezTo>
                      <a:pt x="202" y="507"/>
                      <a:pt x="209" y="502"/>
                      <a:pt x="212" y="500"/>
                    </a:cubicBezTo>
                    <a:cubicBezTo>
                      <a:pt x="214" y="499"/>
                      <a:pt x="215" y="494"/>
                      <a:pt x="221" y="494"/>
                    </a:cubicBezTo>
                    <a:cubicBezTo>
                      <a:pt x="225" y="494"/>
                      <a:pt x="226" y="498"/>
                      <a:pt x="226" y="498"/>
                    </a:cubicBezTo>
                    <a:cubicBezTo>
                      <a:pt x="215" y="503"/>
                      <a:pt x="215" y="503"/>
                      <a:pt x="215" y="503"/>
                    </a:cubicBezTo>
                    <a:cubicBezTo>
                      <a:pt x="214" y="506"/>
                      <a:pt x="214" y="506"/>
                      <a:pt x="214" y="506"/>
                    </a:cubicBezTo>
                    <a:cubicBezTo>
                      <a:pt x="214" y="506"/>
                      <a:pt x="223" y="506"/>
                      <a:pt x="224" y="509"/>
                    </a:cubicBezTo>
                    <a:cubicBezTo>
                      <a:pt x="224" y="513"/>
                      <a:pt x="214" y="515"/>
                      <a:pt x="211" y="516"/>
                    </a:cubicBezTo>
                    <a:cubicBezTo>
                      <a:pt x="208" y="516"/>
                      <a:pt x="203" y="521"/>
                      <a:pt x="202" y="524"/>
                    </a:cubicBezTo>
                    <a:cubicBezTo>
                      <a:pt x="202" y="528"/>
                      <a:pt x="206" y="522"/>
                      <a:pt x="208" y="523"/>
                    </a:cubicBezTo>
                    <a:cubicBezTo>
                      <a:pt x="209" y="525"/>
                      <a:pt x="206" y="526"/>
                      <a:pt x="205" y="528"/>
                    </a:cubicBezTo>
                    <a:cubicBezTo>
                      <a:pt x="203" y="530"/>
                      <a:pt x="208" y="531"/>
                      <a:pt x="208" y="531"/>
                    </a:cubicBezTo>
                    <a:cubicBezTo>
                      <a:pt x="205" y="533"/>
                      <a:pt x="205" y="533"/>
                      <a:pt x="205" y="533"/>
                    </a:cubicBezTo>
                    <a:cubicBezTo>
                      <a:pt x="205" y="533"/>
                      <a:pt x="194" y="530"/>
                      <a:pt x="188" y="532"/>
                    </a:cubicBezTo>
                    <a:cubicBezTo>
                      <a:pt x="181" y="534"/>
                      <a:pt x="187" y="539"/>
                      <a:pt x="187" y="539"/>
                    </a:cubicBezTo>
                    <a:cubicBezTo>
                      <a:pt x="180" y="538"/>
                      <a:pt x="180" y="538"/>
                      <a:pt x="180" y="538"/>
                    </a:cubicBezTo>
                    <a:cubicBezTo>
                      <a:pt x="175" y="540"/>
                      <a:pt x="175" y="540"/>
                      <a:pt x="175" y="540"/>
                    </a:cubicBezTo>
                    <a:cubicBezTo>
                      <a:pt x="180" y="532"/>
                      <a:pt x="180" y="532"/>
                      <a:pt x="180" y="532"/>
                    </a:cubicBezTo>
                    <a:cubicBezTo>
                      <a:pt x="175" y="518"/>
                      <a:pt x="175" y="518"/>
                      <a:pt x="175" y="518"/>
                    </a:cubicBezTo>
                    <a:cubicBezTo>
                      <a:pt x="167" y="521"/>
                      <a:pt x="167" y="521"/>
                      <a:pt x="167" y="521"/>
                    </a:cubicBezTo>
                    <a:cubicBezTo>
                      <a:pt x="166" y="523"/>
                      <a:pt x="166" y="523"/>
                      <a:pt x="166" y="523"/>
                    </a:cubicBezTo>
                    <a:cubicBezTo>
                      <a:pt x="158" y="526"/>
                      <a:pt x="158" y="526"/>
                      <a:pt x="158" y="526"/>
                    </a:cubicBezTo>
                    <a:cubicBezTo>
                      <a:pt x="157" y="530"/>
                      <a:pt x="157" y="530"/>
                      <a:pt x="157" y="530"/>
                    </a:cubicBezTo>
                    <a:cubicBezTo>
                      <a:pt x="164" y="531"/>
                      <a:pt x="164" y="531"/>
                      <a:pt x="164" y="531"/>
                    </a:cubicBezTo>
                    <a:cubicBezTo>
                      <a:pt x="157" y="532"/>
                      <a:pt x="157" y="532"/>
                      <a:pt x="157" y="532"/>
                    </a:cubicBezTo>
                    <a:cubicBezTo>
                      <a:pt x="156" y="536"/>
                      <a:pt x="156" y="536"/>
                      <a:pt x="156" y="536"/>
                    </a:cubicBezTo>
                    <a:cubicBezTo>
                      <a:pt x="162" y="537"/>
                      <a:pt x="162" y="537"/>
                      <a:pt x="162" y="537"/>
                    </a:cubicBezTo>
                    <a:cubicBezTo>
                      <a:pt x="150" y="539"/>
                      <a:pt x="150" y="539"/>
                      <a:pt x="150" y="539"/>
                    </a:cubicBezTo>
                    <a:cubicBezTo>
                      <a:pt x="155" y="532"/>
                      <a:pt x="155" y="532"/>
                      <a:pt x="155" y="532"/>
                    </a:cubicBezTo>
                    <a:cubicBezTo>
                      <a:pt x="153" y="530"/>
                      <a:pt x="153" y="530"/>
                      <a:pt x="153" y="530"/>
                    </a:cubicBezTo>
                    <a:cubicBezTo>
                      <a:pt x="147" y="534"/>
                      <a:pt x="147" y="534"/>
                      <a:pt x="147" y="534"/>
                    </a:cubicBezTo>
                    <a:cubicBezTo>
                      <a:pt x="145" y="532"/>
                      <a:pt x="145" y="532"/>
                      <a:pt x="145" y="532"/>
                    </a:cubicBezTo>
                    <a:cubicBezTo>
                      <a:pt x="141" y="534"/>
                      <a:pt x="141" y="534"/>
                      <a:pt x="141" y="534"/>
                    </a:cubicBezTo>
                    <a:cubicBezTo>
                      <a:pt x="145" y="538"/>
                      <a:pt x="145" y="538"/>
                      <a:pt x="145" y="538"/>
                    </a:cubicBezTo>
                    <a:cubicBezTo>
                      <a:pt x="138" y="538"/>
                      <a:pt x="138" y="538"/>
                      <a:pt x="138" y="538"/>
                    </a:cubicBezTo>
                    <a:cubicBezTo>
                      <a:pt x="134" y="541"/>
                      <a:pt x="134" y="541"/>
                      <a:pt x="134" y="541"/>
                    </a:cubicBezTo>
                    <a:cubicBezTo>
                      <a:pt x="139" y="547"/>
                      <a:pt x="139" y="547"/>
                      <a:pt x="139" y="547"/>
                    </a:cubicBezTo>
                    <a:cubicBezTo>
                      <a:pt x="143" y="548"/>
                      <a:pt x="143" y="548"/>
                      <a:pt x="143" y="548"/>
                    </a:cubicBezTo>
                    <a:cubicBezTo>
                      <a:pt x="138" y="549"/>
                      <a:pt x="138" y="549"/>
                      <a:pt x="138" y="549"/>
                    </a:cubicBezTo>
                    <a:cubicBezTo>
                      <a:pt x="135" y="552"/>
                      <a:pt x="135" y="552"/>
                      <a:pt x="135" y="552"/>
                    </a:cubicBezTo>
                    <a:cubicBezTo>
                      <a:pt x="126" y="551"/>
                      <a:pt x="126" y="551"/>
                      <a:pt x="126" y="551"/>
                    </a:cubicBezTo>
                    <a:cubicBezTo>
                      <a:pt x="126" y="555"/>
                      <a:pt x="126" y="555"/>
                      <a:pt x="126" y="555"/>
                    </a:cubicBezTo>
                    <a:cubicBezTo>
                      <a:pt x="132" y="563"/>
                      <a:pt x="132" y="563"/>
                      <a:pt x="132" y="563"/>
                    </a:cubicBezTo>
                    <a:cubicBezTo>
                      <a:pt x="138" y="561"/>
                      <a:pt x="138" y="561"/>
                      <a:pt x="138" y="561"/>
                    </a:cubicBezTo>
                    <a:cubicBezTo>
                      <a:pt x="139" y="562"/>
                      <a:pt x="139" y="562"/>
                      <a:pt x="139" y="562"/>
                    </a:cubicBezTo>
                    <a:cubicBezTo>
                      <a:pt x="132" y="566"/>
                      <a:pt x="132" y="566"/>
                      <a:pt x="132" y="566"/>
                    </a:cubicBezTo>
                    <a:cubicBezTo>
                      <a:pt x="137" y="568"/>
                      <a:pt x="137" y="568"/>
                      <a:pt x="137" y="568"/>
                    </a:cubicBezTo>
                    <a:cubicBezTo>
                      <a:pt x="135" y="569"/>
                      <a:pt x="135" y="569"/>
                      <a:pt x="135" y="569"/>
                    </a:cubicBezTo>
                    <a:cubicBezTo>
                      <a:pt x="130" y="567"/>
                      <a:pt x="130" y="567"/>
                      <a:pt x="130" y="567"/>
                    </a:cubicBezTo>
                    <a:cubicBezTo>
                      <a:pt x="129" y="561"/>
                      <a:pt x="129" y="561"/>
                      <a:pt x="129" y="561"/>
                    </a:cubicBezTo>
                    <a:cubicBezTo>
                      <a:pt x="123" y="552"/>
                      <a:pt x="123" y="552"/>
                      <a:pt x="123" y="552"/>
                    </a:cubicBezTo>
                    <a:cubicBezTo>
                      <a:pt x="114" y="557"/>
                      <a:pt x="114" y="557"/>
                      <a:pt x="114" y="557"/>
                    </a:cubicBezTo>
                    <a:cubicBezTo>
                      <a:pt x="116" y="558"/>
                      <a:pt x="116" y="558"/>
                      <a:pt x="116" y="558"/>
                    </a:cubicBezTo>
                    <a:cubicBezTo>
                      <a:pt x="118" y="558"/>
                      <a:pt x="118" y="558"/>
                      <a:pt x="118" y="558"/>
                    </a:cubicBezTo>
                    <a:cubicBezTo>
                      <a:pt x="123" y="563"/>
                      <a:pt x="123" y="563"/>
                      <a:pt x="123" y="563"/>
                    </a:cubicBezTo>
                    <a:cubicBezTo>
                      <a:pt x="123" y="570"/>
                      <a:pt x="123" y="570"/>
                      <a:pt x="123" y="570"/>
                    </a:cubicBezTo>
                    <a:cubicBezTo>
                      <a:pt x="132" y="577"/>
                      <a:pt x="132" y="577"/>
                      <a:pt x="132" y="577"/>
                    </a:cubicBezTo>
                    <a:cubicBezTo>
                      <a:pt x="133" y="579"/>
                      <a:pt x="133" y="579"/>
                      <a:pt x="133" y="579"/>
                    </a:cubicBezTo>
                    <a:cubicBezTo>
                      <a:pt x="122" y="571"/>
                      <a:pt x="122" y="571"/>
                      <a:pt x="122" y="571"/>
                    </a:cubicBezTo>
                    <a:cubicBezTo>
                      <a:pt x="122" y="562"/>
                      <a:pt x="122" y="562"/>
                      <a:pt x="122" y="562"/>
                    </a:cubicBezTo>
                    <a:cubicBezTo>
                      <a:pt x="113" y="562"/>
                      <a:pt x="113" y="562"/>
                      <a:pt x="113" y="562"/>
                    </a:cubicBezTo>
                    <a:cubicBezTo>
                      <a:pt x="111" y="565"/>
                      <a:pt x="111" y="565"/>
                      <a:pt x="111" y="565"/>
                    </a:cubicBezTo>
                    <a:cubicBezTo>
                      <a:pt x="112" y="560"/>
                      <a:pt x="112" y="560"/>
                      <a:pt x="112" y="560"/>
                    </a:cubicBezTo>
                    <a:cubicBezTo>
                      <a:pt x="108" y="560"/>
                      <a:pt x="108" y="560"/>
                      <a:pt x="108" y="560"/>
                    </a:cubicBezTo>
                    <a:cubicBezTo>
                      <a:pt x="107" y="563"/>
                      <a:pt x="107" y="563"/>
                      <a:pt x="107" y="563"/>
                    </a:cubicBezTo>
                    <a:cubicBezTo>
                      <a:pt x="101" y="564"/>
                      <a:pt x="101" y="564"/>
                      <a:pt x="101" y="564"/>
                    </a:cubicBezTo>
                    <a:cubicBezTo>
                      <a:pt x="96" y="557"/>
                      <a:pt x="96" y="557"/>
                      <a:pt x="96" y="557"/>
                    </a:cubicBezTo>
                    <a:cubicBezTo>
                      <a:pt x="96" y="557"/>
                      <a:pt x="92" y="557"/>
                      <a:pt x="85" y="562"/>
                    </a:cubicBezTo>
                    <a:cubicBezTo>
                      <a:pt x="80" y="567"/>
                      <a:pt x="93" y="567"/>
                      <a:pt x="94" y="569"/>
                    </a:cubicBezTo>
                    <a:cubicBezTo>
                      <a:pt x="94" y="571"/>
                      <a:pt x="91" y="570"/>
                      <a:pt x="88" y="570"/>
                    </a:cubicBezTo>
                    <a:cubicBezTo>
                      <a:pt x="83" y="571"/>
                      <a:pt x="87" y="577"/>
                      <a:pt x="87" y="577"/>
                    </a:cubicBezTo>
                    <a:cubicBezTo>
                      <a:pt x="87" y="577"/>
                      <a:pt x="104" y="571"/>
                      <a:pt x="105" y="573"/>
                    </a:cubicBezTo>
                    <a:cubicBezTo>
                      <a:pt x="106" y="575"/>
                      <a:pt x="99" y="575"/>
                      <a:pt x="99" y="575"/>
                    </a:cubicBezTo>
                    <a:cubicBezTo>
                      <a:pt x="99" y="578"/>
                      <a:pt x="99" y="578"/>
                      <a:pt x="99" y="578"/>
                    </a:cubicBezTo>
                    <a:cubicBezTo>
                      <a:pt x="99" y="578"/>
                      <a:pt x="108" y="575"/>
                      <a:pt x="113" y="573"/>
                    </a:cubicBezTo>
                    <a:cubicBezTo>
                      <a:pt x="118" y="573"/>
                      <a:pt x="122" y="579"/>
                      <a:pt x="122" y="579"/>
                    </a:cubicBezTo>
                    <a:cubicBezTo>
                      <a:pt x="122" y="579"/>
                      <a:pt x="117" y="576"/>
                      <a:pt x="114" y="575"/>
                    </a:cubicBezTo>
                    <a:cubicBezTo>
                      <a:pt x="112" y="575"/>
                      <a:pt x="104" y="578"/>
                      <a:pt x="104" y="578"/>
                    </a:cubicBezTo>
                    <a:cubicBezTo>
                      <a:pt x="104" y="583"/>
                      <a:pt x="104" y="583"/>
                      <a:pt x="104" y="583"/>
                    </a:cubicBezTo>
                    <a:cubicBezTo>
                      <a:pt x="102" y="581"/>
                      <a:pt x="102" y="581"/>
                      <a:pt x="102" y="581"/>
                    </a:cubicBezTo>
                    <a:cubicBezTo>
                      <a:pt x="100" y="582"/>
                      <a:pt x="100" y="582"/>
                      <a:pt x="100" y="582"/>
                    </a:cubicBezTo>
                    <a:cubicBezTo>
                      <a:pt x="102" y="586"/>
                      <a:pt x="102" y="586"/>
                      <a:pt x="102" y="586"/>
                    </a:cubicBezTo>
                    <a:cubicBezTo>
                      <a:pt x="108" y="586"/>
                      <a:pt x="108" y="586"/>
                      <a:pt x="108" y="586"/>
                    </a:cubicBezTo>
                    <a:cubicBezTo>
                      <a:pt x="104" y="591"/>
                      <a:pt x="104" y="591"/>
                      <a:pt x="104" y="591"/>
                    </a:cubicBezTo>
                    <a:cubicBezTo>
                      <a:pt x="96" y="584"/>
                      <a:pt x="96" y="584"/>
                      <a:pt x="96" y="584"/>
                    </a:cubicBezTo>
                    <a:cubicBezTo>
                      <a:pt x="92" y="582"/>
                      <a:pt x="92" y="582"/>
                      <a:pt x="92" y="582"/>
                    </a:cubicBezTo>
                    <a:cubicBezTo>
                      <a:pt x="92" y="585"/>
                      <a:pt x="92" y="585"/>
                      <a:pt x="92" y="585"/>
                    </a:cubicBezTo>
                    <a:cubicBezTo>
                      <a:pt x="92" y="585"/>
                      <a:pt x="90" y="581"/>
                      <a:pt x="87" y="580"/>
                    </a:cubicBezTo>
                    <a:cubicBezTo>
                      <a:pt x="83" y="579"/>
                      <a:pt x="83" y="583"/>
                      <a:pt x="83" y="583"/>
                    </a:cubicBezTo>
                    <a:cubicBezTo>
                      <a:pt x="83" y="583"/>
                      <a:pt x="81" y="581"/>
                      <a:pt x="80" y="580"/>
                    </a:cubicBezTo>
                    <a:cubicBezTo>
                      <a:pt x="78" y="580"/>
                      <a:pt x="74" y="583"/>
                      <a:pt x="74" y="583"/>
                    </a:cubicBezTo>
                    <a:cubicBezTo>
                      <a:pt x="74" y="583"/>
                      <a:pt x="72" y="582"/>
                      <a:pt x="69" y="581"/>
                    </a:cubicBezTo>
                    <a:cubicBezTo>
                      <a:pt x="66" y="581"/>
                      <a:pt x="65" y="584"/>
                      <a:pt x="63" y="587"/>
                    </a:cubicBezTo>
                    <a:cubicBezTo>
                      <a:pt x="62" y="589"/>
                      <a:pt x="74" y="586"/>
                      <a:pt x="74" y="586"/>
                    </a:cubicBezTo>
                    <a:cubicBezTo>
                      <a:pt x="74" y="586"/>
                      <a:pt x="82" y="592"/>
                      <a:pt x="84" y="594"/>
                    </a:cubicBezTo>
                    <a:cubicBezTo>
                      <a:pt x="85" y="595"/>
                      <a:pt x="84" y="600"/>
                      <a:pt x="84" y="600"/>
                    </a:cubicBezTo>
                    <a:cubicBezTo>
                      <a:pt x="87" y="603"/>
                      <a:pt x="87" y="603"/>
                      <a:pt x="87" y="603"/>
                    </a:cubicBezTo>
                    <a:cubicBezTo>
                      <a:pt x="92" y="604"/>
                      <a:pt x="92" y="604"/>
                      <a:pt x="92" y="604"/>
                    </a:cubicBezTo>
                    <a:cubicBezTo>
                      <a:pt x="94" y="603"/>
                      <a:pt x="94" y="603"/>
                      <a:pt x="94" y="603"/>
                    </a:cubicBezTo>
                    <a:cubicBezTo>
                      <a:pt x="93" y="605"/>
                      <a:pt x="93" y="605"/>
                      <a:pt x="93" y="605"/>
                    </a:cubicBezTo>
                    <a:cubicBezTo>
                      <a:pt x="85" y="605"/>
                      <a:pt x="85" y="605"/>
                      <a:pt x="85" y="605"/>
                    </a:cubicBezTo>
                    <a:cubicBezTo>
                      <a:pt x="87" y="608"/>
                      <a:pt x="87" y="608"/>
                      <a:pt x="87" y="608"/>
                    </a:cubicBezTo>
                    <a:cubicBezTo>
                      <a:pt x="83" y="614"/>
                      <a:pt x="83" y="614"/>
                      <a:pt x="83" y="614"/>
                    </a:cubicBezTo>
                    <a:cubicBezTo>
                      <a:pt x="85" y="616"/>
                      <a:pt x="85" y="616"/>
                      <a:pt x="85" y="616"/>
                    </a:cubicBezTo>
                    <a:cubicBezTo>
                      <a:pt x="80" y="615"/>
                      <a:pt x="80" y="615"/>
                      <a:pt x="80" y="615"/>
                    </a:cubicBezTo>
                    <a:cubicBezTo>
                      <a:pt x="84" y="607"/>
                      <a:pt x="84" y="607"/>
                      <a:pt x="84" y="607"/>
                    </a:cubicBezTo>
                    <a:cubicBezTo>
                      <a:pt x="82" y="602"/>
                      <a:pt x="82" y="602"/>
                      <a:pt x="82" y="602"/>
                    </a:cubicBezTo>
                    <a:cubicBezTo>
                      <a:pt x="82" y="594"/>
                      <a:pt x="82" y="594"/>
                      <a:pt x="82" y="594"/>
                    </a:cubicBezTo>
                    <a:cubicBezTo>
                      <a:pt x="73" y="593"/>
                      <a:pt x="73" y="593"/>
                      <a:pt x="73" y="593"/>
                    </a:cubicBezTo>
                    <a:cubicBezTo>
                      <a:pt x="73" y="597"/>
                      <a:pt x="73" y="597"/>
                      <a:pt x="73" y="597"/>
                    </a:cubicBezTo>
                    <a:cubicBezTo>
                      <a:pt x="69" y="595"/>
                      <a:pt x="69" y="595"/>
                      <a:pt x="69" y="595"/>
                    </a:cubicBezTo>
                    <a:cubicBezTo>
                      <a:pt x="66" y="595"/>
                      <a:pt x="66" y="595"/>
                      <a:pt x="66" y="595"/>
                    </a:cubicBezTo>
                    <a:cubicBezTo>
                      <a:pt x="72" y="611"/>
                      <a:pt x="72" y="611"/>
                      <a:pt x="72" y="611"/>
                    </a:cubicBezTo>
                    <a:cubicBezTo>
                      <a:pt x="71" y="613"/>
                      <a:pt x="71" y="613"/>
                      <a:pt x="71" y="613"/>
                    </a:cubicBezTo>
                    <a:cubicBezTo>
                      <a:pt x="68" y="607"/>
                      <a:pt x="68" y="607"/>
                      <a:pt x="68" y="607"/>
                    </a:cubicBezTo>
                    <a:cubicBezTo>
                      <a:pt x="65" y="602"/>
                      <a:pt x="65" y="602"/>
                      <a:pt x="65" y="602"/>
                    </a:cubicBezTo>
                    <a:cubicBezTo>
                      <a:pt x="65" y="602"/>
                      <a:pt x="66" y="598"/>
                      <a:pt x="63" y="597"/>
                    </a:cubicBezTo>
                    <a:cubicBezTo>
                      <a:pt x="61" y="596"/>
                      <a:pt x="52" y="603"/>
                      <a:pt x="52" y="603"/>
                    </a:cubicBezTo>
                    <a:cubicBezTo>
                      <a:pt x="56" y="607"/>
                      <a:pt x="56" y="607"/>
                      <a:pt x="56" y="607"/>
                    </a:cubicBezTo>
                    <a:cubicBezTo>
                      <a:pt x="50" y="607"/>
                      <a:pt x="50" y="607"/>
                      <a:pt x="50" y="607"/>
                    </a:cubicBezTo>
                    <a:cubicBezTo>
                      <a:pt x="50" y="607"/>
                      <a:pt x="52" y="608"/>
                      <a:pt x="55" y="610"/>
                    </a:cubicBezTo>
                    <a:cubicBezTo>
                      <a:pt x="57" y="613"/>
                      <a:pt x="61" y="616"/>
                      <a:pt x="61" y="616"/>
                    </a:cubicBezTo>
                    <a:cubicBezTo>
                      <a:pt x="55" y="615"/>
                      <a:pt x="55" y="615"/>
                      <a:pt x="55" y="615"/>
                    </a:cubicBezTo>
                    <a:cubicBezTo>
                      <a:pt x="52" y="613"/>
                      <a:pt x="52" y="613"/>
                      <a:pt x="52" y="613"/>
                    </a:cubicBezTo>
                    <a:cubicBezTo>
                      <a:pt x="48" y="617"/>
                      <a:pt x="48" y="617"/>
                      <a:pt x="48" y="617"/>
                    </a:cubicBezTo>
                    <a:cubicBezTo>
                      <a:pt x="51" y="610"/>
                      <a:pt x="51" y="610"/>
                      <a:pt x="51" y="610"/>
                    </a:cubicBezTo>
                    <a:cubicBezTo>
                      <a:pt x="51" y="610"/>
                      <a:pt x="50" y="608"/>
                      <a:pt x="46" y="608"/>
                    </a:cubicBezTo>
                    <a:cubicBezTo>
                      <a:pt x="42" y="608"/>
                      <a:pt x="43" y="612"/>
                      <a:pt x="43" y="612"/>
                    </a:cubicBezTo>
                    <a:cubicBezTo>
                      <a:pt x="43" y="612"/>
                      <a:pt x="40" y="608"/>
                      <a:pt x="38" y="608"/>
                    </a:cubicBezTo>
                    <a:cubicBezTo>
                      <a:pt x="34" y="608"/>
                      <a:pt x="33" y="612"/>
                      <a:pt x="33" y="612"/>
                    </a:cubicBezTo>
                    <a:cubicBezTo>
                      <a:pt x="39" y="615"/>
                      <a:pt x="39" y="615"/>
                      <a:pt x="39" y="615"/>
                    </a:cubicBezTo>
                    <a:cubicBezTo>
                      <a:pt x="38" y="616"/>
                      <a:pt x="38" y="616"/>
                      <a:pt x="38" y="616"/>
                    </a:cubicBezTo>
                    <a:cubicBezTo>
                      <a:pt x="31" y="611"/>
                      <a:pt x="31" y="611"/>
                      <a:pt x="31" y="611"/>
                    </a:cubicBezTo>
                    <a:cubicBezTo>
                      <a:pt x="32" y="609"/>
                      <a:pt x="32" y="609"/>
                      <a:pt x="32" y="609"/>
                    </a:cubicBezTo>
                    <a:cubicBezTo>
                      <a:pt x="28" y="605"/>
                      <a:pt x="28" y="605"/>
                      <a:pt x="28" y="605"/>
                    </a:cubicBezTo>
                    <a:cubicBezTo>
                      <a:pt x="25" y="609"/>
                      <a:pt x="25" y="609"/>
                      <a:pt x="25" y="609"/>
                    </a:cubicBezTo>
                    <a:cubicBezTo>
                      <a:pt x="26" y="611"/>
                      <a:pt x="26" y="611"/>
                      <a:pt x="26" y="611"/>
                    </a:cubicBezTo>
                    <a:cubicBezTo>
                      <a:pt x="26" y="611"/>
                      <a:pt x="32" y="616"/>
                      <a:pt x="32" y="618"/>
                    </a:cubicBezTo>
                    <a:cubicBezTo>
                      <a:pt x="31" y="621"/>
                      <a:pt x="25" y="620"/>
                      <a:pt x="25" y="624"/>
                    </a:cubicBezTo>
                    <a:cubicBezTo>
                      <a:pt x="25" y="627"/>
                      <a:pt x="34" y="623"/>
                      <a:pt x="34" y="623"/>
                    </a:cubicBezTo>
                    <a:cubicBezTo>
                      <a:pt x="50" y="627"/>
                      <a:pt x="50" y="627"/>
                      <a:pt x="50" y="627"/>
                    </a:cubicBezTo>
                    <a:cubicBezTo>
                      <a:pt x="49" y="628"/>
                      <a:pt x="49" y="628"/>
                      <a:pt x="49" y="628"/>
                    </a:cubicBezTo>
                    <a:cubicBezTo>
                      <a:pt x="64" y="632"/>
                      <a:pt x="64" y="632"/>
                      <a:pt x="64" y="632"/>
                    </a:cubicBezTo>
                    <a:cubicBezTo>
                      <a:pt x="71" y="629"/>
                      <a:pt x="71" y="629"/>
                      <a:pt x="71" y="629"/>
                    </a:cubicBezTo>
                    <a:cubicBezTo>
                      <a:pt x="78" y="631"/>
                      <a:pt x="78" y="631"/>
                      <a:pt x="78" y="631"/>
                    </a:cubicBezTo>
                    <a:cubicBezTo>
                      <a:pt x="78" y="632"/>
                      <a:pt x="78" y="632"/>
                      <a:pt x="78" y="632"/>
                    </a:cubicBezTo>
                    <a:cubicBezTo>
                      <a:pt x="72" y="631"/>
                      <a:pt x="72" y="631"/>
                      <a:pt x="72" y="631"/>
                    </a:cubicBezTo>
                    <a:cubicBezTo>
                      <a:pt x="65" y="633"/>
                      <a:pt x="65" y="633"/>
                      <a:pt x="65" y="633"/>
                    </a:cubicBezTo>
                    <a:cubicBezTo>
                      <a:pt x="56" y="631"/>
                      <a:pt x="56" y="631"/>
                      <a:pt x="56" y="631"/>
                    </a:cubicBezTo>
                    <a:cubicBezTo>
                      <a:pt x="55" y="633"/>
                      <a:pt x="55" y="633"/>
                      <a:pt x="55" y="633"/>
                    </a:cubicBezTo>
                    <a:cubicBezTo>
                      <a:pt x="55" y="633"/>
                      <a:pt x="42" y="626"/>
                      <a:pt x="35" y="626"/>
                    </a:cubicBezTo>
                    <a:cubicBezTo>
                      <a:pt x="28" y="626"/>
                      <a:pt x="29" y="629"/>
                      <a:pt x="29" y="629"/>
                    </a:cubicBezTo>
                    <a:cubicBezTo>
                      <a:pt x="29" y="629"/>
                      <a:pt x="28" y="629"/>
                      <a:pt x="25" y="631"/>
                    </a:cubicBezTo>
                    <a:cubicBezTo>
                      <a:pt x="23" y="632"/>
                      <a:pt x="25" y="635"/>
                      <a:pt x="25" y="635"/>
                    </a:cubicBezTo>
                    <a:cubicBezTo>
                      <a:pt x="25" y="635"/>
                      <a:pt x="19" y="634"/>
                      <a:pt x="17" y="638"/>
                    </a:cubicBezTo>
                    <a:cubicBezTo>
                      <a:pt x="16" y="641"/>
                      <a:pt x="19" y="642"/>
                      <a:pt x="19" y="642"/>
                    </a:cubicBezTo>
                    <a:cubicBezTo>
                      <a:pt x="27" y="642"/>
                      <a:pt x="27" y="642"/>
                      <a:pt x="27" y="642"/>
                    </a:cubicBezTo>
                    <a:cubicBezTo>
                      <a:pt x="32" y="646"/>
                      <a:pt x="32" y="646"/>
                      <a:pt x="32" y="646"/>
                    </a:cubicBezTo>
                    <a:cubicBezTo>
                      <a:pt x="26" y="644"/>
                      <a:pt x="26" y="644"/>
                      <a:pt x="26" y="644"/>
                    </a:cubicBezTo>
                    <a:cubicBezTo>
                      <a:pt x="24" y="646"/>
                      <a:pt x="24" y="646"/>
                      <a:pt x="24" y="646"/>
                    </a:cubicBezTo>
                    <a:cubicBezTo>
                      <a:pt x="28" y="648"/>
                      <a:pt x="28" y="648"/>
                      <a:pt x="28" y="648"/>
                    </a:cubicBezTo>
                    <a:cubicBezTo>
                      <a:pt x="23" y="648"/>
                      <a:pt x="23" y="648"/>
                      <a:pt x="23" y="648"/>
                    </a:cubicBezTo>
                    <a:cubicBezTo>
                      <a:pt x="23" y="650"/>
                      <a:pt x="23" y="650"/>
                      <a:pt x="23" y="650"/>
                    </a:cubicBezTo>
                    <a:cubicBezTo>
                      <a:pt x="32" y="652"/>
                      <a:pt x="32" y="652"/>
                      <a:pt x="32" y="652"/>
                    </a:cubicBezTo>
                    <a:cubicBezTo>
                      <a:pt x="17" y="655"/>
                      <a:pt x="17" y="655"/>
                      <a:pt x="17" y="655"/>
                    </a:cubicBezTo>
                    <a:cubicBezTo>
                      <a:pt x="17" y="657"/>
                      <a:pt x="17" y="657"/>
                      <a:pt x="17" y="657"/>
                    </a:cubicBezTo>
                    <a:cubicBezTo>
                      <a:pt x="20" y="657"/>
                      <a:pt x="20" y="657"/>
                      <a:pt x="20" y="657"/>
                    </a:cubicBezTo>
                    <a:cubicBezTo>
                      <a:pt x="20" y="660"/>
                      <a:pt x="20" y="660"/>
                      <a:pt x="20" y="660"/>
                    </a:cubicBezTo>
                    <a:cubicBezTo>
                      <a:pt x="30" y="660"/>
                      <a:pt x="30" y="660"/>
                      <a:pt x="30" y="660"/>
                    </a:cubicBezTo>
                    <a:cubicBezTo>
                      <a:pt x="17" y="663"/>
                      <a:pt x="17" y="663"/>
                      <a:pt x="17" y="663"/>
                    </a:cubicBezTo>
                    <a:cubicBezTo>
                      <a:pt x="15" y="667"/>
                      <a:pt x="15" y="667"/>
                      <a:pt x="15" y="667"/>
                    </a:cubicBezTo>
                    <a:cubicBezTo>
                      <a:pt x="22" y="670"/>
                      <a:pt x="22" y="670"/>
                      <a:pt x="22" y="670"/>
                    </a:cubicBezTo>
                    <a:cubicBezTo>
                      <a:pt x="18" y="670"/>
                      <a:pt x="18" y="670"/>
                      <a:pt x="18" y="670"/>
                    </a:cubicBezTo>
                    <a:cubicBezTo>
                      <a:pt x="23" y="675"/>
                      <a:pt x="23" y="675"/>
                      <a:pt x="23" y="675"/>
                    </a:cubicBezTo>
                    <a:cubicBezTo>
                      <a:pt x="26" y="675"/>
                      <a:pt x="26" y="675"/>
                      <a:pt x="26" y="675"/>
                    </a:cubicBezTo>
                    <a:cubicBezTo>
                      <a:pt x="28" y="677"/>
                      <a:pt x="28" y="677"/>
                      <a:pt x="28" y="677"/>
                    </a:cubicBezTo>
                    <a:cubicBezTo>
                      <a:pt x="48" y="672"/>
                      <a:pt x="48" y="672"/>
                      <a:pt x="48" y="672"/>
                    </a:cubicBezTo>
                    <a:cubicBezTo>
                      <a:pt x="46" y="675"/>
                      <a:pt x="46" y="675"/>
                      <a:pt x="46" y="675"/>
                    </a:cubicBezTo>
                    <a:cubicBezTo>
                      <a:pt x="55" y="674"/>
                      <a:pt x="55" y="674"/>
                      <a:pt x="55" y="674"/>
                    </a:cubicBezTo>
                    <a:cubicBezTo>
                      <a:pt x="55" y="674"/>
                      <a:pt x="56" y="677"/>
                      <a:pt x="61" y="677"/>
                    </a:cubicBezTo>
                    <a:cubicBezTo>
                      <a:pt x="65" y="677"/>
                      <a:pt x="63" y="668"/>
                      <a:pt x="63" y="668"/>
                    </a:cubicBezTo>
                    <a:cubicBezTo>
                      <a:pt x="66" y="667"/>
                      <a:pt x="66" y="667"/>
                      <a:pt x="66" y="667"/>
                    </a:cubicBezTo>
                    <a:cubicBezTo>
                      <a:pt x="71" y="661"/>
                      <a:pt x="71" y="661"/>
                      <a:pt x="71" y="661"/>
                    </a:cubicBezTo>
                    <a:cubicBezTo>
                      <a:pt x="72" y="662"/>
                      <a:pt x="72" y="662"/>
                      <a:pt x="72" y="662"/>
                    </a:cubicBezTo>
                    <a:cubicBezTo>
                      <a:pt x="67" y="670"/>
                      <a:pt x="67" y="670"/>
                      <a:pt x="67" y="670"/>
                    </a:cubicBezTo>
                    <a:cubicBezTo>
                      <a:pt x="69" y="674"/>
                      <a:pt x="69" y="674"/>
                      <a:pt x="69" y="674"/>
                    </a:cubicBezTo>
                    <a:cubicBezTo>
                      <a:pt x="79" y="675"/>
                      <a:pt x="79" y="675"/>
                      <a:pt x="79" y="675"/>
                    </a:cubicBezTo>
                    <a:cubicBezTo>
                      <a:pt x="83" y="671"/>
                      <a:pt x="83" y="671"/>
                      <a:pt x="83" y="671"/>
                    </a:cubicBezTo>
                    <a:cubicBezTo>
                      <a:pt x="83" y="675"/>
                      <a:pt x="83" y="675"/>
                      <a:pt x="83" y="675"/>
                    </a:cubicBezTo>
                    <a:cubicBezTo>
                      <a:pt x="76" y="677"/>
                      <a:pt x="76" y="677"/>
                      <a:pt x="76" y="677"/>
                    </a:cubicBezTo>
                    <a:cubicBezTo>
                      <a:pt x="78" y="679"/>
                      <a:pt x="78" y="679"/>
                      <a:pt x="78" y="679"/>
                    </a:cubicBezTo>
                    <a:cubicBezTo>
                      <a:pt x="90" y="675"/>
                      <a:pt x="90" y="675"/>
                      <a:pt x="90" y="675"/>
                    </a:cubicBezTo>
                    <a:cubicBezTo>
                      <a:pt x="89" y="668"/>
                      <a:pt x="89" y="668"/>
                      <a:pt x="89" y="668"/>
                    </a:cubicBezTo>
                    <a:cubicBezTo>
                      <a:pt x="89" y="668"/>
                      <a:pt x="91" y="664"/>
                      <a:pt x="93" y="661"/>
                    </a:cubicBezTo>
                    <a:cubicBezTo>
                      <a:pt x="94" y="659"/>
                      <a:pt x="98" y="656"/>
                      <a:pt x="98" y="656"/>
                    </a:cubicBezTo>
                    <a:cubicBezTo>
                      <a:pt x="99" y="658"/>
                      <a:pt x="99" y="658"/>
                      <a:pt x="99" y="658"/>
                    </a:cubicBezTo>
                    <a:cubicBezTo>
                      <a:pt x="99" y="658"/>
                      <a:pt x="97" y="660"/>
                      <a:pt x="95" y="662"/>
                    </a:cubicBezTo>
                    <a:cubicBezTo>
                      <a:pt x="93" y="663"/>
                      <a:pt x="90" y="668"/>
                      <a:pt x="90" y="668"/>
                    </a:cubicBezTo>
                    <a:cubicBezTo>
                      <a:pt x="92" y="671"/>
                      <a:pt x="92" y="671"/>
                      <a:pt x="92" y="671"/>
                    </a:cubicBezTo>
                    <a:cubicBezTo>
                      <a:pt x="93" y="675"/>
                      <a:pt x="93" y="675"/>
                      <a:pt x="93" y="675"/>
                    </a:cubicBezTo>
                    <a:cubicBezTo>
                      <a:pt x="102" y="673"/>
                      <a:pt x="102" y="673"/>
                      <a:pt x="102" y="673"/>
                    </a:cubicBezTo>
                    <a:cubicBezTo>
                      <a:pt x="98" y="676"/>
                      <a:pt x="98" y="676"/>
                      <a:pt x="98" y="676"/>
                    </a:cubicBezTo>
                    <a:cubicBezTo>
                      <a:pt x="96" y="676"/>
                      <a:pt x="96" y="676"/>
                      <a:pt x="96" y="676"/>
                    </a:cubicBezTo>
                    <a:cubicBezTo>
                      <a:pt x="92" y="677"/>
                      <a:pt x="92" y="677"/>
                      <a:pt x="92" y="677"/>
                    </a:cubicBezTo>
                    <a:cubicBezTo>
                      <a:pt x="92" y="680"/>
                      <a:pt x="92" y="680"/>
                      <a:pt x="92" y="680"/>
                    </a:cubicBezTo>
                    <a:cubicBezTo>
                      <a:pt x="88" y="678"/>
                      <a:pt x="88" y="678"/>
                      <a:pt x="88" y="678"/>
                    </a:cubicBezTo>
                    <a:cubicBezTo>
                      <a:pt x="80" y="680"/>
                      <a:pt x="80" y="680"/>
                      <a:pt x="80" y="680"/>
                    </a:cubicBezTo>
                    <a:cubicBezTo>
                      <a:pt x="80" y="686"/>
                      <a:pt x="80" y="686"/>
                      <a:pt x="80" y="686"/>
                    </a:cubicBezTo>
                    <a:cubicBezTo>
                      <a:pt x="82" y="691"/>
                      <a:pt x="82" y="691"/>
                      <a:pt x="82" y="691"/>
                    </a:cubicBezTo>
                    <a:cubicBezTo>
                      <a:pt x="79" y="688"/>
                      <a:pt x="79" y="688"/>
                      <a:pt x="79" y="688"/>
                    </a:cubicBezTo>
                    <a:cubicBezTo>
                      <a:pt x="76" y="690"/>
                      <a:pt x="76" y="690"/>
                      <a:pt x="76" y="690"/>
                    </a:cubicBezTo>
                    <a:cubicBezTo>
                      <a:pt x="78" y="686"/>
                      <a:pt x="78" y="686"/>
                      <a:pt x="78" y="686"/>
                    </a:cubicBezTo>
                    <a:cubicBezTo>
                      <a:pt x="77" y="681"/>
                      <a:pt x="77" y="681"/>
                      <a:pt x="77" y="681"/>
                    </a:cubicBezTo>
                    <a:cubicBezTo>
                      <a:pt x="75" y="681"/>
                      <a:pt x="75" y="681"/>
                      <a:pt x="75" y="681"/>
                    </a:cubicBezTo>
                    <a:cubicBezTo>
                      <a:pt x="74" y="678"/>
                      <a:pt x="74" y="678"/>
                      <a:pt x="74" y="678"/>
                    </a:cubicBezTo>
                    <a:cubicBezTo>
                      <a:pt x="74" y="678"/>
                      <a:pt x="67" y="676"/>
                      <a:pt x="66" y="675"/>
                    </a:cubicBezTo>
                    <a:cubicBezTo>
                      <a:pt x="65" y="675"/>
                      <a:pt x="64" y="679"/>
                      <a:pt x="64" y="679"/>
                    </a:cubicBezTo>
                    <a:cubicBezTo>
                      <a:pt x="56" y="680"/>
                      <a:pt x="56" y="680"/>
                      <a:pt x="56" y="680"/>
                    </a:cubicBezTo>
                    <a:cubicBezTo>
                      <a:pt x="56" y="678"/>
                      <a:pt x="56" y="678"/>
                      <a:pt x="56" y="678"/>
                    </a:cubicBezTo>
                    <a:cubicBezTo>
                      <a:pt x="42" y="676"/>
                      <a:pt x="42" y="676"/>
                      <a:pt x="42" y="676"/>
                    </a:cubicBezTo>
                    <a:cubicBezTo>
                      <a:pt x="41" y="678"/>
                      <a:pt x="41" y="678"/>
                      <a:pt x="41" y="678"/>
                    </a:cubicBezTo>
                    <a:cubicBezTo>
                      <a:pt x="39" y="676"/>
                      <a:pt x="39" y="676"/>
                      <a:pt x="39" y="676"/>
                    </a:cubicBezTo>
                    <a:cubicBezTo>
                      <a:pt x="33" y="678"/>
                      <a:pt x="33" y="678"/>
                      <a:pt x="33" y="678"/>
                    </a:cubicBezTo>
                    <a:cubicBezTo>
                      <a:pt x="31" y="681"/>
                      <a:pt x="31" y="681"/>
                      <a:pt x="31" y="681"/>
                    </a:cubicBezTo>
                    <a:cubicBezTo>
                      <a:pt x="24" y="680"/>
                      <a:pt x="24" y="680"/>
                      <a:pt x="24" y="680"/>
                    </a:cubicBezTo>
                    <a:cubicBezTo>
                      <a:pt x="24" y="680"/>
                      <a:pt x="23" y="678"/>
                      <a:pt x="19" y="678"/>
                    </a:cubicBezTo>
                    <a:cubicBezTo>
                      <a:pt x="16" y="678"/>
                      <a:pt x="15" y="682"/>
                      <a:pt x="15" y="682"/>
                    </a:cubicBezTo>
                    <a:cubicBezTo>
                      <a:pt x="18" y="686"/>
                      <a:pt x="18" y="686"/>
                      <a:pt x="18" y="686"/>
                    </a:cubicBezTo>
                    <a:cubicBezTo>
                      <a:pt x="14" y="687"/>
                      <a:pt x="14" y="687"/>
                      <a:pt x="14" y="687"/>
                    </a:cubicBezTo>
                    <a:cubicBezTo>
                      <a:pt x="14" y="687"/>
                      <a:pt x="14" y="692"/>
                      <a:pt x="18" y="693"/>
                    </a:cubicBezTo>
                    <a:cubicBezTo>
                      <a:pt x="22" y="695"/>
                      <a:pt x="24" y="691"/>
                      <a:pt x="24" y="691"/>
                    </a:cubicBezTo>
                    <a:cubicBezTo>
                      <a:pt x="28" y="691"/>
                      <a:pt x="28" y="691"/>
                      <a:pt x="28" y="691"/>
                    </a:cubicBezTo>
                    <a:cubicBezTo>
                      <a:pt x="27" y="692"/>
                      <a:pt x="27" y="692"/>
                      <a:pt x="27" y="692"/>
                    </a:cubicBezTo>
                    <a:cubicBezTo>
                      <a:pt x="27" y="692"/>
                      <a:pt x="23" y="692"/>
                      <a:pt x="22" y="697"/>
                    </a:cubicBezTo>
                    <a:cubicBezTo>
                      <a:pt x="20" y="703"/>
                      <a:pt x="27" y="704"/>
                      <a:pt x="27" y="704"/>
                    </a:cubicBezTo>
                    <a:cubicBezTo>
                      <a:pt x="25" y="705"/>
                      <a:pt x="25" y="705"/>
                      <a:pt x="25" y="705"/>
                    </a:cubicBezTo>
                    <a:cubicBezTo>
                      <a:pt x="27" y="707"/>
                      <a:pt x="27" y="707"/>
                      <a:pt x="27" y="707"/>
                    </a:cubicBezTo>
                    <a:cubicBezTo>
                      <a:pt x="30" y="707"/>
                      <a:pt x="30" y="707"/>
                      <a:pt x="30" y="707"/>
                    </a:cubicBezTo>
                    <a:cubicBezTo>
                      <a:pt x="30" y="707"/>
                      <a:pt x="29" y="705"/>
                      <a:pt x="29" y="703"/>
                    </a:cubicBezTo>
                    <a:cubicBezTo>
                      <a:pt x="29" y="702"/>
                      <a:pt x="32" y="701"/>
                      <a:pt x="32" y="701"/>
                    </a:cubicBezTo>
                    <a:cubicBezTo>
                      <a:pt x="38" y="704"/>
                      <a:pt x="38" y="704"/>
                      <a:pt x="38" y="704"/>
                    </a:cubicBezTo>
                    <a:cubicBezTo>
                      <a:pt x="38" y="704"/>
                      <a:pt x="36" y="708"/>
                      <a:pt x="35" y="711"/>
                    </a:cubicBezTo>
                    <a:cubicBezTo>
                      <a:pt x="34" y="714"/>
                      <a:pt x="34" y="719"/>
                      <a:pt x="34" y="719"/>
                    </a:cubicBezTo>
                    <a:cubicBezTo>
                      <a:pt x="25" y="720"/>
                      <a:pt x="25" y="720"/>
                      <a:pt x="25" y="720"/>
                    </a:cubicBezTo>
                    <a:cubicBezTo>
                      <a:pt x="25" y="720"/>
                      <a:pt x="24" y="713"/>
                      <a:pt x="19" y="714"/>
                    </a:cubicBezTo>
                    <a:cubicBezTo>
                      <a:pt x="15" y="715"/>
                      <a:pt x="19" y="723"/>
                      <a:pt x="19" y="723"/>
                    </a:cubicBezTo>
                    <a:cubicBezTo>
                      <a:pt x="19" y="723"/>
                      <a:pt x="15" y="723"/>
                      <a:pt x="15" y="727"/>
                    </a:cubicBezTo>
                    <a:cubicBezTo>
                      <a:pt x="15" y="731"/>
                      <a:pt x="18" y="730"/>
                      <a:pt x="18" y="730"/>
                    </a:cubicBezTo>
                    <a:cubicBezTo>
                      <a:pt x="17" y="733"/>
                      <a:pt x="17" y="733"/>
                      <a:pt x="17" y="733"/>
                    </a:cubicBezTo>
                    <a:cubicBezTo>
                      <a:pt x="22" y="738"/>
                      <a:pt x="22" y="738"/>
                      <a:pt x="22" y="738"/>
                    </a:cubicBezTo>
                    <a:cubicBezTo>
                      <a:pt x="26" y="735"/>
                      <a:pt x="26" y="735"/>
                      <a:pt x="26" y="735"/>
                    </a:cubicBezTo>
                    <a:cubicBezTo>
                      <a:pt x="29" y="727"/>
                      <a:pt x="29" y="727"/>
                      <a:pt x="29" y="727"/>
                    </a:cubicBezTo>
                    <a:cubicBezTo>
                      <a:pt x="27" y="734"/>
                      <a:pt x="27" y="734"/>
                      <a:pt x="27" y="734"/>
                    </a:cubicBezTo>
                    <a:cubicBezTo>
                      <a:pt x="27" y="738"/>
                      <a:pt x="27" y="738"/>
                      <a:pt x="27" y="738"/>
                    </a:cubicBezTo>
                    <a:cubicBezTo>
                      <a:pt x="32" y="738"/>
                      <a:pt x="32" y="738"/>
                      <a:pt x="32" y="738"/>
                    </a:cubicBezTo>
                    <a:cubicBezTo>
                      <a:pt x="33" y="739"/>
                      <a:pt x="31" y="743"/>
                      <a:pt x="31" y="743"/>
                    </a:cubicBezTo>
                    <a:cubicBezTo>
                      <a:pt x="32" y="744"/>
                      <a:pt x="32" y="744"/>
                      <a:pt x="32" y="744"/>
                    </a:cubicBezTo>
                    <a:cubicBezTo>
                      <a:pt x="30" y="744"/>
                      <a:pt x="30" y="744"/>
                      <a:pt x="30" y="744"/>
                    </a:cubicBezTo>
                    <a:cubicBezTo>
                      <a:pt x="30" y="746"/>
                      <a:pt x="30" y="746"/>
                      <a:pt x="30" y="746"/>
                    </a:cubicBezTo>
                    <a:cubicBezTo>
                      <a:pt x="34" y="750"/>
                      <a:pt x="34" y="750"/>
                      <a:pt x="34" y="750"/>
                    </a:cubicBezTo>
                    <a:cubicBezTo>
                      <a:pt x="38" y="745"/>
                      <a:pt x="38" y="745"/>
                      <a:pt x="38" y="745"/>
                    </a:cubicBezTo>
                    <a:cubicBezTo>
                      <a:pt x="38" y="738"/>
                      <a:pt x="38" y="738"/>
                      <a:pt x="38" y="738"/>
                    </a:cubicBezTo>
                    <a:cubicBezTo>
                      <a:pt x="40" y="737"/>
                      <a:pt x="40" y="737"/>
                      <a:pt x="40" y="737"/>
                    </a:cubicBezTo>
                    <a:cubicBezTo>
                      <a:pt x="42" y="731"/>
                      <a:pt x="42" y="731"/>
                      <a:pt x="42" y="731"/>
                    </a:cubicBezTo>
                    <a:cubicBezTo>
                      <a:pt x="42" y="731"/>
                      <a:pt x="45" y="734"/>
                      <a:pt x="47" y="731"/>
                    </a:cubicBezTo>
                    <a:cubicBezTo>
                      <a:pt x="48" y="730"/>
                      <a:pt x="47" y="726"/>
                      <a:pt x="47" y="726"/>
                    </a:cubicBezTo>
                    <a:cubicBezTo>
                      <a:pt x="47" y="726"/>
                      <a:pt x="49" y="725"/>
                      <a:pt x="55" y="723"/>
                    </a:cubicBezTo>
                    <a:cubicBezTo>
                      <a:pt x="59" y="720"/>
                      <a:pt x="64" y="720"/>
                      <a:pt x="64" y="720"/>
                    </a:cubicBezTo>
                    <a:cubicBezTo>
                      <a:pt x="64" y="722"/>
                      <a:pt x="64" y="722"/>
                      <a:pt x="64" y="722"/>
                    </a:cubicBezTo>
                    <a:cubicBezTo>
                      <a:pt x="71" y="719"/>
                      <a:pt x="71" y="719"/>
                      <a:pt x="71" y="719"/>
                    </a:cubicBezTo>
                    <a:cubicBezTo>
                      <a:pt x="72" y="715"/>
                      <a:pt x="72" y="715"/>
                      <a:pt x="72" y="715"/>
                    </a:cubicBezTo>
                    <a:cubicBezTo>
                      <a:pt x="74" y="715"/>
                      <a:pt x="74" y="715"/>
                      <a:pt x="74" y="715"/>
                    </a:cubicBezTo>
                    <a:cubicBezTo>
                      <a:pt x="73" y="719"/>
                      <a:pt x="73" y="719"/>
                      <a:pt x="73" y="719"/>
                    </a:cubicBezTo>
                    <a:cubicBezTo>
                      <a:pt x="77" y="720"/>
                      <a:pt x="77" y="720"/>
                      <a:pt x="77" y="720"/>
                    </a:cubicBezTo>
                    <a:cubicBezTo>
                      <a:pt x="77" y="720"/>
                      <a:pt x="68" y="721"/>
                      <a:pt x="65" y="726"/>
                    </a:cubicBezTo>
                    <a:cubicBezTo>
                      <a:pt x="62" y="731"/>
                      <a:pt x="63" y="735"/>
                      <a:pt x="62" y="738"/>
                    </a:cubicBezTo>
                    <a:cubicBezTo>
                      <a:pt x="62" y="740"/>
                      <a:pt x="58" y="743"/>
                      <a:pt x="58" y="743"/>
                    </a:cubicBezTo>
                    <a:cubicBezTo>
                      <a:pt x="62" y="726"/>
                      <a:pt x="62" y="726"/>
                      <a:pt x="62" y="726"/>
                    </a:cubicBezTo>
                    <a:cubicBezTo>
                      <a:pt x="62" y="723"/>
                      <a:pt x="62" y="723"/>
                      <a:pt x="62" y="723"/>
                    </a:cubicBezTo>
                    <a:cubicBezTo>
                      <a:pt x="62" y="723"/>
                      <a:pt x="58" y="724"/>
                      <a:pt x="56" y="726"/>
                    </a:cubicBezTo>
                    <a:cubicBezTo>
                      <a:pt x="52" y="727"/>
                      <a:pt x="47" y="735"/>
                      <a:pt x="47" y="735"/>
                    </a:cubicBezTo>
                    <a:cubicBezTo>
                      <a:pt x="47" y="735"/>
                      <a:pt x="44" y="736"/>
                      <a:pt x="44" y="739"/>
                    </a:cubicBezTo>
                    <a:cubicBezTo>
                      <a:pt x="45" y="742"/>
                      <a:pt x="50" y="740"/>
                      <a:pt x="48" y="742"/>
                    </a:cubicBezTo>
                    <a:cubicBezTo>
                      <a:pt x="47" y="743"/>
                      <a:pt x="43" y="743"/>
                      <a:pt x="41" y="745"/>
                    </a:cubicBezTo>
                    <a:cubicBezTo>
                      <a:pt x="39" y="747"/>
                      <a:pt x="39" y="752"/>
                      <a:pt x="39" y="752"/>
                    </a:cubicBezTo>
                    <a:cubicBezTo>
                      <a:pt x="32" y="752"/>
                      <a:pt x="32" y="752"/>
                      <a:pt x="32" y="752"/>
                    </a:cubicBezTo>
                    <a:cubicBezTo>
                      <a:pt x="28" y="757"/>
                      <a:pt x="28" y="757"/>
                      <a:pt x="28" y="757"/>
                    </a:cubicBezTo>
                    <a:cubicBezTo>
                      <a:pt x="33" y="762"/>
                      <a:pt x="33" y="762"/>
                      <a:pt x="33" y="762"/>
                    </a:cubicBezTo>
                    <a:cubicBezTo>
                      <a:pt x="39" y="759"/>
                      <a:pt x="39" y="759"/>
                      <a:pt x="39" y="759"/>
                    </a:cubicBezTo>
                    <a:cubicBezTo>
                      <a:pt x="38" y="764"/>
                      <a:pt x="38" y="764"/>
                      <a:pt x="38" y="764"/>
                    </a:cubicBezTo>
                    <a:cubicBezTo>
                      <a:pt x="40" y="765"/>
                      <a:pt x="40" y="765"/>
                      <a:pt x="40" y="765"/>
                    </a:cubicBezTo>
                    <a:cubicBezTo>
                      <a:pt x="46" y="760"/>
                      <a:pt x="46" y="760"/>
                      <a:pt x="46" y="760"/>
                    </a:cubicBezTo>
                    <a:cubicBezTo>
                      <a:pt x="42" y="766"/>
                      <a:pt x="42" y="766"/>
                      <a:pt x="42" y="766"/>
                    </a:cubicBezTo>
                    <a:cubicBezTo>
                      <a:pt x="44" y="768"/>
                      <a:pt x="44" y="768"/>
                      <a:pt x="44" y="768"/>
                    </a:cubicBezTo>
                    <a:cubicBezTo>
                      <a:pt x="34" y="765"/>
                      <a:pt x="34" y="765"/>
                      <a:pt x="34" y="765"/>
                    </a:cubicBezTo>
                    <a:cubicBezTo>
                      <a:pt x="31" y="769"/>
                      <a:pt x="31" y="769"/>
                      <a:pt x="31" y="769"/>
                    </a:cubicBezTo>
                    <a:cubicBezTo>
                      <a:pt x="34" y="772"/>
                      <a:pt x="34" y="772"/>
                      <a:pt x="34" y="772"/>
                    </a:cubicBezTo>
                    <a:cubicBezTo>
                      <a:pt x="26" y="768"/>
                      <a:pt x="26" y="768"/>
                      <a:pt x="26" y="768"/>
                    </a:cubicBezTo>
                    <a:cubicBezTo>
                      <a:pt x="23" y="770"/>
                      <a:pt x="23" y="770"/>
                      <a:pt x="23" y="770"/>
                    </a:cubicBezTo>
                    <a:cubicBezTo>
                      <a:pt x="20" y="778"/>
                      <a:pt x="20" y="778"/>
                      <a:pt x="20" y="778"/>
                    </a:cubicBezTo>
                    <a:cubicBezTo>
                      <a:pt x="18" y="780"/>
                      <a:pt x="18" y="780"/>
                      <a:pt x="18" y="780"/>
                    </a:cubicBezTo>
                    <a:cubicBezTo>
                      <a:pt x="22" y="766"/>
                      <a:pt x="22" y="766"/>
                      <a:pt x="22" y="766"/>
                    </a:cubicBezTo>
                    <a:cubicBezTo>
                      <a:pt x="19" y="767"/>
                      <a:pt x="19" y="767"/>
                      <a:pt x="19" y="767"/>
                    </a:cubicBezTo>
                    <a:cubicBezTo>
                      <a:pt x="18" y="771"/>
                      <a:pt x="18" y="771"/>
                      <a:pt x="18" y="771"/>
                    </a:cubicBezTo>
                    <a:cubicBezTo>
                      <a:pt x="15" y="771"/>
                      <a:pt x="15" y="771"/>
                      <a:pt x="15" y="771"/>
                    </a:cubicBezTo>
                    <a:cubicBezTo>
                      <a:pt x="10" y="780"/>
                      <a:pt x="10" y="780"/>
                      <a:pt x="10" y="780"/>
                    </a:cubicBezTo>
                    <a:cubicBezTo>
                      <a:pt x="13" y="793"/>
                      <a:pt x="13" y="793"/>
                      <a:pt x="13" y="793"/>
                    </a:cubicBezTo>
                    <a:cubicBezTo>
                      <a:pt x="14" y="792"/>
                      <a:pt x="14" y="792"/>
                      <a:pt x="14" y="792"/>
                    </a:cubicBezTo>
                    <a:cubicBezTo>
                      <a:pt x="14" y="800"/>
                      <a:pt x="14" y="800"/>
                      <a:pt x="14" y="800"/>
                    </a:cubicBezTo>
                    <a:cubicBezTo>
                      <a:pt x="17" y="800"/>
                      <a:pt x="17" y="800"/>
                      <a:pt x="17" y="800"/>
                    </a:cubicBezTo>
                    <a:cubicBezTo>
                      <a:pt x="17" y="793"/>
                      <a:pt x="17" y="793"/>
                      <a:pt x="17" y="793"/>
                    </a:cubicBezTo>
                    <a:cubicBezTo>
                      <a:pt x="22" y="792"/>
                      <a:pt x="22" y="792"/>
                      <a:pt x="22" y="792"/>
                    </a:cubicBezTo>
                    <a:cubicBezTo>
                      <a:pt x="22" y="789"/>
                      <a:pt x="22" y="789"/>
                      <a:pt x="22" y="789"/>
                    </a:cubicBezTo>
                    <a:cubicBezTo>
                      <a:pt x="25" y="791"/>
                      <a:pt x="25" y="791"/>
                      <a:pt x="25" y="791"/>
                    </a:cubicBezTo>
                    <a:cubicBezTo>
                      <a:pt x="23" y="794"/>
                      <a:pt x="23" y="794"/>
                      <a:pt x="23" y="794"/>
                    </a:cubicBezTo>
                    <a:cubicBezTo>
                      <a:pt x="24" y="796"/>
                      <a:pt x="24" y="796"/>
                      <a:pt x="24" y="796"/>
                    </a:cubicBezTo>
                    <a:cubicBezTo>
                      <a:pt x="32" y="788"/>
                      <a:pt x="32" y="788"/>
                      <a:pt x="32" y="788"/>
                    </a:cubicBezTo>
                    <a:cubicBezTo>
                      <a:pt x="30" y="784"/>
                      <a:pt x="30" y="784"/>
                      <a:pt x="30" y="784"/>
                    </a:cubicBezTo>
                    <a:cubicBezTo>
                      <a:pt x="26" y="785"/>
                      <a:pt x="26" y="785"/>
                      <a:pt x="26" y="785"/>
                    </a:cubicBezTo>
                    <a:cubicBezTo>
                      <a:pt x="31" y="782"/>
                      <a:pt x="31" y="782"/>
                      <a:pt x="31" y="782"/>
                    </a:cubicBezTo>
                    <a:cubicBezTo>
                      <a:pt x="32" y="778"/>
                      <a:pt x="32" y="778"/>
                      <a:pt x="32" y="778"/>
                    </a:cubicBezTo>
                    <a:cubicBezTo>
                      <a:pt x="34" y="783"/>
                      <a:pt x="34" y="783"/>
                      <a:pt x="34" y="783"/>
                    </a:cubicBezTo>
                    <a:cubicBezTo>
                      <a:pt x="39" y="784"/>
                      <a:pt x="39" y="784"/>
                      <a:pt x="39" y="784"/>
                    </a:cubicBezTo>
                    <a:cubicBezTo>
                      <a:pt x="35" y="785"/>
                      <a:pt x="35" y="785"/>
                      <a:pt x="35" y="785"/>
                    </a:cubicBezTo>
                    <a:cubicBezTo>
                      <a:pt x="36" y="788"/>
                      <a:pt x="36" y="788"/>
                      <a:pt x="36" y="788"/>
                    </a:cubicBezTo>
                    <a:cubicBezTo>
                      <a:pt x="41" y="786"/>
                      <a:pt x="41" y="786"/>
                      <a:pt x="41" y="786"/>
                    </a:cubicBezTo>
                    <a:cubicBezTo>
                      <a:pt x="43" y="780"/>
                      <a:pt x="43" y="780"/>
                      <a:pt x="43" y="780"/>
                    </a:cubicBezTo>
                    <a:cubicBezTo>
                      <a:pt x="45" y="778"/>
                      <a:pt x="45" y="778"/>
                      <a:pt x="45" y="778"/>
                    </a:cubicBezTo>
                    <a:cubicBezTo>
                      <a:pt x="47" y="773"/>
                      <a:pt x="47" y="773"/>
                      <a:pt x="47" y="773"/>
                    </a:cubicBezTo>
                    <a:cubicBezTo>
                      <a:pt x="48" y="774"/>
                      <a:pt x="48" y="774"/>
                      <a:pt x="48" y="774"/>
                    </a:cubicBezTo>
                    <a:cubicBezTo>
                      <a:pt x="47" y="780"/>
                      <a:pt x="47" y="780"/>
                      <a:pt x="47" y="780"/>
                    </a:cubicBezTo>
                    <a:cubicBezTo>
                      <a:pt x="52" y="777"/>
                      <a:pt x="52" y="777"/>
                      <a:pt x="52" y="777"/>
                    </a:cubicBezTo>
                    <a:cubicBezTo>
                      <a:pt x="52" y="778"/>
                      <a:pt x="52" y="778"/>
                      <a:pt x="52" y="778"/>
                    </a:cubicBezTo>
                    <a:cubicBezTo>
                      <a:pt x="45" y="782"/>
                      <a:pt x="45" y="782"/>
                      <a:pt x="45" y="782"/>
                    </a:cubicBezTo>
                    <a:cubicBezTo>
                      <a:pt x="44" y="788"/>
                      <a:pt x="44" y="788"/>
                      <a:pt x="44" y="788"/>
                    </a:cubicBezTo>
                    <a:cubicBezTo>
                      <a:pt x="38" y="790"/>
                      <a:pt x="38" y="790"/>
                      <a:pt x="38" y="790"/>
                    </a:cubicBezTo>
                    <a:cubicBezTo>
                      <a:pt x="40" y="792"/>
                      <a:pt x="40" y="792"/>
                      <a:pt x="40" y="792"/>
                    </a:cubicBezTo>
                    <a:cubicBezTo>
                      <a:pt x="40" y="792"/>
                      <a:pt x="41" y="790"/>
                      <a:pt x="44" y="791"/>
                    </a:cubicBezTo>
                    <a:cubicBezTo>
                      <a:pt x="46" y="792"/>
                      <a:pt x="41" y="796"/>
                      <a:pt x="41" y="796"/>
                    </a:cubicBezTo>
                    <a:cubicBezTo>
                      <a:pt x="49" y="793"/>
                      <a:pt x="49" y="793"/>
                      <a:pt x="49" y="793"/>
                    </a:cubicBezTo>
                    <a:cubicBezTo>
                      <a:pt x="49" y="793"/>
                      <a:pt x="42" y="797"/>
                      <a:pt x="41" y="798"/>
                    </a:cubicBezTo>
                    <a:cubicBezTo>
                      <a:pt x="39" y="799"/>
                      <a:pt x="36" y="803"/>
                      <a:pt x="36" y="803"/>
                    </a:cubicBezTo>
                    <a:cubicBezTo>
                      <a:pt x="38" y="805"/>
                      <a:pt x="38" y="805"/>
                      <a:pt x="38" y="805"/>
                    </a:cubicBezTo>
                    <a:cubicBezTo>
                      <a:pt x="31" y="807"/>
                      <a:pt x="31" y="807"/>
                      <a:pt x="31" y="807"/>
                    </a:cubicBezTo>
                    <a:cubicBezTo>
                      <a:pt x="34" y="813"/>
                      <a:pt x="34" y="813"/>
                      <a:pt x="34" y="813"/>
                    </a:cubicBezTo>
                    <a:cubicBezTo>
                      <a:pt x="35" y="817"/>
                      <a:pt x="35" y="817"/>
                      <a:pt x="35" y="817"/>
                    </a:cubicBezTo>
                    <a:cubicBezTo>
                      <a:pt x="43" y="813"/>
                      <a:pt x="43" y="813"/>
                      <a:pt x="43" y="813"/>
                    </a:cubicBezTo>
                    <a:cubicBezTo>
                      <a:pt x="50" y="814"/>
                      <a:pt x="50" y="814"/>
                      <a:pt x="50" y="814"/>
                    </a:cubicBezTo>
                    <a:cubicBezTo>
                      <a:pt x="44" y="815"/>
                      <a:pt x="44" y="815"/>
                      <a:pt x="44" y="815"/>
                    </a:cubicBezTo>
                    <a:cubicBezTo>
                      <a:pt x="38" y="819"/>
                      <a:pt x="38" y="819"/>
                      <a:pt x="38" y="819"/>
                    </a:cubicBezTo>
                    <a:cubicBezTo>
                      <a:pt x="38" y="822"/>
                      <a:pt x="38" y="822"/>
                      <a:pt x="38" y="822"/>
                    </a:cubicBezTo>
                    <a:cubicBezTo>
                      <a:pt x="30" y="816"/>
                      <a:pt x="30" y="816"/>
                      <a:pt x="30" y="816"/>
                    </a:cubicBezTo>
                    <a:cubicBezTo>
                      <a:pt x="25" y="820"/>
                      <a:pt x="25" y="820"/>
                      <a:pt x="25" y="820"/>
                    </a:cubicBezTo>
                    <a:cubicBezTo>
                      <a:pt x="25" y="814"/>
                      <a:pt x="25" y="814"/>
                      <a:pt x="25" y="814"/>
                    </a:cubicBezTo>
                    <a:cubicBezTo>
                      <a:pt x="19" y="812"/>
                      <a:pt x="19" y="812"/>
                      <a:pt x="19" y="812"/>
                    </a:cubicBezTo>
                    <a:cubicBezTo>
                      <a:pt x="20" y="820"/>
                      <a:pt x="20" y="820"/>
                      <a:pt x="20" y="820"/>
                    </a:cubicBezTo>
                    <a:cubicBezTo>
                      <a:pt x="18" y="821"/>
                      <a:pt x="18" y="821"/>
                      <a:pt x="18" y="821"/>
                    </a:cubicBezTo>
                    <a:cubicBezTo>
                      <a:pt x="17" y="824"/>
                      <a:pt x="17" y="824"/>
                      <a:pt x="17" y="824"/>
                    </a:cubicBezTo>
                    <a:cubicBezTo>
                      <a:pt x="14" y="829"/>
                      <a:pt x="14" y="829"/>
                      <a:pt x="14" y="829"/>
                    </a:cubicBezTo>
                    <a:cubicBezTo>
                      <a:pt x="14" y="829"/>
                      <a:pt x="18" y="841"/>
                      <a:pt x="23" y="844"/>
                    </a:cubicBezTo>
                    <a:cubicBezTo>
                      <a:pt x="26" y="847"/>
                      <a:pt x="29" y="849"/>
                      <a:pt x="31" y="853"/>
                    </a:cubicBezTo>
                    <a:cubicBezTo>
                      <a:pt x="33" y="857"/>
                      <a:pt x="49" y="863"/>
                      <a:pt x="49" y="863"/>
                    </a:cubicBezTo>
                    <a:cubicBezTo>
                      <a:pt x="50" y="866"/>
                      <a:pt x="50" y="866"/>
                      <a:pt x="50" y="866"/>
                    </a:cubicBezTo>
                    <a:cubicBezTo>
                      <a:pt x="53" y="862"/>
                      <a:pt x="53" y="862"/>
                      <a:pt x="53" y="862"/>
                    </a:cubicBezTo>
                    <a:cubicBezTo>
                      <a:pt x="58" y="865"/>
                      <a:pt x="58" y="865"/>
                      <a:pt x="58" y="865"/>
                    </a:cubicBezTo>
                    <a:cubicBezTo>
                      <a:pt x="48" y="872"/>
                      <a:pt x="48" y="872"/>
                      <a:pt x="48" y="872"/>
                    </a:cubicBezTo>
                    <a:cubicBezTo>
                      <a:pt x="50" y="876"/>
                      <a:pt x="50" y="876"/>
                      <a:pt x="50" y="876"/>
                    </a:cubicBezTo>
                    <a:cubicBezTo>
                      <a:pt x="58" y="876"/>
                      <a:pt x="58" y="876"/>
                      <a:pt x="58" y="876"/>
                    </a:cubicBezTo>
                    <a:cubicBezTo>
                      <a:pt x="56" y="873"/>
                      <a:pt x="56" y="873"/>
                      <a:pt x="56" y="873"/>
                    </a:cubicBezTo>
                    <a:cubicBezTo>
                      <a:pt x="60" y="871"/>
                      <a:pt x="60" y="871"/>
                      <a:pt x="60" y="871"/>
                    </a:cubicBezTo>
                    <a:cubicBezTo>
                      <a:pt x="65" y="873"/>
                      <a:pt x="65" y="873"/>
                      <a:pt x="65" y="873"/>
                    </a:cubicBezTo>
                    <a:cubicBezTo>
                      <a:pt x="60" y="875"/>
                      <a:pt x="60" y="875"/>
                      <a:pt x="60" y="875"/>
                    </a:cubicBezTo>
                    <a:cubicBezTo>
                      <a:pt x="64" y="879"/>
                      <a:pt x="64" y="879"/>
                      <a:pt x="64" y="879"/>
                    </a:cubicBezTo>
                    <a:cubicBezTo>
                      <a:pt x="68" y="877"/>
                      <a:pt x="68" y="877"/>
                      <a:pt x="68" y="877"/>
                    </a:cubicBezTo>
                    <a:cubicBezTo>
                      <a:pt x="68" y="877"/>
                      <a:pt x="74" y="880"/>
                      <a:pt x="80" y="880"/>
                    </a:cubicBezTo>
                    <a:cubicBezTo>
                      <a:pt x="85" y="880"/>
                      <a:pt x="88" y="878"/>
                      <a:pt x="92" y="877"/>
                    </a:cubicBezTo>
                    <a:cubicBezTo>
                      <a:pt x="96" y="876"/>
                      <a:pt x="101" y="870"/>
                      <a:pt x="101" y="870"/>
                    </a:cubicBezTo>
                    <a:cubicBezTo>
                      <a:pt x="101" y="877"/>
                      <a:pt x="101" y="877"/>
                      <a:pt x="101" y="877"/>
                    </a:cubicBezTo>
                    <a:cubicBezTo>
                      <a:pt x="124" y="857"/>
                      <a:pt x="124" y="857"/>
                      <a:pt x="124" y="857"/>
                    </a:cubicBezTo>
                    <a:cubicBezTo>
                      <a:pt x="124" y="853"/>
                      <a:pt x="124" y="853"/>
                      <a:pt x="124" y="853"/>
                    </a:cubicBezTo>
                    <a:cubicBezTo>
                      <a:pt x="142" y="839"/>
                      <a:pt x="142" y="839"/>
                      <a:pt x="142" y="839"/>
                    </a:cubicBezTo>
                    <a:cubicBezTo>
                      <a:pt x="141" y="835"/>
                      <a:pt x="141" y="835"/>
                      <a:pt x="141" y="835"/>
                    </a:cubicBezTo>
                    <a:cubicBezTo>
                      <a:pt x="145" y="836"/>
                      <a:pt x="145" y="836"/>
                      <a:pt x="145" y="836"/>
                    </a:cubicBezTo>
                    <a:cubicBezTo>
                      <a:pt x="150" y="830"/>
                      <a:pt x="150" y="830"/>
                      <a:pt x="150" y="830"/>
                    </a:cubicBezTo>
                    <a:cubicBezTo>
                      <a:pt x="146" y="828"/>
                      <a:pt x="146" y="828"/>
                      <a:pt x="146" y="828"/>
                    </a:cubicBezTo>
                    <a:cubicBezTo>
                      <a:pt x="161" y="817"/>
                      <a:pt x="161" y="817"/>
                      <a:pt x="161" y="817"/>
                    </a:cubicBezTo>
                    <a:cubicBezTo>
                      <a:pt x="156" y="810"/>
                      <a:pt x="156" y="810"/>
                      <a:pt x="156" y="810"/>
                    </a:cubicBezTo>
                    <a:cubicBezTo>
                      <a:pt x="159" y="812"/>
                      <a:pt x="159" y="812"/>
                      <a:pt x="159" y="812"/>
                    </a:cubicBezTo>
                    <a:cubicBezTo>
                      <a:pt x="167" y="821"/>
                      <a:pt x="167" y="821"/>
                      <a:pt x="167" y="821"/>
                    </a:cubicBezTo>
                    <a:cubicBezTo>
                      <a:pt x="180" y="817"/>
                      <a:pt x="180" y="817"/>
                      <a:pt x="180" y="817"/>
                    </a:cubicBezTo>
                    <a:cubicBezTo>
                      <a:pt x="181" y="805"/>
                      <a:pt x="181" y="805"/>
                      <a:pt x="181" y="805"/>
                    </a:cubicBezTo>
                    <a:cubicBezTo>
                      <a:pt x="184" y="808"/>
                      <a:pt x="184" y="808"/>
                      <a:pt x="184" y="808"/>
                    </a:cubicBezTo>
                    <a:cubicBezTo>
                      <a:pt x="188" y="806"/>
                      <a:pt x="188" y="806"/>
                      <a:pt x="188" y="806"/>
                    </a:cubicBezTo>
                    <a:cubicBezTo>
                      <a:pt x="186" y="803"/>
                      <a:pt x="186" y="803"/>
                      <a:pt x="186" y="803"/>
                    </a:cubicBezTo>
                    <a:cubicBezTo>
                      <a:pt x="189" y="803"/>
                      <a:pt x="189" y="803"/>
                      <a:pt x="189" y="803"/>
                    </a:cubicBezTo>
                    <a:cubicBezTo>
                      <a:pt x="188" y="791"/>
                      <a:pt x="188" y="791"/>
                      <a:pt x="188" y="791"/>
                    </a:cubicBezTo>
                    <a:cubicBezTo>
                      <a:pt x="182" y="789"/>
                      <a:pt x="182" y="789"/>
                      <a:pt x="182" y="789"/>
                    </a:cubicBezTo>
                    <a:cubicBezTo>
                      <a:pt x="179" y="782"/>
                      <a:pt x="179" y="782"/>
                      <a:pt x="179" y="782"/>
                    </a:cubicBezTo>
                    <a:cubicBezTo>
                      <a:pt x="183" y="785"/>
                      <a:pt x="183" y="785"/>
                      <a:pt x="183" y="785"/>
                    </a:cubicBezTo>
                    <a:cubicBezTo>
                      <a:pt x="183" y="776"/>
                      <a:pt x="183" y="776"/>
                      <a:pt x="183" y="776"/>
                    </a:cubicBezTo>
                    <a:cubicBezTo>
                      <a:pt x="178" y="771"/>
                      <a:pt x="178" y="771"/>
                      <a:pt x="178" y="771"/>
                    </a:cubicBezTo>
                    <a:cubicBezTo>
                      <a:pt x="181" y="770"/>
                      <a:pt x="181" y="770"/>
                      <a:pt x="181" y="770"/>
                    </a:cubicBezTo>
                    <a:cubicBezTo>
                      <a:pt x="186" y="773"/>
                      <a:pt x="186" y="773"/>
                      <a:pt x="186" y="773"/>
                    </a:cubicBezTo>
                    <a:cubicBezTo>
                      <a:pt x="186" y="785"/>
                      <a:pt x="186" y="785"/>
                      <a:pt x="186" y="785"/>
                    </a:cubicBezTo>
                    <a:cubicBezTo>
                      <a:pt x="186" y="785"/>
                      <a:pt x="191" y="784"/>
                      <a:pt x="192" y="781"/>
                    </a:cubicBezTo>
                    <a:cubicBezTo>
                      <a:pt x="192" y="776"/>
                      <a:pt x="189" y="773"/>
                      <a:pt x="189" y="773"/>
                    </a:cubicBezTo>
                    <a:cubicBezTo>
                      <a:pt x="189" y="773"/>
                      <a:pt x="189" y="767"/>
                      <a:pt x="190" y="762"/>
                    </a:cubicBezTo>
                    <a:cubicBezTo>
                      <a:pt x="190" y="758"/>
                      <a:pt x="197" y="759"/>
                      <a:pt x="199" y="762"/>
                    </a:cubicBezTo>
                    <a:cubicBezTo>
                      <a:pt x="200" y="765"/>
                      <a:pt x="197" y="769"/>
                      <a:pt x="197" y="769"/>
                    </a:cubicBezTo>
                    <a:cubicBezTo>
                      <a:pt x="195" y="764"/>
                      <a:pt x="195" y="764"/>
                      <a:pt x="195" y="764"/>
                    </a:cubicBezTo>
                    <a:cubicBezTo>
                      <a:pt x="193" y="769"/>
                      <a:pt x="193" y="769"/>
                      <a:pt x="193" y="769"/>
                    </a:cubicBezTo>
                    <a:cubicBezTo>
                      <a:pt x="194" y="776"/>
                      <a:pt x="194" y="776"/>
                      <a:pt x="194" y="776"/>
                    </a:cubicBezTo>
                    <a:cubicBezTo>
                      <a:pt x="194" y="788"/>
                      <a:pt x="194" y="788"/>
                      <a:pt x="194" y="788"/>
                    </a:cubicBezTo>
                    <a:cubicBezTo>
                      <a:pt x="192" y="789"/>
                      <a:pt x="192" y="789"/>
                      <a:pt x="192" y="789"/>
                    </a:cubicBezTo>
                    <a:cubicBezTo>
                      <a:pt x="195" y="800"/>
                      <a:pt x="195" y="800"/>
                      <a:pt x="195" y="800"/>
                    </a:cubicBezTo>
                    <a:cubicBezTo>
                      <a:pt x="198" y="798"/>
                      <a:pt x="198" y="798"/>
                      <a:pt x="198" y="798"/>
                    </a:cubicBezTo>
                    <a:cubicBezTo>
                      <a:pt x="199" y="809"/>
                      <a:pt x="199" y="809"/>
                      <a:pt x="199" y="809"/>
                    </a:cubicBezTo>
                    <a:cubicBezTo>
                      <a:pt x="208" y="810"/>
                      <a:pt x="208" y="810"/>
                      <a:pt x="208" y="810"/>
                    </a:cubicBezTo>
                    <a:cubicBezTo>
                      <a:pt x="211" y="808"/>
                      <a:pt x="211" y="808"/>
                      <a:pt x="211" y="808"/>
                    </a:cubicBezTo>
                    <a:cubicBezTo>
                      <a:pt x="212" y="814"/>
                      <a:pt x="212" y="814"/>
                      <a:pt x="212" y="814"/>
                    </a:cubicBezTo>
                    <a:cubicBezTo>
                      <a:pt x="212" y="814"/>
                      <a:pt x="220" y="809"/>
                      <a:pt x="221" y="814"/>
                    </a:cubicBezTo>
                    <a:cubicBezTo>
                      <a:pt x="222" y="819"/>
                      <a:pt x="219" y="828"/>
                      <a:pt x="223" y="828"/>
                    </a:cubicBezTo>
                    <a:cubicBezTo>
                      <a:pt x="227" y="828"/>
                      <a:pt x="228" y="822"/>
                      <a:pt x="230" y="815"/>
                    </a:cubicBezTo>
                    <a:cubicBezTo>
                      <a:pt x="232" y="808"/>
                      <a:pt x="236" y="800"/>
                      <a:pt x="236" y="800"/>
                    </a:cubicBezTo>
                    <a:cubicBezTo>
                      <a:pt x="236" y="800"/>
                      <a:pt x="227" y="782"/>
                      <a:pt x="230" y="780"/>
                    </a:cubicBezTo>
                    <a:cubicBezTo>
                      <a:pt x="232" y="776"/>
                      <a:pt x="238" y="777"/>
                      <a:pt x="238" y="773"/>
                    </a:cubicBezTo>
                    <a:cubicBezTo>
                      <a:pt x="239" y="768"/>
                      <a:pt x="232" y="767"/>
                      <a:pt x="237" y="764"/>
                    </a:cubicBezTo>
                    <a:cubicBezTo>
                      <a:pt x="241" y="760"/>
                      <a:pt x="252" y="766"/>
                      <a:pt x="256" y="754"/>
                    </a:cubicBezTo>
                    <a:cubicBezTo>
                      <a:pt x="259" y="741"/>
                      <a:pt x="255" y="738"/>
                      <a:pt x="256" y="734"/>
                    </a:cubicBezTo>
                    <a:cubicBezTo>
                      <a:pt x="257" y="729"/>
                      <a:pt x="265" y="733"/>
                      <a:pt x="262" y="725"/>
                    </a:cubicBezTo>
                    <a:cubicBezTo>
                      <a:pt x="260" y="718"/>
                      <a:pt x="254" y="704"/>
                      <a:pt x="254" y="704"/>
                    </a:cubicBezTo>
                    <a:cubicBezTo>
                      <a:pt x="252" y="695"/>
                      <a:pt x="252" y="695"/>
                      <a:pt x="252" y="695"/>
                    </a:cubicBezTo>
                    <a:cubicBezTo>
                      <a:pt x="247" y="689"/>
                      <a:pt x="247" y="689"/>
                      <a:pt x="247" y="689"/>
                    </a:cubicBezTo>
                    <a:cubicBezTo>
                      <a:pt x="256" y="686"/>
                      <a:pt x="256" y="686"/>
                      <a:pt x="256" y="686"/>
                    </a:cubicBezTo>
                    <a:cubicBezTo>
                      <a:pt x="256" y="686"/>
                      <a:pt x="264" y="692"/>
                      <a:pt x="266" y="680"/>
                    </a:cubicBezTo>
                    <a:cubicBezTo>
                      <a:pt x="270" y="668"/>
                      <a:pt x="269" y="664"/>
                      <a:pt x="265" y="660"/>
                    </a:cubicBezTo>
                    <a:cubicBezTo>
                      <a:pt x="261" y="657"/>
                      <a:pt x="256" y="654"/>
                      <a:pt x="256" y="654"/>
                    </a:cubicBezTo>
                    <a:cubicBezTo>
                      <a:pt x="246" y="644"/>
                      <a:pt x="246" y="644"/>
                      <a:pt x="246" y="644"/>
                    </a:cubicBezTo>
                    <a:cubicBezTo>
                      <a:pt x="252" y="609"/>
                      <a:pt x="252" y="609"/>
                      <a:pt x="252" y="609"/>
                    </a:cubicBezTo>
                    <a:cubicBezTo>
                      <a:pt x="244" y="586"/>
                      <a:pt x="244" y="586"/>
                      <a:pt x="244" y="586"/>
                    </a:cubicBezTo>
                    <a:cubicBezTo>
                      <a:pt x="247" y="578"/>
                      <a:pt x="247" y="578"/>
                      <a:pt x="247" y="578"/>
                    </a:cubicBezTo>
                    <a:cubicBezTo>
                      <a:pt x="244" y="567"/>
                      <a:pt x="244" y="567"/>
                      <a:pt x="244" y="567"/>
                    </a:cubicBezTo>
                    <a:cubicBezTo>
                      <a:pt x="248" y="561"/>
                      <a:pt x="248" y="561"/>
                      <a:pt x="248" y="561"/>
                    </a:cubicBezTo>
                    <a:cubicBezTo>
                      <a:pt x="241" y="542"/>
                      <a:pt x="241" y="542"/>
                      <a:pt x="241" y="542"/>
                    </a:cubicBezTo>
                    <a:cubicBezTo>
                      <a:pt x="249" y="531"/>
                      <a:pt x="249" y="531"/>
                      <a:pt x="249" y="531"/>
                    </a:cubicBezTo>
                    <a:cubicBezTo>
                      <a:pt x="246" y="522"/>
                      <a:pt x="246" y="522"/>
                      <a:pt x="246" y="522"/>
                    </a:cubicBezTo>
                    <a:cubicBezTo>
                      <a:pt x="246" y="522"/>
                      <a:pt x="258" y="494"/>
                      <a:pt x="270" y="491"/>
                    </a:cubicBezTo>
                    <a:cubicBezTo>
                      <a:pt x="280" y="488"/>
                      <a:pt x="300" y="494"/>
                      <a:pt x="300" y="494"/>
                    </a:cubicBezTo>
                    <a:cubicBezTo>
                      <a:pt x="305" y="482"/>
                      <a:pt x="305" y="482"/>
                      <a:pt x="305" y="482"/>
                    </a:cubicBezTo>
                    <a:cubicBezTo>
                      <a:pt x="304" y="467"/>
                      <a:pt x="304" y="467"/>
                      <a:pt x="304" y="467"/>
                    </a:cubicBezTo>
                    <a:cubicBezTo>
                      <a:pt x="290" y="457"/>
                      <a:pt x="290" y="457"/>
                      <a:pt x="290" y="457"/>
                    </a:cubicBezTo>
                    <a:cubicBezTo>
                      <a:pt x="309" y="425"/>
                      <a:pt x="309" y="425"/>
                      <a:pt x="309" y="425"/>
                    </a:cubicBezTo>
                    <a:cubicBezTo>
                      <a:pt x="310" y="415"/>
                      <a:pt x="310" y="415"/>
                      <a:pt x="310" y="415"/>
                    </a:cubicBezTo>
                    <a:cubicBezTo>
                      <a:pt x="314" y="410"/>
                      <a:pt x="314" y="410"/>
                      <a:pt x="314" y="410"/>
                    </a:cubicBezTo>
                    <a:cubicBezTo>
                      <a:pt x="313" y="390"/>
                      <a:pt x="313" y="390"/>
                      <a:pt x="313" y="390"/>
                    </a:cubicBezTo>
                    <a:cubicBezTo>
                      <a:pt x="315" y="378"/>
                      <a:pt x="315" y="378"/>
                      <a:pt x="315" y="378"/>
                    </a:cubicBezTo>
                    <a:cubicBezTo>
                      <a:pt x="311" y="358"/>
                      <a:pt x="311" y="358"/>
                      <a:pt x="311" y="358"/>
                    </a:cubicBezTo>
                    <a:cubicBezTo>
                      <a:pt x="324" y="356"/>
                      <a:pt x="324" y="356"/>
                      <a:pt x="324" y="356"/>
                    </a:cubicBezTo>
                    <a:cubicBezTo>
                      <a:pt x="337" y="346"/>
                      <a:pt x="337" y="346"/>
                      <a:pt x="337" y="346"/>
                    </a:cubicBezTo>
                    <a:cubicBezTo>
                      <a:pt x="334" y="333"/>
                      <a:pt x="334" y="333"/>
                      <a:pt x="334" y="333"/>
                    </a:cubicBezTo>
                    <a:cubicBezTo>
                      <a:pt x="334" y="333"/>
                      <a:pt x="339" y="332"/>
                      <a:pt x="341" y="326"/>
                    </a:cubicBezTo>
                    <a:cubicBezTo>
                      <a:pt x="343" y="319"/>
                      <a:pt x="341" y="314"/>
                      <a:pt x="347" y="308"/>
                    </a:cubicBezTo>
                    <a:cubicBezTo>
                      <a:pt x="355" y="300"/>
                      <a:pt x="361" y="298"/>
                      <a:pt x="359" y="292"/>
                    </a:cubicBezTo>
                    <a:cubicBezTo>
                      <a:pt x="358" y="284"/>
                      <a:pt x="351" y="273"/>
                      <a:pt x="351" y="273"/>
                    </a:cubicBezTo>
                    <a:cubicBezTo>
                      <a:pt x="351" y="266"/>
                      <a:pt x="351" y="266"/>
                      <a:pt x="351" y="266"/>
                    </a:cubicBezTo>
                    <a:cubicBezTo>
                      <a:pt x="351" y="266"/>
                      <a:pt x="359" y="268"/>
                      <a:pt x="360" y="263"/>
                    </a:cubicBezTo>
                    <a:cubicBezTo>
                      <a:pt x="360" y="258"/>
                      <a:pt x="364" y="241"/>
                      <a:pt x="364" y="241"/>
                    </a:cubicBezTo>
                    <a:cubicBezTo>
                      <a:pt x="378" y="226"/>
                      <a:pt x="378" y="226"/>
                      <a:pt x="378" y="226"/>
                    </a:cubicBezTo>
                    <a:cubicBezTo>
                      <a:pt x="394" y="234"/>
                      <a:pt x="394" y="234"/>
                      <a:pt x="394" y="234"/>
                    </a:cubicBezTo>
                    <a:cubicBezTo>
                      <a:pt x="394" y="234"/>
                      <a:pt x="397" y="223"/>
                      <a:pt x="399" y="218"/>
                    </a:cubicBezTo>
                    <a:cubicBezTo>
                      <a:pt x="400" y="213"/>
                      <a:pt x="397" y="198"/>
                      <a:pt x="397" y="198"/>
                    </a:cubicBezTo>
                    <a:cubicBezTo>
                      <a:pt x="405" y="193"/>
                      <a:pt x="405" y="193"/>
                      <a:pt x="405" y="193"/>
                    </a:cubicBezTo>
                    <a:cubicBezTo>
                      <a:pt x="409" y="198"/>
                      <a:pt x="409" y="198"/>
                      <a:pt x="409" y="198"/>
                    </a:cubicBezTo>
                    <a:cubicBezTo>
                      <a:pt x="421" y="195"/>
                      <a:pt x="421" y="195"/>
                      <a:pt x="421" y="195"/>
                    </a:cubicBezTo>
                    <a:cubicBezTo>
                      <a:pt x="443" y="205"/>
                      <a:pt x="443" y="205"/>
                      <a:pt x="443" y="205"/>
                    </a:cubicBezTo>
                    <a:cubicBezTo>
                      <a:pt x="450" y="195"/>
                      <a:pt x="450" y="195"/>
                      <a:pt x="450" y="195"/>
                    </a:cubicBezTo>
                    <a:cubicBezTo>
                      <a:pt x="442" y="191"/>
                      <a:pt x="442" y="191"/>
                      <a:pt x="442" y="191"/>
                    </a:cubicBezTo>
                    <a:cubicBezTo>
                      <a:pt x="442" y="191"/>
                      <a:pt x="450" y="182"/>
                      <a:pt x="449" y="174"/>
                    </a:cubicBezTo>
                    <a:cubicBezTo>
                      <a:pt x="448" y="168"/>
                      <a:pt x="441" y="159"/>
                      <a:pt x="441" y="159"/>
                    </a:cubicBezTo>
                    <a:cubicBezTo>
                      <a:pt x="453" y="157"/>
                      <a:pt x="453" y="157"/>
                      <a:pt x="453" y="157"/>
                    </a:cubicBezTo>
                    <a:cubicBezTo>
                      <a:pt x="455" y="154"/>
                      <a:pt x="455" y="154"/>
                      <a:pt x="455" y="154"/>
                    </a:cubicBezTo>
                    <a:cubicBezTo>
                      <a:pt x="455" y="154"/>
                      <a:pt x="464" y="159"/>
                      <a:pt x="466" y="157"/>
                    </a:cubicBezTo>
                    <a:cubicBezTo>
                      <a:pt x="467" y="155"/>
                      <a:pt x="459" y="148"/>
                      <a:pt x="465" y="144"/>
                    </a:cubicBezTo>
                    <a:cubicBezTo>
                      <a:pt x="469" y="139"/>
                      <a:pt x="478" y="142"/>
                      <a:pt x="478" y="142"/>
                    </a:cubicBezTo>
                    <a:cubicBezTo>
                      <a:pt x="478" y="142"/>
                      <a:pt x="485" y="152"/>
                      <a:pt x="490" y="157"/>
                    </a:cubicBezTo>
                    <a:cubicBezTo>
                      <a:pt x="497" y="163"/>
                      <a:pt x="499" y="172"/>
                      <a:pt x="499" y="172"/>
                    </a:cubicBezTo>
                    <a:cubicBezTo>
                      <a:pt x="504" y="171"/>
                      <a:pt x="504" y="171"/>
                      <a:pt x="504" y="171"/>
                    </a:cubicBezTo>
                    <a:cubicBezTo>
                      <a:pt x="515" y="171"/>
                      <a:pt x="515" y="171"/>
                      <a:pt x="515" y="171"/>
                    </a:cubicBezTo>
                    <a:cubicBezTo>
                      <a:pt x="522" y="175"/>
                      <a:pt x="522" y="175"/>
                      <a:pt x="522" y="175"/>
                    </a:cubicBezTo>
                    <a:cubicBezTo>
                      <a:pt x="531" y="169"/>
                      <a:pt x="531" y="169"/>
                      <a:pt x="531" y="169"/>
                    </a:cubicBezTo>
                    <a:cubicBezTo>
                      <a:pt x="531" y="169"/>
                      <a:pt x="533" y="161"/>
                      <a:pt x="539" y="161"/>
                    </a:cubicBezTo>
                    <a:cubicBezTo>
                      <a:pt x="544" y="161"/>
                      <a:pt x="546" y="166"/>
                      <a:pt x="546" y="166"/>
                    </a:cubicBezTo>
                    <a:cubicBezTo>
                      <a:pt x="558" y="167"/>
                      <a:pt x="558" y="167"/>
                      <a:pt x="558" y="167"/>
                    </a:cubicBezTo>
                    <a:cubicBezTo>
                      <a:pt x="565" y="174"/>
                      <a:pt x="565" y="174"/>
                      <a:pt x="565" y="174"/>
                    </a:cubicBezTo>
                    <a:cubicBezTo>
                      <a:pt x="565" y="174"/>
                      <a:pt x="567" y="161"/>
                      <a:pt x="570" y="157"/>
                    </a:cubicBezTo>
                    <a:cubicBezTo>
                      <a:pt x="572" y="154"/>
                      <a:pt x="575" y="150"/>
                      <a:pt x="575" y="144"/>
                    </a:cubicBezTo>
                    <a:cubicBezTo>
                      <a:pt x="574" y="139"/>
                      <a:pt x="572" y="130"/>
                      <a:pt x="572" y="130"/>
                    </a:cubicBezTo>
                    <a:cubicBezTo>
                      <a:pt x="574" y="97"/>
                      <a:pt x="574" y="97"/>
                      <a:pt x="574" y="97"/>
                    </a:cubicBezTo>
                    <a:cubicBezTo>
                      <a:pt x="577" y="93"/>
                      <a:pt x="577" y="93"/>
                      <a:pt x="577" y="93"/>
                    </a:cubicBezTo>
                    <a:cubicBezTo>
                      <a:pt x="577" y="93"/>
                      <a:pt x="576" y="81"/>
                      <a:pt x="582" y="79"/>
                    </a:cubicBezTo>
                    <a:cubicBezTo>
                      <a:pt x="588" y="76"/>
                      <a:pt x="595" y="78"/>
                      <a:pt x="595" y="78"/>
                    </a:cubicBezTo>
                    <a:cubicBezTo>
                      <a:pt x="595" y="78"/>
                      <a:pt x="604" y="66"/>
                      <a:pt x="610" y="65"/>
                    </a:cubicBezTo>
                    <a:cubicBezTo>
                      <a:pt x="616" y="64"/>
                      <a:pt x="625" y="77"/>
                      <a:pt x="625" y="77"/>
                    </a:cubicBezTo>
                    <a:cubicBezTo>
                      <a:pt x="648" y="80"/>
                      <a:pt x="648" y="80"/>
                      <a:pt x="648" y="80"/>
                    </a:cubicBezTo>
                    <a:cubicBezTo>
                      <a:pt x="655" y="91"/>
                      <a:pt x="655" y="91"/>
                      <a:pt x="655" y="91"/>
                    </a:cubicBezTo>
                    <a:cubicBezTo>
                      <a:pt x="655" y="91"/>
                      <a:pt x="647" y="105"/>
                      <a:pt x="647" y="110"/>
                    </a:cubicBezTo>
                    <a:cubicBezTo>
                      <a:pt x="647" y="116"/>
                      <a:pt x="650" y="121"/>
                      <a:pt x="650" y="121"/>
                    </a:cubicBezTo>
                    <a:cubicBezTo>
                      <a:pt x="650" y="121"/>
                      <a:pt x="654" y="125"/>
                      <a:pt x="656" y="123"/>
                    </a:cubicBezTo>
                    <a:cubicBezTo>
                      <a:pt x="659" y="121"/>
                      <a:pt x="658" y="107"/>
                      <a:pt x="658" y="107"/>
                    </a:cubicBezTo>
                    <a:cubicBezTo>
                      <a:pt x="658" y="107"/>
                      <a:pt x="655" y="108"/>
                      <a:pt x="656" y="105"/>
                    </a:cubicBezTo>
                    <a:cubicBezTo>
                      <a:pt x="657" y="102"/>
                      <a:pt x="661" y="102"/>
                      <a:pt x="663" y="100"/>
                    </a:cubicBezTo>
                    <a:cubicBezTo>
                      <a:pt x="666" y="98"/>
                      <a:pt x="665" y="93"/>
                      <a:pt x="666" y="93"/>
                    </a:cubicBezTo>
                    <a:cubicBezTo>
                      <a:pt x="668" y="92"/>
                      <a:pt x="674" y="94"/>
                      <a:pt x="674" y="90"/>
                    </a:cubicBezTo>
                    <a:cubicBezTo>
                      <a:pt x="674" y="85"/>
                      <a:pt x="669" y="78"/>
                      <a:pt x="669" y="78"/>
                    </a:cubicBezTo>
                    <a:cubicBezTo>
                      <a:pt x="669" y="78"/>
                      <a:pt x="673" y="78"/>
                      <a:pt x="675" y="79"/>
                    </a:cubicBezTo>
                    <a:cubicBezTo>
                      <a:pt x="678" y="79"/>
                      <a:pt x="685" y="87"/>
                      <a:pt x="687" y="80"/>
                    </a:cubicBezTo>
                    <a:cubicBezTo>
                      <a:pt x="690" y="74"/>
                      <a:pt x="685" y="71"/>
                      <a:pt x="685" y="71"/>
                    </a:cubicBezTo>
                    <a:close/>
                    <a:moveTo>
                      <a:pt x="8" y="787"/>
                    </a:moveTo>
                    <a:cubicBezTo>
                      <a:pt x="8" y="787"/>
                      <a:pt x="7" y="793"/>
                      <a:pt x="8" y="794"/>
                    </a:cubicBezTo>
                    <a:cubicBezTo>
                      <a:pt x="9" y="796"/>
                      <a:pt x="6" y="800"/>
                      <a:pt x="6" y="800"/>
                    </a:cubicBezTo>
                    <a:cubicBezTo>
                      <a:pt x="9" y="800"/>
                      <a:pt x="9" y="800"/>
                      <a:pt x="9" y="800"/>
                    </a:cubicBezTo>
                    <a:cubicBezTo>
                      <a:pt x="11" y="798"/>
                      <a:pt x="11" y="798"/>
                      <a:pt x="11" y="798"/>
                    </a:cubicBezTo>
                    <a:cubicBezTo>
                      <a:pt x="11" y="792"/>
                      <a:pt x="11" y="792"/>
                      <a:pt x="11" y="792"/>
                    </a:cubicBezTo>
                    <a:cubicBezTo>
                      <a:pt x="10" y="785"/>
                      <a:pt x="10" y="785"/>
                      <a:pt x="10" y="785"/>
                    </a:cubicBezTo>
                    <a:lnTo>
                      <a:pt x="8" y="787"/>
                    </a:lnTo>
                    <a:close/>
                    <a:moveTo>
                      <a:pt x="27" y="805"/>
                    </a:moveTo>
                    <a:cubicBezTo>
                      <a:pt x="18" y="803"/>
                      <a:pt x="18" y="803"/>
                      <a:pt x="18" y="803"/>
                    </a:cubicBezTo>
                    <a:cubicBezTo>
                      <a:pt x="26" y="808"/>
                      <a:pt x="26" y="808"/>
                      <a:pt x="26" y="808"/>
                    </a:cubicBezTo>
                    <a:lnTo>
                      <a:pt x="27" y="805"/>
                    </a:lnTo>
                    <a:close/>
                    <a:moveTo>
                      <a:pt x="36" y="794"/>
                    </a:moveTo>
                    <a:cubicBezTo>
                      <a:pt x="32" y="794"/>
                      <a:pt x="32" y="794"/>
                      <a:pt x="32" y="794"/>
                    </a:cubicBezTo>
                    <a:cubicBezTo>
                      <a:pt x="30" y="799"/>
                      <a:pt x="30" y="799"/>
                      <a:pt x="30" y="799"/>
                    </a:cubicBezTo>
                    <a:cubicBezTo>
                      <a:pt x="38" y="798"/>
                      <a:pt x="38" y="798"/>
                      <a:pt x="38" y="798"/>
                    </a:cubicBezTo>
                    <a:lnTo>
                      <a:pt x="36" y="794"/>
                    </a:lnTo>
                    <a:close/>
                    <a:moveTo>
                      <a:pt x="16" y="750"/>
                    </a:moveTo>
                    <a:cubicBezTo>
                      <a:pt x="16" y="753"/>
                      <a:pt x="16" y="753"/>
                      <a:pt x="16" y="753"/>
                    </a:cubicBezTo>
                    <a:cubicBezTo>
                      <a:pt x="14" y="754"/>
                      <a:pt x="14" y="754"/>
                      <a:pt x="14" y="754"/>
                    </a:cubicBezTo>
                    <a:cubicBezTo>
                      <a:pt x="14" y="754"/>
                      <a:pt x="16" y="762"/>
                      <a:pt x="20" y="762"/>
                    </a:cubicBezTo>
                    <a:cubicBezTo>
                      <a:pt x="26" y="762"/>
                      <a:pt x="22" y="753"/>
                      <a:pt x="22" y="753"/>
                    </a:cubicBezTo>
                    <a:cubicBezTo>
                      <a:pt x="17" y="750"/>
                      <a:pt x="17" y="750"/>
                      <a:pt x="17" y="750"/>
                    </a:cubicBezTo>
                    <a:lnTo>
                      <a:pt x="16" y="750"/>
                    </a:lnTo>
                    <a:close/>
                    <a:moveTo>
                      <a:pt x="15" y="768"/>
                    </a:moveTo>
                    <a:cubicBezTo>
                      <a:pt x="17" y="766"/>
                      <a:pt x="17" y="766"/>
                      <a:pt x="17" y="766"/>
                    </a:cubicBezTo>
                    <a:cubicBezTo>
                      <a:pt x="15" y="762"/>
                      <a:pt x="15" y="762"/>
                      <a:pt x="15" y="762"/>
                    </a:cubicBezTo>
                    <a:cubicBezTo>
                      <a:pt x="15" y="758"/>
                      <a:pt x="15" y="758"/>
                      <a:pt x="15" y="758"/>
                    </a:cubicBezTo>
                    <a:cubicBezTo>
                      <a:pt x="11" y="756"/>
                      <a:pt x="11" y="756"/>
                      <a:pt x="11" y="756"/>
                    </a:cubicBezTo>
                    <a:cubicBezTo>
                      <a:pt x="11" y="757"/>
                      <a:pt x="11" y="757"/>
                      <a:pt x="11" y="757"/>
                    </a:cubicBezTo>
                    <a:cubicBezTo>
                      <a:pt x="11" y="757"/>
                      <a:pt x="10" y="758"/>
                      <a:pt x="9" y="760"/>
                    </a:cubicBezTo>
                    <a:cubicBezTo>
                      <a:pt x="8" y="762"/>
                      <a:pt x="12" y="764"/>
                      <a:pt x="12" y="764"/>
                    </a:cubicBezTo>
                    <a:cubicBezTo>
                      <a:pt x="9" y="767"/>
                      <a:pt x="9" y="767"/>
                      <a:pt x="9" y="767"/>
                    </a:cubicBezTo>
                    <a:cubicBezTo>
                      <a:pt x="9" y="773"/>
                      <a:pt x="9" y="773"/>
                      <a:pt x="9" y="773"/>
                    </a:cubicBezTo>
                    <a:cubicBezTo>
                      <a:pt x="13" y="772"/>
                      <a:pt x="13" y="772"/>
                      <a:pt x="13" y="772"/>
                    </a:cubicBezTo>
                    <a:cubicBezTo>
                      <a:pt x="10" y="767"/>
                      <a:pt x="10" y="767"/>
                      <a:pt x="10" y="767"/>
                    </a:cubicBezTo>
                    <a:cubicBezTo>
                      <a:pt x="14" y="764"/>
                      <a:pt x="14" y="764"/>
                      <a:pt x="14" y="764"/>
                    </a:cubicBezTo>
                    <a:cubicBezTo>
                      <a:pt x="15" y="764"/>
                      <a:pt x="15" y="764"/>
                      <a:pt x="15" y="764"/>
                    </a:cubicBezTo>
                    <a:cubicBezTo>
                      <a:pt x="14" y="766"/>
                      <a:pt x="14" y="766"/>
                      <a:pt x="14" y="766"/>
                    </a:cubicBezTo>
                    <a:lnTo>
                      <a:pt x="15" y="768"/>
                    </a:lnTo>
                    <a:close/>
                    <a:moveTo>
                      <a:pt x="29" y="766"/>
                    </a:moveTo>
                    <a:cubicBezTo>
                      <a:pt x="33" y="764"/>
                      <a:pt x="33" y="764"/>
                      <a:pt x="33" y="764"/>
                    </a:cubicBezTo>
                    <a:cubicBezTo>
                      <a:pt x="27" y="759"/>
                      <a:pt x="27" y="759"/>
                      <a:pt x="27" y="759"/>
                    </a:cubicBezTo>
                    <a:cubicBezTo>
                      <a:pt x="25" y="761"/>
                      <a:pt x="25" y="761"/>
                      <a:pt x="25" y="761"/>
                    </a:cubicBezTo>
                    <a:lnTo>
                      <a:pt x="29" y="766"/>
                    </a:lnTo>
                    <a:close/>
                    <a:moveTo>
                      <a:pt x="28" y="743"/>
                    </a:moveTo>
                    <a:cubicBezTo>
                      <a:pt x="23" y="744"/>
                      <a:pt x="23" y="744"/>
                      <a:pt x="23" y="744"/>
                    </a:cubicBezTo>
                    <a:cubicBezTo>
                      <a:pt x="23" y="747"/>
                      <a:pt x="23" y="747"/>
                      <a:pt x="23" y="747"/>
                    </a:cubicBezTo>
                    <a:cubicBezTo>
                      <a:pt x="20" y="749"/>
                      <a:pt x="20" y="749"/>
                      <a:pt x="20" y="749"/>
                    </a:cubicBezTo>
                    <a:cubicBezTo>
                      <a:pt x="23" y="751"/>
                      <a:pt x="23" y="751"/>
                      <a:pt x="23" y="751"/>
                    </a:cubicBezTo>
                    <a:cubicBezTo>
                      <a:pt x="25" y="754"/>
                      <a:pt x="25" y="754"/>
                      <a:pt x="25" y="754"/>
                    </a:cubicBezTo>
                    <a:cubicBezTo>
                      <a:pt x="27" y="754"/>
                      <a:pt x="27" y="754"/>
                      <a:pt x="27" y="754"/>
                    </a:cubicBezTo>
                    <a:cubicBezTo>
                      <a:pt x="27" y="751"/>
                      <a:pt x="27" y="751"/>
                      <a:pt x="27" y="751"/>
                    </a:cubicBezTo>
                    <a:cubicBezTo>
                      <a:pt x="29" y="749"/>
                      <a:pt x="29" y="749"/>
                      <a:pt x="29" y="749"/>
                    </a:cubicBezTo>
                    <a:lnTo>
                      <a:pt x="28" y="743"/>
                    </a:lnTo>
                    <a:close/>
                    <a:moveTo>
                      <a:pt x="19" y="743"/>
                    </a:moveTo>
                    <a:cubicBezTo>
                      <a:pt x="16" y="746"/>
                      <a:pt x="19" y="747"/>
                      <a:pt x="20" y="746"/>
                    </a:cubicBezTo>
                    <a:cubicBezTo>
                      <a:pt x="23" y="744"/>
                      <a:pt x="22" y="740"/>
                      <a:pt x="19" y="743"/>
                    </a:cubicBezTo>
                    <a:close/>
                    <a:moveTo>
                      <a:pt x="10" y="738"/>
                    </a:moveTo>
                    <a:cubicBezTo>
                      <a:pt x="11" y="740"/>
                      <a:pt x="11" y="740"/>
                      <a:pt x="11" y="740"/>
                    </a:cubicBezTo>
                    <a:cubicBezTo>
                      <a:pt x="12" y="740"/>
                      <a:pt x="12" y="740"/>
                      <a:pt x="12" y="740"/>
                    </a:cubicBezTo>
                    <a:cubicBezTo>
                      <a:pt x="14" y="743"/>
                      <a:pt x="14" y="743"/>
                      <a:pt x="14" y="743"/>
                    </a:cubicBezTo>
                    <a:cubicBezTo>
                      <a:pt x="12" y="745"/>
                      <a:pt x="12" y="745"/>
                      <a:pt x="12" y="745"/>
                    </a:cubicBezTo>
                    <a:cubicBezTo>
                      <a:pt x="15" y="746"/>
                      <a:pt x="15" y="746"/>
                      <a:pt x="15" y="746"/>
                    </a:cubicBezTo>
                    <a:cubicBezTo>
                      <a:pt x="16" y="742"/>
                      <a:pt x="16" y="742"/>
                      <a:pt x="16" y="742"/>
                    </a:cubicBezTo>
                    <a:cubicBezTo>
                      <a:pt x="12" y="737"/>
                      <a:pt x="12" y="737"/>
                      <a:pt x="12" y="737"/>
                    </a:cubicBezTo>
                    <a:lnTo>
                      <a:pt x="10" y="738"/>
                    </a:lnTo>
                    <a:close/>
                    <a:moveTo>
                      <a:pt x="13" y="749"/>
                    </a:moveTo>
                    <a:cubicBezTo>
                      <a:pt x="11" y="746"/>
                      <a:pt x="11" y="746"/>
                      <a:pt x="11" y="746"/>
                    </a:cubicBezTo>
                    <a:cubicBezTo>
                      <a:pt x="8" y="749"/>
                      <a:pt x="8" y="749"/>
                      <a:pt x="8" y="749"/>
                    </a:cubicBezTo>
                    <a:cubicBezTo>
                      <a:pt x="9" y="751"/>
                      <a:pt x="9" y="751"/>
                      <a:pt x="9" y="751"/>
                    </a:cubicBezTo>
                    <a:lnTo>
                      <a:pt x="13" y="749"/>
                    </a:lnTo>
                    <a:close/>
                    <a:moveTo>
                      <a:pt x="41" y="738"/>
                    </a:moveTo>
                    <a:cubicBezTo>
                      <a:pt x="39" y="740"/>
                      <a:pt x="39" y="740"/>
                      <a:pt x="39" y="740"/>
                    </a:cubicBezTo>
                    <a:cubicBezTo>
                      <a:pt x="40" y="744"/>
                      <a:pt x="40" y="744"/>
                      <a:pt x="40" y="744"/>
                    </a:cubicBezTo>
                    <a:cubicBezTo>
                      <a:pt x="43" y="741"/>
                      <a:pt x="43" y="741"/>
                      <a:pt x="43" y="741"/>
                    </a:cubicBezTo>
                    <a:lnTo>
                      <a:pt x="41" y="738"/>
                    </a:lnTo>
                    <a:close/>
                    <a:moveTo>
                      <a:pt x="9" y="733"/>
                    </a:moveTo>
                    <a:cubicBezTo>
                      <a:pt x="11" y="734"/>
                      <a:pt x="13" y="734"/>
                      <a:pt x="13" y="734"/>
                    </a:cubicBezTo>
                    <a:cubicBezTo>
                      <a:pt x="11" y="729"/>
                      <a:pt x="11" y="729"/>
                      <a:pt x="11" y="729"/>
                    </a:cubicBezTo>
                    <a:cubicBezTo>
                      <a:pt x="13" y="727"/>
                      <a:pt x="13" y="727"/>
                      <a:pt x="13" y="727"/>
                    </a:cubicBezTo>
                    <a:cubicBezTo>
                      <a:pt x="10" y="719"/>
                      <a:pt x="10" y="719"/>
                      <a:pt x="10" y="719"/>
                    </a:cubicBezTo>
                    <a:cubicBezTo>
                      <a:pt x="9" y="722"/>
                      <a:pt x="9" y="722"/>
                      <a:pt x="9" y="722"/>
                    </a:cubicBezTo>
                    <a:cubicBezTo>
                      <a:pt x="11" y="726"/>
                      <a:pt x="11" y="726"/>
                      <a:pt x="11" y="726"/>
                    </a:cubicBezTo>
                    <a:cubicBezTo>
                      <a:pt x="7" y="727"/>
                      <a:pt x="7" y="727"/>
                      <a:pt x="7" y="727"/>
                    </a:cubicBezTo>
                    <a:cubicBezTo>
                      <a:pt x="7" y="727"/>
                      <a:pt x="7" y="731"/>
                      <a:pt x="9" y="733"/>
                    </a:cubicBezTo>
                    <a:close/>
                    <a:moveTo>
                      <a:pt x="16" y="715"/>
                    </a:moveTo>
                    <a:cubicBezTo>
                      <a:pt x="10" y="711"/>
                      <a:pt x="10" y="711"/>
                      <a:pt x="10" y="711"/>
                    </a:cubicBezTo>
                    <a:cubicBezTo>
                      <a:pt x="9" y="712"/>
                      <a:pt x="9" y="712"/>
                      <a:pt x="9" y="712"/>
                    </a:cubicBezTo>
                    <a:cubicBezTo>
                      <a:pt x="12" y="714"/>
                      <a:pt x="12" y="714"/>
                      <a:pt x="12" y="714"/>
                    </a:cubicBezTo>
                    <a:cubicBezTo>
                      <a:pt x="12" y="718"/>
                      <a:pt x="12" y="718"/>
                      <a:pt x="12" y="718"/>
                    </a:cubicBezTo>
                    <a:cubicBezTo>
                      <a:pt x="14" y="721"/>
                      <a:pt x="14" y="721"/>
                      <a:pt x="14" y="721"/>
                    </a:cubicBezTo>
                    <a:cubicBezTo>
                      <a:pt x="17" y="721"/>
                      <a:pt x="17" y="721"/>
                      <a:pt x="17" y="721"/>
                    </a:cubicBezTo>
                    <a:lnTo>
                      <a:pt x="16" y="715"/>
                    </a:lnTo>
                    <a:close/>
                    <a:moveTo>
                      <a:pt x="24" y="713"/>
                    </a:moveTo>
                    <a:cubicBezTo>
                      <a:pt x="28" y="719"/>
                      <a:pt x="28" y="719"/>
                      <a:pt x="28" y="719"/>
                    </a:cubicBezTo>
                    <a:cubicBezTo>
                      <a:pt x="32" y="717"/>
                      <a:pt x="32" y="717"/>
                      <a:pt x="32" y="717"/>
                    </a:cubicBezTo>
                    <a:cubicBezTo>
                      <a:pt x="34" y="706"/>
                      <a:pt x="34" y="706"/>
                      <a:pt x="34" y="706"/>
                    </a:cubicBezTo>
                    <a:cubicBezTo>
                      <a:pt x="33" y="705"/>
                      <a:pt x="33" y="705"/>
                      <a:pt x="33" y="705"/>
                    </a:cubicBezTo>
                    <a:cubicBezTo>
                      <a:pt x="29" y="710"/>
                      <a:pt x="29" y="710"/>
                      <a:pt x="29" y="710"/>
                    </a:cubicBezTo>
                    <a:cubicBezTo>
                      <a:pt x="29" y="710"/>
                      <a:pt x="28" y="710"/>
                      <a:pt x="26" y="711"/>
                    </a:cubicBezTo>
                    <a:cubicBezTo>
                      <a:pt x="24" y="711"/>
                      <a:pt x="24" y="713"/>
                      <a:pt x="24" y="713"/>
                    </a:cubicBezTo>
                    <a:close/>
                    <a:moveTo>
                      <a:pt x="22" y="703"/>
                    </a:moveTo>
                    <a:cubicBezTo>
                      <a:pt x="13" y="694"/>
                      <a:pt x="13" y="694"/>
                      <a:pt x="13" y="694"/>
                    </a:cubicBezTo>
                    <a:cubicBezTo>
                      <a:pt x="12" y="695"/>
                      <a:pt x="12" y="695"/>
                      <a:pt x="12" y="695"/>
                    </a:cubicBezTo>
                    <a:cubicBezTo>
                      <a:pt x="18" y="703"/>
                      <a:pt x="18" y="703"/>
                      <a:pt x="18" y="703"/>
                    </a:cubicBezTo>
                    <a:cubicBezTo>
                      <a:pt x="17" y="705"/>
                      <a:pt x="17" y="705"/>
                      <a:pt x="17" y="705"/>
                    </a:cubicBezTo>
                    <a:cubicBezTo>
                      <a:pt x="15" y="704"/>
                      <a:pt x="15" y="704"/>
                      <a:pt x="15" y="704"/>
                    </a:cubicBezTo>
                    <a:cubicBezTo>
                      <a:pt x="20" y="711"/>
                      <a:pt x="20" y="711"/>
                      <a:pt x="20" y="711"/>
                    </a:cubicBezTo>
                    <a:cubicBezTo>
                      <a:pt x="23" y="711"/>
                      <a:pt x="25" y="708"/>
                      <a:pt x="25" y="708"/>
                    </a:cubicBezTo>
                    <a:cubicBezTo>
                      <a:pt x="23" y="705"/>
                      <a:pt x="23" y="705"/>
                      <a:pt x="23" y="705"/>
                    </a:cubicBezTo>
                    <a:lnTo>
                      <a:pt x="22" y="703"/>
                    </a:lnTo>
                    <a:close/>
                    <a:moveTo>
                      <a:pt x="9" y="699"/>
                    </a:moveTo>
                    <a:cubicBezTo>
                      <a:pt x="8" y="699"/>
                      <a:pt x="8" y="699"/>
                      <a:pt x="8" y="699"/>
                    </a:cubicBezTo>
                    <a:cubicBezTo>
                      <a:pt x="8" y="699"/>
                      <a:pt x="10" y="703"/>
                      <a:pt x="11" y="704"/>
                    </a:cubicBezTo>
                    <a:cubicBezTo>
                      <a:pt x="12" y="705"/>
                      <a:pt x="14" y="707"/>
                      <a:pt x="14" y="707"/>
                    </a:cubicBezTo>
                    <a:cubicBezTo>
                      <a:pt x="14" y="707"/>
                      <a:pt x="15" y="705"/>
                      <a:pt x="13" y="703"/>
                    </a:cubicBezTo>
                    <a:cubicBezTo>
                      <a:pt x="12" y="701"/>
                      <a:pt x="9" y="699"/>
                      <a:pt x="9" y="699"/>
                    </a:cubicBezTo>
                    <a:close/>
                    <a:moveTo>
                      <a:pt x="10" y="707"/>
                    </a:moveTo>
                    <a:cubicBezTo>
                      <a:pt x="9" y="707"/>
                      <a:pt x="10" y="709"/>
                      <a:pt x="11" y="710"/>
                    </a:cubicBezTo>
                    <a:cubicBezTo>
                      <a:pt x="12" y="710"/>
                      <a:pt x="16" y="712"/>
                      <a:pt x="16" y="712"/>
                    </a:cubicBezTo>
                    <a:cubicBezTo>
                      <a:pt x="16" y="710"/>
                      <a:pt x="16" y="710"/>
                      <a:pt x="16" y="710"/>
                    </a:cubicBezTo>
                    <a:cubicBezTo>
                      <a:pt x="16" y="710"/>
                      <a:pt x="11" y="707"/>
                      <a:pt x="10" y="707"/>
                    </a:cubicBezTo>
                    <a:close/>
                    <a:moveTo>
                      <a:pt x="9" y="693"/>
                    </a:moveTo>
                    <a:cubicBezTo>
                      <a:pt x="7" y="695"/>
                      <a:pt x="7" y="695"/>
                      <a:pt x="7" y="695"/>
                    </a:cubicBezTo>
                    <a:cubicBezTo>
                      <a:pt x="11" y="698"/>
                      <a:pt x="11" y="698"/>
                      <a:pt x="11" y="698"/>
                    </a:cubicBezTo>
                    <a:lnTo>
                      <a:pt x="9" y="693"/>
                    </a:lnTo>
                    <a:close/>
                    <a:moveTo>
                      <a:pt x="10" y="692"/>
                    </a:moveTo>
                    <a:cubicBezTo>
                      <a:pt x="9" y="687"/>
                      <a:pt x="9" y="687"/>
                      <a:pt x="9" y="687"/>
                    </a:cubicBezTo>
                    <a:cubicBezTo>
                      <a:pt x="7" y="689"/>
                      <a:pt x="7" y="689"/>
                      <a:pt x="7" y="689"/>
                    </a:cubicBezTo>
                    <a:lnTo>
                      <a:pt x="10" y="692"/>
                    </a:lnTo>
                    <a:close/>
                    <a:moveTo>
                      <a:pt x="9" y="678"/>
                    </a:moveTo>
                    <a:cubicBezTo>
                      <a:pt x="11" y="676"/>
                      <a:pt x="11" y="676"/>
                      <a:pt x="11" y="676"/>
                    </a:cubicBezTo>
                    <a:cubicBezTo>
                      <a:pt x="12" y="678"/>
                      <a:pt x="12" y="678"/>
                      <a:pt x="12" y="678"/>
                    </a:cubicBezTo>
                    <a:cubicBezTo>
                      <a:pt x="12" y="678"/>
                      <a:pt x="15" y="676"/>
                      <a:pt x="15" y="674"/>
                    </a:cubicBezTo>
                    <a:cubicBezTo>
                      <a:pt x="15" y="671"/>
                      <a:pt x="12" y="670"/>
                      <a:pt x="12" y="670"/>
                    </a:cubicBezTo>
                    <a:cubicBezTo>
                      <a:pt x="10" y="671"/>
                      <a:pt x="10" y="671"/>
                      <a:pt x="10" y="671"/>
                    </a:cubicBezTo>
                    <a:cubicBezTo>
                      <a:pt x="10" y="671"/>
                      <a:pt x="8" y="675"/>
                      <a:pt x="9" y="678"/>
                    </a:cubicBezTo>
                    <a:close/>
                    <a:moveTo>
                      <a:pt x="6" y="680"/>
                    </a:moveTo>
                    <a:cubicBezTo>
                      <a:pt x="7" y="680"/>
                      <a:pt x="7" y="680"/>
                      <a:pt x="7" y="680"/>
                    </a:cubicBezTo>
                    <a:cubicBezTo>
                      <a:pt x="8" y="676"/>
                      <a:pt x="8" y="676"/>
                      <a:pt x="8" y="676"/>
                    </a:cubicBezTo>
                    <a:cubicBezTo>
                      <a:pt x="7" y="676"/>
                      <a:pt x="7" y="676"/>
                      <a:pt x="7" y="676"/>
                    </a:cubicBezTo>
                    <a:lnTo>
                      <a:pt x="6" y="680"/>
                    </a:lnTo>
                    <a:close/>
                    <a:moveTo>
                      <a:pt x="3" y="678"/>
                    </a:moveTo>
                    <a:cubicBezTo>
                      <a:pt x="0" y="678"/>
                      <a:pt x="1" y="681"/>
                      <a:pt x="2" y="681"/>
                    </a:cubicBezTo>
                    <a:cubicBezTo>
                      <a:pt x="4" y="682"/>
                      <a:pt x="7" y="677"/>
                      <a:pt x="3" y="678"/>
                    </a:cubicBezTo>
                    <a:close/>
                    <a:moveTo>
                      <a:pt x="7" y="661"/>
                    </a:moveTo>
                    <a:cubicBezTo>
                      <a:pt x="3" y="661"/>
                      <a:pt x="4" y="663"/>
                      <a:pt x="6" y="663"/>
                    </a:cubicBezTo>
                    <a:cubicBezTo>
                      <a:pt x="9" y="663"/>
                      <a:pt x="10" y="662"/>
                      <a:pt x="7" y="661"/>
                    </a:cubicBezTo>
                    <a:close/>
                    <a:moveTo>
                      <a:pt x="17" y="658"/>
                    </a:moveTo>
                    <a:cubicBezTo>
                      <a:pt x="14" y="657"/>
                      <a:pt x="14" y="657"/>
                      <a:pt x="14" y="657"/>
                    </a:cubicBezTo>
                    <a:cubicBezTo>
                      <a:pt x="11" y="660"/>
                      <a:pt x="11" y="660"/>
                      <a:pt x="11" y="660"/>
                    </a:cubicBezTo>
                    <a:cubicBezTo>
                      <a:pt x="13" y="662"/>
                      <a:pt x="13" y="662"/>
                      <a:pt x="13" y="662"/>
                    </a:cubicBezTo>
                    <a:lnTo>
                      <a:pt x="17" y="658"/>
                    </a:lnTo>
                    <a:close/>
                    <a:moveTo>
                      <a:pt x="18" y="649"/>
                    </a:moveTo>
                    <a:cubicBezTo>
                      <a:pt x="14" y="646"/>
                      <a:pt x="14" y="646"/>
                      <a:pt x="14" y="646"/>
                    </a:cubicBezTo>
                    <a:cubicBezTo>
                      <a:pt x="15" y="650"/>
                      <a:pt x="15" y="650"/>
                      <a:pt x="15" y="650"/>
                    </a:cubicBezTo>
                    <a:lnTo>
                      <a:pt x="18" y="649"/>
                    </a:lnTo>
                    <a:close/>
                    <a:moveTo>
                      <a:pt x="22" y="643"/>
                    </a:moveTo>
                    <a:cubicBezTo>
                      <a:pt x="17" y="645"/>
                      <a:pt x="17" y="645"/>
                      <a:pt x="17" y="645"/>
                    </a:cubicBezTo>
                    <a:cubicBezTo>
                      <a:pt x="22" y="647"/>
                      <a:pt x="22" y="647"/>
                      <a:pt x="22" y="647"/>
                    </a:cubicBezTo>
                    <a:lnTo>
                      <a:pt x="22" y="643"/>
                    </a:lnTo>
                    <a:close/>
                    <a:moveTo>
                      <a:pt x="14" y="639"/>
                    </a:moveTo>
                    <a:cubicBezTo>
                      <a:pt x="14" y="635"/>
                      <a:pt x="11" y="635"/>
                      <a:pt x="12" y="638"/>
                    </a:cubicBezTo>
                    <a:cubicBezTo>
                      <a:pt x="12" y="641"/>
                      <a:pt x="14" y="641"/>
                      <a:pt x="14" y="639"/>
                    </a:cubicBezTo>
                    <a:close/>
                    <a:moveTo>
                      <a:pt x="15" y="632"/>
                    </a:moveTo>
                    <a:cubicBezTo>
                      <a:pt x="24" y="629"/>
                      <a:pt x="24" y="629"/>
                      <a:pt x="24" y="629"/>
                    </a:cubicBezTo>
                    <a:cubicBezTo>
                      <a:pt x="25" y="626"/>
                      <a:pt x="25" y="626"/>
                      <a:pt x="25" y="626"/>
                    </a:cubicBezTo>
                    <a:cubicBezTo>
                      <a:pt x="19" y="626"/>
                      <a:pt x="19" y="626"/>
                      <a:pt x="19" y="626"/>
                    </a:cubicBezTo>
                    <a:cubicBezTo>
                      <a:pt x="15" y="623"/>
                      <a:pt x="15" y="623"/>
                      <a:pt x="15" y="623"/>
                    </a:cubicBezTo>
                    <a:cubicBezTo>
                      <a:pt x="15" y="626"/>
                      <a:pt x="15" y="626"/>
                      <a:pt x="15" y="626"/>
                    </a:cubicBezTo>
                    <a:cubicBezTo>
                      <a:pt x="12" y="627"/>
                      <a:pt x="12" y="627"/>
                      <a:pt x="12" y="627"/>
                    </a:cubicBezTo>
                    <a:cubicBezTo>
                      <a:pt x="16" y="628"/>
                      <a:pt x="16" y="628"/>
                      <a:pt x="16" y="628"/>
                    </a:cubicBezTo>
                    <a:lnTo>
                      <a:pt x="15" y="632"/>
                    </a:lnTo>
                    <a:close/>
                    <a:moveTo>
                      <a:pt x="12" y="630"/>
                    </a:moveTo>
                    <a:cubicBezTo>
                      <a:pt x="13" y="632"/>
                      <a:pt x="13" y="632"/>
                      <a:pt x="13" y="632"/>
                    </a:cubicBezTo>
                    <a:cubicBezTo>
                      <a:pt x="14" y="633"/>
                      <a:pt x="14" y="633"/>
                      <a:pt x="14" y="633"/>
                    </a:cubicBezTo>
                    <a:cubicBezTo>
                      <a:pt x="14" y="629"/>
                      <a:pt x="14" y="629"/>
                      <a:pt x="14" y="629"/>
                    </a:cubicBezTo>
                    <a:lnTo>
                      <a:pt x="12" y="630"/>
                    </a:lnTo>
                    <a:close/>
                    <a:moveTo>
                      <a:pt x="20" y="618"/>
                    </a:moveTo>
                    <a:cubicBezTo>
                      <a:pt x="22" y="619"/>
                      <a:pt x="22" y="623"/>
                      <a:pt x="22" y="623"/>
                    </a:cubicBezTo>
                    <a:cubicBezTo>
                      <a:pt x="25" y="623"/>
                      <a:pt x="25" y="623"/>
                      <a:pt x="25" y="623"/>
                    </a:cubicBezTo>
                    <a:cubicBezTo>
                      <a:pt x="25" y="616"/>
                      <a:pt x="25" y="616"/>
                      <a:pt x="25" y="616"/>
                    </a:cubicBezTo>
                    <a:cubicBezTo>
                      <a:pt x="20" y="615"/>
                      <a:pt x="20" y="615"/>
                      <a:pt x="20" y="615"/>
                    </a:cubicBezTo>
                    <a:cubicBezTo>
                      <a:pt x="20" y="615"/>
                      <a:pt x="18" y="617"/>
                      <a:pt x="20" y="618"/>
                    </a:cubicBezTo>
                    <a:close/>
                    <a:moveTo>
                      <a:pt x="36" y="604"/>
                    </a:moveTo>
                    <a:cubicBezTo>
                      <a:pt x="36" y="601"/>
                      <a:pt x="36" y="601"/>
                      <a:pt x="36" y="601"/>
                    </a:cubicBezTo>
                    <a:cubicBezTo>
                      <a:pt x="34" y="602"/>
                      <a:pt x="34" y="602"/>
                      <a:pt x="34" y="602"/>
                    </a:cubicBezTo>
                    <a:cubicBezTo>
                      <a:pt x="34" y="604"/>
                      <a:pt x="34" y="604"/>
                      <a:pt x="34" y="604"/>
                    </a:cubicBezTo>
                    <a:lnTo>
                      <a:pt x="36" y="604"/>
                    </a:lnTo>
                    <a:close/>
                    <a:moveTo>
                      <a:pt x="45" y="607"/>
                    </a:moveTo>
                    <a:cubicBezTo>
                      <a:pt x="48" y="605"/>
                      <a:pt x="48" y="601"/>
                      <a:pt x="44" y="600"/>
                    </a:cubicBezTo>
                    <a:cubicBezTo>
                      <a:pt x="40" y="598"/>
                      <a:pt x="40" y="603"/>
                      <a:pt x="40" y="603"/>
                    </a:cubicBezTo>
                    <a:cubicBezTo>
                      <a:pt x="39" y="604"/>
                      <a:pt x="39" y="604"/>
                      <a:pt x="39" y="604"/>
                    </a:cubicBezTo>
                    <a:cubicBezTo>
                      <a:pt x="39" y="607"/>
                      <a:pt x="42" y="608"/>
                      <a:pt x="45" y="607"/>
                    </a:cubicBezTo>
                    <a:close/>
                    <a:moveTo>
                      <a:pt x="42" y="598"/>
                    </a:moveTo>
                    <a:cubicBezTo>
                      <a:pt x="45" y="598"/>
                      <a:pt x="45" y="598"/>
                      <a:pt x="45" y="598"/>
                    </a:cubicBezTo>
                    <a:cubicBezTo>
                      <a:pt x="46" y="596"/>
                      <a:pt x="46" y="596"/>
                      <a:pt x="46" y="596"/>
                    </a:cubicBezTo>
                    <a:cubicBezTo>
                      <a:pt x="43" y="593"/>
                      <a:pt x="43" y="593"/>
                      <a:pt x="43" y="593"/>
                    </a:cubicBezTo>
                    <a:cubicBezTo>
                      <a:pt x="41" y="593"/>
                      <a:pt x="41" y="593"/>
                      <a:pt x="41" y="593"/>
                    </a:cubicBezTo>
                    <a:cubicBezTo>
                      <a:pt x="42" y="596"/>
                      <a:pt x="42" y="596"/>
                      <a:pt x="42" y="596"/>
                    </a:cubicBezTo>
                    <a:lnTo>
                      <a:pt x="42" y="598"/>
                    </a:lnTo>
                    <a:close/>
                    <a:moveTo>
                      <a:pt x="53" y="593"/>
                    </a:moveTo>
                    <a:cubicBezTo>
                      <a:pt x="49" y="594"/>
                      <a:pt x="49" y="594"/>
                      <a:pt x="49" y="594"/>
                    </a:cubicBezTo>
                    <a:cubicBezTo>
                      <a:pt x="49" y="603"/>
                      <a:pt x="49" y="603"/>
                      <a:pt x="49" y="603"/>
                    </a:cubicBezTo>
                    <a:cubicBezTo>
                      <a:pt x="57" y="598"/>
                      <a:pt x="57" y="598"/>
                      <a:pt x="57" y="598"/>
                    </a:cubicBezTo>
                    <a:lnTo>
                      <a:pt x="53" y="593"/>
                    </a:lnTo>
                    <a:close/>
                    <a:moveTo>
                      <a:pt x="57" y="593"/>
                    </a:moveTo>
                    <a:cubicBezTo>
                      <a:pt x="60" y="596"/>
                      <a:pt x="60" y="596"/>
                      <a:pt x="60" y="596"/>
                    </a:cubicBezTo>
                    <a:cubicBezTo>
                      <a:pt x="65" y="594"/>
                      <a:pt x="65" y="594"/>
                      <a:pt x="65" y="594"/>
                    </a:cubicBezTo>
                    <a:cubicBezTo>
                      <a:pt x="61" y="592"/>
                      <a:pt x="61" y="592"/>
                      <a:pt x="61" y="592"/>
                    </a:cubicBezTo>
                    <a:lnTo>
                      <a:pt x="57" y="593"/>
                    </a:lnTo>
                    <a:close/>
                    <a:moveTo>
                      <a:pt x="55" y="587"/>
                    </a:moveTo>
                    <a:cubicBezTo>
                      <a:pt x="51" y="591"/>
                      <a:pt x="51" y="591"/>
                      <a:pt x="51" y="591"/>
                    </a:cubicBezTo>
                    <a:cubicBezTo>
                      <a:pt x="58" y="591"/>
                      <a:pt x="58" y="591"/>
                      <a:pt x="58" y="591"/>
                    </a:cubicBezTo>
                    <a:lnTo>
                      <a:pt x="55" y="587"/>
                    </a:lnTo>
                    <a:close/>
                    <a:moveTo>
                      <a:pt x="57" y="586"/>
                    </a:moveTo>
                    <a:cubicBezTo>
                      <a:pt x="59" y="586"/>
                      <a:pt x="61" y="581"/>
                      <a:pt x="58" y="582"/>
                    </a:cubicBezTo>
                    <a:cubicBezTo>
                      <a:pt x="55" y="583"/>
                      <a:pt x="56" y="586"/>
                      <a:pt x="57" y="586"/>
                    </a:cubicBezTo>
                    <a:close/>
                    <a:moveTo>
                      <a:pt x="63" y="580"/>
                    </a:moveTo>
                    <a:cubicBezTo>
                      <a:pt x="59" y="579"/>
                      <a:pt x="59" y="579"/>
                      <a:pt x="59" y="579"/>
                    </a:cubicBezTo>
                    <a:cubicBezTo>
                      <a:pt x="62" y="582"/>
                      <a:pt x="62" y="582"/>
                      <a:pt x="62" y="582"/>
                    </a:cubicBezTo>
                    <a:lnTo>
                      <a:pt x="63" y="580"/>
                    </a:lnTo>
                    <a:close/>
                    <a:moveTo>
                      <a:pt x="63" y="577"/>
                    </a:moveTo>
                    <a:cubicBezTo>
                      <a:pt x="62" y="578"/>
                      <a:pt x="62" y="578"/>
                      <a:pt x="62" y="578"/>
                    </a:cubicBezTo>
                    <a:cubicBezTo>
                      <a:pt x="65" y="580"/>
                      <a:pt x="65" y="580"/>
                      <a:pt x="65" y="580"/>
                    </a:cubicBezTo>
                    <a:lnTo>
                      <a:pt x="63" y="577"/>
                    </a:lnTo>
                    <a:close/>
                    <a:moveTo>
                      <a:pt x="71" y="575"/>
                    </a:moveTo>
                    <a:cubicBezTo>
                      <a:pt x="71" y="571"/>
                      <a:pt x="71" y="571"/>
                      <a:pt x="71" y="571"/>
                    </a:cubicBezTo>
                    <a:cubicBezTo>
                      <a:pt x="69" y="571"/>
                      <a:pt x="69" y="571"/>
                      <a:pt x="69" y="571"/>
                    </a:cubicBezTo>
                    <a:cubicBezTo>
                      <a:pt x="69" y="575"/>
                      <a:pt x="69" y="575"/>
                      <a:pt x="69" y="575"/>
                    </a:cubicBezTo>
                    <a:lnTo>
                      <a:pt x="71" y="575"/>
                    </a:lnTo>
                    <a:close/>
                    <a:moveTo>
                      <a:pt x="80" y="578"/>
                    </a:moveTo>
                    <a:cubicBezTo>
                      <a:pt x="85" y="576"/>
                      <a:pt x="85" y="575"/>
                      <a:pt x="82" y="575"/>
                    </a:cubicBezTo>
                    <a:cubicBezTo>
                      <a:pt x="78" y="573"/>
                      <a:pt x="77" y="576"/>
                      <a:pt x="77" y="577"/>
                    </a:cubicBezTo>
                    <a:cubicBezTo>
                      <a:pt x="77" y="578"/>
                      <a:pt x="80" y="578"/>
                      <a:pt x="80" y="578"/>
                    </a:cubicBezTo>
                    <a:close/>
                    <a:moveTo>
                      <a:pt x="87" y="568"/>
                    </a:moveTo>
                    <a:cubicBezTo>
                      <a:pt x="82" y="567"/>
                      <a:pt x="82" y="567"/>
                      <a:pt x="82" y="567"/>
                    </a:cubicBezTo>
                    <a:cubicBezTo>
                      <a:pt x="80" y="568"/>
                      <a:pt x="80" y="568"/>
                      <a:pt x="80" y="568"/>
                    </a:cubicBezTo>
                    <a:cubicBezTo>
                      <a:pt x="83" y="571"/>
                      <a:pt x="83" y="571"/>
                      <a:pt x="83" y="571"/>
                    </a:cubicBezTo>
                    <a:lnTo>
                      <a:pt x="87" y="568"/>
                    </a:lnTo>
                    <a:close/>
                    <a:moveTo>
                      <a:pt x="110" y="557"/>
                    </a:moveTo>
                    <a:cubicBezTo>
                      <a:pt x="109" y="551"/>
                      <a:pt x="109" y="551"/>
                      <a:pt x="109" y="551"/>
                    </a:cubicBezTo>
                    <a:cubicBezTo>
                      <a:pt x="106" y="551"/>
                      <a:pt x="106" y="551"/>
                      <a:pt x="106" y="551"/>
                    </a:cubicBezTo>
                    <a:cubicBezTo>
                      <a:pt x="107" y="554"/>
                      <a:pt x="107" y="554"/>
                      <a:pt x="107" y="554"/>
                    </a:cubicBezTo>
                    <a:cubicBezTo>
                      <a:pt x="104" y="554"/>
                      <a:pt x="104" y="554"/>
                      <a:pt x="104" y="554"/>
                    </a:cubicBezTo>
                    <a:cubicBezTo>
                      <a:pt x="100" y="558"/>
                      <a:pt x="100" y="558"/>
                      <a:pt x="100" y="558"/>
                    </a:cubicBezTo>
                    <a:cubicBezTo>
                      <a:pt x="105" y="562"/>
                      <a:pt x="105" y="562"/>
                      <a:pt x="105" y="562"/>
                    </a:cubicBezTo>
                    <a:lnTo>
                      <a:pt x="110" y="557"/>
                    </a:lnTo>
                    <a:close/>
                    <a:moveTo>
                      <a:pt x="116" y="555"/>
                    </a:moveTo>
                    <a:cubicBezTo>
                      <a:pt x="116" y="552"/>
                      <a:pt x="116" y="552"/>
                      <a:pt x="116" y="552"/>
                    </a:cubicBezTo>
                    <a:cubicBezTo>
                      <a:pt x="111" y="553"/>
                      <a:pt x="111" y="553"/>
                      <a:pt x="111" y="553"/>
                    </a:cubicBezTo>
                    <a:cubicBezTo>
                      <a:pt x="112" y="557"/>
                      <a:pt x="112" y="557"/>
                      <a:pt x="112" y="557"/>
                    </a:cubicBezTo>
                    <a:lnTo>
                      <a:pt x="116" y="555"/>
                    </a:lnTo>
                    <a:close/>
                    <a:moveTo>
                      <a:pt x="113" y="548"/>
                    </a:moveTo>
                    <a:cubicBezTo>
                      <a:pt x="111" y="552"/>
                      <a:pt x="111" y="552"/>
                      <a:pt x="111" y="552"/>
                    </a:cubicBezTo>
                    <a:cubicBezTo>
                      <a:pt x="115" y="551"/>
                      <a:pt x="115" y="551"/>
                      <a:pt x="115" y="551"/>
                    </a:cubicBezTo>
                    <a:lnTo>
                      <a:pt x="113" y="548"/>
                    </a:lnTo>
                    <a:close/>
                    <a:moveTo>
                      <a:pt x="124" y="545"/>
                    </a:moveTo>
                    <a:cubicBezTo>
                      <a:pt x="117" y="545"/>
                      <a:pt x="121" y="549"/>
                      <a:pt x="123" y="549"/>
                    </a:cubicBezTo>
                    <a:cubicBezTo>
                      <a:pt x="126" y="550"/>
                      <a:pt x="130" y="545"/>
                      <a:pt x="124" y="545"/>
                    </a:cubicBezTo>
                    <a:close/>
                    <a:moveTo>
                      <a:pt x="135" y="547"/>
                    </a:moveTo>
                    <a:cubicBezTo>
                      <a:pt x="133" y="542"/>
                      <a:pt x="133" y="542"/>
                      <a:pt x="133" y="542"/>
                    </a:cubicBezTo>
                    <a:cubicBezTo>
                      <a:pt x="132" y="544"/>
                      <a:pt x="132" y="544"/>
                      <a:pt x="132" y="544"/>
                    </a:cubicBezTo>
                    <a:cubicBezTo>
                      <a:pt x="129" y="541"/>
                      <a:pt x="129" y="541"/>
                      <a:pt x="129" y="541"/>
                    </a:cubicBezTo>
                    <a:cubicBezTo>
                      <a:pt x="127" y="542"/>
                      <a:pt x="127" y="542"/>
                      <a:pt x="127" y="542"/>
                    </a:cubicBezTo>
                    <a:cubicBezTo>
                      <a:pt x="132" y="549"/>
                      <a:pt x="132" y="549"/>
                      <a:pt x="132" y="549"/>
                    </a:cubicBezTo>
                    <a:lnTo>
                      <a:pt x="135" y="547"/>
                    </a:lnTo>
                    <a:close/>
                    <a:moveTo>
                      <a:pt x="118" y="535"/>
                    </a:moveTo>
                    <a:cubicBezTo>
                      <a:pt x="123" y="537"/>
                      <a:pt x="123" y="537"/>
                      <a:pt x="123" y="537"/>
                    </a:cubicBezTo>
                    <a:cubicBezTo>
                      <a:pt x="127" y="536"/>
                      <a:pt x="127" y="536"/>
                      <a:pt x="127" y="536"/>
                    </a:cubicBezTo>
                    <a:cubicBezTo>
                      <a:pt x="127" y="536"/>
                      <a:pt x="127" y="529"/>
                      <a:pt x="123" y="530"/>
                    </a:cubicBezTo>
                    <a:cubicBezTo>
                      <a:pt x="117" y="530"/>
                      <a:pt x="115" y="531"/>
                      <a:pt x="115" y="531"/>
                    </a:cubicBezTo>
                    <a:cubicBezTo>
                      <a:pt x="116" y="535"/>
                      <a:pt x="116" y="535"/>
                      <a:pt x="116" y="535"/>
                    </a:cubicBezTo>
                    <a:lnTo>
                      <a:pt x="118" y="535"/>
                    </a:lnTo>
                    <a:close/>
                    <a:moveTo>
                      <a:pt x="138" y="522"/>
                    </a:moveTo>
                    <a:cubicBezTo>
                      <a:pt x="138" y="522"/>
                      <a:pt x="131" y="524"/>
                      <a:pt x="131" y="528"/>
                    </a:cubicBezTo>
                    <a:cubicBezTo>
                      <a:pt x="131" y="533"/>
                      <a:pt x="138" y="530"/>
                      <a:pt x="145" y="529"/>
                    </a:cubicBezTo>
                    <a:cubicBezTo>
                      <a:pt x="154" y="526"/>
                      <a:pt x="158" y="523"/>
                      <a:pt x="156" y="522"/>
                    </a:cubicBezTo>
                    <a:cubicBezTo>
                      <a:pt x="154" y="521"/>
                      <a:pt x="150" y="521"/>
                      <a:pt x="150" y="521"/>
                    </a:cubicBezTo>
                    <a:cubicBezTo>
                      <a:pt x="150" y="518"/>
                      <a:pt x="150" y="518"/>
                      <a:pt x="150" y="518"/>
                    </a:cubicBezTo>
                    <a:cubicBezTo>
                      <a:pt x="150" y="518"/>
                      <a:pt x="147" y="518"/>
                      <a:pt x="143" y="519"/>
                    </a:cubicBezTo>
                    <a:cubicBezTo>
                      <a:pt x="139" y="519"/>
                      <a:pt x="138" y="522"/>
                      <a:pt x="138" y="522"/>
                    </a:cubicBezTo>
                    <a:close/>
                    <a:moveTo>
                      <a:pt x="139" y="516"/>
                    </a:moveTo>
                    <a:cubicBezTo>
                      <a:pt x="147" y="514"/>
                      <a:pt x="147" y="514"/>
                      <a:pt x="147" y="514"/>
                    </a:cubicBezTo>
                    <a:cubicBezTo>
                      <a:pt x="146" y="508"/>
                      <a:pt x="146" y="508"/>
                      <a:pt x="146" y="508"/>
                    </a:cubicBezTo>
                    <a:cubicBezTo>
                      <a:pt x="146" y="508"/>
                      <a:pt x="142" y="513"/>
                      <a:pt x="139" y="513"/>
                    </a:cubicBezTo>
                    <a:cubicBezTo>
                      <a:pt x="137" y="514"/>
                      <a:pt x="131" y="515"/>
                      <a:pt x="131" y="515"/>
                    </a:cubicBezTo>
                    <a:cubicBezTo>
                      <a:pt x="132" y="516"/>
                      <a:pt x="132" y="516"/>
                      <a:pt x="132" y="516"/>
                    </a:cubicBezTo>
                    <a:lnTo>
                      <a:pt x="139" y="516"/>
                    </a:lnTo>
                    <a:close/>
                    <a:moveTo>
                      <a:pt x="159" y="517"/>
                    </a:moveTo>
                    <a:cubicBezTo>
                      <a:pt x="154" y="518"/>
                      <a:pt x="154" y="518"/>
                      <a:pt x="154" y="518"/>
                    </a:cubicBezTo>
                    <a:cubicBezTo>
                      <a:pt x="153" y="519"/>
                      <a:pt x="153" y="519"/>
                      <a:pt x="153" y="519"/>
                    </a:cubicBezTo>
                    <a:cubicBezTo>
                      <a:pt x="159" y="519"/>
                      <a:pt x="159" y="519"/>
                      <a:pt x="159" y="519"/>
                    </a:cubicBezTo>
                    <a:lnTo>
                      <a:pt x="159" y="517"/>
                    </a:lnTo>
                    <a:close/>
                    <a:moveTo>
                      <a:pt x="162" y="515"/>
                    </a:moveTo>
                    <a:cubicBezTo>
                      <a:pt x="162" y="521"/>
                      <a:pt x="162" y="521"/>
                      <a:pt x="162" y="521"/>
                    </a:cubicBezTo>
                    <a:cubicBezTo>
                      <a:pt x="166" y="519"/>
                      <a:pt x="166" y="519"/>
                      <a:pt x="166" y="519"/>
                    </a:cubicBezTo>
                    <a:lnTo>
                      <a:pt x="162" y="515"/>
                    </a:lnTo>
                    <a:close/>
                    <a:moveTo>
                      <a:pt x="235" y="425"/>
                    </a:moveTo>
                    <a:cubicBezTo>
                      <a:pt x="235" y="425"/>
                      <a:pt x="232" y="424"/>
                      <a:pt x="230" y="425"/>
                    </a:cubicBezTo>
                    <a:cubicBezTo>
                      <a:pt x="227" y="427"/>
                      <a:pt x="229" y="430"/>
                      <a:pt x="229" y="430"/>
                    </a:cubicBezTo>
                    <a:lnTo>
                      <a:pt x="235" y="425"/>
                    </a:lnTo>
                    <a:close/>
                    <a:moveTo>
                      <a:pt x="215" y="439"/>
                    </a:moveTo>
                    <a:cubicBezTo>
                      <a:pt x="216" y="439"/>
                      <a:pt x="214" y="441"/>
                      <a:pt x="214" y="441"/>
                    </a:cubicBezTo>
                    <a:cubicBezTo>
                      <a:pt x="216" y="443"/>
                      <a:pt x="216" y="443"/>
                      <a:pt x="216" y="443"/>
                    </a:cubicBezTo>
                    <a:cubicBezTo>
                      <a:pt x="222" y="439"/>
                      <a:pt x="222" y="439"/>
                      <a:pt x="222" y="439"/>
                    </a:cubicBezTo>
                    <a:cubicBezTo>
                      <a:pt x="222" y="439"/>
                      <a:pt x="220" y="434"/>
                      <a:pt x="214" y="435"/>
                    </a:cubicBezTo>
                    <a:cubicBezTo>
                      <a:pt x="210" y="436"/>
                      <a:pt x="207" y="440"/>
                      <a:pt x="207" y="440"/>
                    </a:cubicBezTo>
                    <a:cubicBezTo>
                      <a:pt x="210" y="442"/>
                      <a:pt x="210" y="442"/>
                      <a:pt x="210" y="442"/>
                    </a:cubicBezTo>
                    <a:cubicBezTo>
                      <a:pt x="210" y="442"/>
                      <a:pt x="214" y="438"/>
                      <a:pt x="215" y="439"/>
                    </a:cubicBezTo>
                    <a:close/>
                    <a:moveTo>
                      <a:pt x="239" y="396"/>
                    </a:moveTo>
                    <a:cubicBezTo>
                      <a:pt x="244" y="390"/>
                      <a:pt x="244" y="390"/>
                      <a:pt x="244" y="390"/>
                    </a:cubicBezTo>
                    <a:cubicBezTo>
                      <a:pt x="242" y="387"/>
                      <a:pt x="242" y="387"/>
                      <a:pt x="242" y="387"/>
                    </a:cubicBezTo>
                    <a:cubicBezTo>
                      <a:pt x="242" y="387"/>
                      <a:pt x="236" y="386"/>
                      <a:pt x="237" y="391"/>
                    </a:cubicBezTo>
                    <a:cubicBezTo>
                      <a:pt x="237" y="396"/>
                      <a:pt x="239" y="396"/>
                      <a:pt x="239" y="396"/>
                    </a:cubicBezTo>
                    <a:close/>
                    <a:moveTo>
                      <a:pt x="242" y="408"/>
                    </a:moveTo>
                    <a:cubicBezTo>
                      <a:pt x="244" y="408"/>
                      <a:pt x="244" y="408"/>
                      <a:pt x="244" y="408"/>
                    </a:cubicBezTo>
                    <a:cubicBezTo>
                      <a:pt x="245" y="406"/>
                      <a:pt x="245" y="406"/>
                      <a:pt x="245" y="406"/>
                    </a:cubicBezTo>
                    <a:cubicBezTo>
                      <a:pt x="244" y="402"/>
                      <a:pt x="244" y="402"/>
                      <a:pt x="244" y="402"/>
                    </a:cubicBezTo>
                    <a:lnTo>
                      <a:pt x="242" y="408"/>
                    </a:lnTo>
                    <a:close/>
                    <a:moveTo>
                      <a:pt x="259" y="367"/>
                    </a:moveTo>
                    <a:cubicBezTo>
                      <a:pt x="259" y="367"/>
                      <a:pt x="254" y="371"/>
                      <a:pt x="253" y="373"/>
                    </a:cubicBezTo>
                    <a:cubicBezTo>
                      <a:pt x="252" y="374"/>
                      <a:pt x="255" y="378"/>
                      <a:pt x="255" y="378"/>
                    </a:cubicBezTo>
                    <a:cubicBezTo>
                      <a:pt x="260" y="373"/>
                      <a:pt x="260" y="373"/>
                      <a:pt x="260" y="373"/>
                    </a:cubicBezTo>
                    <a:cubicBezTo>
                      <a:pt x="265" y="370"/>
                      <a:pt x="265" y="370"/>
                      <a:pt x="265" y="370"/>
                    </a:cubicBezTo>
                    <a:cubicBezTo>
                      <a:pt x="266" y="367"/>
                      <a:pt x="266" y="367"/>
                      <a:pt x="266" y="367"/>
                    </a:cubicBezTo>
                    <a:cubicBezTo>
                      <a:pt x="260" y="370"/>
                      <a:pt x="260" y="370"/>
                      <a:pt x="260" y="370"/>
                    </a:cubicBezTo>
                    <a:lnTo>
                      <a:pt x="259" y="367"/>
                    </a:lnTo>
                    <a:close/>
                    <a:moveTo>
                      <a:pt x="253" y="366"/>
                    </a:moveTo>
                    <a:cubicBezTo>
                      <a:pt x="259" y="363"/>
                      <a:pt x="259" y="363"/>
                      <a:pt x="259" y="363"/>
                    </a:cubicBezTo>
                    <a:cubicBezTo>
                      <a:pt x="260" y="360"/>
                      <a:pt x="260" y="360"/>
                      <a:pt x="260" y="360"/>
                    </a:cubicBezTo>
                    <a:cubicBezTo>
                      <a:pt x="258" y="359"/>
                      <a:pt x="258" y="359"/>
                      <a:pt x="258" y="359"/>
                    </a:cubicBezTo>
                    <a:cubicBezTo>
                      <a:pt x="260" y="357"/>
                      <a:pt x="260" y="357"/>
                      <a:pt x="260" y="357"/>
                    </a:cubicBezTo>
                    <a:cubicBezTo>
                      <a:pt x="259" y="353"/>
                      <a:pt x="259" y="353"/>
                      <a:pt x="259" y="353"/>
                    </a:cubicBezTo>
                    <a:cubicBezTo>
                      <a:pt x="255" y="356"/>
                      <a:pt x="255" y="356"/>
                      <a:pt x="255" y="356"/>
                    </a:cubicBezTo>
                    <a:cubicBezTo>
                      <a:pt x="255" y="358"/>
                      <a:pt x="255" y="358"/>
                      <a:pt x="255" y="358"/>
                    </a:cubicBezTo>
                    <a:cubicBezTo>
                      <a:pt x="252" y="363"/>
                      <a:pt x="252" y="363"/>
                      <a:pt x="252" y="363"/>
                    </a:cubicBezTo>
                    <a:lnTo>
                      <a:pt x="253" y="366"/>
                    </a:lnTo>
                    <a:close/>
                    <a:moveTo>
                      <a:pt x="263" y="349"/>
                    </a:moveTo>
                    <a:cubicBezTo>
                      <a:pt x="262" y="352"/>
                      <a:pt x="262" y="352"/>
                      <a:pt x="262" y="352"/>
                    </a:cubicBezTo>
                    <a:cubicBezTo>
                      <a:pt x="264" y="355"/>
                      <a:pt x="264" y="355"/>
                      <a:pt x="264" y="355"/>
                    </a:cubicBezTo>
                    <a:cubicBezTo>
                      <a:pt x="268" y="350"/>
                      <a:pt x="268" y="350"/>
                      <a:pt x="268" y="350"/>
                    </a:cubicBezTo>
                    <a:lnTo>
                      <a:pt x="263" y="349"/>
                    </a:lnTo>
                    <a:close/>
                    <a:moveTo>
                      <a:pt x="264" y="359"/>
                    </a:moveTo>
                    <a:cubicBezTo>
                      <a:pt x="265" y="357"/>
                      <a:pt x="265" y="357"/>
                      <a:pt x="265" y="357"/>
                    </a:cubicBezTo>
                    <a:cubicBezTo>
                      <a:pt x="262" y="357"/>
                      <a:pt x="262" y="357"/>
                      <a:pt x="262" y="357"/>
                    </a:cubicBezTo>
                    <a:lnTo>
                      <a:pt x="264" y="359"/>
                    </a:lnTo>
                    <a:close/>
                    <a:moveTo>
                      <a:pt x="266" y="343"/>
                    </a:moveTo>
                    <a:cubicBezTo>
                      <a:pt x="269" y="340"/>
                      <a:pt x="269" y="340"/>
                      <a:pt x="269" y="340"/>
                    </a:cubicBezTo>
                    <a:cubicBezTo>
                      <a:pt x="265" y="339"/>
                      <a:pt x="265" y="339"/>
                      <a:pt x="265" y="339"/>
                    </a:cubicBezTo>
                    <a:lnTo>
                      <a:pt x="266" y="343"/>
                    </a:lnTo>
                    <a:close/>
                    <a:moveTo>
                      <a:pt x="261" y="330"/>
                    </a:moveTo>
                    <a:cubicBezTo>
                      <a:pt x="258" y="329"/>
                      <a:pt x="258" y="329"/>
                      <a:pt x="258" y="329"/>
                    </a:cubicBezTo>
                    <a:cubicBezTo>
                      <a:pt x="257" y="333"/>
                      <a:pt x="257" y="333"/>
                      <a:pt x="257" y="333"/>
                    </a:cubicBezTo>
                    <a:cubicBezTo>
                      <a:pt x="260" y="332"/>
                      <a:pt x="260" y="332"/>
                      <a:pt x="260" y="332"/>
                    </a:cubicBezTo>
                    <a:lnTo>
                      <a:pt x="261" y="330"/>
                    </a:lnTo>
                    <a:close/>
                    <a:moveTo>
                      <a:pt x="272" y="351"/>
                    </a:moveTo>
                    <a:cubicBezTo>
                      <a:pt x="269" y="350"/>
                      <a:pt x="269" y="350"/>
                      <a:pt x="269" y="350"/>
                    </a:cubicBezTo>
                    <a:cubicBezTo>
                      <a:pt x="268" y="356"/>
                      <a:pt x="268" y="356"/>
                      <a:pt x="268" y="356"/>
                    </a:cubicBezTo>
                    <a:lnTo>
                      <a:pt x="272" y="351"/>
                    </a:lnTo>
                    <a:close/>
                    <a:moveTo>
                      <a:pt x="280" y="319"/>
                    </a:moveTo>
                    <a:cubicBezTo>
                      <a:pt x="278" y="317"/>
                      <a:pt x="278" y="317"/>
                      <a:pt x="278" y="317"/>
                    </a:cubicBezTo>
                    <a:cubicBezTo>
                      <a:pt x="276" y="320"/>
                      <a:pt x="276" y="320"/>
                      <a:pt x="276" y="320"/>
                    </a:cubicBezTo>
                    <a:lnTo>
                      <a:pt x="280" y="319"/>
                    </a:lnTo>
                    <a:close/>
                    <a:moveTo>
                      <a:pt x="284" y="313"/>
                    </a:moveTo>
                    <a:cubicBezTo>
                      <a:pt x="279" y="312"/>
                      <a:pt x="279" y="312"/>
                      <a:pt x="279" y="312"/>
                    </a:cubicBezTo>
                    <a:cubicBezTo>
                      <a:pt x="276" y="315"/>
                      <a:pt x="276" y="315"/>
                      <a:pt x="276" y="315"/>
                    </a:cubicBezTo>
                    <a:cubicBezTo>
                      <a:pt x="284" y="315"/>
                      <a:pt x="284" y="315"/>
                      <a:pt x="284" y="315"/>
                    </a:cubicBezTo>
                    <a:lnTo>
                      <a:pt x="284" y="313"/>
                    </a:lnTo>
                    <a:close/>
                    <a:moveTo>
                      <a:pt x="301" y="300"/>
                    </a:moveTo>
                    <a:cubicBezTo>
                      <a:pt x="304" y="290"/>
                      <a:pt x="304" y="290"/>
                      <a:pt x="304" y="290"/>
                    </a:cubicBezTo>
                    <a:cubicBezTo>
                      <a:pt x="302" y="289"/>
                      <a:pt x="302" y="289"/>
                      <a:pt x="302" y="289"/>
                    </a:cubicBezTo>
                    <a:cubicBezTo>
                      <a:pt x="301" y="294"/>
                      <a:pt x="301" y="294"/>
                      <a:pt x="301" y="294"/>
                    </a:cubicBezTo>
                    <a:cubicBezTo>
                      <a:pt x="297" y="292"/>
                      <a:pt x="297" y="292"/>
                      <a:pt x="297" y="292"/>
                    </a:cubicBezTo>
                    <a:cubicBezTo>
                      <a:pt x="296" y="297"/>
                      <a:pt x="296" y="297"/>
                      <a:pt x="296" y="297"/>
                    </a:cubicBezTo>
                    <a:cubicBezTo>
                      <a:pt x="300" y="298"/>
                      <a:pt x="300" y="298"/>
                      <a:pt x="300" y="298"/>
                    </a:cubicBezTo>
                    <a:cubicBezTo>
                      <a:pt x="300" y="300"/>
                      <a:pt x="300" y="300"/>
                      <a:pt x="300" y="300"/>
                    </a:cubicBezTo>
                    <a:lnTo>
                      <a:pt x="301" y="300"/>
                    </a:lnTo>
                    <a:close/>
                    <a:moveTo>
                      <a:pt x="305" y="276"/>
                    </a:moveTo>
                    <a:cubicBezTo>
                      <a:pt x="298" y="279"/>
                      <a:pt x="304" y="279"/>
                      <a:pt x="306" y="278"/>
                    </a:cubicBezTo>
                    <a:cubicBezTo>
                      <a:pt x="311" y="276"/>
                      <a:pt x="310" y="273"/>
                      <a:pt x="305" y="276"/>
                    </a:cubicBezTo>
                    <a:close/>
                    <a:moveTo>
                      <a:pt x="262" y="260"/>
                    </a:moveTo>
                    <a:cubicBezTo>
                      <a:pt x="260" y="266"/>
                      <a:pt x="260" y="266"/>
                      <a:pt x="260" y="266"/>
                    </a:cubicBezTo>
                    <a:cubicBezTo>
                      <a:pt x="265" y="263"/>
                      <a:pt x="265" y="263"/>
                      <a:pt x="265" y="263"/>
                    </a:cubicBezTo>
                    <a:lnTo>
                      <a:pt x="262" y="260"/>
                    </a:lnTo>
                    <a:close/>
                    <a:moveTo>
                      <a:pt x="320" y="244"/>
                    </a:moveTo>
                    <a:cubicBezTo>
                      <a:pt x="327" y="242"/>
                      <a:pt x="327" y="242"/>
                      <a:pt x="327" y="242"/>
                    </a:cubicBezTo>
                    <a:cubicBezTo>
                      <a:pt x="327" y="241"/>
                      <a:pt x="327" y="241"/>
                      <a:pt x="327" y="241"/>
                    </a:cubicBezTo>
                    <a:cubicBezTo>
                      <a:pt x="320" y="239"/>
                      <a:pt x="320" y="239"/>
                      <a:pt x="320" y="239"/>
                    </a:cubicBezTo>
                    <a:lnTo>
                      <a:pt x="320" y="244"/>
                    </a:lnTo>
                    <a:close/>
                    <a:moveTo>
                      <a:pt x="323" y="236"/>
                    </a:moveTo>
                    <a:cubicBezTo>
                      <a:pt x="327" y="239"/>
                      <a:pt x="327" y="239"/>
                      <a:pt x="327" y="239"/>
                    </a:cubicBezTo>
                    <a:cubicBezTo>
                      <a:pt x="327" y="238"/>
                      <a:pt x="324" y="234"/>
                      <a:pt x="324" y="234"/>
                    </a:cubicBezTo>
                    <a:lnTo>
                      <a:pt x="323" y="236"/>
                    </a:lnTo>
                    <a:close/>
                    <a:moveTo>
                      <a:pt x="353" y="201"/>
                    </a:moveTo>
                    <a:cubicBezTo>
                      <a:pt x="346" y="195"/>
                      <a:pt x="347" y="207"/>
                      <a:pt x="347" y="207"/>
                    </a:cubicBezTo>
                    <a:cubicBezTo>
                      <a:pt x="344" y="210"/>
                      <a:pt x="344" y="210"/>
                      <a:pt x="344" y="210"/>
                    </a:cubicBezTo>
                    <a:cubicBezTo>
                      <a:pt x="345" y="210"/>
                      <a:pt x="345" y="210"/>
                      <a:pt x="345" y="210"/>
                    </a:cubicBezTo>
                    <a:cubicBezTo>
                      <a:pt x="351" y="208"/>
                      <a:pt x="351" y="208"/>
                      <a:pt x="351" y="208"/>
                    </a:cubicBezTo>
                    <a:cubicBezTo>
                      <a:pt x="351" y="208"/>
                      <a:pt x="358" y="206"/>
                      <a:pt x="353" y="201"/>
                    </a:cubicBezTo>
                    <a:close/>
                    <a:moveTo>
                      <a:pt x="343" y="217"/>
                    </a:moveTo>
                    <a:cubicBezTo>
                      <a:pt x="348" y="213"/>
                      <a:pt x="348" y="213"/>
                      <a:pt x="348" y="213"/>
                    </a:cubicBezTo>
                    <a:cubicBezTo>
                      <a:pt x="343" y="214"/>
                      <a:pt x="343" y="214"/>
                      <a:pt x="343" y="214"/>
                    </a:cubicBezTo>
                    <a:lnTo>
                      <a:pt x="343" y="217"/>
                    </a:lnTo>
                    <a:close/>
                    <a:moveTo>
                      <a:pt x="350" y="229"/>
                    </a:moveTo>
                    <a:cubicBezTo>
                      <a:pt x="348" y="232"/>
                      <a:pt x="348" y="232"/>
                      <a:pt x="348" y="232"/>
                    </a:cubicBezTo>
                    <a:cubicBezTo>
                      <a:pt x="354" y="232"/>
                      <a:pt x="354" y="232"/>
                      <a:pt x="354" y="232"/>
                    </a:cubicBezTo>
                    <a:lnTo>
                      <a:pt x="350" y="229"/>
                    </a:lnTo>
                    <a:close/>
                    <a:moveTo>
                      <a:pt x="265" y="251"/>
                    </a:moveTo>
                    <a:cubicBezTo>
                      <a:pt x="265" y="251"/>
                      <a:pt x="270" y="250"/>
                      <a:pt x="271" y="247"/>
                    </a:cubicBezTo>
                    <a:cubicBezTo>
                      <a:pt x="271" y="245"/>
                      <a:pt x="270" y="242"/>
                      <a:pt x="271" y="242"/>
                    </a:cubicBezTo>
                    <a:cubicBezTo>
                      <a:pt x="272" y="242"/>
                      <a:pt x="275" y="238"/>
                      <a:pt x="275" y="238"/>
                    </a:cubicBezTo>
                    <a:cubicBezTo>
                      <a:pt x="275" y="238"/>
                      <a:pt x="281" y="237"/>
                      <a:pt x="281" y="232"/>
                    </a:cubicBezTo>
                    <a:cubicBezTo>
                      <a:pt x="281" y="226"/>
                      <a:pt x="278" y="227"/>
                      <a:pt x="278" y="227"/>
                    </a:cubicBezTo>
                    <a:cubicBezTo>
                      <a:pt x="274" y="235"/>
                      <a:pt x="274" y="235"/>
                      <a:pt x="274" y="235"/>
                    </a:cubicBezTo>
                    <a:cubicBezTo>
                      <a:pt x="272" y="232"/>
                      <a:pt x="272" y="232"/>
                      <a:pt x="272" y="232"/>
                    </a:cubicBezTo>
                    <a:cubicBezTo>
                      <a:pt x="272" y="232"/>
                      <a:pt x="266" y="239"/>
                      <a:pt x="266" y="242"/>
                    </a:cubicBezTo>
                    <a:cubicBezTo>
                      <a:pt x="265" y="245"/>
                      <a:pt x="266" y="247"/>
                      <a:pt x="266" y="248"/>
                    </a:cubicBezTo>
                    <a:cubicBezTo>
                      <a:pt x="266" y="249"/>
                      <a:pt x="264" y="250"/>
                      <a:pt x="265" y="251"/>
                    </a:cubicBezTo>
                    <a:close/>
                    <a:moveTo>
                      <a:pt x="282" y="233"/>
                    </a:moveTo>
                    <a:cubicBezTo>
                      <a:pt x="282" y="233"/>
                      <a:pt x="287" y="233"/>
                      <a:pt x="289" y="232"/>
                    </a:cubicBezTo>
                    <a:cubicBezTo>
                      <a:pt x="292" y="231"/>
                      <a:pt x="290" y="226"/>
                      <a:pt x="290" y="226"/>
                    </a:cubicBezTo>
                    <a:cubicBezTo>
                      <a:pt x="290" y="226"/>
                      <a:pt x="297" y="222"/>
                      <a:pt x="301" y="221"/>
                    </a:cubicBezTo>
                    <a:cubicBezTo>
                      <a:pt x="303" y="220"/>
                      <a:pt x="298" y="215"/>
                      <a:pt x="296" y="215"/>
                    </a:cubicBezTo>
                    <a:cubicBezTo>
                      <a:pt x="293" y="215"/>
                      <a:pt x="298" y="219"/>
                      <a:pt x="296" y="220"/>
                    </a:cubicBezTo>
                    <a:cubicBezTo>
                      <a:pt x="294" y="221"/>
                      <a:pt x="292" y="215"/>
                      <a:pt x="292" y="215"/>
                    </a:cubicBezTo>
                    <a:cubicBezTo>
                      <a:pt x="288" y="219"/>
                      <a:pt x="288" y="219"/>
                      <a:pt x="288" y="219"/>
                    </a:cubicBezTo>
                    <a:cubicBezTo>
                      <a:pt x="285" y="220"/>
                      <a:pt x="285" y="220"/>
                      <a:pt x="285" y="220"/>
                    </a:cubicBezTo>
                    <a:cubicBezTo>
                      <a:pt x="285" y="223"/>
                      <a:pt x="285" y="223"/>
                      <a:pt x="285" y="223"/>
                    </a:cubicBezTo>
                    <a:cubicBezTo>
                      <a:pt x="282" y="224"/>
                      <a:pt x="282" y="224"/>
                      <a:pt x="282" y="224"/>
                    </a:cubicBezTo>
                    <a:cubicBezTo>
                      <a:pt x="282" y="227"/>
                      <a:pt x="282" y="227"/>
                      <a:pt x="282" y="227"/>
                    </a:cubicBezTo>
                    <a:cubicBezTo>
                      <a:pt x="284" y="229"/>
                      <a:pt x="284" y="229"/>
                      <a:pt x="284" y="229"/>
                    </a:cubicBezTo>
                    <a:lnTo>
                      <a:pt x="282" y="233"/>
                    </a:lnTo>
                    <a:close/>
                    <a:moveTo>
                      <a:pt x="303" y="221"/>
                    </a:moveTo>
                    <a:cubicBezTo>
                      <a:pt x="303" y="223"/>
                      <a:pt x="301" y="226"/>
                      <a:pt x="301" y="226"/>
                    </a:cubicBezTo>
                    <a:cubicBezTo>
                      <a:pt x="310" y="222"/>
                      <a:pt x="310" y="222"/>
                      <a:pt x="310" y="222"/>
                    </a:cubicBezTo>
                    <a:cubicBezTo>
                      <a:pt x="311" y="216"/>
                      <a:pt x="311" y="216"/>
                      <a:pt x="311" y="216"/>
                    </a:cubicBezTo>
                    <a:cubicBezTo>
                      <a:pt x="313" y="220"/>
                      <a:pt x="313" y="220"/>
                      <a:pt x="313" y="220"/>
                    </a:cubicBezTo>
                    <a:cubicBezTo>
                      <a:pt x="322" y="207"/>
                      <a:pt x="322" y="207"/>
                      <a:pt x="322" y="207"/>
                    </a:cubicBezTo>
                    <a:cubicBezTo>
                      <a:pt x="322" y="207"/>
                      <a:pt x="317" y="208"/>
                      <a:pt x="317" y="207"/>
                    </a:cubicBezTo>
                    <a:cubicBezTo>
                      <a:pt x="317" y="213"/>
                      <a:pt x="317" y="213"/>
                      <a:pt x="317" y="213"/>
                    </a:cubicBezTo>
                    <a:cubicBezTo>
                      <a:pt x="312" y="209"/>
                      <a:pt x="312" y="209"/>
                      <a:pt x="312" y="209"/>
                    </a:cubicBezTo>
                    <a:cubicBezTo>
                      <a:pt x="305" y="213"/>
                      <a:pt x="305" y="213"/>
                      <a:pt x="305" y="213"/>
                    </a:cubicBezTo>
                    <a:cubicBezTo>
                      <a:pt x="306" y="217"/>
                      <a:pt x="306" y="217"/>
                      <a:pt x="306" y="217"/>
                    </a:cubicBezTo>
                    <a:cubicBezTo>
                      <a:pt x="303" y="216"/>
                      <a:pt x="303" y="216"/>
                      <a:pt x="303" y="216"/>
                    </a:cubicBezTo>
                    <a:cubicBezTo>
                      <a:pt x="303" y="216"/>
                      <a:pt x="304" y="219"/>
                      <a:pt x="303" y="221"/>
                    </a:cubicBezTo>
                    <a:close/>
                    <a:moveTo>
                      <a:pt x="362" y="187"/>
                    </a:moveTo>
                    <a:cubicBezTo>
                      <a:pt x="362" y="187"/>
                      <a:pt x="366" y="187"/>
                      <a:pt x="367" y="186"/>
                    </a:cubicBezTo>
                    <a:cubicBezTo>
                      <a:pt x="369" y="186"/>
                      <a:pt x="372" y="184"/>
                      <a:pt x="372" y="184"/>
                    </a:cubicBezTo>
                    <a:cubicBezTo>
                      <a:pt x="367" y="178"/>
                      <a:pt x="367" y="178"/>
                      <a:pt x="367" y="178"/>
                    </a:cubicBezTo>
                    <a:lnTo>
                      <a:pt x="362" y="187"/>
                    </a:lnTo>
                    <a:close/>
                    <a:moveTo>
                      <a:pt x="378" y="177"/>
                    </a:moveTo>
                    <a:cubicBezTo>
                      <a:pt x="377" y="175"/>
                      <a:pt x="376" y="174"/>
                      <a:pt x="374" y="174"/>
                    </a:cubicBezTo>
                    <a:cubicBezTo>
                      <a:pt x="371" y="173"/>
                      <a:pt x="369" y="175"/>
                      <a:pt x="369" y="175"/>
                    </a:cubicBezTo>
                    <a:cubicBezTo>
                      <a:pt x="369" y="175"/>
                      <a:pt x="370" y="182"/>
                      <a:pt x="373" y="182"/>
                    </a:cubicBezTo>
                    <a:cubicBezTo>
                      <a:pt x="375" y="183"/>
                      <a:pt x="379" y="178"/>
                      <a:pt x="378" y="177"/>
                    </a:cubicBezTo>
                    <a:close/>
                    <a:moveTo>
                      <a:pt x="352" y="177"/>
                    </a:moveTo>
                    <a:cubicBezTo>
                      <a:pt x="355" y="179"/>
                      <a:pt x="357" y="179"/>
                      <a:pt x="357" y="179"/>
                    </a:cubicBezTo>
                    <a:cubicBezTo>
                      <a:pt x="357" y="174"/>
                      <a:pt x="357" y="174"/>
                      <a:pt x="357" y="174"/>
                    </a:cubicBezTo>
                    <a:cubicBezTo>
                      <a:pt x="350" y="171"/>
                      <a:pt x="350" y="171"/>
                      <a:pt x="350" y="171"/>
                    </a:cubicBezTo>
                    <a:cubicBezTo>
                      <a:pt x="348" y="173"/>
                      <a:pt x="348" y="173"/>
                      <a:pt x="348" y="173"/>
                    </a:cubicBezTo>
                    <a:cubicBezTo>
                      <a:pt x="348" y="173"/>
                      <a:pt x="350" y="177"/>
                      <a:pt x="352" y="177"/>
                    </a:cubicBezTo>
                    <a:close/>
                    <a:moveTo>
                      <a:pt x="348" y="178"/>
                    </a:moveTo>
                    <a:cubicBezTo>
                      <a:pt x="344" y="183"/>
                      <a:pt x="344" y="183"/>
                      <a:pt x="344" y="183"/>
                    </a:cubicBezTo>
                    <a:cubicBezTo>
                      <a:pt x="348" y="188"/>
                      <a:pt x="348" y="188"/>
                      <a:pt x="348" y="188"/>
                    </a:cubicBezTo>
                    <a:cubicBezTo>
                      <a:pt x="344" y="189"/>
                      <a:pt x="344" y="189"/>
                      <a:pt x="344" y="189"/>
                    </a:cubicBezTo>
                    <a:cubicBezTo>
                      <a:pt x="337" y="201"/>
                      <a:pt x="337" y="201"/>
                      <a:pt x="337" y="201"/>
                    </a:cubicBezTo>
                    <a:cubicBezTo>
                      <a:pt x="343" y="185"/>
                      <a:pt x="343" y="185"/>
                      <a:pt x="343" y="185"/>
                    </a:cubicBezTo>
                    <a:cubicBezTo>
                      <a:pt x="341" y="184"/>
                      <a:pt x="341" y="184"/>
                      <a:pt x="341" y="184"/>
                    </a:cubicBezTo>
                    <a:cubicBezTo>
                      <a:pt x="341" y="184"/>
                      <a:pt x="342" y="177"/>
                      <a:pt x="338" y="175"/>
                    </a:cubicBezTo>
                    <a:cubicBezTo>
                      <a:pt x="333" y="173"/>
                      <a:pt x="333" y="185"/>
                      <a:pt x="333" y="185"/>
                    </a:cubicBezTo>
                    <a:cubicBezTo>
                      <a:pt x="330" y="186"/>
                      <a:pt x="330" y="186"/>
                      <a:pt x="330" y="186"/>
                    </a:cubicBezTo>
                    <a:cubicBezTo>
                      <a:pt x="331" y="197"/>
                      <a:pt x="331" y="197"/>
                      <a:pt x="331" y="197"/>
                    </a:cubicBezTo>
                    <a:cubicBezTo>
                      <a:pt x="324" y="202"/>
                      <a:pt x="324" y="202"/>
                      <a:pt x="324" y="202"/>
                    </a:cubicBezTo>
                    <a:cubicBezTo>
                      <a:pt x="325" y="206"/>
                      <a:pt x="325" y="206"/>
                      <a:pt x="325" y="206"/>
                    </a:cubicBezTo>
                    <a:cubicBezTo>
                      <a:pt x="319" y="218"/>
                      <a:pt x="319" y="218"/>
                      <a:pt x="319" y="218"/>
                    </a:cubicBezTo>
                    <a:cubicBezTo>
                      <a:pt x="322" y="218"/>
                      <a:pt x="322" y="218"/>
                      <a:pt x="322" y="218"/>
                    </a:cubicBezTo>
                    <a:cubicBezTo>
                      <a:pt x="331" y="208"/>
                      <a:pt x="331" y="208"/>
                      <a:pt x="331" y="208"/>
                    </a:cubicBezTo>
                    <a:cubicBezTo>
                      <a:pt x="328" y="214"/>
                      <a:pt x="328" y="214"/>
                      <a:pt x="328" y="214"/>
                    </a:cubicBezTo>
                    <a:cubicBezTo>
                      <a:pt x="335" y="215"/>
                      <a:pt x="335" y="215"/>
                      <a:pt x="335" y="215"/>
                    </a:cubicBezTo>
                    <a:cubicBezTo>
                      <a:pt x="336" y="215"/>
                      <a:pt x="337" y="209"/>
                      <a:pt x="337" y="209"/>
                    </a:cubicBezTo>
                    <a:cubicBezTo>
                      <a:pt x="340" y="211"/>
                      <a:pt x="340" y="211"/>
                      <a:pt x="340" y="211"/>
                    </a:cubicBezTo>
                    <a:cubicBezTo>
                      <a:pt x="340" y="211"/>
                      <a:pt x="345" y="202"/>
                      <a:pt x="346" y="200"/>
                    </a:cubicBezTo>
                    <a:cubicBezTo>
                      <a:pt x="347" y="198"/>
                      <a:pt x="354" y="198"/>
                      <a:pt x="354" y="198"/>
                    </a:cubicBezTo>
                    <a:cubicBezTo>
                      <a:pt x="354" y="198"/>
                      <a:pt x="357" y="193"/>
                      <a:pt x="358" y="188"/>
                    </a:cubicBezTo>
                    <a:cubicBezTo>
                      <a:pt x="359" y="184"/>
                      <a:pt x="348" y="178"/>
                      <a:pt x="348" y="178"/>
                    </a:cubicBezTo>
                    <a:close/>
                    <a:moveTo>
                      <a:pt x="330" y="179"/>
                    </a:moveTo>
                    <a:cubicBezTo>
                      <a:pt x="330" y="174"/>
                      <a:pt x="330" y="174"/>
                      <a:pt x="330" y="174"/>
                    </a:cubicBezTo>
                    <a:cubicBezTo>
                      <a:pt x="335" y="174"/>
                      <a:pt x="335" y="174"/>
                      <a:pt x="335" y="174"/>
                    </a:cubicBezTo>
                    <a:cubicBezTo>
                      <a:pt x="343" y="162"/>
                      <a:pt x="343" y="162"/>
                      <a:pt x="343" y="162"/>
                    </a:cubicBezTo>
                    <a:cubicBezTo>
                      <a:pt x="343" y="162"/>
                      <a:pt x="351" y="146"/>
                      <a:pt x="341" y="155"/>
                    </a:cubicBezTo>
                    <a:cubicBezTo>
                      <a:pt x="331" y="162"/>
                      <a:pt x="326" y="174"/>
                      <a:pt x="327" y="177"/>
                    </a:cubicBezTo>
                    <a:cubicBezTo>
                      <a:pt x="328" y="181"/>
                      <a:pt x="330" y="179"/>
                      <a:pt x="330" y="179"/>
                    </a:cubicBezTo>
                    <a:close/>
                    <a:moveTo>
                      <a:pt x="312" y="197"/>
                    </a:moveTo>
                    <a:cubicBezTo>
                      <a:pt x="315" y="194"/>
                      <a:pt x="319" y="192"/>
                      <a:pt x="319" y="192"/>
                    </a:cubicBezTo>
                    <a:cubicBezTo>
                      <a:pt x="313" y="199"/>
                      <a:pt x="313" y="199"/>
                      <a:pt x="313" y="199"/>
                    </a:cubicBezTo>
                    <a:cubicBezTo>
                      <a:pt x="317" y="201"/>
                      <a:pt x="317" y="201"/>
                      <a:pt x="317" y="201"/>
                    </a:cubicBezTo>
                    <a:cubicBezTo>
                      <a:pt x="327" y="191"/>
                      <a:pt x="327" y="191"/>
                      <a:pt x="327" y="191"/>
                    </a:cubicBezTo>
                    <a:cubicBezTo>
                      <a:pt x="325" y="187"/>
                      <a:pt x="325" y="187"/>
                      <a:pt x="325" y="187"/>
                    </a:cubicBezTo>
                    <a:cubicBezTo>
                      <a:pt x="327" y="185"/>
                      <a:pt x="327" y="185"/>
                      <a:pt x="327" y="185"/>
                    </a:cubicBezTo>
                    <a:cubicBezTo>
                      <a:pt x="322" y="171"/>
                      <a:pt x="322" y="171"/>
                      <a:pt x="322" y="171"/>
                    </a:cubicBezTo>
                    <a:cubicBezTo>
                      <a:pt x="315" y="172"/>
                      <a:pt x="315" y="172"/>
                      <a:pt x="315" y="172"/>
                    </a:cubicBezTo>
                    <a:cubicBezTo>
                      <a:pt x="320" y="183"/>
                      <a:pt x="320" y="183"/>
                      <a:pt x="320" y="183"/>
                    </a:cubicBezTo>
                    <a:cubicBezTo>
                      <a:pt x="317" y="183"/>
                      <a:pt x="317" y="183"/>
                      <a:pt x="317" y="183"/>
                    </a:cubicBezTo>
                    <a:cubicBezTo>
                      <a:pt x="317" y="188"/>
                      <a:pt x="317" y="188"/>
                      <a:pt x="317" y="188"/>
                    </a:cubicBezTo>
                    <a:cubicBezTo>
                      <a:pt x="309" y="186"/>
                      <a:pt x="309" y="186"/>
                      <a:pt x="309" y="186"/>
                    </a:cubicBezTo>
                    <a:cubicBezTo>
                      <a:pt x="309" y="186"/>
                      <a:pt x="306" y="191"/>
                      <a:pt x="305" y="194"/>
                    </a:cubicBezTo>
                    <a:cubicBezTo>
                      <a:pt x="303" y="199"/>
                      <a:pt x="308" y="198"/>
                      <a:pt x="312" y="197"/>
                    </a:cubicBezTo>
                    <a:close/>
                    <a:moveTo>
                      <a:pt x="309" y="186"/>
                    </a:moveTo>
                    <a:cubicBezTo>
                      <a:pt x="309" y="186"/>
                      <a:pt x="309" y="186"/>
                      <a:pt x="309" y="186"/>
                    </a:cubicBezTo>
                    <a:moveTo>
                      <a:pt x="313" y="206"/>
                    </a:moveTo>
                    <a:cubicBezTo>
                      <a:pt x="322" y="206"/>
                      <a:pt x="319" y="202"/>
                      <a:pt x="313" y="202"/>
                    </a:cubicBezTo>
                    <a:cubicBezTo>
                      <a:pt x="307" y="202"/>
                      <a:pt x="306" y="206"/>
                      <a:pt x="313" y="206"/>
                    </a:cubicBezTo>
                    <a:close/>
                    <a:moveTo>
                      <a:pt x="361" y="157"/>
                    </a:moveTo>
                    <a:cubicBezTo>
                      <a:pt x="367" y="159"/>
                      <a:pt x="367" y="159"/>
                      <a:pt x="367" y="159"/>
                    </a:cubicBezTo>
                    <a:cubicBezTo>
                      <a:pt x="360" y="165"/>
                      <a:pt x="360" y="165"/>
                      <a:pt x="360" y="165"/>
                    </a:cubicBezTo>
                    <a:cubicBezTo>
                      <a:pt x="362" y="168"/>
                      <a:pt x="362" y="168"/>
                      <a:pt x="362" y="168"/>
                    </a:cubicBezTo>
                    <a:cubicBezTo>
                      <a:pt x="362" y="168"/>
                      <a:pt x="368" y="170"/>
                      <a:pt x="371" y="168"/>
                    </a:cubicBezTo>
                    <a:cubicBezTo>
                      <a:pt x="376" y="157"/>
                      <a:pt x="376" y="157"/>
                      <a:pt x="376" y="157"/>
                    </a:cubicBezTo>
                    <a:cubicBezTo>
                      <a:pt x="387" y="158"/>
                      <a:pt x="387" y="158"/>
                      <a:pt x="387" y="158"/>
                    </a:cubicBezTo>
                    <a:cubicBezTo>
                      <a:pt x="385" y="151"/>
                      <a:pt x="385" y="151"/>
                      <a:pt x="385" y="151"/>
                    </a:cubicBezTo>
                    <a:cubicBezTo>
                      <a:pt x="389" y="144"/>
                      <a:pt x="389" y="144"/>
                      <a:pt x="389" y="144"/>
                    </a:cubicBezTo>
                    <a:cubicBezTo>
                      <a:pt x="389" y="144"/>
                      <a:pt x="391" y="135"/>
                      <a:pt x="384" y="132"/>
                    </a:cubicBezTo>
                    <a:cubicBezTo>
                      <a:pt x="376" y="129"/>
                      <a:pt x="370" y="139"/>
                      <a:pt x="370" y="139"/>
                    </a:cubicBezTo>
                    <a:cubicBezTo>
                      <a:pt x="375" y="145"/>
                      <a:pt x="375" y="145"/>
                      <a:pt x="375" y="145"/>
                    </a:cubicBezTo>
                    <a:cubicBezTo>
                      <a:pt x="371" y="143"/>
                      <a:pt x="371" y="143"/>
                      <a:pt x="371" y="143"/>
                    </a:cubicBezTo>
                    <a:cubicBezTo>
                      <a:pt x="371" y="143"/>
                      <a:pt x="362" y="144"/>
                      <a:pt x="362" y="145"/>
                    </a:cubicBezTo>
                    <a:cubicBezTo>
                      <a:pt x="362" y="150"/>
                      <a:pt x="362" y="150"/>
                      <a:pt x="362" y="150"/>
                    </a:cubicBezTo>
                    <a:cubicBezTo>
                      <a:pt x="367" y="152"/>
                      <a:pt x="367" y="152"/>
                      <a:pt x="367" y="152"/>
                    </a:cubicBezTo>
                    <a:cubicBezTo>
                      <a:pt x="360" y="155"/>
                      <a:pt x="360" y="155"/>
                      <a:pt x="360" y="155"/>
                    </a:cubicBezTo>
                    <a:lnTo>
                      <a:pt x="361" y="157"/>
                    </a:lnTo>
                    <a:close/>
                    <a:moveTo>
                      <a:pt x="401" y="132"/>
                    </a:moveTo>
                    <a:cubicBezTo>
                      <a:pt x="406" y="130"/>
                      <a:pt x="406" y="127"/>
                      <a:pt x="406" y="127"/>
                    </a:cubicBezTo>
                    <a:cubicBezTo>
                      <a:pt x="404" y="127"/>
                      <a:pt x="404" y="127"/>
                      <a:pt x="404" y="127"/>
                    </a:cubicBezTo>
                    <a:cubicBezTo>
                      <a:pt x="404" y="127"/>
                      <a:pt x="405" y="121"/>
                      <a:pt x="407" y="120"/>
                    </a:cubicBezTo>
                    <a:cubicBezTo>
                      <a:pt x="408" y="119"/>
                      <a:pt x="410" y="118"/>
                      <a:pt x="410" y="118"/>
                    </a:cubicBezTo>
                    <a:cubicBezTo>
                      <a:pt x="410" y="118"/>
                      <a:pt x="408" y="111"/>
                      <a:pt x="403" y="112"/>
                    </a:cubicBezTo>
                    <a:cubicBezTo>
                      <a:pt x="399" y="112"/>
                      <a:pt x="401" y="119"/>
                      <a:pt x="401" y="119"/>
                    </a:cubicBezTo>
                    <a:cubicBezTo>
                      <a:pt x="397" y="118"/>
                      <a:pt x="397" y="118"/>
                      <a:pt x="397" y="118"/>
                    </a:cubicBezTo>
                    <a:cubicBezTo>
                      <a:pt x="393" y="121"/>
                      <a:pt x="393" y="121"/>
                      <a:pt x="393" y="121"/>
                    </a:cubicBezTo>
                    <a:cubicBezTo>
                      <a:pt x="394" y="124"/>
                      <a:pt x="394" y="124"/>
                      <a:pt x="394" y="124"/>
                    </a:cubicBezTo>
                    <a:cubicBezTo>
                      <a:pt x="390" y="123"/>
                      <a:pt x="390" y="123"/>
                      <a:pt x="390" y="123"/>
                    </a:cubicBezTo>
                    <a:cubicBezTo>
                      <a:pt x="389" y="126"/>
                      <a:pt x="389" y="126"/>
                      <a:pt x="389" y="126"/>
                    </a:cubicBezTo>
                    <a:cubicBezTo>
                      <a:pt x="390" y="129"/>
                      <a:pt x="390" y="129"/>
                      <a:pt x="390" y="129"/>
                    </a:cubicBezTo>
                    <a:cubicBezTo>
                      <a:pt x="388" y="128"/>
                      <a:pt x="388" y="128"/>
                      <a:pt x="388" y="128"/>
                    </a:cubicBezTo>
                    <a:cubicBezTo>
                      <a:pt x="388" y="132"/>
                      <a:pt x="388" y="132"/>
                      <a:pt x="388" y="132"/>
                    </a:cubicBezTo>
                    <a:cubicBezTo>
                      <a:pt x="388" y="132"/>
                      <a:pt x="395" y="134"/>
                      <a:pt x="401" y="132"/>
                    </a:cubicBezTo>
                    <a:close/>
                    <a:moveTo>
                      <a:pt x="408" y="111"/>
                    </a:moveTo>
                    <a:cubicBezTo>
                      <a:pt x="410" y="112"/>
                      <a:pt x="411" y="112"/>
                      <a:pt x="411" y="112"/>
                    </a:cubicBezTo>
                    <a:cubicBezTo>
                      <a:pt x="412" y="115"/>
                      <a:pt x="412" y="115"/>
                      <a:pt x="412" y="115"/>
                    </a:cubicBezTo>
                    <a:cubicBezTo>
                      <a:pt x="412" y="115"/>
                      <a:pt x="420" y="113"/>
                      <a:pt x="420" y="109"/>
                    </a:cubicBezTo>
                    <a:cubicBezTo>
                      <a:pt x="420" y="106"/>
                      <a:pt x="420" y="106"/>
                      <a:pt x="420" y="106"/>
                    </a:cubicBezTo>
                    <a:cubicBezTo>
                      <a:pt x="420" y="106"/>
                      <a:pt x="426" y="104"/>
                      <a:pt x="424" y="102"/>
                    </a:cubicBezTo>
                    <a:cubicBezTo>
                      <a:pt x="423" y="99"/>
                      <a:pt x="418" y="100"/>
                      <a:pt x="418" y="100"/>
                    </a:cubicBezTo>
                    <a:cubicBezTo>
                      <a:pt x="418" y="100"/>
                      <a:pt x="416" y="96"/>
                      <a:pt x="411" y="97"/>
                    </a:cubicBezTo>
                    <a:cubicBezTo>
                      <a:pt x="408" y="98"/>
                      <a:pt x="403" y="106"/>
                      <a:pt x="403" y="106"/>
                    </a:cubicBezTo>
                    <a:cubicBezTo>
                      <a:pt x="403" y="106"/>
                      <a:pt x="406" y="110"/>
                      <a:pt x="408" y="111"/>
                    </a:cubicBezTo>
                    <a:close/>
                    <a:moveTo>
                      <a:pt x="424" y="106"/>
                    </a:moveTo>
                    <a:cubicBezTo>
                      <a:pt x="421" y="111"/>
                      <a:pt x="421" y="111"/>
                      <a:pt x="421" y="111"/>
                    </a:cubicBezTo>
                    <a:cubicBezTo>
                      <a:pt x="428" y="111"/>
                      <a:pt x="428" y="111"/>
                      <a:pt x="428" y="111"/>
                    </a:cubicBezTo>
                    <a:cubicBezTo>
                      <a:pt x="433" y="100"/>
                      <a:pt x="433" y="100"/>
                      <a:pt x="433" y="100"/>
                    </a:cubicBezTo>
                    <a:cubicBezTo>
                      <a:pt x="429" y="100"/>
                      <a:pt x="429" y="100"/>
                      <a:pt x="429" y="100"/>
                    </a:cubicBezTo>
                    <a:lnTo>
                      <a:pt x="424" y="106"/>
                    </a:lnTo>
                    <a:close/>
                    <a:moveTo>
                      <a:pt x="426" y="97"/>
                    </a:moveTo>
                    <a:cubicBezTo>
                      <a:pt x="433" y="98"/>
                      <a:pt x="434" y="97"/>
                      <a:pt x="433" y="93"/>
                    </a:cubicBezTo>
                    <a:cubicBezTo>
                      <a:pt x="431" y="90"/>
                      <a:pt x="427" y="87"/>
                      <a:pt x="427" y="87"/>
                    </a:cubicBezTo>
                    <a:cubicBezTo>
                      <a:pt x="426" y="91"/>
                      <a:pt x="426" y="91"/>
                      <a:pt x="426" y="91"/>
                    </a:cubicBezTo>
                    <a:cubicBezTo>
                      <a:pt x="422" y="83"/>
                      <a:pt x="422" y="83"/>
                      <a:pt x="422" y="83"/>
                    </a:cubicBezTo>
                    <a:cubicBezTo>
                      <a:pt x="420" y="87"/>
                      <a:pt x="420" y="87"/>
                      <a:pt x="420" y="87"/>
                    </a:cubicBezTo>
                    <a:cubicBezTo>
                      <a:pt x="424" y="94"/>
                      <a:pt x="424" y="94"/>
                      <a:pt x="424" y="94"/>
                    </a:cubicBezTo>
                    <a:cubicBezTo>
                      <a:pt x="424" y="94"/>
                      <a:pt x="422" y="96"/>
                      <a:pt x="426" y="97"/>
                    </a:cubicBezTo>
                    <a:close/>
                    <a:moveTo>
                      <a:pt x="421" y="95"/>
                    </a:moveTo>
                    <a:cubicBezTo>
                      <a:pt x="417" y="91"/>
                      <a:pt x="417" y="91"/>
                      <a:pt x="417" y="91"/>
                    </a:cubicBezTo>
                    <a:cubicBezTo>
                      <a:pt x="417" y="94"/>
                      <a:pt x="417" y="94"/>
                      <a:pt x="417" y="94"/>
                    </a:cubicBezTo>
                    <a:lnTo>
                      <a:pt x="421" y="95"/>
                    </a:lnTo>
                    <a:close/>
                    <a:moveTo>
                      <a:pt x="413" y="95"/>
                    </a:moveTo>
                    <a:cubicBezTo>
                      <a:pt x="415" y="87"/>
                      <a:pt x="415" y="87"/>
                      <a:pt x="415" y="87"/>
                    </a:cubicBezTo>
                    <a:cubicBezTo>
                      <a:pt x="409" y="84"/>
                      <a:pt x="409" y="84"/>
                      <a:pt x="409" y="84"/>
                    </a:cubicBezTo>
                    <a:cubicBezTo>
                      <a:pt x="409" y="95"/>
                      <a:pt x="409" y="95"/>
                      <a:pt x="409" y="95"/>
                    </a:cubicBezTo>
                    <a:lnTo>
                      <a:pt x="413" y="95"/>
                    </a:lnTo>
                    <a:close/>
                    <a:moveTo>
                      <a:pt x="407" y="97"/>
                    </a:moveTo>
                    <a:cubicBezTo>
                      <a:pt x="403" y="94"/>
                      <a:pt x="403" y="94"/>
                      <a:pt x="403" y="94"/>
                    </a:cubicBezTo>
                    <a:cubicBezTo>
                      <a:pt x="403" y="98"/>
                      <a:pt x="403" y="98"/>
                      <a:pt x="403" y="98"/>
                    </a:cubicBezTo>
                    <a:cubicBezTo>
                      <a:pt x="397" y="96"/>
                      <a:pt x="397" y="96"/>
                      <a:pt x="397" y="96"/>
                    </a:cubicBezTo>
                    <a:cubicBezTo>
                      <a:pt x="400" y="103"/>
                      <a:pt x="400" y="103"/>
                      <a:pt x="400" y="103"/>
                    </a:cubicBezTo>
                    <a:lnTo>
                      <a:pt x="407" y="97"/>
                    </a:lnTo>
                    <a:close/>
                    <a:moveTo>
                      <a:pt x="443" y="96"/>
                    </a:moveTo>
                    <a:cubicBezTo>
                      <a:pt x="449" y="97"/>
                      <a:pt x="452" y="90"/>
                      <a:pt x="449" y="84"/>
                    </a:cubicBezTo>
                    <a:cubicBezTo>
                      <a:pt x="446" y="79"/>
                      <a:pt x="441" y="83"/>
                      <a:pt x="440" y="90"/>
                    </a:cubicBezTo>
                    <a:cubicBezTo>
                      <a:pt x="439" y="95"/>
                      <a:pt x="443" y="96"/>
                      <a:pt x="443" y="96"/>
                    </a:cubicBezTo>
                    <a:close/>
                    <a:moveTo>
                      <a:pt x="455" y="99"/>
                    </a:moveTo>
                    <a:cubicBezTo>
                      <a:pt x="451" y="96"/>
                      <a:pt x="451" y="96"/>
                      <a:pt x="451" y="96"/>
                    </a:cubicBezTo>
                    <a:cubicBezTo>
                      <a:pt x="451" y="96"/>
                      <a:pt x="449" y="99"/>
                      <a:pt x="448" y="100"/>
                    </a:cubicBezTo>
                    <a:lnTo>
                      <a:pt x="455" y="99"/>
                    </a:lnTo>
                    <a:close/>
                    <a:moveTo>
                      <a:pt x="445" y="105"/>
                    </a:moveTo>
                    <a:cubicBezTo>
                      <a:pt x="444" y="111"/>
                      <a:pt x="444" y="111"/>
                      <a:pt x="444" y="111"/>
                    </a:cubicBezTo>
                    <a:cubicBezTo>
                      <a:pt x="449" y="109"/>
                      <a:pt x="449" y="109"/>
                      <a:pt x="449" y="109"/>
                    </a:cubicBezTo>
                    <a:cubicBezTo>
                      <a:pt x="448" y="104"/>
                      <a:pt x="448" y="104"/>
                      <a:pt x="448" y="104"/>
                    </a:cubicBezTo>
                    <a:lnTo>
                      <a:pt x="445" y="105"/>
                    </a:lnTo>
                    <a:close/>
                    <a:moveTo>
                      <a:pt x="474" y="58"/>
                    </a:moveTo>
                    <a:cubicBezTo>
                      <a:pt x="479" y="58"/>
                      <a:pt x="479" y="58"/>
                      <a:pt x="479" y="58"/>
                    </a:cubicBezTo>
                    <a:cubicBezTo>
                      <a:pt x="476" y="63"/>
                      <a:pt x="476" y="63"/>
                      <a:pt x="476" y="63"/>
                    </a:cubicBezTo>
                    <a:cubicBezTo>
                      <a:pt x="478" y="65"/>
                      <a:pt x="484" y="64"/>
                      <a:pt x="492" y="60"/>
                    </a:cubicBezTo>
                    <a:cubicBezTo>
                      <a:pt x="500" y="56"/>
                      <a:pt x="497" y="50"/>
                      <a:pt x="497" y="50"/>
                    </a:cubicBezTo>
                    <a:cubicBezTo>
                      <a:pt x="504" y="41"/>
                      <a:pt x="504" y="41"/>
                      <a:pt x="504" y="41"/>
                    </a:cubicBezTo>
                    <a:cubicBezTo>
                      <a:pt x="500" y="36"/>
                      <a:pt x="500" y="36"/>
                      <a:pt x="500" y="36"/>
                    </a:cubicBezTo>
                    <a:cubicBezTo>
                      <a:pt x="492" y="40"/>
                      <a:pt x="492" y="40"/>
                      <a:pt x="492" y="40"/>
                    </a:cubicBezTo>
                    <a:cubicBezTo>
                      <a:pt x="493" y="48"/>
                      <a:pt x="493" y="48"/>
                      <a:pt x="493" y="48"/>
                    </a:cubicBezTo>
                    <a:cubicBezTo>
                      <a:pt x="488" y="44"/>
                      <a:pt x="488" y="44"/>
                      <a:pt x="488" y="44"/>
                    </a:cubicBezTo>
                    <a:cubicBezTo>
                      <a:pt x="486" y="46"/>
                      <a:pt x="486" y="46"/>
                      <a:pt x="486" y="46"/>
                    </a:cubicBezTo>
                    <a:cubicBezTo>
                      <a:pt x="490" y="52"/>
                      <a:pt x="490" y="52"/>
                      <a:pt x="490" y="52"/>
                    </a:cubicBezTo>
                    <a:cubicBezTo>
                      <a:pt x="483" y="48"/>
                      <a:pt x="483" y="48"/>
                      <a:pt x="483" y="48"/>
                    </a:cubicBezTo>
                    <a:cubicBezTo>
                      <a:pt x="478" y="48"/>
                      <a:pt x="478" y="48"/>
                      <a:pt x="478" y="48"/>
                    </a:cubicBezTo>
                    <a:cubicBezTo>
                      <a:pt x="479" y="53"/>
                      <a:pt x="479" y="53"/>
                      <a:pt x="479" y="53"/>
                    </a:cubicBezTo>
                    <a:cubicBezTo>
                      <a:pt x="472" y="55"/>
                      <a:pt x="472" y="55"/>
                      <a:pt x="472" y="55"/>
                    </a:cubicBezTo>
                    <a:lnTo>
                      <a:pt x="474" y="58"/>
                    </a:lnTo>
                    <a:close/>
                    <a:moveTo>
                      <a:pt x="484" y="73"/>
                    </a:moveTo>
                    <a:cubicBezTo>
                      <a:pt x="484" y="76"/>
                      <a:pt x="489" y="76"/>
                      <a:pt x="489" y="76"/>
                    </a:cubicBezTo>
                    <a:cubicBezTo>
                      <a:pt x="489" y="76"/>
                      <a:pt x="498" y="77"/>
                      <a:pt x="497" y="73"/>
                    </a:cubicBezTo>
                    <a:cubicBezTo>
                      <a:pt x="497" y="68"/>
                      <a:pt x="482" y="66"/>
                      <a:pt x="484" y="73"/>
                    </a:cubicBezTo>
                    <a:close/>
                    <a:moveTo>
                      <a:pt x="503" y="55"/>
                    </a:moveTo>
                    <a:cubicBezTo>
                      <a:pt x="501" y="59"/>
                      <a:pt x="501" y="59"/>
                      <a:pt x="501" y="59"/>
                    </a:cubicBezTo>
                    <a:cubicBezTo>
                      <a:pt x="499" y="57"/>
                      <a:pt x="499" y="57"/>
                      <a:pt x="499" y="57"/>
                    </a:cubicBezTo>
                    <a:cubicBezTo>
                      <a:pt x="493" y="66"/>
                      <a:pt x="493" y="66"/>
                      <a:pt x="493" y="66"/>
                    </a:cubicBezTo>
                    <a:cubicBezTo>
                      <a:pt x="499" y="68"/>
                      <a:pt x="499" y="68"/>
                      <a:pt x="499" y="68"/>
                    </a:cubicBezTo>
                    <a:cubicBezTo>
                      <a:pt x="500" y="66"/>
                      <a:pt x="500" y="66"/>
                      <a:pt x="500" y="66"/>
                    </a:cubicBezTo>
                    <a:cubicBezTo>
                      <a:pt x="500" y="72"/>
                      <a:pt x="500" y="72"/>
                      <a:pt x="500" y="72"/>
                    </a:cubicBezTo>
                    <a:cubicBezTo>
                      <a:pt x="504" y="72"/>
                      <a:pt x="504" y="72"/>
                      <a:pt x="504" y="72"/>
                    </a:cubicBezTo>
                    <a:cubicBezTo>
                      <a:pt x="509" y="59"/>
                      <a:pt x="509" y="59"/>
                      <a:pt x="509" y="59"/>
                    </a:cubicBezTo>
                    <a:cubicBezTo>
                      <a:pt x="505" y="48"/>
                      <a:pt x="505" y="48"/>
                      <a:pt x="505" y="48"/>
                    </a:cubicBezTo>
                    <a:cubicBezTo>
                      <a:pt x="501" y="50"/>
                      <a:pt x="501" y="50"/>
                      <a:pt x="501" y="50"/>
                    </a:cubicBezTo>
                    <a:lnTo>
                      <a:pt x="503" y="55"/>
                    </a:lnTo>
                    <a:close/>
                    <a:moveTo>
                      <a:pt x="514" y="56"/>
                    </a:moveTo>
                    <a:cubicBezTo>
                      <a:pt x="517" y="56"/>
                      <a:pt x="521" y="48"/>
                      <a:pt x="516" y="43"/>
                    </a:cubicBezTo>
                    <a:cubicBezTo>
                      <a:pt x="509" y="37"/>
                      <a:pt x="505" y="43"/>
                      <a:pt x="508" y="50"/>
                    </a:cubicBezTo>
                    <a:cubicBezTo>
                      <a:pt x="508" y="50"/>
                      <a:pt x="510" y="56"/>
                      <a:pt x="514" y="56"/>
                    </a:cubicBezTo>
                    <a:close/>
                    <a:moveTo>
                      <a:pt x="513" y="22"/>
                    </a:moveTo>
                    <a:cubicBezTo>
                      <a:pt x="506" y="22"/>
                      <a:pt x="511" y="30"/>
                      <a:pt x="511" y="30"/>
                    </a:cubicBezTo>
                    <a:cubicBezTo>
                      <a:pt x="517" y="29"/>
                      <a:pt x="518" y="22"/>
                      <a:pt x="513" y="22"/>
                    </a:cubicBezTo>
                    <a:close/>
                    <a:moveTo>
                      <a:pt x="528" y="14"/>
                    </a:moveTo>
                    <a:cubicBezTo>
                      <a:pt x="523" y="17"/>
                      <a:pt x="523" y="17"/>
                      <a:pt x="523" y="17"/>
                    </a:cubicBezTo>
                    <a:cubicBezTo>
                      <a:pt x="531" y="19"/>
                      <a:pt x="531" y="19"/>
                      <a:pt x="531" y="19"/>
                    </a:cubicBezTo>
                    <a:lnTo>
                      <a:pt x="528" y="14"/>
                    </a:lnTo>
                    <a:close/>
                    <a:moveTo>
                      <a:pt x="538" y="19"/>
                    </a:moveTo>
                    <a:cubicBezTo>
                      <a:pt x="539" y="19"/>
                      <a:pt x="541" y="17"/>
                      <a:pt x="541" y="17"/>
                    </a:cubicBezTo>
                    <a:cubicBezTo>
                      <a:pt x="541" y="20"/>
                      <a:pt x="541" y="20"/>
                      <a:pt x="541" y="20"/>
                    </a:cubicBezTo>
                    <a:cubicBezTo>
                      <a:pt x="548" y="22"/>
                      <a:pt x="548" y="22"/>
                      <a:pt x="548" y="22"/>
                    </a:cubicBezTo>
                    <a:cubicBezTo>
                      <a:pt x="559" y="16"/>
                      <a:pt x="559" y="16"/>
                      <a:pt x="559" y="16"/>
                    </a:cubicBezTo>
                    <a:cubicBezTo>
                      <a:pt x="559" y="12"/>
                      <a:pt x="559" y="12"/>
                      <a:pt x="559" y="12"/>
                    </a:cubicBezTo>
                    <a:cubicBezTo>
                      <a:pt x="553" y="16"/>
                      <a:pt x="553" y="16"/>
                      <a:pt x="553" y="16"/>
                    </a:cubicBezTo>
                    <a:cubicBezTo>
                      <a:pt x="550" y="14"/>
                      <a:pt x="550" y="14"/>
                      <a:pt x="550" y="14"/>
                    </a:cubicBezTo>
                    <a:cubicBezTo>
                      <a:pt x="555" y="10"/>
                      <a:pt x="555" y="10"/>
                      <a:pt x="555" y="10"/>
                    </a:cubicBezTo>
                    <a:cubicBezTo>
                      <a:pt x="552" y="6"/>
                      <a:pt x="552" y="6"/>
                      <a:pt x="552" y="6"/>
                    </a:cubicBezTo>
                    <a:cubicBezTo>
                      <a:pt x="550" y="10"/>
                      <a:pt x="550" y="10"/>
                      <a:pt x="550" y="10"/>
                    </a:cubicBezTo>
                    <a:cubicBezTo>
                      <a:pt x="548" y="5"/>
                      <a:pt x="548" y="5"/>
                      <a:pt x="548" y="5"/>
                    </a:cubicBezTo>
                    <a:cubicBezTo>
                      <a:pt x="544" y="8"/>
                      <a:pt x="544" y="8"/>
                      <a:pt x="544" y="8"/>
                    </a:cubicBezTo>
                    <a:cubicBezTo>
                      <a:pt x="546" y="12"/>
                      <a:pt x="546" y="12"/>
                      <a:pt x="546" y="12"/>
                    </a:cubicBezTo>
                    <a:cubicBezTo>
                      <a:pt x="537" y="14"/>
                      <a:pt x="537" y="14"/>
                      <a:pt x="537" y="14"/>
                    </a:cubicBezTo>
                    <a:lnTo>
                      <a:pt x="538" y="19"/>
                    </a:lnTo>
                    <a:close/>
                    <a:moveTo>
                      <a:pt x="658" y="62"/>
                    </a:moveTo>
                    <a:cubicBezTo>
                      <a:pt x="659" y="72"/>
                      <a:pt x="659" y="72"/>
                      <a:pt x="659" y="72"/>
                    </a:cubicBezTo>
                    <a:cubicBezTo>
                      <a:pt x="665" y="68"/>
                      <a:pt x="665" y="68"/>
                      <a:pt x="665" y="68"/>
                    </a:cubicBezTo>
                    <a:cubicBezTo>
                      <a:pt x="662" y="60"/>
                      <a:pt x="662" y="60"/>
                      <a:pt x="662" y="60"/>
                    </a:cubicBezTo>
                    <a:lnTo>
                      <a:pt x="658" y="62"/>
                    </a:lnTo>
                    <a:close/>
                  </a:path>
                </a:pathLst>
              </a:custGeom>
              <a:solidFill>
                <a:srgbClr val="FDC795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38" name="Netherlands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4254500" y="3632200"/>
                <a:ext cx="358775" cy="376237"/>
              </a:xfrm>
              <a:custGeom>
                <a:avLst/>
                <a:gdLst/>
                <a:ahLst/>
                <a:cxnLst>
                  <a:cxn ang="0">
                    <a:pos x="154" y="5"/>
                  </a:cxn>
                  <a:cxn ang="0">
                    <a:pos x="131" y="10"/>
                  </a:cxn>
                  <a:cxn ang="0">
                    <a:pos x="96" y="34"/>
                  </a:cxn>
                  <a:cxn ang="0">
                    <a:pos x="105" y="45"/>
                  </a:cxn>
                  <a:cxn ang="0">
                    <a:pos x="104" y="55"/>
                  </a:cxn>
                  <a:cxn ang="0">
                    <a:pos x="101" y="57"/>
                  </a:cxn>
                  <a:cxn ang="0">
                    <a:pos x="83" y="73"/>
                  </a:cxn>
                  <a:cxn ang="0">
                    <a:pos x="99" y="72"/>
                  </a:cxn>
                  <a:cxn ang="0">
                    <a:pos x="109" y="72"/>
                  </a:cxn>
                  <a:cxn ang="0">
                    <a:pos x="76" y="71"/>
                  </a:cxn>
                  <a:cxn ang="0">
                    <a:pos x="82" y="64"/>
                  </a:cxn>
                  <a:cxn ang="0">
                    <a:pos x="84" y="44"/>
                  </a:cxn>
                  <a:cxn ang="0">
                    <a:pos x="67" y="32"/>
                  </a:cxn>
                  <a:cxn ang="0">
                    <a:pos x="47" y="101"/>
                  </a:cxn>
                  <a:cxn ang="0">
                    <a:pos x="33" y="94"/>
                  </a:cxn>
                  <a:cxn ang="0">
                    <a:pos x="61" y="109"/>
                  </a:cxn>
                  <a:cxn ang="0">
                    <a:pos x="48" y="113"/>
                  </a:cxn>
                  <a:cxn ang="0">
                    <a:pos x="40" y="119"/>
                  </a:cxn>
                  <a:cxn ang="0">
                    <a:pos x="32" y="119"/>
                  </a:cxn>
                  <a:cxn ang="0">
                    <a:pos x="40" y="126"/>
                  </a:cxn>
                  <a:cxn ang="0">
                    <a:pos x="19" y="121"/>
                  </a:cxn>
                  <a:cxn ang="0">
                    <a:pos x="10" y="124"/>
                  </a:cxn>
                  <a:cxn ang="0">
                    <a:pos x="26" y="127"/>
                  </a:cxn>
                  <a:cxn ang="0">
                    <a:pos x="33" y="135"/>
                  </a:cxn>
                  <a:cxn ang="0">
                    <a:pos x="23" y="133"/>
                  </a:cxn>
                  <a:cxn ang="0">
                    <a:pos x="2" y="129"/>
                  </a:cxn>
                  <a:cxn ang="0">
                    <a:pos x="7" y="139"/>
                  </a:cxn>
                  <a:cxn ang="0">
                    <a:pos x="22" y="143"/>
                  </a:cxn>
                  <a:cxn ang="0">
                    <a:pos x="46" y="135"/>
                  </a:cxn>
                  <a:cxn ang="0">
                    <a:pos x="54" y="131"/>
                  </a:cxn>
                  <a:cxn ang="0">
                    <a:pos x="67" y="134"/>
                  </a:cxn>
                  <a:cxn ang="0">
                    <a:pos x="76" y="138"/>
                  </a:cxn>
                  <a:cxn ang="0">
                    <a:pos x="92" y="145"/>
                  </a:cxn>
                  <a:cxn ang="0">
                    <a:pos x="99" y="159"/>
                  </a:cxn>
                  <a:cxn ang="0">
                    <a:pos x="93" y="170"/>
                  </a:cxn>
                  <a:cxn ang="0">
                    <a:pos x="110" y="175"/>
                  </a:cxn>
                  <a:cxn ang="0">
                    <a:pos x="106" y="161"/>
                  </a:cxn>
                  <a:cxn ang="0">
                    <a:pos x="118" y="149"/>
                  </a:cxn>
                  <a:cxn ang="0">
                    <a:pos x="119" y="124"/>
                  </a:cxn>
                  <a:cxn ang="0">
                    <a:pos x="120" y="106"/>
                  </a:cxn>
                  <a:cxn ang="0">
                    <a:pos x="131" y="104"/>
                  </a:cxn>
                  <a:cxn ang="0">
                    <a:pos x="150" y="88"/>
                  </a:cxn>
                  <a:cxn ang="0">
                    <a:pos x="147" y="58"/>
                  </a:cxn>
                  <a:cxn ang="0">
                    <a:pos x="166" y="29"/>
                  </a:cxn>
                  <a:cxn ang="0">
                    <a:pos x="76" y="17"/>
                  </a:cxn>
                  <a:cxn ang="0">
                    <a:pos x="70" y="29"/>
                  </a:cxn>
                  <a:cxn ang="0">
                    <a:pos x="27" y="115"/>
                  </a:cxn>
                  <a:cxn ang="0">
                    <a:pos x="31" y="112"/>
                  </a:cxn>
                  <a:cxn ang="0">
                    <a:pos x="22" y="110"/>
                  </a:cxn>
                  <a:cxn ang="0">
                    <a:pos x="24" y="116"/>
                  </a:cxn>
                  <a:cxn ang="0">
                    <a:pos x="18" y="118"/>
                  </a:cxn>
                  <a:cxn ang="0">
                    <a:pos x="32" y="106"/>
                  </a:cxn>
                  <a:cxn ang="0">
                    <a:pos x="45" y="112"/>
                  </a:cxn>
                  <a:cxn ang="0">
                    <a:pos x="27" y="105"/>
                  </a:cxn>
                  <a:cxn ang="0">
                    <a:pos x="82" y="13"/>
                  </a:cxn>
                  <a:cxn ang="0">
                    <a:pos x="99" y="7"/>
                  </a:cxn>
                  <a:cxn ang="0">
                    <a:pos x="98" y="3"/>
                  </a:cxn>
                  <a:cxn ang="0">
                    <a:pos x="90" y="9"/>
                  </a:cxn>
                  <a:cxn ang="0">
                    <a:pos x="109" y="3"/>
                  </a:cxn>
                  <a:cxn ang="0">
                    <a:pos x="135" y="0"/>
                  </a:cxn>
                  <a:cxn ang="0">
                    <a:pos x="136" y="2"/>
                  </a:cxn>
                </a:cxnLst>
                <a:rect l="0" t="0" r="r" b="b"/>
                <a:pathLst>
                  <a:path w="168" h="177">
                    <a:moveTo>
                      <a:pt x="168" y="18"/>
                    </a:moveTo>
                    <a:cubicBezTo>
                      <a:pt x="164" y="17"/>
                      <a:pt x="160" y="15"/>
                      <a:pt x="159" y="14"/>
                    </a:cubicBezTo>
                    <a:cubicBezTo>
                      <a:pt x="155" y="12"/>
                      <a:pt x="155" y="7"/>
                      <a:pt x="154" y="5"/>
                    </a:cubicBezTo>
                    <a:cubicBezTo>
                      <a:pt x="153" y="3"/>
                      <a:pt x="149" y="7"/>
                      <a:pt x="149" y="7"/>
                    </a:cubicBezTo>
                    <a:cubicBezTo>
                      <a:pt x="130" y="8"/>
                      <a:pt x="130" y="8"/>
                      <a:pt x="130" y="8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28" y="10"/>
                      <a:pt x="127" y="8"/>
                    </a:cubicBezTo>
                    <a:cubicBezTo>
                      <a:pt x="125" y="6"/>
                      <a:pt x="108" y="11"/>
                      <a:pt x="102" y="14"/>
                    </a:cubicBezTo>
                    <a:cubicBezTo>
                      <a:pt x="96" y="16"/>
                      <a:pt x="95" y="29"/>
                      <a:pt x="96" y="34"/>
                    </a:cubicBezTo>
                    <a:cubicBezTo>
                      <a:pt x="96" y="40"/>
                      <a:pt x="95" y="39"/>
                      <a:pt x="95" y="39"/>
                    </a:cubicBezTo>
                    <a:cubicBezTo>
                      <a:pt x="95" y="39"/>
                      <a:pt x="96" y="40"/>
                      <a:pt x="99" y="41"/>
                    </a:cubicBezTo>
                    <a:cubicBezTo>
                      <a:pt x="102" y="43"/>
                      <a:pt x="105" y="45"/>
                      <a:pt x="105" y="45"/>
                    </a:cubicBezTo>
                    <a:cubicBezTo>
                      <a:pt x="105" y="45"/>
                      <a:pt x="101" y="47"/>
                      <a:pt x="101" y="48"/>
                    </a:cubicBezTo>
                    <a:cubicBezTo>
                      <a:pt x="101" y="50"/>
                      <a:pt x="104" y="50"/>
                      <a:pt x="104" y="50"/>
                    </a:cubicBezTo>
                    <a:cubicBezTo>
                      <a:pt x="104" y="50"/>
                      <a:pt x="101" y="54"/>
                      <a:pt x="104" y="55"/>
                    </a:cubicBezTo>
                    <a:cubicBezTo>
                      <a:pt x="109" y="56"/>
                      <a:pt x="113" y="57"/>
                      <a:pt x="113" y="57"/>
                    </a:cubicBezTo>
                    <a:cubicBezTo>
                      <a:pt x="112" y="59"/>
                      <a:pt x="112" y="59"/>
                      <a:pt x="112" y="59"/>
                    </a:cubicBezTo>
                    <a:cubicBezTo>
                      <a:pt x="112" y="59"/>
                      <a:pt x="105" y="57"/>
                      <a:pt x="101" y="57"/>
                    </a:cubicBezTo>
                    <a:cubicBezTo>
                      <a:pt x="98" y="57"/>
                      <a:pt x="94" y="62"/>
                      <a:pt x="90" y="64"/>
                    </a:cubicBezTo>
                    <a:cubicBezTo>
                      <a:pt x="87" y="66"/>
                      <a:pt x="79" y="70"/>
                      <a:pt x="79" y="70"/>
                    </a:cubicBezTo>
                    <a:cubicBezTo>
                      <a:pt x="79" y="70"/>
                      <a:pt x="81" y="73"/>
                      <a:pt x="83" y="73"/>
                    </a:cubicBezTo>
                    <a:cubicBezTo>
                      <a:pt x="87" y="73"/>
                      <a:pt x="87" y="73"/>
                      <a:pt x="87" y="73"/>
                    </a:cubicBezTo>
                    <a:cubicBezTo>
                      <a:pt x="87" y="73"/>
                      <a:pt x="94" y="77"/>
                      <a:pt x="96" y="76"/>
                    </a:cubicBezTo>
                    <a:cubicBezTo>
                      <a:pt x="99" y="74"/>
                      <a:pt x="99" y="72"/>
                      <a:pt x="99" y="72"/>
                    </a:cubicBezTo>
                    <a:cubicBezTo>
                      <a:pt x="99" y="72"/>
                      <a:pt x="106" y="69"/>
                      <a:pt x="108" y="66"/>
                    </a:cubicBezTo>
                    <a:cubicBezTo>
                      <a:pt x="109" y="65"/>
                      <a:pt x="111" y="65"/>
                      <a:pt x="112" y="65"/>
                    </a:cubicBezTo>
                    <a:cubicBezTo>
                      <a:pt x="113" y="66"/>
                      <a:pt x="109" y="72"/>
                      <a:pt x="109" y="72"/>
                    </a:cubicBezTo>
                    <a:cubicBezTo>
                      <a:pt x="96" y="78"/>
                      <a:pt x="96" y="78"/>
                      <a:pt x="96" y="78"/>
                    </a:cubicBezTo>
                    <a:cubicBezTo>
                      <a:pt x="86" y="77"/>
                      <a:pt x="86" y="77"/>
                      <a:pt x="86" y="77"/>
                    </a:cubicBezTo>
                    <a:cubicBezTo>
                      <a:pt x="76" y="71"/>
                      <a:pt x="76" y="71"/>
                      <a:pt x="76" y="71"/>
                    </a:cubicBezTo>
                    <a:cubicBezTo>
                      <a:pt x="73" y="69"/>
                      <a:pt x="73" y="69"/>
                      <a:pt x="73" y="69"/>
                    </a:cubicBezTo>
                    <a:cubicBezTo>
                      <a:pt x="80" y="68"/>
                      <a:pt x="80" y="68"/>
                      <a:pt x="80" y="68"/>
                    </a:cubicBezTo>
                    <a:cubicBezTo>
                      <a:pt x="82" y="64"/>
                      <a:pt x="82" y="64"/>
                      <a:pt x="82" y="64"/>
                    </a:cubicBezTo>
                    <a:cubicBezTo>
                      <a:pt x="82" y="64"/>
                      <a:pt x="79" y="55"/>
                      <a:pt x="79" y="53"/>
                    </a:cubicBezTo>
                    <a:cubicBezTo>
                      <a:pt x="78" y="50"/>
                      <a:pt x="85" y="54"/>
                      <a:pt x="88" y="50"/>
                    </a:cubicBezTo>
                    <a:cubicBezTo>
                      <a:pt x="90" y="48"/>
                      <a:pt x="87" y="45"/>
                      <a:pt x="84" y="44"/>
                    </a:cubicBezTo>
                    <a:cubicBezTo>
                      <a:pt x="80" y="43"/>
                      <a:pt x="82" y="33"/>
                      <a:pt x="78" y="33"/>
                    </a:cubicBezTo>
                    <a:cubicBezTo>
                      <a:pt x="74" y="32"/>
                      <a:pt x="77" y="35"/>
                      <a:pt x="73" y="34"/>
                    </a:cubicBezTo>
                    <a:cubicBezTo>
                      <a:pt x="71" y="33"/>
                      <a:pt x="69" y="30"/>
                      <a:pt x="67" y="32"/>
                    </a:cubicBezTo>
                    <a:cubicBezTo>
                      <a:pt x="65" y="33"/>
                      <a:pt x="60" y="63"/>
                      <a:pt x="56" y="70"/>
                    </a:cubicBezTo>
                    <a:cubicBezTo>
                      <a:pt x="53" y="76"/>
                      <a:pt x="37" y="91"/>
                      <a:pt x="37" y="91"/>
                    </a:cubicBezTo>
                    <a:cubicBezTo>
                      <a:pt x="47" y="101"/>
                      <a:pt x="47" y="101"/>
                      <a:pt x="47" y="101"/>
                    </a:cubicBezTo>
                    <a:cubicBezTo>
                      <a:pt x="47" y="104"/>
                      <a:pt x="47" y="104"/>
                      <a:pt x="47" y="104"/>
                    </a:cubicBezTo>
                    <a:cubicBezTo>
                      <a:pt x="47" y="104"/>
                      <a:pt x="40" y="97"/>
                      <a:pt x="39" y="97"/>
                    </a:cubicBezTo>
                    <a:cubicBezTo>
                      <a:pt x="37" y="96"/>
                      <a:pt x="35" y="94"/>
                      <a:pt x="33" y="94"/>
                    </a:cubicBezTo>
                    <a:cubicBezTo>
                      <a:pt x="32" y="94"/>
                      <a:pt x="34" y="101"/>
                      <a:pt x="34" y="101"/>
                    </a:cubicBezTo>
                    <a:cubicBezTo>
                      <a:pt x="34" y="101"/>
                      <a:pt x="50" y="112"/>
                      <a:pt x="51" y="112"/>
                    </a:cubicBezTo>
                    <a:cubicBezTo>
                      <a:pt x="53" y="112"/>
                      <a:pt x="56" y="110"/>
                      <a:pt x="61" y="109"/>
                    </a:cubicBezTo>
                    <a:cubicBezTo>
                      <a:pt x="65" y="109"/>
                      <a:pt x="64" y="112"/>
                      <a:pt x="62" y="112"/>
                    </a:cubicBezTo>
                    <a:cubicBezTo>
                      <a:pt x="60" y="112"/>
                      <a:pt x="52" y="115"/>
                      <a:pt x="52" y="115"/>
                    </a:cubicBezTo>
                    <a:cubicBezTo>
                      <a:pt x="52" y="115"/>
                      <a:pt x="50" y="113"/>
                      <a:pt x="48" y="113"/>
                    </a:cubicBezTo>
                    <a:cubicBezTo>
                      <a:pt x="45" y="113"/>
                      <a:pt x="43" y="116"/>
                      <a:pt x="43" y="116"/>
                    </a:cubicBezTo>
                    <a:cubicBezTo>
                      <a:pt x="36" y="115"/>
                      <a:pt x="36" y="115"/>
                      <a:pt x="36" y="115"/>
                    </a:cubicBezTo>
                    <a:cubicBezTo>
                      <a:pt x="40" y="119"/>
                      <a:pt x="40" y="119"/>
                      <a:pt x="40" y="119"/>
                    </a:cubicBezTo>
                    <a:cubicBezTo>
                      <a:pt x="40" y="119"/>
                      <a:pt x="35" y="117"/>
                      <a:pt x="34" y="117"/>
                    </a:cubicBezTo>
                    <a:cubicBezTo>
                      <a:pt x="32" y="116"/>
                      <a:pt x="29" y="119"/>
                      <a:pt x="29" y="119"/>
                    </a:cubicBezTo>
                    <a:cubicBezTo>
                      <a:pt x="32" y="119"/>
                      <a:pt x="32" y="119"/>
                      <a:pt x="32" y="119"/>
                    </a:cubicBezTo>
                    <a:cubicBezTo>
                      <a:pt x="33" y="120"/>
                      <a:pt x="33" y="120"/>
                      <a:pt x="33" y="120"/>
                    </a:cubicBezTo>
                    <a:cubicBezTo>
                      <a:pt x="40" y="124"/>
                      <a:pt x="40" y="124"/>
                      <a:pt x="40" y="124"/>
                    </a:cubicBezTo>
                    <a:cubicBezTo>
                      <a:pt x="40" y="126"/>
                      <a:pt x="40" y="126"/>
                      <a:pt x="40" y="126"/>
                    </a:cubicBezTo>
                    <a:cubicBezTo>
                      <a:pt x="35" y="126"/>
                      <a:pt x="35" y="126"/>
                      <a:pt x="35" y="126"/>
                    </a:cubicBezTo>
                    <a:cubicBezTo>
                      <a:pt x="35" y="126"/>
                      <a:pt x="31" y="122"/>
                      <a:pt x="27" y="121"/>
                    </a:cubicBezTo>
                    <a:cubicBezTo>
                      <a:pt x="19" y="121"/>
                      <a:pt x="19" y="121"/>
                      <a:pt x="19" y="121"/>
                    </a:cubicBezTo>
                    <a:cubicBezTo>
                      <a:pt x="19" y="121"/>
                      <a:pt x="17" y="120"/>
                      <a:pt x="15" y="118"/>
                    </a:cubicBezTo>
                    <a:cubicBezTo>
                      <a:pt x="14" y="117"/>
                      <a:pt x="7" y="119"/>
                      <a:pt x="7" y="119"/>
                    </a:cubicBezTo>
                    <a:cubicBezTo>
                      <a:pt x="7" y="119"/>
                      <a:pt x="7" y="122"/>
                      <a:pt x="10" y="124"/>
                    </a:cubicBezTo>
                    <a:cubicBezTo>
                      <a:pt x="13" y="126"/>
                      <a:pt x="17" y="125"/>
                      <a:pt x="17" y="125"/>
                    </a:cubicBezTo>
                    <a:cubicBezTo>
                      <a:pt x="17" y="125"/>
                      <a:pt x="17" y="128"/>
                      <a:pt x="19" y="129"/>
                    </a:cubicBezTo>
                    <a:cubicBezTo>
                      <a:pt x="22" y="131"/>
                      <a:pt x="26" y="127"/>
                      <a:pt x="26" y="127"/>
                    </a:cubicBezTo>
                    <a:cubicBezTo>
                      <a:pt x="29" y="127"/>
                      <a:pt x="29" y="127"/>
                      <a:pt x="29" y="127"/>
                    </a:cubicBezTo>
                    <a:cubicBezTo>
                      <a:pt x="29" y="127"/>
                      <a:pt x="35" y="131"/>
                      <a:pt x="38" y="132"/>
                    </a:cubicBezTo>
                    <a:cubicBezTo>
                      <a:pt x="41" y="132"/>
                      <a:pt x="33" y="135"/>
                      <a:pt x="33" y="135"/>
                    </a:cubicBezTo>
                    <a:cubicBezTo>
                      <a:pt x="31" y="134"/>
                      <a:pt x="31" y="134"/>
                      <a:pt x="31" y="134"/>
                    </a:cubicBezTo>
                    <a:cubicBezTo>
                      <a:pt x="31" y="134"/>
                      <a:pt x="30" y="131"/>
                      <a:pt x="28" y="131"/>
                    </a:cubicBezTo>
                    <a:cubicBezTo>
                      <a:pt x="26" y="129"/>
                      <a:pt x="23" y="133"/>
                      <a:pt x="23" y="133"/>
                    </a:cubicBezTo>
                    <a:cubicBezTo>
                      <a:pt x="23" y="133"/>
                      <a:pt x="19" y="133"/>
                      <a:pt x="16" y="132"/>
                    </a:cubicBezTo>
                    <a:cubicBezTo>
                      <a:pt x="14" y="132"/>
                      <a:pt x="11" y="127"/>
                      <a:pt x="8" y="127"/>
                    </a:cubicBezTo>
                    <a:cubicBezTo>
                      <a:pt x="7" y="127"/>
                      <a:pt x="2" y="129"/>
                      <a:pt x="2" y="129"/>
                    </a:cubicBezTo>
                    <a:cubicBezTo>
                      <a:pt x="2" y="129"/>
                      <a:pt x="1" y="133"/>
                      <a:pt x="0" y="134"/>
                    </a:cubicBezTo>
                    <a:cubicBezTo>
                      <a:pt x="0" y="135"/>
                      <a:pt x="1" y="138"/>
                      <a:pt x="1" y="138"/>
                    </a:cubicBezTo>
                    <a:cubicBezTo>
                      <a:pt x="7" y="139"/>
                      <a:pt x="7" y="139"/>
                      <a:pt x="7" y="139"/>
                    </a:cubicBezTo>
                    <a:cubicBezTo>
                      <a:pt x="8" y="135"/>
                      <a:pt x="8" y="135"/>
                      <a:pt x="8" y="135"/>
                    </a:cubicBezTo>
                    <a:cubicBezTo>
                      <a:pt x="18" y="138"/>
                      <a:pt x="18" y="138"/>
                      <a:pt x="18" y="138"/>
                    </a:cubicBezTo>
                    <a:cubicBezTo>
                      <a:pt x="18" y="138"/>
                      <a:pt x="15" y="143"/>
                      <a:pt x="22" y="143"/>
                    </a:cubicBezTo>
                    <a:cubicBezTo>
                      <a:pt x="29" y="144"/>
                      <a:pt x="39" y="134"/>
                      <a:pt x="39" y="134"/>
                    </a:cubicBezTo>
                    <a:cubicBezTo>
                      <a:pt x="43" y="135"/>
                      <a:pt x="43" y="135"/>
                      <a:pt x="43" y="135"/>
                    </a:cubicBezTo>
                    <a:cubicBezTo>
                      <a:pt x="46" y="135"/>
                      <a:pt x="46" y="135"/>
                      <a:pt x="46" y="135"/>
                    </a:cubicBezTo>
                    <a:cubicBezTo>
                      <a:pt x="46" y="135"/>
                      <a:pt x="44" y="129"/>
                      <a:pt x="48" y="128"/>
                    </a:cubicBezTo>
                    <a:cubicBezTo>
                      <a:pt x="51" y="126"/>
                      <a:pt x="51" y="131"/>
                      <a:pt x="51" y="131"/>
                    </a:cubicBezTo>
                    <a:cubicBezTo>
                      <a:pt x="54" y="131"/>
                      <a:pt x="54" y="131"/>
                      <a:pt x="54" y="131"/>
                    </a:cubicBezTo>
                    <a:cubicBezTo>
                      <a:pt x="54" y="131"/>
                      <a:pt x="59" y="127"/>
                      <a:pt x="63" y="127"/>
                    </a:cubicBezTo>
                    <a:cubicBezTo>
                      <a:pt x="66" y="127"/>
                      <a:pt x="62" y="134"/>
                      <a:pt x="62" y="134"/>
                    </a:cubicBezTo>
                    <a:cubicBezTo>
                      <a:pt x="67" y="134"/>
                      <a:pt x="67" y="134"/>
                      <a:pt x="67" y="134"/>
                    </a:cubicBezTo>
                    <a:cubicBezTo>
                      <a:pt x="67" y="134"/>
                      <a:pt x="69" y="128"/>
                      <a:pt x="72" y="129"/>
                    </a:cubicBezTo>
                    <a:cubicBezTo>
                      <a:pt x="74" y="131"/>
                      <a:pt x="71" y="136"/>
                      <a:pt x="71" y="136"/>
                    </a:cubicBezTo>
                    <a:cubicBezTo>
                      <a:pt x="76" y="138"/>
                      <a:pt x="76" y="138"/>
                      <a:pt x="76" y="138"/>
                    </a:cubicBezTo>
                    <a:cubicBezTo>
                      <a:pt x="76" y="138"/>
                      <a:pt x="77" y="143"/>
                      <a:pt x="80" y="143"/>
                    </a:cubicBezTo>
                    <a:cubicBezTo>
                      <a:pt x="83" y="144"/>
                      <a:pt x="86" y="141"/>
                      <a:pt x="89" y="142"/>
                    </a:cubicBezTo>
                    <a:cubicBezTo>
                      <a:pt x="93" y="142"/>
                      <a:pt x="92" y="145"/>
                      <a:pt x="92" y="145"/>
                    </a:cubicBezTo>
                    <a:cubicBezTo>
                      <a:pt x="96" y="150"/>
                      <a:pt x="96" y="150"/>
                      <a:pt x="96" y="150"/>
                    </a:cubicBezTo>
                    <a:cubicBezTo>
                      <a:pt x="96" y="150"/>
                      <a:pt x="99" y="150"/>
                      <a:pt x="102" y="153"/>
                    </a:cubicBezTo>
                    <a:cubicBezTo>
                      <a:pt x="104" y="155"/>
                      <a:pt x="101" y="157"/>
                      <a:pt x="99" y="159"/>
                    </a:cubicBezTo>
                    <a:cubicBezTo>
                      <a:pt x="98" y="160"/>
                      <a:pt x="99" y="163"/>
                      <a:pt x="99" y="163"/>
                    </a:cubicBezTo>
                    <a:cubicBezTo>
                      <a:pt x="98" y="168"/>
                      <a:pt x="98" y="168"/>
                      <a:pt x="98" y="168"/>
                    </a:cubicBezTo>
                    <a:cubicBezTo>
                      <a:pt x="98" y="168"/>
                      <a:pt x="94" y="168"/>
                      <a:pt x="93" y="170"/>
                    </a:cubicBezTo>
                    <a:cubicBezTo>
                      <a:pt x="90" y="173"/>
                      <a:pt x="94" y="174"/>
                      <a:pt x="94" y="174"/>
                    </a:cubicBezTo>
                    <a:cubicBezTo>
                      <a:pt x="94" y="174"/>
                      <a:pt x="98" y="176"/>
                      <a:pt x="102" y="176"/>
                    </a:cubicBezTo>
                    <a:cubicBezTo>
                      <a:pt x="105" y="177"/>
                      <a:pt x="109" y="175"/>
                      <a:pt x="110" y="175"/>
                    </a:cubicBezTo>
                    <a:cubicBezTo>
                      <a:pt x="110" y="174"/>
                      <a:pt x="109" y="173"/>
                      <a:pt x="109" y="173"/>
                    </a:cubicBezTo>
                    <a:cubicBezTo>
                      <a:pt x="111" y="171"/>
                      <a:pt x="112" y="170"/>
                      <a:pt x="114" y="170"/>
                    </a:cubicBezTo>
                    <a:cubicBezTo>
                      <a:pt x="113" y="166"/>
                      <a:pt x="113" y="159"/>
                      <a:pt x="106" y="161"/>
                    </a:cubicBezTo>
                    <a:cubicBezTo>
                      <a:pt x="105" y="159"/>
                      <a:pt x="105" y="156"/>
                      <a:pt x="108" y="155"/>
                    </a:cubicBezTo>
                    <a:cubicBezTo>
                      <a:pt x="109" y="156"/>
                      <a:pt x="109" y="157"/>
                      <a:pt x="110" y="158"/>
                    </a:cubicBezTo>
                    <a:cubicBezTo>
                      <a:pt x="111" y="153"/>
                      <a:pt x="117" y="154"/>
                      <a:pt x="118" y="149"/>
                    </a:cubicBezTo>
                    <a:cubicBezTo>
                      <a:pt x="115" y="150"/>
                      <a:pt x="115" y="150"/>
                      <a:pt x="115" y="150"/>
                    </a:cubicBezTo>
                    <a:cubicBezTo>
                      <a:pt x="113" y="142"/>
                      <a:pt x="121" y="141"/>
                      <a:pt x="121" y="136"/>
                    </a:cubicBezTo>
                    <a:cubicBezTo>
                      <a:pt x="121" y="132"/>
                      <a:pt x="121" y="127"/>
                      <a:pt x="119" y="124"/>
                    </a:cubicBezTo>
                    <a:cubicBezTo>
                      <a:pt x="117" y="121"/>
                      <a:pt x="115" y="117"/>
                      <a:pt x="115" y="113"/>
                    </a:cubicBezTo>
                    <a:cubicBezTo>
                      <a:pt x="115" y="115"/>
                      <a:pt x="112" y="105"/>
                      <a:pt x="112" y="105"/>
                    </a:cubicBezTo>
                    <a:cubicBezTo>
                      <a:pt x="115" y="105"/>
                      <a:pt x="117" y="104"/>
                      <a:pt x="120" y="106"/>
                    </a:cubicBezTo>
                    <a:cubicBezTo>
                      <a:pt x="119" y="105"/>
                      <a:pt x="119" y="103"/>
                      <a:pt x="118" y="102"/>
                    </a:cubicBezTo>
                    <a:cubicBezTo>
                      <a:pt x="122" y="102"/>
                      <a:pt x="128" y="104"/>
                      <a:pt x="131" y="106"/>
                    </a:cubicBezTo>
                    <a:cubicBezTo>
                      <a:pt x="131" y="104"/>
                      <a:pt x="131" y="104"/>
                      <a:pt x="131" y="104"/>
                    </a:cubicBezTo>
                    <a:cubicBezTo>
                      <a:pt x="135" y="105"/>
                      <a:pt x="139" y="98"/>
                      <a:pt x="144" y="102"/>
                    </a:cubicBezTo>
                    <a:cubicBezTo>
                      <a:pt x="146" y="103"/>
                      <a:pt x="150" y="93"/>
                      <a:pt x="142" y="93"/>
                    </a:cubicBezTo>
                    <a:cubicBezTo>
                      <a:pt x="144" y="90"/>
                      <a:pt x="146" y="88"/>
                      <a:pt x="150" y="88"/>
                    </a:cubicBezTo>
                    <a:cubicBezTo>
                      <a:pt x="150" y="88"/>
                      <a:pt x="157" y="81"/>
                      <a:pt x="159" y="80"/>
                    </a:cubicBezTo>
                    <a:cubicBezTo>
                      <a:pt x="154" y="77"/>
                      <a:pt x="161" y="71"/>
                      <a:pt x="155" y="65"/>
                    </a:cubicBezTo>
                    <a:cubicBezTo>
                      <a:pt x="152" y="72"/>
                      <a:pt x="138" y="62"/>
                      <a:pt x="147" y="58"/>
                    </a:cubicBezTo>
                    <a:cubicBezTo>
                      <a:pt x="142" y="49"/>
                      <a:pt x="154" y="56"/>
                      <a:pt x="157" y="55"/>
                    </a:cubicBezTo>
                    <a:cubicBezTo>
                      <a:pt x="162" y="53"/>
                      <a:pt x="159" y="45"/>
                      <a:pt x="162" y="41"/>
                    </a:cubicBezTo>
                    <a:cubicBezTo>
                      <a:pt x="164" y="38"/>
                      <a:pt x="167" y="33"/>
                      <a:pt x="166" y="29"/>
                    </a:cubicBezTo>
                    <a:cubicBezTo>
                      <a:pt x="166" y="26"/>
                      <a:pt x="168" y="22"/>
                      <a:pt x="168" y="18"/>
                    </a:cubicBezTo>
                    <a:close/>
                    <a:moveTo>
                      <a:pt x="77" y="26"/>
                    </a:moveTo>
                    <a:cubicBezTo>
                      <a:pt x="81" y="19"/>
                      <a:pt x="77" y="18"/>
                      <a:pt x="76" y="17"/>
                    </a:cubicBezTo>
                    <a:cubicBezTo>
                      <a:pt x="74" y="16"/>
                      <a:pt x="72" y="18"/>
                      <a:pt x="72" y="18"/>
                    </a:cubicBezTo>
                    <a:cubicBezTo>
                      <a:pt x="68" y="26"/>
                      <a:pt x="68" y="26"/>
                      <a:pt x="68" y="26"/>
                    </a:cubicBezTo>
                    <a:cubicBezTo>
                      <a:pt x="70" y="29"/>
                      <a:pt x="70" y="29"/>
                      <a:pt x="70" y="29"/>
                    </a:cubicBezTo>
                    <a:cubicBezTo>
                      <a:pt x="70" y="29"/>
                      <a:pt x="73" y="30"/>
                      <a:pt x="77" y="26"/>
                    </a:cubicBezTo>
                    <a:close/>
                    <a:moveTo>
                      <a:pt x="22" y="110"/>
                    </a:moveTo>
                    <a:cubicBezTo>
                      <a:pt x="24" y="111"/>
                      <a:pt x="27" y="115"/>
                      <a:pt x="27" y="115"/>
                    </a:cubicBezTo>
                    <a:cubicBezTo>
                      <a:pt x="33" y="115"/>
                      <a:pt x="33" y="115"/>
                      <a:pt x="33" y="115"/>
                    </a:cubicBezTo>
                    <a:cubicBezTo>
                      <a:pt x="33" y="113"/>
                      <a:pt x="33" y="113"/>
                      <a:pt x="33" y="113"/>
                    </a:cubicBezTo>
                    <a:cubicBezTo>
                      <a:pt x="31" y="112"/>
                      <a:pt x="31" y="112"/>
                      <a:pt x="31" y="112"/>
                    </a:cubicBezTo>
                    <a:cubicBezTo>
                      <a:pt x="31" y="112"/>
                      <a:pt x="31" y="108"/>
                      <a:pt x="27" y="108"/>
                    </a:cubicBezTo>
                    <a:cubicBezTo>
                      <a:pt x="22" y="107"/>
                      <a:pt x="18" y="107"/>
                      <a:pt x="18" y="108"/>
                    </a:cubicBezTo>
                    <a:cubicBezTo>
                      <a:pt x="18" y="110"/>
                      <a:pt x="22" y="110"/>
                      <a:pt x="22" y="110"/>
                    </a:cubicBezTo>
                    <a:close/>
                    <a:moveTo>
                      <a:pt x="23" y="119"/>
                    </a:moveTo>
                    <a:cubicBezTo>
                      <a:pt x="27" y="119"/>
                      <a:pt x="27" y="119"/>
                      <a:pt x="27" y="119"/>
                    </a:cubicBezTo>
                    <a:cubicBezTo>
                      <a:pt x="28" y="119"/>
                      <a:pt x="24" y="116"/>
                      <a:pt x="24" y="116"/>
                    </a:cubicBezTo>
                    <a:cubicBezTo>
                      <a:pt x="21" y="117"/>
                      <a:pt x="21" y="117"/>
                      <a:pt x="21" y="117"/>
                    </a:cubicBezTo>
                    <a:cubicBezTo>
                      <a:pt x="19" y="115"/>
                      <a:pt x="19" y="115"/>
                      <a:pt x="19" y="115"/>
                    </a:cubicBezTo>
                    <a:cubicBezTo>
                      <a:pt x="19" y="115"/>
                      <a:pt x="16" y="116"/>
                      <a:pt x="18" y="118"/>
                    </a:cubicBezTo>
                    <a:cubicBezTo>
                      <a:pt x="21" y="120"/>
                      <a:pt x="22" y="119"/>
                      <a:pt x="23" y="119"/>
                    </a:cubicBezTo>
                    <a:close/>
                    <a:moveTo>
                      <a:pt x="27" y="105"/>
                    </a:moveTo>
                    <a:cubicBezTo>
                      <a:pt x="29" y="106"/>
                      <a:pt x="32" y="106"/>
                      <a:pt x="32" y="106"/>
                    </a:cubicBezTo>
                    <a:cubicBezTo>
                      <a:pt x="32" y="106"/>
                      <a:pt x="32" y="108"/>
                      <a:pt x="36" y="110"/>
                    </a:cubicBezTo>
                    <a:cubicBezTo>
                      <a:pt x="39" y="112"/>
                      <a:pt x="40" y="113"/>
                      <a:pt x="43" y="113"/>
                    </a:cubicBezTo>
                    <a:cubicBezTo>
                      <a:pt x="45" y="113"/>
                      <a:pt x="45" y="112"/>
                      <a:pt x="45" y="112"/>
                    </a:cubicBezTo>
                    <a:cubicBezTo>
                      <a:pt x="34" y="103"/>
                      <a:pt x="34" y="103"/>
                      <a:pt x="34" y="103"/>
                    </a:cubicBezTo>
                    <a:cubicBezTo>
                      <a:pt x="27" y="103"/>
                      <a:pt x="27" y="103"/>
                      <a:pt x="27" y="103"/>
                    </a:cubicBezTo>
                    <a:cubicBezTo>
                      <a:pt x="27" y="103"/>
                      <a:pt x="26" y="105"/>
                      <a:pt x="27" y="105"/>
                    </a:cubicBezTo>
                    <a:close/>
                    <a:moveTo>
                      <a:pt x="82" y="13"/>
                    </a:moveTo>
                    <a:cubicBezTo>
                      <a:pt x="87" y="10"/>
                      <a:pt x="86" y="7"/>
                      <a:pt x="81" y="11"/>
                    </a:cubicBezTo>
                    <a:cubicBezTo>
                      <a:pt x="77" y="14"/>
                      <a:pt x="82" y="13"/>
                      <a:pt x="82" y="13"/>
                    </a:cubicBezTo>
                    <a:close/>
                    <a:moveTo>
                      <a:pt x="90" y="9"/>
                    </a:moveTo>
                    <a:cubicBezTo>
                      <a:pt x="93" y="7"/>
                      <a:pt x="93" y="7"/>
                      <a:pt x="93" y="7"/>
                    </a:cubicBezTo>
                    <a:cubicBezTo>
                      <a:pt x="99" y="7"/>
                      <a:pt x="99" y="7"/>
                      <a:pt x="99" y="7"/>
                    </a:cubicBezTo>
                    <a:cubicBezTo>
                      <a:pt x="105" y="2"/>
                      <a:pt x="105" y="2"/>
                      <a:pt x="105" y="2"/>
                    </a:cubicBezTo>
                    <a:cubicBezTo>
                      <a:pt x="103" y="2"/>
                      <a:pt x="103" y="2"/>
                      <a:pt x="103" y="2"/>
                    </a:cubicBezTo>
                    <a:cubicBezTo>
                      <a:pt x="98" y="3"/>
                      <a:pt x="98" y="3"/>
                      <a:pt x="98" y="3"/>
                    </a:cubicBezTo>
                    <a:cubicBezTo>
                      <a:pt x="93" y="3"/>
                      <a:pt x="93" y="3"/>
                      <a:pt x="93" y="3"/>
                    </a:cubicBezTo>
                    <a:cubicBezTo>
                      <a:pt x="93" y="3"/>
                      <a:pt x="89" y="5"/>
                      <a:pt x="88" y="7"/>
                    </a:cubicBezTo>
                    <a:cubicBezTo>
                      <a:pt x="87" y="9"/>
                      <a:pt x="90" y="9"/>
                      <a:pt x="90" y="9"/>
                    </a:cubicBezTo>
                    <a:close/>
                    <a:moveTo>
                      <a:pt x="115" y="5"/>
                    </a:moveTo>
                    <a:cubicBezTo>
                      <a:pt x="118" y="5"/>
                      <a:pt x="126" y="2"/>
                      <a:pt x="118" y="2"/>
                    </a:cubicBezTo>
                    <a:cubicBezTo>
                      <a:pt x="112" y="2"/>
                      <a:pt x="109" y="3"/>
                      <a:pt x="109" y="3"/>
                    </a:cubicBezTo>
                    <a:cubicBezTo>
                      <a:pt x="109" y="6"/>
                      <a:pt x="112" y="5"/>
                      <a:pt x="115" y="5"/>
                    </a:cubicBezTo>
                    <a:close/>
                    <a:moveTo>
                      <a:pt x="136" y="2"/>
                    </a:moveTo>
                    <a:cubicBezTo>
                      <a:pt x="135" y="0"/>
                      <a:pt x="135" y="0"/>
                      <a:pt x="135" y="0"/>
                    </a:cubicBezTo>
                    <a:cubicBezTo>
                      <a:pt x="129" y="1"/>
                      <a:pt x="129" y="1"/>
                      <a:pt x="129" y="1"/>
                    </a:cubicBezTo>
                    <a:cubicBezTo>
                      <a:pt x="129" y="5"/>
                      <a:pt x="129" y="5"/>
                      <a:pt x="129" y="5"/>
                    </a:cubicBezTo>
                    <a:lnTo>
                      <a:pt x="136" y="2"/>
                    </a:lnTo>
                    <a:close/>
                  </a:path>
                </a:pathLst>
              </a:custGeom>
              <a:solidFill>
                <a:srgbClr val="FDC795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39" name="Montenegro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710238" y="4976813"/>
                <a:ext cx="187325" cy="233362"/>
              </a:xfrm>
              <a:custGeom>
                <a:avLst/>
                <a:gdLst/>
                <a:ahLst/>
                <a:cxnLst>
                  <a:cxn ang="0">
                    <a:pos x="60" y="0"/>
                  </a:cxn>
                  <a:cxn ang="0">
                    <a:pos x="59" y="9"/>
                  </a:cxn>
                  <a:cxn ang="0">
                    <a:pos x="44" y="9"/>
                  </a:cxn>
                  <a:cxn ang="0">
                    <a:pos x="34" y="2"/>
                  </a:cxn>
                  <a:cxn ang="0">
                    <a:pos x="32" y="13"/>
                  </a:cxn>
                  <a:cxn ang="0">
                    <a:pos x="49" y="36"/>
                  </a:cxn>
                  <a:cxn ang="0">
                    <a:pos x="30" y="32"/>
                  </a:cxn>
                  <a:cxn ang="0">
                    <a:pos x="13" y="43"/>
                  </a:cxn>
                  <a:cxn ang="0">
                    <a:pos x="15" y="70"/>
                  </a:cxn>
                  <a:cxn ang="0">
                    <a:pos x="2" y="78"/>
                  </a:cxn>
                  <a:cxn ang="0">
                    <a:pos x="3" y="108"/>
                  </a:cxn>
                  <a:cxn ang="0">
                    <a:pos x="9" y="108"/>
                  </a:cxn>
                  <a:cxn ang="0">
                    <a:pos x="9" y="127"/>
                  </a:cxn>
                  <a:cxn ang="0">
                    <a:pos x="0" y="133"/>
                  </a:cxn>
                  <a:cxn ang="0">
                    <a:pos x="0" y="144"/>
                  </a:cxn>
                  <a:cxn ang="0">
                    <a:pos x="7" y="148"/>
                  </a:cxn>
                  <a:cxn ang="0">
                    <a:pos x="19" y="136"/>
                  </a:cxn>
                  <a:cxn ang="0">
                    <a:pos x="28" y="138"/>
                  </a:cxn>
                  <a:cxn ang="0">
                    <a:pos x="25" y="159"/>
                  </a:cxn>
                  <a:cxn ang="0">
                    <a:pos x="34" y="165"/>
                  </a:cxn>
                  <a:cxn ang="0">
                    <a:pos x="47" y="163"/>
                  </a:cxn>
                  <a:cxn ang="0">
                    <a:pos x="49" y="170"/>
                  </a:cxn>
                  <a:cxn ang="0">
                    <a:pos x="72" y="189"/>
                  </a:cxn>
                  <a:cxn ang="0">
                    <a:pos x="72" y="199"/>
                  </a:cxn>
                  <a:cxn ang="0">
                    <a:pos x="82" y="205"/>
                  </a:cxn>
                  <a:cxn ang="0">
                    <a:pos x="93" y="208"/>
                  </a:cxn>
                  <a:cxn ang="0">
                    <a:pos x="91" y="193"/>
                  </a:cxn>
                  <a:cxn ang="0">
                    <a:pos x="87" y="174"/>
                  </a:cxn>
                  <a:cxn ang="0">
                    <a:pos x="82" y="172"/>
                  </a:cxn>
                  <a:cxn ang="0">
                    <a:pos x="116" y="106"/>
                  </a:cxn>
                  <a:cxn ang="0">
                    <a:pos x="121" y="108"/>
                  </a:cxn>
                  <a:cxn ang="0">
                    <a:pos x="121" y="121"/>
                  </a:cxn>
                  <a:cxn ang="0">
                    <a:pos x="135" y="129"/>
                  </a:cxn>
                  <a:cxn ang="0">
                    <a:pos x="145" y="122"/>
                  </a:cxn>
                  <a:cxn ang="0">
                    <a:pos x="140" y="116"/>
                  </a:cxn>
                  <a:cxn ang="0">
                    <a:pos x="130" y="96"/>
                  </a:cxn>
                  <a:cxn ang="0">
                    <a:pos x="138" y="90"/>
                  </a:cxn>
                  <a:cxn ang="0">
                    <a:pos x="146" y="90"/>
                  </a:cxn>
                  <a:cxn ang="0">
                    <a:pos x="153" y="92"/>
                  </a:cxn>
                  <a:cxn ang="0">
                    <a:pos x="158" y="83"/>
                  </a:cxn>
                  <a:cxn ang="0">
                    <a:pos x="164" y="78"/>
                  </a:cxn>
                  <a:cxn ang="0">
                    <a:pos x="166" y="66"/>
                  </a:cxn>
                  <a:cxn ang="0">
                    <a:pos x="153" y="63"/>
                  </a:cxn>
                  <a:cxn ang="0">
                    <a:pos x="120" y="47"/>
                  </a:cxn>
                  <a:cxn ang="0">
                    <a:pos x="109" y="43"/>
                  </a:cxn>
                  <a:cxn ang="0">
                    <a:pos x="94" y="30"/>
                  </a:cxn>
                  <a:cxn ang="0">
                    <a:pos x="78" y="19"/>
                  </a:cxn>
                  <a:cxn ang="0">
                    <a:pos x="66" y="10"/>
                  </a:cxn>
                  <a:cxn ang="0">
                    <a:pos x="60" y="0"/>
                  </a:cxn>
                </a:cxnLst>
                <a:rect l="0" t="0" r="r" b="b"/>
                <a:pathLst>
                  <a:path w="166" h="208">
                    <a:moveTo>
                      <a:pt x="60" y="0"/>
                    </a:moveTo>
                    <a:cubicBezTo>
                      <a:pt x="59" y="9"/>
                      <a:pt x="59" y="9"/>
                      <a:pt x="59" y="9"/>
                    </a:cubicBezTo>
                    <a:cubicBezTo>
                      <a:pt x="44" y="9"/>
                      <a:pt x="44" y="9"/>
                      <a:pt x="44" y="9"/>
                    </a:cubicBezTo>
                    <a:cubicBezTo>
                      <a:pt x="34" y="2"/>
                      <a:pt x="34" y="2"/>
                      <a:pt x="34" y="2"/>
                    </a:cubicBezTo>
                    <a:cubicBezTo>
                      <a:pt x="32" y="13"/>
                      <a:pt x="32" y="13"/>
                      <a:pt x="32" y="13"/>
                    </a:cubicBezTo>
                    <a:cubicBezTo>
                      <a:pt x="32" y="13"/>
                      <a:pt x="53" y="30"/>
                      <a:pt x="49" y="36"/>
                    </a:cubicBezTo>
                    <a:cubicBezTo>
                      <a:pt x="44" y="42"/>
                      <a:pt x="36" y="32"/>
                      <a:pt x="30" y="32"/>
                    </a:cubicBezTo>
                    <a:cubicBezTo>
                      <a:pt x="21" y="32"/>
                      <a:pt x="15" y="40"/>
                      <a:pt x="13" y="43"/>
                    </a:cubicBezTo>
                    <a:cubicBezTo>
                      <a:pt x="9" y="49"/>
                      <a:pt x="19" y="66"/>
                      <a:pt x="15" y="70"/>
                    </a:cubicBezTo>
                    <a:cubicBezTo>
                      <a:pt x="11" y="72"/>
                      <a:pt x="6" y="72"/>
                      <a:pt x="2" y="78"/>
                    </a:cubicBezTo>
                    <a:cubicBezTo>
                      <a:pt x="0" y="83"/>
                      <a:pt x="3" y="108"/>
                      <a:pt x="3" y="108"/>
                    </a:cubicBezTo>
                    <a:cubicBezTo>
                      <a:pt x="9" y="108"/>
                      <a:pt x="9" y="108"/>
                      <a:pt x="9" y="108"/>
                    </a:cubicBezTo>
                    <a:cubicBezTo>
                      <a:pt x="9" y="127"/>
                      <a:pt x="9" y="127"/>
                      <a:pt x="9" y="127"/>
                    </a:cubicBezTo>
                    <a:cubicBezTo>
                      <a:pt x="0" y="133"/>
                      <a:pt x="0" y="133"/>
                      <a:pt x="0" y="133"/>
                    </a:cubicBezTo>
                    <a:cubicBezTo>
                      <a:pt x="0" y="144"/>
                      <a:pt x="0" y="144"/>
                      <a:pt x="0" y="144"/>
                    </a:cubicBezTo>
                    <a:cubicBezTo>
                      <a:pt x="7" y="148"/>
                      <a:pt x="7" y="148"/>
                      <a:pt x="7" y="148"/>
                    </a:cubicBezTo>
                    <a:cubicBezTo>
                      <a:pt x="19" y="136"/>
                      <a:pt x="19" y="136"/>
                      <a:pt x="19" y="136"/>
                    </a:cubicBezTo>
                    <a:cubicBezTo>
                      <a:pt x="28" y="138"/>
                      <a:pt x="28" y="138"/>
                      <a:pt x="28" y="138"/>
                    </a:cubicBezTo>
                    <a:cubicBezTo>
                      <a:pt x="25" y="159"/>
                      <a:pt x="25" y="159"/>
                      <a:pt x="25" y="159"/>
                    </a:cubicBezTo>
                    <a:cubicBezTo>
                      <a:pt x="34" y="165"/>
                      <a:pt x="34" y="165"/>
                      <a:pt x="34" y="165"/>
                    </a:cubicBezTo>
                    <a:cubicBezTo>
                      <a:pt x="47" y="163"/>
                      <a:pt x="47" y="163"/>
                      <a:pt x="47" y="163"/>
                    </a:cubicBezTo>
                    <a:cubicBezTo>
                      <a:pt x="49" y="170"/>
                      <a:pt x="49" y="170"/>
                      <a:pt x="49" y="170"/>
                    </a:cubicBezTo>
                    <a:cubicBezTo>
                      <a:pt x="72" y="189"/>
                      <a:pt x="72" y="189"/>
                      <a:pt x="72" y="189"/>
                    </a:cubicBezTo>
                    <a:cubicBezTo>
                      <a:pt x="72" y="199"/>
                      <a:pt x="72" y="199"/>
                      <a:pt x="72" y="199"/>
                    </a:cubicBezTo>
                    <a:cubicBezTo>
                      <a:pt x="82" y="205"/>
                      <a:pt x="82" y="205"/>
                      <a:pt x="82" y="205"/>
                    </a:cubicBezTo>
                    <a:cubicBezTo>
                      <a:pt x="93" y="208"/>
                      <a:pt x="93" y="208"/>
                      <a:pt x="93" y="208"/>
                    </a:cubicBezTo>
                    <a:cubicBezTo>
                      <a:pt x="91" y="193"/>
                      <a:pt x="91" y="193"/>
                      <a:pt x="91" y="193"/>
                    </a:cubicBezTo>
                    <a:cubicBezTo>
                      <a:pt x="87" y="174"/>
                      <a:pt x="87" y="174"/>
                      <a:pt x="87" y="174"/>
                    </a:cubicBezTo>
                    <a:cubicBezTo>
                      <a:pt x="82" y="172"/>
                      <a:pt x="82" y="172"/>
                      <a:pt x="82" y="172"/>
                    </a:cubicBezTo>
                    <a:cubicBezTo>
                      <a:pt x="116" y="106"/>
                      <a:pt x="116" y="106"/>
                      <a:pt x="116" y="106"/>
                    </a:cubicBezTo>
                    <a:cubicBezTo>
                      <a:pt x="121" y="108"/>
                      <a:pt x="121" y="108"/>
                      <a:pt x="121" y="108"/>
                    </a:cubicBezTo>
                    <a:cubicBezTo>
                      <a:pt x="121" y="121"/>
                      <a:pt x="121" y="121"/>
                      <a:pt x="121" y="121"/>
                    </a:cubicBezTo>
                    <a:cubicBezTo>
                      <a:pt x="135" y="129"/>
                      <a:pt x="135" y="129"/>
                      <a:pt x="135" y="129"/>
                    </a:cubicBezTo>
                    <a:cubicBezTo>
                      <a:pt x="145" y="122"/>
                      <a:pt x="145" y="122"/>
                      <a:pt x="145" y="122"/>
                    </a:cubicBezTo>
                    <a:cubicBezTo>
                      <a:pt x="140" y="116"/>
                      <a:pt x="140" y="116"/>
                      <a:pt x="140" y="116"/>
                    </a:cubicBezTo>
                    <a:cubicBezTo>
                      <a:pt x="130" y="96"/>
                      <a:pt x="130" y="96"/>
                      <a:pt x="130" y="96"/>
                    </a:cubicBezTo>
                    <a:cubicBezTo>
                      <a:pt x="138" y="90"/>
                      <a:pt x="138" y="90"/>
                      <a:pt x="138" y="90"/>
                    </a:cubicBezTo>
                    <a:cubicBezTo>
                      <a:pt x="146" y="90"/>
                      <a:pt x="146" y="90"/>
                      <a:pt x="146" y="90"/>
                    </a:cubicBezTo>
                    <a:cubicBezTo>
                      <a:pt x="153" y="92"/>
                      <a:pt x="153" y="92"/>
                      <a:pt x="153" y="92"/>
                    </a:cubicBezTo>
                    <a:cubicBezTo>
                      <a:pt x="158" y="83"/>
                      <a:pt x="158" y="83"/>
                      <a:pt x="158" y="83"/>
                    </a:cubicBezTo>
                    <a:cubicBezTo>
                      <a:pt x="164" y="78"/>
                      <a:pt x="164" y="78"/>
                      <a:pt x="164" y="78"/>
                    </a:cubicBezTo>
                    <a:cubicBezTo>
                      <a:pt x="166" y="66"/>
                      <a:pt x="166" y="66"/>
                      <a:pt x="166" y="66"/>
                    </a:cubicBezTo>
                    <a:cubicBezTo>
                      <a:pt x="153" y="63"/>
                      <a:pt x="153" y="63"/>
                      <a:pt x="153" y="63"/>
                    </a:cubicBezTo>
                    <a:cubicBezTo>
                      <a:pt x="120" y="47"/>
                      <a:pt x="120" y="47"/>
                      <a:pt x="120" y="47"/>
                    </a:cubicBezTo>
                    <a:cubicBezTo>
                      <a:pt x="109" y="43"/>
                      <a:pt x="109" y="43"/>
                      <a:pt x="109" y="43"/>
                    </a:cubicBezTo>
                    <a:cubicBezTo>
                      <a:pt x="94" y="30"/>
                      <a:pt x="94" y="30"/>
                      <a:pt x="94" y="30"/>
                    </a:cubicBezTo>
                    <a:cubicBezTo>
                      <a:pt x="78" y="19"/>
                      <a:pt x="78" y="19"/>
                      <a:pt x="78" y="19"/>
                    </a:cubicBezTo>
                    <a:cubicBezTo>
                      <a:pt x="66" y="10"/>
                      <a:pt x="66" y="10"/>
                      <a:pt x="66" y="10"/>
                    </a:cubicBezTo>
                    <a:lnTo>
                      <a:pt x="60" y="0"/>
                    </a:lnTo>
                    <a:close/>
                  </a:path>
                </a:pathLst>
              </a:custGeom>
              <a:solidFill>
                <a:schemeClr val="bg1"/>
              </a:solidFill>
              <a:ln w="3175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40" name="Macedonia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937250" y="5105400"/>
                <a:ext cx="268287" cy="225425"/>
              </a:xfrm>
              <a:custGeom>
                <a:avLst/>
                <a:gdLst/>
                <a:ahLst/>
                <a:cxnLst>
                  <a:cxn ang="0">
                    <a:pos x="122" y="42"/>
                  </a:cxn>
                  <a:cxn ang="0">
                    <a:pos x="125" y="33"/>
                  </a:cxn>
                  <a:cxn ang="0">
                    <a:pos x="116" y="29"/>
                  </a:cxn>
                  <a:cxn ang="0">
                    <a:pos x="115" y="16"/>
                  </a:cxn>
                  <a:cxn ang="0">
                    <a:pos x="105" y="16"/>
                  </a:cxn>
                  <a:cxn ang="0">
                    <a:pos x="95" y="9"/>
                  </a:cxn>
                  <a:cxn ang="0">
                    <a:pos x="86" y="3"/>
                  </a:cxn>
                  <a:cxn ang="0">
                    <a:pos x="82" y="0"/>
                  </a:cxn>
                  <a:cxn ang="0">
                    <a:pos x="75" y="7"/>
                  </a:cxn>
                  <a:cxn ang="0">
                    <a:pos x="65" y="5"/>
                  </a:cxn>
                  <a:cxn ang="0">
                    <a:pos x="53" y="12"/>
                  </a:cxn>
                  <a:cxn ang="0">
                    <a:pos x="43" y="12"/>
                  </a:cxn>
                  <a:cxn ang="0">
                    <a:pos x="35" y="27"/>
                  </a:cxn>
                  <a:cxn ang="0">
                    <a:pos x="26" y="18"/>
                  </a:cxn>
                  <a:cxn ang="0">
                    <a:pos x="21" y="24"/>
                  </a:cxn>
                  <a:cxn ang="0">
                    <a:pos x="11" y="29"/>
                  </a:cxn>
                  <a:cxn ang="0">
                    <a:pos x="13" y="43"/>
                  </a:cxn>
                  <a:cxn ang="0">
                    <a:pos x="3" y="49"/>
                  </a:cxn>
                  <a:cxn ang="0">
                    <a:pos x="5" y="61"/>
                  </a:cxn>
                  <a:cxn ang="0">
                    <a:pos x="0" y="65"/>
                  </a:cxn>
                  <a:cxn ang="0">
                    <a:pos x="7" y="74"/>
                  </a:cxn>
                  <a:cxn ang="0">
                    <a:pos x="3" y="79"/>
                  </a:cxn>
                  <a:cxn ang="0">
                    <a:pos x="10" y="93"/>
                  </a:cxn>
                  <a:cxn ang="0">
                    <a:pos x="15" y="94"/>
                  </a:cxn>
                  <a:cxn ang="0">
                    <a:pos x="19" y="106"/>
                  </a:cxn>
                  <a:cxn ang="0">
                    <a:pos x="26" y="102"/>
                  </a:cxn>
                  <a:cxn ang="0">
                    <a:pos x="31" y="103"/>
                  </a:cxn>
                  <a:cxn ang="0">
                    <a:pos x="32" y="106"/>
                  </a:cxn>
                  <a:cxn ang="0">
                    <a:pos x="48" y="105"/>
                  </a:cxn>
                  <a:cxn ang="0">
                    <a:pos x="57" y="99"/>
                  </a:cxn>
                  <a:cxn ang="0">
                    <a:pos x="63" y="101"/>
                  </a:cxn>
                  <a:cxn ang="0">
                    <a:pos x="73" y="95"/>
                  </a:cxn>
                  <a:cxn ang="0">
                    <a:pos x="76" y="83"/>
                  </a:cxn>
                  <a:cxn ang="0">
                    <a:pos x="82" y="79"/>
                  </a:cxn>
                  <a:cxn ang="0">
                    <a:pos x="89" y="80"/>
                  </a:cxn>
                  <a:cxn ang="0">
                    <a:pos x="93" y="77"/>
                  </a:cxn>
                  <a:cxn ang="0">
                    <a:pos x="112" y="78"/>
                  </a:cxn>
                  <a:cxn ang="0">
                    <a:pos x="113" y="74"/>
                  </a:cxn>
                  <a:cxn ang="0">
                    <a:pos x="117" y="77"/>
                  </a:cxn>
                  <a:cxn ang="0">
                    <a:pos x="117" y="63"/>
                  </a:cxn>
                  <a:cxn ang="0">
                    <a:pos x="126" y="62"/>
                  </a:cxn>
                  <a:cxn ang="0">
                    <a:pos x="122" y="42"/>
                  </a:cxn>
                </a:cxnLst>
                <a:rect l="0" t="0" r="r" b="b"/>
                <a:pathLst>
                  <a:path w="126" h="106">
                    <a:moveTo>
                      <a:pt x="122" y="42"/>
                    </a:moveTo>
                    <a:cubicBezTo>
                      <a:pt x="125" y="33"/>
                      <a:pt x="125" y="33"/>
                      <a:pt x="125" y="33"/>
                    </a:cubicBezTo>
                    <a:cubicBezTo>
                      <a:pt x="116" y="29"/>
                      <a:pt x="116" y="29"/>
                      <a:pt x="116" y="29"/>
                    </a:cubicBezTo>
                    <a:cubicBezTo>
                      <a:pt x="115" y="16"/>
                      <a:pt x="115" y="16"/>
                      <a:pt x="115" y="16"/>
                    </a:cubicBezTo>
                    <a:cubicBezTo>
                      <a:pt x="105" y="16"/>
                      <a:pt x="105" y="16"/>
                      <a:pt x="105" y="16"/>
                    </a:cubicBezTo>
                    <a:cubicBezTo>
                      <a:pt x="100" y="17"/>
                      <a:pt x="97" y="12"/>
                      <a:pt x="95" y="9"/>
                    </a:cubicBezTo>
                    <a:cubicBezTo>
                      <a:pt x="93" y="7"/>
                      <a:pt x="86" y="3"/>
                      <a:pt x="86" y="3"/>
                    </a:cubicBezTo>
                    <a:cubicBezTo>
                      <a:pt x="82" y="0"/>
                      <a:pt x="82" y="0"/>
                      <a:pt x="82" y="0"/>
                    </a:cubicBezTo>
                    <a:cubicBezTo>
                      <a:pt x="75" y="7"/>
                      <a:pt x="75" y="7"/>
                      <a:pt x="75" y="7"/>
                    </a:cubicBezTo>
                    <a:cubicBezTo>
                      <a:pt x="65" y="5"/>
                      <a:pt x="65" y="5"/>
                      <a:pt x="65" y="5"/>
                    </a:cubicBezTo>
                    <a:cubicBezTo>
                      <a:pt x="65" y="5"/>
                      <a:pt x="58" y="12"/>
                      <a:pt x="53" y="12"/>
                    </a:cubicBezTo>
                    <a:cubicBezTo>
                      <a:pt x="49" y="13"/>
                      <a:pt x="43" y="12"/>
                      <a:pt x="43" y="12"/>
                    </a:cubicBezTo>
                    <a:cubicBezTo>
                      <a:pt x="35" y="27"/>
                      <a:pt x="35" y="27"/>
                      <a:pt x="35" y="27"/>
                    </a:cubicBezTo>
                    <a:cubicBezTo>
                      <a:pt x="26" y="18"/>
                      <a:pt x="26" y="18"/>
                      <a:pt x="26" y="18"/>
                    </a:cubicBezTo>
                    <a:cubicBezTo>
                      <a:pt x="21" y="24"/>
                      <a:pt x="21" y="24"/>
                      <a:pt x="21" y="24"/>
                    </a:cubicBezTo>
                    <a:cubicBezTo>
                      <a:pt x="21" y="24"/>
                      <a:pt x="14" y="24"/>
                      <a:pt x="11" y="29"/>
                    </a:cubicBezTo>
                    <a:cubicBezTo>
                      <a:pt x="9" y="33"/>
                      <a:pt x="13" y="43"/>
                      <a:pt x="13" y="43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5" y="61"/>
                      <a:pt x="5" y="61"/>
                      <a:pt x="5" y="61"/>
                    </a:cubicBezTo>
                    <a:cubicBezTo>
                      <a:pt x="0" y="65"/>
                      <a:pt x="0" y="65"/>
                      <a:pt x="0" y="65"/>
                    </a:cubicBezTo>
                    <a:cubicBezTo>
                      <a:pt x="7" y="74"/>
                      <a:pt x="7" y="74"/>
                      <a:pt x="7" y="74"/>
                    </a:cubicBezTo>
                    <a:cubicBezTo>
                      <a:pt x="3" y="79"/>
                      <a:pt x="3" y="79"/>
                      <a:pt x="3" y="79"/>
                    </a:cubicBezTo>
                    <a:cubicBezTo>
                      <a:pt x="10" y="93"/>
                      <a:pt x="10" y="93"/>
                      <a:pt x="10" y="93"/>
                    </a:cubicBezTo>
                    <a:cubicBezTo>
                      <a:pt x="15" y="94"/>
                      <a:pt x="15" y="94"/>
                      <a:pt x="15" y="94"/>
                    </a:cubicBezTo>
                    <a:cubicBezTo>
                      <a:pt x="19" y="106"/>
                      <a:pt x="19" y="106"/>
                      <a:pt x="19" y="106"/>
                    </a:cubicBezTo>
                    <a:cubicBezTo>
                      <a:pt x="26" y="102"/>
                      <a:pt x="26" y="102"/>
                      <a:pt x="26" y="102"/>
                    </a:cubicBezTo>
                    <a:cubicBezTo>
                      <a:pt x="31" y="103"/>
                      <a:pt x="31" y="103"/>
                      <a:pt x="31" y="103"/>
                    </a:cubicBezTo>
                    <a:cubicBezTo>
                      <a:pt x="32" y="106"/>
                      <a:pt x="32" y="106"/>
                      <a:pt x="32" y="106"/>
                    </a:cubicBezTo>
                    <a:cubicBezTo>
                      <a:pt x="48" y="105"/>
                      <a:pt x="48" y="105"/>
                      <a:pt x="48" y="105"/>
                    </a:cubicBezTo>
                    <a:cubicBezTo>
                      <a:pt x="48" y="105"/>
                      <a:pt x="53" y="99"/>
                      <a:pt x="57" y="99"/>
                    </a:cubicBezTo>
                    <a:cubicBezTo>
                      <a:pt x="59" y="99"/>
                      <a:pt x="63" y="101"/>
                      <a:pt x="63" y="101"/>
                    </a:cubicBezTo>
                    <a:cubicBezTo>
                      <a:pt x="63" y="101"/>
                      <a:pt x="69" y="97"/>
                      <a:pt x="73" y="95"/>
                    </a:cubicBezTo>
                    <a:cubicBezTo>
                      <a:pt x="76" y="92"/>
                      <a:pt x="74" y="88"/>
                      <a:pt x="76" y="83"/>
                    </a:cubicBezTo>
                    <a:cubicBezTo>
                      <a:pt x="78" y="80"/>
                      <a:pt x="82" y="79"/>
                      <a:pt x="82" y="79"/>
                    </a:cubicBezTo>
                    <a:cubicBezTo>
                      <a:pt x="89" y="80"/>
                      <a:pt x="89" y="80"/>
                      <a:pt x="89" y="80"/>
                    </a:cubicBezTo>
                    <a:cubicBezTo>
                      <a:pt x="93" y="77"/>
                      <a:pt x="93" y="77"/>
                      <a:pt x="93" y="77"/>
                    </a:cubicBezTo>
                    <a:cubicBezTo>
                      <a:pt x="112" y="78"/>
                      <a:pt x="112" y="78"/>
                      <a:pt x="112" y="78"/>
                    </a:cubicBezTo>
                    <a:cubicBezTo>
                      <a:pt x="113" y="74"/>
                      <a:pt x="113" y="74"/>
                      <a:pt x="113" y="74"/>
                    </a:cubicBezTo>
                    <a:cubicBezTo>
                      <a:pt x="117" y="77"/>
                      <a:pt x="117" y="77"/>
                      <a:pt x="117" y="77"/>
                    </a:cubicBezTo>
                    <a:cubicBezTo>
                      <a:pt x="117" y="77"/>
                      <a:pt x="116" y="67"/>
                      <a:pt x="117" y="63"/>
                    </a:cubicBezTo>
                    <a:cubicBezTo>
                      <a:pt x="117" y="60"/>
                      <a:pt x="126" y="62"/>
                      <a:pt x="126" y="62"/>
                    </a:cubicBezTo>
                    <a:lnTo>
                      <a:pt x="122" y="42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41" name="Malta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5295900" y="6042026"/>
                <a:ext cx="134893" cy="92074"/>
              </a:xfrm>
              <a:custGeom>
                <a:avLst/>
                <a:gdLst/>
                <a:ahLst/>
                <a:cxnLst>
                  <a:cxn ang="0">
                    <a:pos x="7" y="3"/>
                  </a:cxn>
                  <a:cxn ang="0">
                    <a:pos x="2" y="4"/>
                  </a:cxn>
                  <a:cxn ang="0">
                    <a:pos x="5" y="8"/>
                  </a:cxn>
                  <a:cxn ang="0">
                    <a:pos x="7" y="3"/>
                  </a:cxn>
                  <a:cxn ang="0">
                    <a:pos x="16" y="11"/>
                  </a:cxn>
                  <a:cxn ang="0">
                    <a:pos x="14" y="12"/>
                  </a:cxn>
                  <a:cxn ang="0">
                    <a:pos x="11" y="9"/>
                  </a:cxn>
                  <a:cxn ang="0">
                    <a:pos x="9" y="11"/>
                  </a:cxn>
                  <a:cxn ang="0">
                    <a:pos x="10" y="15"/>
                  </a:cxn>
                  <a:cxn ang="0">
                    <a:pos x="19" y="20"/>
                  </a:cxn>
                  <a:cxn ang="0">
                    <a:pos x="23" y="15"/>
                  </a:cxn>
                  <a:cxn ang="0">
                    <a:pos x="16" y="11"/>
                  </a:cxn>
                </a:cxnLst>
                <a:rect l="0" t="0" r="r" b="b"/>
                <a:pathLst>
                  <a:path w="23" h="20">
                    <a:moveTo>
                      <a:pt x="7" y="3"/>
                    </a:moveTo>
                    <a:cubicBezTo>
                      <a:pt x="0" y="0"/>
                      <a:pt x="2" y="4"/>
                      <a:pt x="2" y="4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9" y="9"/>
                      <a:pt x="15" y="5"/>
                      <a:pt x="7" y="3"/>
                    </a:cubicBezTo>
                    <a:close/>
                    <a:moveTo>
                      <a:pt x="16" y="11"/>
                    </a:moveTo>
                    <a:cubicBezTo>
                      <a:pt x="14" y="12"/>
                      <a:pt x="14" y="12"/>
                      <a:pt x="14" y="12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10" y="15"/>
                      <a:pt x="10" y="15"/>
                      <a:pt x="10" y="15"/>
                    </a:cubicBezTo>
                    <a:cubicBezTo>
                      <a:pt x="10" y="15"/>
                      <a:pt x="15" y="20"/>
                      <a:pt x="19" y="20"/>
                    </a:cubicBezTo>
                    <a:cubicBezTo>
                      <a:pt x="23" y="20"/>
                      <a:pt x="23" y="15"/>
                      <a:pt x="23" y="15"/>
                    </a:cubicBezTo>
                    <a:lnTo>
                      <a:pt x="16" y="11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42" name="Luxembourg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4456113" y="4092575"/>
                <a:ext cx="74612" cy="106362"/>
              </a:xfrm>
              <a:custGeom>
                <a:avLst/>
                <a:gdLst/>
                <a:ahLst/>
                <a:cxnLst>
                  <a:cxn ang="0">
                    <a:pos x="34" y="30"/>
                  </a:cxn>
                  <a:cxn ang="0">
                    <a:pos x="28" y="21"/>
                  </a:cxn>
                  <a:cxn ang="0">
                    <a:pos x="19" y="5"/>
                  </a:cxn>
                  <a:cxn ang="0">
                    <a:pos x="19" y="2"/>
                  </a:cxn>
                  <a:cxn ang="0">
                    <a:pos x="10" y="0"/>
                  </a:cxn>
                  <a:cxn ang="0">
                    <a:pos x="3" y="14"/>
                  </a:cxn>
                  <a:cxn ang="0">
                    <a:pos x="0" y="15"/>
                  </a:cxn>
                  <a:cxn ang="0">
                    <a:pos x="4" y="34"/>
                  </a:cxn>
                  <a:cxn ang="0">
                    <a:pos x="1" y="42"/>
                  </a:cxn>
                  <a:cxn ang="0">
                    <a:pos x="0" y="42"/>
                  </a:cxn>
                  <a:cxn ang="0">
                    <a:pos x="5" y="44"/>
                  </a:cxn>
                  <a:cxn ang="0">
                    <a:pos x="10" y="49"/>
                  </a:cxn>
                  <a:cxn ang="0">
                    <a:pos x="18" y="45"/>
                  </a:cxn>
                  <a:cxn ang="0">
                    <a:pos x="23" y="47"/>
                  </a:cxn>
                  <a:cxn ang="0">
                    <a:pos x="27" y="46"/>
                  </a:cxn>
                  <a:cxn ang="0">
                    <a:pos x="26" y="43"/>
                  </a:cxn>
                  <a:cxn ang="0">
                    <a:pos x="27" y="37"/>
                  </a:cxn>
                  <a:cxn ang="0">
                    <a:pos x="34" y="30"/>
                  </a:cxn>
                </a:cxnLst>
                <a:rect l="0" t="0" r="r" b="b"/>
                <a:pathLst>
                  <a:path w="35" h="50">
                    <a:moveTo>
                      <a:pt x="34" y="30"/>
                    </a:moveTo>
                    <a:cubicBezTo>
                      <a:pt x="35" y="22"/>
                      <a:pt x="29" y="26"/>
                      <a:pt x="28" y="21"/>
                    </a:cubicBezTo>
                    <a:cubicBezTo>
                      <a:pt x="23" y="22"/>
                      <a:pt x="19" y="12"/>
                      <a:pt x="19" y="5"/>
                    </a:cubicBezTo>
                    <a:cubicBezTo>
                      <a:pt x="19" y="2"/>
                      <a:pt x="19" y="2"/>
                      <a:pt x="19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3" y="14"/>
                      <a:pt x="3" y="14"/>
                      <a:pt x="3" y="14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4" y="34"/>
                      <a:pt x="4" y="34"/>
                      <a:pt x="4" y="34"/>
                    </a:cubicBezTo>
                    <a:cubicBezTo>
                      <a:pt x="1" y="42"/>
                      <a:pt x="1" y="42"/>
                      <a:pt x="1" y="42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5" y="44"/>
                      <a:pt x="5" y="44"/>
                      <a:pt x="5" y="44"/>
                    </a:cubicBezTo>
                    <a:cubicBezTo>
                      <a:pt x="5" y="44"/>
                      <a:pt x="5" y="50"/>
                      <a:pt x="10" y="49"/>
                    </a:cubicBezTo>
                    <a:cubicBezTo>
                      <a:pt x="17" y="49"/>
                      <a:pt x="15" y="44"/>
                      <a:pt x="18" y="45"/>
                    </a:cubicBezTo>
                    <a:cubicBezTo>
                      <a:pt x="21" y="45"/>
                      <a:pt x="21" y="47"/>
                      <a:pt x="23" y="47"/>
                    </a:cubicBezTo>
                    <a:cubicBezTo>
                      <a:pt x="24" y="47"/>
                      <a:pt x="25" y="47"/>
                      <a:pt x="27" y="46"/>
                    </a:cubicBezTo>
                    <a:cubicBezTo>
                      <a:pt x="26" y="46"/>
                      <a:pt x="26" y="45"/>
                      <a:pt x="26" y="43"/>
                    </a:cubicBezTo>
                    <a:cubicBezTo>
                      <a:pt x="26" y="41"/>
                      <a:pt x="25" y="38"/>
                      <a:pt x="27" y="37"/>
                    </a:cubicBezTo>
                    <a:cubicBezTo>
                      <a:pt x="28" y="36"/>
                      <a:pt x="33" y="31"/>
                      <a:pt x="34" y="30"/>
                    </a:cubicBez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43" name="Lithonia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737225" y="3146425"/>
                <a:ext cx="473075" cy="357187"/>
              </a:xfrm>
              <a:custGeom>
                <a:avLst/>
                <a:gdLst/>
                <a:ahLst/>
                <a:cxnLst>
                  <a:cxn ang="0">
                    <a:pos x="87" y="142"/>
                  </a:cxn>
                  <a:cxn ang="0">
                    <a:pos x="110" y="154"/>
                  </a:cxn>
                  <a:cxn ang="0">
                    <a:pos x="114" y="168"/>
                  </a:cxn>
                  <a:cxn ang="0">
                    <a:pos x="127" y="163"/>
                  </a:cxn>
                  <a:cxn ang="0">
                    <a:pos x="141" y="163"/>
                  </a:cxn>
                  <a:cxn ang="0">
                    <a:pos x="155" y="158"/>
                  </a:cxn>
                  <a:cxn ang="0">
                    <a:pos x="161" y="146"/>
                  </a:cxn>
                  <a:cxn ang="0">
                    <a:pos x="175" y="136"/>
                  </a:cxn>
                  <a:cxn ang="0">
                    <a:pos x="189" y="142"/>
                  </a:cxn>
                  <a:cxn ang="0">
                    <a:pos x="188" y="129"/>
                  </a:cxn>
                  <a:cxn ang="0">
                    <a:pos x="188" y="96"/>
                  </a:cxn>
                  <a:cxn ang="0">
                    <a:pos x="203" y="74"/>
                  </a:cxn>
                  <a:cxn ang="0">
                    <a:pos x="218" y="65"/>
                  </a:cxn>
                  <a:cxn ang="0">
                    <a:pos x="207" y="58"/>
                  </a:cxn>
                  <a:cxn ang="0">
                    <a:pos x="210" y="42"/>
                  </a:cxn>
                  <a:cxn ang="0">
                    <a:pos x="197" y="33"/>
                  </a:cxn>
                  <a:cxn ang="0">
                    <a:pos x="191" y="29"/>
                  </a:cxn>
                  <a:cxn ang="0">
                    <a:pos x="169" y="15"/>
                  </a:cxn>
                  <a:cxn ang="0">
                    <a:pos x="148" y="14"/>
                  </a:cxn>
                  <a:cxn ang="0">
                    <a:pos x="137" y="0"/>
                  </a:cxn>
                  <a:cxn ang="0">
                    <a:pos x="127" y="12"/>
                  </a:cxn>
                  <a:cxn ang="0">
                    <a:pos x="120" y="12"/>
                  </a:cxn>
                  <a:cxn ang="0">
                    <a:pos x="107" y="10"/>
                  </a:cxn>
                  <a:cxn ang="0">
                    <a:pos x="90" y="15"/>
                  </a:cxn>
                  <a:cxn ang="0">
                    <a:pos x="77" y="13"/>
                  </a:cxn>
                  <a:cxn ang="0">
                    <a:pos x="71" y="18"/>
                  </a:cxn>
                  <a:cxn ang="0">
                    <a:pos x="66" y="13"/>
                  </a:cxn>
                  <a:cxn ang="0">
                    <a:pos x="54" y="15"/>
                  </a:cxn>
                  <a:cxn ang="0">
                    <a:pos x="31" y="21"/>
                  </a:cxn>
                  <a:cxn ang="0">
                    <a:pos x="23" y="24"/>
                  </a:cxn>
                  <a:cxn ang="0">
                    <a:pos x="7" y="40"/>
                  </a:cxn>
                  <a:cxn ang="0">
                    <a:pos x="4" y="40"/>
                  </a:cxn>
                  <a:cxn ang="0">
                    <a:pos x="5" y="62"/>
                  </a:cxn>
                  <a:cxn ang="0">
                    <a:pos x="6" y="72"/>
                  </a:cxn>
                  <a:cxn ang="0">
                    <a:pos x="5" y="94"/>
                  </a:cxn>
                  <a:cxn ang="0">
                    <a:pos x="9" y="86"/>
                  </a:cxn>
                  <a:cxn ang="0">
                    <a:pos x="9" y="71"/>
                  </a:cxn>
                  <a:cxn ang="0">
                    <a:pos x="14" y="87"/>
                  </a:cxn>
                  <a:cxn ang="0">
                    <a:pos x="16" y="92"/>
                  </a:cxn>
                  <a:cxn ang="0">
                    <a:pos x="24" y="100"/>
                  </a:cxn>
                  <a:cxn ang="0">
                    <a:pos x="37" y="102"/>
                  </a:cxn>
                  <a:cxn ang="0">
                    <a:pos x="48" y="107"/>
                  </a:cxn>
                  <a:cxn ang="0">
                    <a:pos x="69" y="103"/>
                  </a:cxn>
                  <a:cxn ang="0">
                    <a:pos x="77" y="120"/>
                  </a:cxn>
                  <a:cxn ang="0">
                    <a:pos x="81" y="146"/>
                  </a:cxn>
                </a:cxnLst>
                <a:rect l="0" t="0" r="r" b="b"/>
                <a:pathLst>
                  <a:path w="222" h="168">
                    <a:moveTo>
                      <a:pt x="83" y="146"/>
                    </a:moveTo>
                    <a:cubicBezTo>
                      <a:pt x="83" y="146"/>
                      <a:pt x="84" y="141"/>
                      <a:pt x="87" y="142"/>
                    </a:cubicBezTo>
                    <a:cubicBezTo>
                      <a:pt x="90" y="143"/>
                      <a:pt x="89" y="147"/>
                      <a:pt x="93" y="148"/>
                    </a:cubicBezTo>
                    <a:cubicBezTo>
                      <a:pt x="97" y="148"/>
                      <a:pt x="105" y="146"/>
                      <a:pt x="110" y="154"/>
                    </a:cubicBezTo>
                    <a:cubicBezTo>
                      <a:pt x="114" y="162"/>
                      <a:pt x="111" y="165"/>
                      <a:pt x="111" y="165"/>
                    </a:cubicBezTo>
                    <a:cubicBezTo>
                      <a:pt x="114" y="168"/>
                      <a:pt x="114" y="168"/>
                      <a:pt x="114" y="168"/>
                    </a:cubicBezTo>
                    <a:cubicBezTo>
                      <a:pt x="126" y="167"/>
                      <a:pt x="126" y="167"/>
                      <a:pt x="126" y="167"/>
                    </a:cubicBezTo>
                    <a:cubicBezTo>
                      <a:pt x="127" y="163"/>
                      <a:pt x="127" y="163"/>
                      <a:pt x="127" y="163"/>
                    </a:cubicBezTo>
                    <a:cubicBezTo>
                      <a:pt x="134" y="165"/>
                      <a:pt x="134" y="165"/>
                      <a:pt x="134" y="165"/>
                    </a:cubicBezTo>
                    <a:cubicBezTo>
                      <a:pt x="141" y="163"/>
                      <a:pt x="141" y="163"/>
                      <a:pt x="141" y="163"/>
                    </a:cubicBezTo>
                    <a:cubicBezTo>
                      <a:pt x="148" y="166"/>
                      <a:pt x="148" y="166"/>
                      <a:pt x="148" y="166"/>
                    </a:cubicBezTo>
                    <a:cubicBezTo>
                      <a:pt x="155" y="158"/>
                      <a:pt x="155" y="158"/>
                      <a:pt x="155" y="158"/>
                    </a:cubicBezTo>
                    <a:cubicBezTo>
                      <a:pt x="155" y="158"/>
                      <a:pt x="159" y="160"/>
                      <a:pt x="163" y="158"/>
                    </a:cubicBezTo>
                    <a:cubicBezTo>
                      <a:pt x="167" y="157"/>
                      <a:pt x="160" y="148"/>
                      <a:pt x="161" y="146"/>
                    </a:cubicBezTo>
                    <a:cubicBezTo>
                      <a:pt x="163" y="143"/>
                      <a:pt x="171" y="146"/>
                      <a:pt x="171" y="146"/>
                    </a:cubicBezTo>
                    <a:cubicBezTo>
                      <a:pt x="175" y="136"/>
                      <a:pt x="175" y="136"/>
                      <a:pt x="175" y="136"/>
                    </a:cubicBezTo>
                    <a:cubicBezTo>
                      <a:pt x="175" y="136"/>
                      <a:pt x="181" y="134"/>
                      <a:pt x="186" y="134"/>
                    </a:cubicBezTo>
                    <a:cubicBezTo>
                      <a:pt x="190" y="133"/>
                      <a:pt x="186" y="139"/>
                      <a:pt x="189" y="142"/>
                    </a:cubicBezTo>
                    <a:cubicBezTo>
                      <a:pt x="192" y="145"/>
                      <a:pt x="199" y="140"/>
                      <a:pt x="197" y="133"/>
                    </a:cubicBezTo>
                    <a:cubicBezTo>
                      <a:pt x="197" y="128"/>
                      <a:pt x="188" y="129"/>
                      <a:pt x="188" y="129"/>
                    </a:cubicBezTo>
                    <a:cubicBezTo>
                      <a:pt x="191" y="113"/>
                      <a:pt x="191" y="113"/>
                      <a:pt x="191" y="113"/>
                    </a:cubicBezTo>
                    <a:cubicBezTo>
                      <a:pt x="191" y="113"/>
                      <a:pt x="188" y="101"/>
                      <a:pt x="188" y="96"/>
                    </a:cubicBezTo>
                    <a:cubicBezTo>
                      <a:pt x="188" y="92"/>
                      <a:pt x="195" y="87"/>
                      <a:pt x="200" y="86"/>
                    </a:cubicBezTo>
                    <a:cubicBezTo>
                      <a:pt x="204" y="84"/>
                      <a:pt x="203" y="74"/>
                      <a:pt x="203" y="74"/>
                    </a:cubicBezTo>
                    <a:cubicBezTo>
                      <a:pt x="218" y="70"/>
                      <a:pt x="218" y="70"/>
                      <a:pt x="218" y="70"/>
                    </a:cubicBezTo>
                    <a:cubicBezTo>
                      <a:pt x="218" y="65"/>
                      <a:pt x="218" y="65"/>
                      <a:pt x="218" y="65"/>
                    </a:cubicBezTo>
                    <a:cubicBezTo>
                      <a:pt x="218" y="65"/>
                      <a:pt x="222" y="60"/>
                      <a:pt x="221" y="56"/>
                    </a:cubicBezTo>
                    <a:cubicBezTo>
                      <a:pt x="220" y="53"/>
                      <a:pt x="207" y="58"/>
                      <a:pt x="207" y="58"/>
                    </a:cubicBezTo>
                    <a:cubicBezTo>
                      <a:pt x="208" y="48"/>
                      <a:pt x="208" y="48"/>
                      <a:pt x="208" y="48"/>
                    </a:cubicBezTo>
                    <a:cubicBezTo>
                      <a:pt x="210" y="42"/>
                      <a:pt x="210" y="42"/>
                      <a:pt x="210" y="42"/>
                    </a:cubicBezTo>
                    <a:cubicBezTo>
                      <a:pt x="210" y="36"/>
                      <a:pt x="210" y="36"/>
                      <a:pt x="210" y="36"/>
                    </a:cubicBezTo>
                    <a:cubicBezTo>
                      <a:pt x="197" y="33"/>
                      <a:pt x="197" y="33"/>
                      <a:pt x="197" y="33"/>
                    </a:cubicBezTo>
                    <a:cubicBezTo>
                      <a:pt x="196" y="29"/>
                      <a:pt x="196" y="29"/>
                      <a:pt x="196" y="29"/>
                    </a:cubicBezTo>
                    <a:cubicBezTo>
                      <a:pt x="191" y="29"/>
                      <a:pt x="191" y="29"/>
                      <a:pt x="191" y="29"/>
                    </a:cubicBezTo>
                    <a:cubicBezTo>
                      <a:pt x="191" y="29"/>
                      <a:pt x="188" y="22"/>
                      <a:pt x="186" y="19"/>
                    </a:cubicBezTo>
                    <a:cubicBezTo>
                      <a:pt x="183" y="16"/>
                      <a:pt x="169" y="15"/>
                      <a:pt x="169" y="15"/>
                    </a:cubicBezTo>
                    <a:cubicBezTo>
                      <a:pt x="169" y="12"/>
                      <a:pt x="169" y="12"/>
                      <a:pt x="169" y="12"/>
                    </a:cubicBezTo>
                    <a:cubicBezTo>
                      <a:pt x="148" y="14"/>
                      <a:pt x="148" y="14"/>
                      <a:pt x="148" y="14"/>
                    </a:cubicBezTo>
                    <a:cubicBezTo>
                      <a:pt x="142" y="2"/>
                      <a:pt x="142" y="2"/>
                      <a:pt x="142" y="2"/>
                    </a:cubicBezTo>
                    <a:cubicBezTo>
                      <a:pt x="137" y="0"/>
                      <a:pt x="137" y="0"/>
                      <a:pt x="137" y="0"/>
                    </a:cubicBezTo>
                    <a:cubicBezTo>
                      <a:pt x="130" y="5"/>
                      <a:pt x="130" y="5"/>
                      <a:pt x="130" y="5"/>
                    </a:cubicBezTo>
                    <a:cubicBezTo>
                      <a:pt x="127" y="12"/>
                      <a:pt x="127" y="12"/>
                      <a:pt x="127" y="12"/>
                    </a:cubicBezTo>
                    <a:cubicBezTo>
                      <a:pt x="124" y="13"/>
                      <a:pt x="124" y="13"/>
                      <a:pt x="124" y="13"/>
                    </a:cubicBezTo>
                    <a:cubicBezTo>
                      <a:pt x="120" y="12"/>
                      <a:pt x="120" y="12"/>
                      <a:pt x="120" y="12"/>
                    </a:cubicBezTo>
                    <a:cubicBezTo>
                      <a:pt x="113" y="15"/>
                      <a:pt x="113" y="15"/>
                      <a:pt x="113" y="15"/>
                    </a:cubicBezTo>
                    <a:cubicBezTo>
                      <a:pt x="107" y="10"/>
                      <a:pt x="107" y="10"/>
                      <a:pt x="107" y="10"/>
                    </a:cubicBezTo>
                    <a:cubicBezTo>
                      <a:pt x="94" y="10"/>
                      <a:pt x="94" y="10"/>
                      <a:pt x="94" y="10"/>
                    </a:cubicBezTo>
                    <a:cubicBezTo>
                      <a:pt x="90" y="15"/>
                      <a:pt x="90" y="15"/>
                      <a:pt x="90" y="15"/>
                    </a:cubicBezTo>
                    <a:cubicBezTo>
                      <a:pt x="83" y="12"/>
                      <a:pt x="83" y="12"/>
                      <a:pt x="83" y="12"/>
                    </a:cubicBezTo>
                    <a:cubicBezTo>
                      <a:pt x="77" y="13"/>
                      <a:pt x="77" y="13"/>
                      <a:pt x="77" y="13"/>
                    </a:cubicBezTo>
                    <a:cubicBezTo>
                      <a:pt x="75" y="18"/>
                      <a:pt x="75" y="18"/>
                      <a:pt x="75" y="18"/>
                    </a:cubicBezTo>
                    <a:cubicBezTo>
                      <a:pt x="71" y="18"/>
                      <a:pt x="71" y="18"/>
                      <a:pt x="71" y="18"/>
                    </a:cubicBezTo>
                    <a:cubicBezTo>
                      <a:pt x="70" y="12"/>
                      <a:pt x="70" y="12"/>
                      <a:pt x="70" y="12"/>
                    </a:cubicBezTo>
                    <a:cubicBezTo>
                      <a:pt x="66" y="13"/>
                      <a:pt x="66" y="13"/>
                      <a:pt x="66" y="13"/>
                    </a:cubicBezTo>
                    <a:cubicBezTo>
                      <a:pt x="58" y="18"/>
                      <a:pt x="58" y="18"/>
                      <a:pt x="58" y="18"/>
                    </a:cubicBezTo>
                    <a:cubicBezTo>
                      <a:pt x="54" y="15"/>
                      <a:pt x="54" y="15"/>
                      <a:pt x="54" y="15"/>
                    </a:cubicBezTo>
                    <a:cubicBezTo>
                      <a:pt x="36" y="16"/>
                      <a:pt x="36" y="16"/>
                      <a:pt x="36" y="16"/>
                    </a:cubicBezTo>
                    <a:cubicBezTo>
                      <a:pt x="31" y="21"/>
                      <a:pt x="31" y="21"/>
                      <a:pt x="31" y="21"/>
                    </a:cubicBezTo>
                    <a:cubicBezTo>
                      <a:pt x="28" y="20"/>
                      <a:pt x="28" y="20"/>
                      <a:pt x="28" y="20"/>
                    </a:cubicBezTo>
                    <a:cubicBezTo>
                      <a:pt x="23" y="24"/>
                      <a:pt x="23" y="24"/>
                      <a:pt x="23" y="24"/>
                    </a:cubicBezTo>
                    <a:cubicBezTo>
                      <a:pt x="23" y="24"/>
                      <a:pt x="20" y="22"/>
                      <a:pt x="16" y="26"/>
                    </a:cubicBezTo>
                    <a:cubicBezTo>
                      <a:pt x="12" y="31"/>
                      <a:pt x="7" y="40"/>
                      <a:pt x="7" y="40"/>
                    </a:cubicBezTo>
                    <a:cubicBezTo>
                      <a:pt x="5" y="42"/>
                      <a:pt x="5" y="42"/>
                      <a:pt x="5" y="42"/>
                    </a:cubicBezTo>
                    <a:cubicBezTo>
                      <a:pt x="4" y="40"/>
                      <a:pt x="4" y="40"/>
                      <a:pt x="4" y="40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0" y="44"/>
                      <a:pt x="4" y="57"/>
                      <a:pt x="5" y="62"/>
                    </a:cubicBezTo>
                    <a:cubicBezTo>
                      <a:pt x="5" y="64"/>
                      <a:pt x="6" y="66"/>
                      <a:pt x="7" y="68"/>
                    </a:cubicBezTo>
                    <a:cubicBezTo>
                      <a:pt x="6" y="72"/>
                      <a:pt x="6" y="72"/>
                      <a:pt x="6" y="72"/>
                    </a:cubicBezTo>
                    <a:cubicBezTo>
                      <a:pt x="7" y="84"/>
                      <a:pt x="7" y="84"/>
                      <a:pt x="7" y="84"/>
                    </a:cubicBezTo>
                    <a:cubicBezTo>
                      <a:pt x="5" y="94"/>
                      <a:pt x="5" y="94"/>
                      <a:pt x="5" y="94"/>
                    </a:cubicBezTo>
                    <a:cubicBezTo>
                      <a:pt x="7" y="93"/>
                      <a:pt x="7" y="93"/>
                      <a:pt x="7" y="93"/>
                    </a:cubicBezTo>
                    <a:cubicBezTo>
                      <a:pt x="9" y="86"/>
                      <a:pt x="9" y="86"/>
                      <a:pt x="9" y="86"/>
                    </a:cubicBezTo>
                    <a:cubicBezTo>
                      <a:pt x="8" y="73"/>
                      <a:pt x="8" y="73"/>
                      <a:pt x="8" y="73"/>
                    </a:cubicBezTo>
                    <a:cubicBezTo>
                      <a:pt x="9" y="71"/>
                      <a:pt x="9" y="71"/>
                      <a:pt x="9" y="71"/>
                    </a:cubicBezTo>
                    <a:cubicBezTo>
                      <a:pt x="10" y="76"/>
                      <a:pt x="12" y="79"/>
                      <a:pt x="12" y="79"/>
                    </a:cubicBezTo>
                    <a:cubicBezTo>
                      <a:pt x="14" y="87"/>
                      <a:pt x="14" y="87"/>
                      <a:pt x="14" y="87"/>
                    </a:cubicBezTo>
                    <a:cubicBezTo>
                      <a:pt x="12" y="92"/>
                      <a:pt x="12" y="92"/>
                      <a:pt x="12" y="92"/>
                    </a:cubicBezTo>
                    <a:cubicBezTo>
                      <a:pt x="16" y="92"/>
                      <a:pt x="16" y="92"/>
                      <a:pt x="16" y="92"/>
                    </a:cubicBezTo>
                    <a:cubicBezTo>
                      <a:pt x="19" y="96"/>
                      <a:pt x="19" y="96"/>
                      <a:pt x="19" y="96"/>
                    </a:cubicBezTo>
                    <a:cubicBezTo>
                      <a:pt x="24" y="100"/>
                      <a:pt x="24" y="100"/>
                      <a:pt x="24" y="100"/>
                    </a:cubicBezTo>
                    <a:cubicBezTo>
                      <a:pt x="30" y="99"/>
                      <a:pt x="30" y="99"/>
                      <a:pt x="30" y="99"/>
                    </a:cubicBezTo>
                    <a:cubicBezTo>
                      <a:pt x="30" y="99"/>
                      <a:pt x="32" y="100"/>
                      <a:pt x="37" y="102"/>
                    </a:cubicBezTo>
                    <a:cubicBezTo>
                      <a:pt x="41" y="105"/>
                      <a:pt x="47" y="103"/>
                      <a:pt x="47" y="103"/>
                    </a:cubicBezTo>
                    <a:cubicBezTo>
                      <a:pt x="48" y="107"/>
                      <a:pt x="48" y="107"/>
                      <a:pt x="48" y="107"/>
                    </a:cubicBezTo>
                    <a:cubicBezTo>
                      <a:pt x="58" y="103"/>
                      <a:pt x="58" y="103"/>
                      <a:pt x="58" y="103"/>
                    </a:cubicBezTo>
                    <a:cubicBezTo>
                      <a:pt x="69" y="103"/>
                      <a:pt x="69" y="103"/>
                      <a:pt x="69" y="103"/>
                    </a:cubicBezTo>
                    <a:cubicBezTo>
                      <a:pt x="69" y="103"/>
                      <a:pt x="78" y="110"/>
                      <a:pt x="81" y="112"/>
                    </a:cubicBezTo>
                    <a:cubicBezTo>
                      <a:pt x="85" y="115"/>
                      <a:pt x="77" y="120"/>
                      <a:pt x="77" y="120"/>
                    </a:cubicBezTo>
                    <a:cubicBezTo>
                      <a:pt x="77" y="120"/>
                      <a:pt x="75" y="125"/>
                      <a:pt x="75" y="131"/>
                    </a:cubicBezTo>
                    <a:cubicBezTo>
                      <a:pt x="74" y="139"/>
                      <a:pt x="81" y="146"/>
                      <a:pt x="81" y="146"/>
                    </a:cubicBezTo>
                    <a:lnTo>
                      <a:pt x="83" y="146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44" name="Latvia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726113" y="2919413"/>
                <a:ext cx="568325" cy="320675"/>
              </a:xfrm>
              <a:custGeom>
                <a:avLst/>
                <a:gdLst/>
                <a:ahLst/>
                <a:cxnLst>
                  <a:cxn ang="0">
                    <a:pos x="264" y="89"/>
                  </a:cxn>
                  <a:cxn ang="0">
                    <a:pos x="259" y="74"/>
                  </a:cxn>
                  <a:cxn ang="0">
                    <a:pos x="255" y="68"/>
                  </a:cxn>
                  <a:cxn ang="0">
                    <a:pos x="249" y="61"/>
                  </a:cxn>
                  <a:cxn ang="0">
                    <a:pos x="237" y="61"/>
                  </a:cxn>
                  <a:cxn ang="0">
                    <a:pos x="237" y="46"/>
                  </a:cxn>
                  <a:cxn ang="0">
                    <a:pos x="240" y="31"/>
                  </a:cxn>
                  <a:cxn ang="0">
                    <a:pos x="225" y="25"/>
                  </a:cxn>
                  <a:cxn ang="0">
                    <a:pos x="212" y="20"/>
                  </a:cxn>
                  <a:cxn ang="0">
                    <a:pos x="190" y="26"/>
                  </a:cxn>
                  <a:cxn ang="0">
                    <a:pos x="177" y="23"/>
                  </a:cxn>
                  <a:cxn ang="0">
                    <a:pos x="167" y="13"/>
                  </a:cxn>
                  <a:cxn ang="0">
                    <a:pos x="161" y="11"/>
                  </a:cxn>
                  <a:cxn ang="0">
                    <a:pos x="153" y="9"/>
                  </a:cxn>
                  <a:cxn ang="0">
                    <a:pos x="146" y="4"/>
                  </a:cxn>
                  <a:cxn ang="0">
                    <a:pos x="139" y="5"/>
                  </a:cxn>
                  <a:cxn ang="0">
                    <a:pos x="132" y="0"/>
                  </a:cxn>
                  <a:cxn ang="0">
                    <a:pos x="121" y="7"/>
                  </a:cxn>
                  <a:cxn ang="0">
                    <a:pos x="115" y="11"/>
                  </a:cxn>
                  <a:cxn ang="0">
                    <a:pos x="111" y="18"/>
                  </a:cxn>
                  <a:cxn ang="0">
                    <a:pos x="109" y="23"/>
                  </a:cxn>
                  <a:cxn ang="0">
                    <a:pos x="117" y="60"/>
                  </a:cxn>
                  <a:cxn ang="0">
                    <a:pos x="95" y="79"/>
                  </a:cxn>
                  <a:cxn ang="0">
                    <a:pos x="78" y="75"/>
                  </a:cxn>
                  <a:cxn ang="0">
                    <a:pos x="73" y="62"/>
                  </a:cxn>
                  <a:cxn ang="0">
                    <a:pos x="65" y="56"/>
                  </a:cxn>
                  <a:cxn ang="0">
                    <a:pos x="51" y="46"/>
                  </a:cxn>
                  <a:cxn ang="0">
                    <a:pos x="18" y="54"/>
                  </a:cxn>
                  <a:cxn ang="0">
                    <a:pos x="12" y="88"/>
                  </a:cxn>
                  <a:cxn ang="0">
                    <a:pos x="2" y="116"/>
                  </a:cxn>
                  <a:cxn ang="0">
                    <a:pos x="2" y="127"/>
                  </a:cxn>
                  <a:cxn ang="0">
                    <a:pos x="4" y="123"/>
                  </a:cxn>
                  <a:cxn ang="0">
                    <a:pos x="3" y="132"/>
                  </a:cxn>
                  <a:cxn ang="0">
                    <a:pos x="0" y="135"/>
                  </a:cxn>
                  <a:cxn ang="0">
                    <a:pos x="5" y="151"/>
                  </a:cxn>
                  <a:cxn ang="0">
                    <a:pos x="10" y="149"/>
                  </a:cxn>
                  <a:cxn ang="0">
                    <a:pos x="21" y="133"/>
                  </a:cxn>
                  <a:cxn ang="0">
                    <a:pos x="33" y="127"/>
                  </a:cxn>
                  <a:cxn ang="0">
                    <a:pos x="41" y="123"/>
                  </a:cxn>
                  <a:cxn ang="0">
                    <a:pos x="63" y="125"/>
                  </a:cxn>
                  <a:cxn ang="0">
                    <a:pos x="75" y="119"/>
                  </a:cxn>
                  <a:cxn ang="0">
                    <a:pos x="80" y="125"/>
                  </a:cxn>
                  <a:cxn ang="0">
                    <a:pos x="88" y="119"/>
                  </a:cxn>
                  <a:cxn ang="0">
                    <a:pos x="99" y="117"/>
                  </a:cxn>
                  <a:cxn ang="0">
                    <a:pos x="118" y="122"/>
                  </a:cxn>
                  <a:cxn ang="0">
                    <a:pos x="129" y="120"/>
                  </a:cxn>
                  <a:cxn ang="0">
                    <a:pos x="135" y="112"/>
                  </a:cxn>
                  <a:cxn ang="0">
                    <a:pos x="147" y="109"/>
                  </a:cxn>
                  <a:cxn ang="0">
                    <a:pos x="174" y="119"/>
                  </a:cxn>
                  <a:cxn ang="0">
                    <a:pos x="191" y="126"/>
                  </a:cxn>
                  <a:cxn ang="0">
                    <a:pos x="201" y="136"/>
                  </a:cxn>
                  <a:cxn ang="0">
                    <a:pos x="215" y="143"/>
                  </a:cxn>
                  <a:cxn ang="0">
                    <a:pos x="225" y="138"/>
                  </a:cxn>
                  <a:cxn ang="0">
                    <a:pos x="232" y="127"/>
                  </a:cxn>
                  <a:cxn ang="0">
                    <a:pos x="244" y="129"/>
                  </a:cxn>
                  <a:cxn ang="0">
                    <a:pos x="251" y="119"/>
                  </a:cxn>
                  <a:cxn ang="0">
                    <a:pos x="265" y="101"/>
                  </a:cxn>
                </a:cxnLst>
                <a:rect l="0" t="0" r="r" b="b"/>
                <a:pathLst>
                  <a:path w="267" h="151">
                    <a:moveTo>
                      <a:pt x="266" y="90"/>
                    </a:moveTo>
                    <a:cubicBezTo>
                      <a:pt x="264" y="89"/>
                      <a:pt x="264" y="89"/>
                      <a:pt x="264" y="89"/>
                    </a:cubicBezTo>
                    <a:cubicBezTo>
                      <a:pt x="262" y="83"/>
                      <a:pt x="262" y="83"/>
                      <a:pt x="262" y="83"/>
                    </a:cubicBezTo>
                    <a:cubicBezTo>
                      <a:pt x="259" y="74"/>
                      <a:pt x="259" y="74"/>
                      <a:pt x="259" y="74"/>
                    </a:cubicBezTo>
                    <a:cubicBezTo>
                      <a:pt x="256" y="73"/>
                      <a:pt x="256" y="73"/>
                      <a:pt x="256" y="73"/>
                    </a:cubicBezTo>
                    <a:cubicBezTo>
                      <a:pt x="255" y="68"/>
                      <a:pt x="255" y="68"/>
                      <a:pt x="255" y="68"/>
                    </a:cubicBezTo>
                    <a:cubicBezTo>
                      <a:pt x="247" y="66"/>
                      <a:pt x="247" y="66"/>
                      <a:pt x="247" y="66"/>
                    </a:cubicBezTo>
                    <a:cubicBezTo>
                      <a:pt x="249" y="61"/>
                      <a:pt x="249" y="61"/>
                      <a:pt x="249" y="61"/>
                    </a:cubicBezTo>
                    <a:cubicBezTo>
                      <a:pt x="249" y="61"/>
                      <a:pt x="247" y="58"/>
                      <a:pt x="245" y="58"/>
                    </a:cubicBezTo>
                    <a:cubicBezTo>
                      <a:pt x="242" y="58"/>
                      <a:pt x="237" y="61"/>
                      <a:pt x="237" y="61"/>
                    </a:cubicBezTo>
                    <a:cubicBezTo>
                      <a:pt x="239" y="50"/>
                      <a:pt x="239" y="50"/>
                      <a:pt x="239" y="50"/>
                    </a:cubicBezTo>
                    <a:cubicBezTo>
                      <a:pt x="237" y="46"/>
                      <a:pt x="237" y="46"/>
                      <a:pt x="237" y="46"/>
                    </a:cubicBezTo>
                    <a:cubicBezTo>
                      <a:pt x="240" y="42"/>
                      <a:pt x="240" y="42"/>
                      <a:pt x="240" y="42"/>
                    </a:cubicBezTo>
                    <a:cubicBezTo>
                      <a:pt x="240" y="31"/>
                      <a:pt x="240" y="31"/>
                      <a:pt x="240" y="31"/>
                    </a:cubicBezTo>
                    <a:cubicBezTo>
                      <a:pt x="240" y="31"/>
                      <a:pt x="237" y="28"/>
                      <a:pt x="234" y="27"/>
                    </a:cubicBezTo>
                    <a:cubicBezTo>
                      <a:pt x="232" y="26"/>
                      <a:pt x="225" y="25"/>
                      <a:pt x="225" y="25"/>
                    </a:cubicBezTo>
                    <a:cubicBezTo>
                      <a:pt x="223" y="18"/>
                      <a:pt x="223" y="18"/>
                      <a:pt x="223" y="18"/>
                    </a:cubicBezTo>
                    <a:cubicBezTo>
                      <a:pt x="223" y="18"/>
                      <a:pt x="215" y="20"/>
                      <a:pt x="212" y="20"/>
                    </a:cubicBezTo>
                    <a:cubicBezTo>
                      <a:pt x="209" y="21"/>
                      <a:pt x="201" y="18"/>
                      <a:pt x="201" y="18"/>
                    </a:cubicBezTo>
                    <a:cubicBezTo>
                      <a:pt x="190" y="26"/>
                      <a:pt x="190" y="26"/>
                      <a:pt x="190" y="26"/>
                    </a:cubicBezTo>
                    <a:cubicBezTo>
                      <a:pt x="186" y="23"/>
                      <a:pt x="186" y="23"/>
                      <a:pt x="186" y="23"/>
                    </a:cubicBezTo>
                    <a:cubicBezTo>
                      <a:pt x="177" y="23"/>
                      <a:pt x="177" y="23"/>
                      <a:pt x="177" y="23"/>
                    </a:cubicBezTo>
                    <a:cubicBezTo>
                      <a:pt x="175" y="23"/>
                      <a:pt x="176" y="18"/>
                      <a:pt x="174" y="16"/>
                    </a:cubicBezTo>
                    <a:cubicBezTo>
                      <a:pt x="172" y="15"/>
                      <a:pt x="167" y="13"/>
                      <a:pt x="167" y="13"/>
                    </a:cubicBezTo>
                    <a:cubicBezTo>
                      <a:pt x="167" y="9"/>
                      <a:pt x="167" y="9"/>
                      <a:pt x="167" y="9"/>
                    </a:cubicBezTo>
                    <a:cubicBezTo>
                      <a:pt x="167" y="9"/>
                      <a:pt x="163" y="11"/>
                      <a:pt x="161" y="11"/>
                    </a:cubicBezTo>
                    <a:cubicBezTo>
                      <a:pt x="159" y="11"/>
                      <a:pt x="157" y="6"/>
                      <a:pt x="157" y="6"/>
                    </a:cubicBezTo>
                    <a:cubicBezTo>
                      <a:pt x="153" y="9"/>
                      <a:pt x="153" y="9"/>
                      <a:pt x="153" y="9"/>
                    </a:cubicBezTo>
                    <a:cubicBezTo>
                      <a:pt x="150" y="4"/>
                      <a:pt x="150" y="4"/>
                      <a:pt x="150" y="4"/>
                    </a:cubicBezTo>
                    <a:cubicBezTo>
                      <a:pt x="146" y="4"/>
                      <a:pt x="146" y="4"/>
                      <a:pt x="146" y="4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9" y="5"/>
                      <a:pt x="139" y="5"/>
                      <a:pt x="139" y="5"/>
                    </a:cubicBezTo>
                    <a:cubicBezTo>
                      <a:pt x="135" y="0"/>
                      <a:pt x="135" y="0"/>
                      <a:pt x="135" y="0"/>
                    </a:cubicBezTo>
                    <a:cubicBezTo>
                      <a:pt x="132" y="0"/>
                      <a:pt x="132" y="0"/>
                      <a:pt x="132" y="0"/>
                    </a:cubicBezTo>
                    <a:cubicBezTo>
                      <a:pt x="127" y="9"/>
                      <a:pt x="127" y="9"/>
                      <a:pt x="127" y="9"/>
                    </a:cubicBezTo>
                    <a:cubicBezTo>
                      <a:pt x="121" y="7"/>
                      <a:pt x="121" y="7"/>
                      <a:pt x="121" y="7"/>
                    </a:cubicBezTo>
                    <a:cubicBezTo>
                      <a:pt x="118" y="14"/>
                      <a:pt x="118" y="14"/>
                      <a:pt x="118" y="14"/>
                    </a:cubicBezTo>
                    <a:cubicBezTo>
                      <a:pt x="115" y="11"/>
                      <a:pt x="115" y="11"/>
                      <a:pt x="115" y="11"/>
                    </a:cubicBezTo>
                    <a:cubicBezTo>
                      <a:pt x="112" y="14"/>
                      <a:pt x="112" y="14"/>
                      <a:pt x="112" y="14"/>
                    </a:cubicBezTo>
                    <a:cubicBezTo>
                      <a:pt x="111" y="18"/>
                      <a:pt x="111" y="18"/>
                      <a:pt x="111" y="18"/>
                    </a:cubicBezTo>
                    <a:cubicBezTo>
                      <a:pt x="109" y="18"/>
                      <a:pt x="109" y="18"/>
                      <a:pt x="109" y="18"/>
                    </a:cubicBezTo>
                    <a:cubicBezTo>
                      <a:pt x="109" y="23"/>
                      <a:pt x="109" y="23"/>
                      <a:pt x="109" y="23"/>
                    </a:cubicBezTo>
                    <a:cubicBezTo>
                      <a:pt x="114" y="44"/>
                      <a:pt x="114" y="44"/>
                      <a:pt x="114" y="44"/>
                    </a:cubicBezTo>
                    <a:cubicBezTo>
                      <a:pt x="114" y="44"/>
                      <a:pt x="117" y="54"/>
                      <a:pt x="117" y="60"/>
                    </a:cubicBezTo>
                    <a:cubicBezTo>
                      <a:pt x="116" y="64"/>
                      <a:pt x="110" y="67"/>
                      <a:pt x="108" y="68"/>
                    </a:cubicBezTo>
                    <a:cubicBezTo>
                      <a:pt x="106" y="69"/>
                      <a:pt x="103" y="76"/>
                      <a:pt x="95" y="79"/>
                    </a:cubicBezTo>
                    <a:cubicBezTo>
                      <a:pt x="87" y="83"/>
                      <a:pt x="86" y="75"/>
                      <a:pt x="86" y="75"/>
                    </a:cubicBezTo>
                    <a:cubicBezTo>
                      <a:pt x="78" y="75"/>
                      <a:pt x="78" y="75"/>
                      <a:pt x="78" y="75"/>
                    </a:cubicBezTo>
                    <a:cubicBezTo>
                      <a:pt x="76" y="75"/>
                      <a:pt x="76" y="68"/>
                      <a:pt x="76" y="66"/>
                    </a:cubicBezTo>
                    <a:cubicBezTo>
                      <a:pt x="75" y="65"/>
                      <a:pt x="73" y="62"/>
                      <a:pt x="73" y="62"/>
                    </a:cubicBezTo>
                    <a:cubicBezTo>
                      <a:pt x="73" y="59"/>
                      <a:pt x="73" y="59"/>
                      <a:pt x="73" y="59"/>
                    </a:cubicBezTo>
                    <a:cubicBezTo>
                      <a:pt x="65" y="56"/>
                      <a:pt x="65" y="56"/>
                      <a:pt x="65" y="56"/>
                    </a:cubicBezTo>
                    <a:cubicBezTo>
                      <a:pt x="65" y="56"/>
                      <a:pt x="64" y="51"/>
                      <a:pt x="61" y="50"/>
                    </a:cubicBezTo>
                    <a:cubicBezTo>
                      <a:pt x="58" y="49"/>
                      <a:pt x="51" y="46"/>
                      <a:pt x="51" y="46"/>
                    </a:cubicBezTo>
                    <a:cubicBezTo>
                      <a:pt x="48" y="36"/>
                      <a:pt x="48" y="36"/>
                      <a:pt x="48" y="36"/>
                    </a:cubicBezTo>
                    <a:cubicBezTo>
                      <a:pt x="18" y="54"/>
                      <a:pt x="18" y="54"/>
                      <a:pt x="18" y="54"/>
                    </a:cubicBezTo>
                    <a:cubicBezTo>
                      <a:pt x="11" y="75"/>
                      <a:pt x="11" y="75"/>
                      <a:pt x="11" y="75"/>
                    </a:cubicBezTo>
                    <a:cubicBezTo>
                      <a:pt x="12" y="88"/>
                      <a:pt x="12" y="88"/>
                      <a:pt x="12" y="88"/>
                    </a:cubicBezTo>
                    <a:cubicBezTo>
                      <a:pt x="0" y="105"/>
                      <a:pt x="0" y="105"/>
                      <a:pt x="0" y="105"/>
                    </a:cubicBezTo>
                    <a:cubicBezTo>
                      <a:pt x="2" y="116"/>
                      <a:pt x="2" y="116"/>
                      <a:pt x="2" y="116"/>
                    </a:cubicBezTo>
                    <a:cubicBezTo>
                      <a:pt x="1" y="127"/>
                      <a:pt x="1" y="127"/>
                      <a:pt x="1" y="127"/>
                    </a:cubicBezTo>
                    <a:cubicBezTo>
                      <a:pt x="2" y="127"/>
                      <a:pt x="2" y="127"/>
                      <a:pt x="2" y="127"/>
                    </a:cubicBezTo>
                    <a:cubicBezTo>
                      <a:pt x="2" y="123"/>
                      <a:pt x="2" y="123"/>
                      <a:pt x="2" y="123"/>
                    </a:cubicBezTo>
                    <a:cubicBezTo>
                      <a:pt x="4" y="123"/>
                      <a:pt x="4" y="123"/>
                      <a:pt x="4" y="123"/>
                    </a:cubicBezTo>
                    <a:cubicBezTo>
                      <a:pt x="4" y="131"/>
                      <a:pt x="4" y="131"/>
                      <a:pt x="4" y="13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1" y="129"/>
                      <a:pt x="1" y="129"/>
                      <a:pt x="1" y="129"/>
                    </a:cubicBezTo>
                    <a:cubicBezTo>
                      <a:pt x="0" y="135"/>
                      <a:pt x="0" y="135"/>
                      <a:pt x="0" y="135"/>
                    </a:cubicBezTo>
                    <a:cubicBezTo>
                      <a:pt x="2" y="145"/>
                      <a:pt x="2" y="145"/>
                      <a:pt x="2" y="145"/>
                    </a:cubicBezTo>
                    <a:cubicBezTo>
                      <a:pt x="5" y="151"/>
                      <a:pt x="5" y="151"/>
                      <a:pt x="5" y="151"/>
                    </a:cubicBezTo>
                    <a:cubicBezTo>
                      <a:pt x="9" y="147"/>
                      <a:pt x="9" y="147"/>
                      <a:pt x="9" y="147"/>
                    </a:cubicBezTo>
                    <a:cubicBezTo>
                      <a:pt x="10" y="149"/>
                      <a:pt x="10" y="149"/>
                      <a:pt x="10" y="149"/>
                    </a:cubicBezTo>
                    <a:cubicBezTo>
                      <a:pt x="12" y="147"/>
                      <a:pt x="12" y="147"/>
                      <a:pt x="12" y="147"/>
                    </a:cubicBezTo>
                    <a:cubicBezTo>
                      <a:pt x="12" y="147"/>
                      <a:pt x="17" y="138"/>
                      <a:pt x="21" y="133"/>
                    </a:cubicBezTo>
                    <a:cubicBezTo>
                      <a:pt x="25" y="129"/>
                      <a:pt x="28" y="131"/>
                      <a:pt x="28" y="131"/>
                    </a:cubicBezTo>
                    <a:cubicBezTo>
                      <a:pt x="33" y="127"/>
                      <a:pt x="33" y="127"/>
                      <a:pt x="33" y="127"/>
                    </a:cubicBezTo>
                    <a:cubicBezTo>
                      <a:pt x="36" y="128"/>
                      <a:pt x="36" y="128"/>
                      <a:pt x="36" y="128"/>
                    </a:cubicBezTo>
                    <a:cubicBezTo>
                      <a:pt x="41" y="123"/>
                      <a:pt x="41" y="123"/>
                      <a:pt x="41" y="123"/>
                    </a:cubicBezTo>
                    <a:cubicBezTo>
                      <a:pt x="59" y="122"/>
                      <a:pt x="59" y="122"/>
                      <a:pt x="59" y="122"/>
                    </a:cubicBezTo>
                    <a:cubicBezTo>
                      <a:pt x="63" y="125"/>
                      <a:pt x="63" y="125"/>
                      <a:pt x="63" y="125"/>
                    </a:cubicBezTo>
                    <a:cubicBezTo>
                      <a:pt x="71" y="120"/>
                      <a:pt x="71" y="120"/>
                      <a:pt x="71" y="120"/>
                    </a:cubicBezTo>
                    <a:cubicBezTo>
                      <a:pt x="75" y="119"/>
                      <a:pt x="75" y="119"/>
                      <a:pt x="75" y="119"/>
                    </a:cubicBezTo>
                    <a:cubicBezTo>
                      <a:pt x="76" y="125"/>
                      <a:pt x="76" y="125"/>
                      <a:pt x="76" y="125"/>
                    </a:cubicBezTo>
                    <a:cubicBezTo>
                      <a:pt x="80" y="125"/>
                      <a:pt x="80" y="125"/>
                      <a:pt x="80" y="125"/>
                    </a:cubicBezTo>
                    <a:cubicBezTo>
                      <a:pt x="82" y="120"/>
                      <a:pt x="82" y="120"/>
                      <a:pt x="82" y="120"/>
                    </a:cubicBezTo>
                    <a:cubicBezTo>
                      <a:pt x="88" y="119"/>
                      <a:pt x="88" y="119"/>
                      <a:pt x="88" y="119"/>
                    </a:cubicBezTo>
                    <a:cubicBezTo>
                      <a:pt x="95" y="122"/>
                      <a:pt x="95" y="122"/>
                      <a:pt x="95" y="122"/>
                    </a:cubicBezTo>
                    <a:cubicBezTo>
                      <a:pt x="99" y="117"/>
                      <a:pt x="99" y="117"/>
                      <a:pt x="99" y="117"/>
                    </a:cubicBezTo>
                    <a:cubicBezTo>
                      <a:pt x="112" y="117"/>
                      <a:pt x="112" y="117"/>
                      <a:pt x="112" y="117"/>
                    </a:cubicBezTo>
                    <a:cubicBezTo>
                      <a:pt x="118" y="122"/>
                      <a:pt x="118" y="122"/>
                      <a:pt x="118" y="122"/>
                    </a:cubicBezTo>
                    <a:cubicBezTo>
                      <a:pt x="125" y="119"/>
                      <a:pt x="125" y="119"/>
                      <a:pt x="125" y="119"/>
                    </a:cubicBezTo>
                    <a:cubicBezTo>
                      <a:pt x="129" y="120"/>
                      <a:pt x="129" y="120"/>
                      <a:pt x="129" y="120"/>
                    </a:cubicBezTo>
                    <a:cubicBezTo>
                      <a:pt x="132" y="119"/>
                      <a:pt x="132" y="119"/>
                      <a:pt x="132" y="119"/>
                    </a:cubicBezTo>
                    <a:cubicBezTo>
                      <a:pt x="135" y="112"/>
                      <a:pt x="135" y="112"/>
                      <a:pt x="135" y="112"/>
                    </a:cubicBezTo>
                    <a:cubicBezTo>
                      <a:pt x="142" y="107"/>
                      <a:pt x="142" y="107"/>
                      <a:pt x="142" y="107"/>
                    </a:cubicBezTo>
                    <a:cubicBezTo>
                      <a:pt x="147" y="109"/>
                      <a:pt x="147" y="109"/>
                      <a:pt x="147" y="109"/>
                    </a:cubicBezTo>
                    <a:cubicBezTo>
                      <a:pt x="153" y="121"/>
                      <a:pt x="153" y="121"/>
                      <a:pt x="153" y="121"/>
                    </a:cubicBezTo>
                    <a:cubicBezTo>
                      <a:pt x="174" y="119"/>
                      <a:pt x="174" y="119"/>
                      <a:pt x="174" y="119"/>
                    </a:cubicBezTo>
                    <a:cubicBezTo>
                      <a:pt x="174" y="122"/>
                      <a:pt x="174" y="122"/>
                      <a:pt x="174" y="122"/>
                    </a:cubicBezTo>
                    <a:cubicBezTo>
                      <a:pt x="174" y="122"/>
                      <a:pt x="188" y="123"/>
                      <a:pt x="191" y="126"/>
                    </a:cubicBezTo>
                    <a:cubicBezTo>
                      <a:pt x="193" y="129"/>
                      <a:pt x="196" y="136"/>
                      <a:pt x="196" y="136"/>
                    </a:cubicBezTo>
                    <a:cubicBezTo>
                      <a:pt x="201" y="136"/>
                      <a:pt x="201" y="136"/>
                      <a:pt x="201" y="136"/>
                    </a:cubicBezTo>
                    <a:cubicBezTo>
                      <a:pt x="202" y="140"/>
                      <a:pt x="202" y="140"/>
                      <a:pt x="202" y="140"/>
                    </a:cubicBezTo>
                    <a:cubicBezTo>
                      <a:pt x="215" y="143"/>
                      <a:pt x="215" y="143"/>
                      <a:pt x="215" y="143"/>
                    </a:cubicBezTo>
                    <a:cubicBezTo>
                      <a:pt x="219" y="140"/>
                      <a:pt x="219" y="140"/>
                      <a:pt x="219" y="140"/>
                    </a:cubicBezTo>
                    <a:cubicBezTo>
                      <a:pt x="219" y="140"/>
                      <a:pt x="223" y="141"/>
                      <a:pt x="225" y="138"/>
                    </a:cubicBezTo>
                    <a:cubicBezTo>
                      <a:pt x="228" y="136"/>
                      <a:pt x="228" y="129"/>
                      <a:pt x="228" y="129"/>
                    </a:cubicBezTo>
                    <a:cubicBezTo>
                      <a:pt x="232" y="127"/>
                      <a:pt x="232" y="127"/>
                      <a:pt x="232" y="127"/>
                    </a:cubicBezTo>
                    <a:cubicBezTo>
                      <a:pt x="232" y="127"/>
                      <a:pt x="237" y="130"/>
                      <a:pt x="239" y="130"/>
                    </a:cubicBezTo>
                    <a:cubicBezTo>
                      <a:pt x="241" y="130"/>
                      <a:pt x="244" y="129"/>
                      <a:pt x="244" y="129"/>
                    </a:cubicBezTo>
                    <a:cubicBezTo>
                      <a:pt x="244" y="129"/>
                      <a:pt x="248" y="130"/>
                      <a:pt x="251" y="128"/>
                    </a:cubicBezTo>
                    <a:cubicBezTo>
                      <a:pt x="254" y="125"/>
                      <a:pt x="251" y="119"/>
                      <a:pt x="251" y="119"/>
                    </a:cubicBezTo>
                    <a:cubicBezTo>
                      <a:pt x="260" y="105"/>
                      <a:pt x="260" y="105"/>
                      <a:pt x="260" y="105"/>
                    </a:cubicBezTo>
                    <a:cubicBezTo>
                      <a:pt x="260" y="105"/>
                      <a:pt x="262" y="105"/>
                      <a:pt x="265" y="101"/>
                    </a:cubicBezTo>
                    <a:cubicBezTo>
                      <a:pt x="267" y="97"/>
                      <a:pt x="266" y="90"/>
                      <a:pt x="266" y="90"/>
                    </a:cubicBez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45" name="Kosovo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858622" y="5005434"/>
                <a:ext cx="199550" cy="204741"/>
              </a:xfrm>
              <a:custGeom>
                <a:avLst/>
                <a:gdLst/>
                <a:ahLst/>
                <a:cxnLst>
                  <a:cxn ang="0">
                    <a:pos x="63" y="40"/>
                  </a:cxn>
                  <a:cxn ang="0">
                    <a:pos x="65" y="36"/>
                  </a:cxn>
                  <a:cxn ang="0">
                    <a:pos x="68" y="29"/>
                  </a:cxn>
                  <a:cxn ang="0">
                    <a:pos x="66" y="24"/>
                  </a:cxn>
                  <a:cxn ang="0">
                    <a:pos x="61" y="22"/>
                  </a:cxn>
                  <a:cxn ang="0">
                    <a:pos x="59" y="21"/>
                  </a:cxn>
                  <a:cxn ang="0">
                    <a:pos x="54" y="19"/>
                  </a:cxn>
                  <a:cxn ang="0">
                    <a:pos x="51" y="16"/>
                  </a:cxn>
                  <a:cxn ang="0">
                    <a:pos x="47" y="15"/>
                  </a:cxn>
                  <a:cxn ang="0">
                    <a:pos x="44" y="11"/>
                  </a:cxn>
                  <a:cxn ang="0">
                    <a:pos x="39" y="9"/>
                  </a:cxn>
                  <a:cxn ang="0">
                    <a:pos x="37" y="8"/>
                  </a:cxn>
                  <a:cxn ang="0">
                    <a:pos x="34" y="7"/>
                  </a:cxn>
                  <a:cxn ang="0">
                    <a:pos x="32" y="6"/>
                  </a:cxn>
                  <a:cxn ang="0">
                    <a:pos x="33" y="2"/>
                  </a:cxn>
                  <a:cxn ang="0">
                    <a:pos x="31" y="1"/>
                  </a:cxn>
                  <a:cxn ang="0">
                    <a:pos x="27" y="4"/>
                  </a:cxn>
                  <a:cxn ang="0">
                    <a:pos x="24" y="9"/>
                  </a:cxn>
                  <a:cxn ang="0">
                    <a:pos x="25" y="15"/>
                  </a:cxn>
                  <a:cxn ang="0">
                    <a:pos x="22" y="20"/>
                  </a:cxn>
                  <a:cxn ang="0">
                    <a:pos x="18" y="24"/>
                  </a:cxn>
                  <a:cxn ang="0">
                    <a:pos x="10" y="24"/>
                  </a:cxn>
                  <a:cxn ang="0">
                    <a:pos x="6" y="25"/>
                  </a:cxn>
                  <a:cxn ang="0">
                    <a:pos x="0" y="27"/>
                  </a:cxn>
                  <a:cxn ang="0">
                    <a:pos x="5" y="37"/>
                  </a:cxn>
                  <a:cxn ang="0">
                    <a:pos x="12" y="38"/>
                  </a:cxn>
                  <a:cxn ang="0">
                    <a:pos x="26" y="48"/>
                  </a:cxn>
                  <a:cxn ang="0">
                    <a:pos x="29" y="69"/>
                  </a:cxn>
                  <a:cxn ang="0">
                    <a:pos x="35" y="55"/>
                  </a:cxn>
                  <a:cxn ang="0">
                    <a:pos x="46" y="47"/>
                  </a:cxn>
                  <a:cxn ang="0">
                    <a:pos x="58" y="43"/>
                  </a:cxn>
                  <a:cxn ang="0">
                    <a:pos x="63" y="42"/>
                  </a:cxn>
                </a:cxnLst>
                <a:rect l="0" t="0" r="r" b="b"/>
                <a:pathLst>
                  <a:path w="68" h="69">
                    <a:moveTo>
                      <a:pt x="63" y="42"/>
                    </a:moveTo>
                    <a:cubicBezTo>
                      <a:pt x="63" y="41"/>
                      <a:pt x="63" y="40"/>
                      <a:pt x="63" y="40"/>
                    </a:cubicBezTo>
                    <a:cubicBezTo>
                      <a:pt x="63" y="40"/>
                      <a:pt x="64" y="39"/>
                      <a:pt x="64" y="38"/>
                    </a:cubicBezTo>
                    <a:cubicBezTo>
                      <a:pt x="64" y="38"/>
                      <a:pt x="65" y="36"/>
                      <a:pt x="65" y="36"/>
                    </a:cubicBezTo>
                    <a:cubicBezTo>
                      <a:pt x="67" y="32"/>
                      <a:pt x="67" y="32"/>
                      <a:pt x="67" y="32"/>
                    </a:cubicBezTo>
                    <a:cubicBezTo>
                      <a:pt x="67" y="32"/>
                      <a:pt x="68" y="30"/>
                      <a:pt x="68" y="29"/>
                    </a:cubicBezTo>
                    <a:cubicBezTo>
                      <a:pt x="68" y="29"/>
                      <a:pt x="67" y="27"/>
                      <a:pt x="67" y="27"/>
                    </a:cubicBezTo>
                    <a:cubicBezTo>
                      <a:pt x="67" y="27"/>
                      <a:pt x="66" y="24"/>
                      <a:pt x="66" y="24"/>
                    </a:cubicBezTo>
                    <a:cubicBezTo>
                      <a:pt x="65" y="23"/>
                      <a:pt x="63" y="23"/>
                      <a:pt x="63" y="23"/>
                    </a:cubicBezTo>
                    <a:cubicBezTo>
                      <a:pt x="61" y="22"/>
                      <a:pt x="61" y="22"/>
                      <a:pt x="61" y="22"/>
                    </a:cubicBezTo>
                    <a:cubicBezTo>
                      <a:pt x="60" y="21"/>
                      <a:pt x="60" y="21"/>
                      <a:pt x="60" y="21"/>
                    </a:cubicBezTo>
                    <a:cubicBezTo>
                      <a:pt x="59" y="21"/>
                      <a:pt x="59" y="21"/>
                      <a:pt x="59" y="21"/>
                    </a:cubicBezTo>
                    <a:cubicBezTo>
                      <a:pt x="56" y="20"/>
                      <a:pt x="56" y="20"/>
                      <a:pt x="56" y="20"/>
                    </a:cubicBezTo>
                    <a:cubicBezTo>
                      <a:pt x="54" y="19"/>
                      <a:pt x="54" y="19"/>
                      <a:pt x="54" y="19"/>
                    </a:cubicBezTo>
                    <a:cubicBezTo>
                      <a:pt x="52" y="18"/>
                      <a:pt x="52" y="18"/>
                      <a:pt x="52" y="18"/>
                    </a:cubicBezTo>
                    <a:cubicBezTo>
                      <a:pt x="52" y="18"/>
                      <a:pt x="51" y="16"/>
                      <a:pt x="51" y="16"/>
                    </a:cubicBezTo>
                    <a:cubicBezTo>
                      <a:pt x="51" y="16"/>
                      <a:pt x="50" y="16"/>
                      <a:pt x="49" y="16"/>
                    </a:cubicBezTo>
                    <a:cubicBezTo>
                      <a:pt x="48" y="16"/>
                      <a:pt x="47" y="15"/>
                      <a:pt x="47" y="15"/>
                    </a:cubicBezTo>
                    <a:cubicBezTo>
                      <a:pt x="47" y="15"/>
                      <a:pt x="47" y="12"/>
                      <a:pt x="47" y="12"/>
                    </a:cubicBezTo>
                    <a:cubicBezTo>
                      <a:pt x="46" y="11"/>
                      <a:pt x="44" y="11"/>
                      <a:pt x="44" y="11"/>
                    </a:cubicBezTo>
                    <a:cubicBezTo>
                      <a:pt x="44" y="11"/>
                      <a:pt x="44" y="9"/>
                      <a:pt x="43" y="9"/>
                    </a:cubicBezTo>
                    <a:cubicBezTo>
                      <a:pt x="42" y="9"/>
                      <a:pt x="40" y="10"/>
                      <a:pt x="39" y="9"/>
                    </a:cubicBezTo>
                    <a:cubicBezTo>
                      <a:pt x="39" y="9"/>
                      <a:pt x="39" y="9"/>
                      <a:pt x="39" y="9"/>
                    </a:cubicBezTo>
                    <a:cubicBezTo>
                      <a:pt x="38" y="8"/>
                      <a:pt x="38" y="8"/>
                      <a:pt x="37" y="8"/>
                    </a:cubicBezTo>
                    <a:cubicBezTo>
                      <a:pt x="37" y="8"/>
                      <a:pt x="37" y="7"/>
                      <a:pt x="37" y="7"/>
                    </a:cubicBezTo>
                    <a:cubicBezTo>
                      <a:pt x="34" y="7"/>
                      <a:pt x="34" y="7"/>
                      <a:pt x="34" y="7"/>
                    </a:cubicBezTo>
                    <a:cubicBezTo>
                      <a:pt x="33" y="7"/>
                      <a:pt x="33" y="7"/>
                      <a:pt x="33" y="7"/>
                    </a:cubicBezTo>
                    <a:cubicBezTo>
                      <a:pt x="33" y="7"/>
                      <a:pt x="32" y="6"/>
                      <a:pt x="32" y="6"/>
                    </a:cubicBezTo>
                    <a:cubicBezTo>
                      <a:pt x="32" y="6"/>
                      <a:pt x="33" y="5"/>
                      <a:pt x="34" y="4"/>
                    </a:cubicBezTo>
                    <a:cubicBezTo>
                      <a:pt x="34" y="3"/>
                      <a:pt x="33" y="2"/>
                      <a:pt x="33" y="2"/>
                    </a:cubicBezTo>
                    <a:cubicBezTo>
                      <a:pt x="33" y="2"/>
                      <a:pt x="33" y="0"/>
                      <a:pt x="32" y="0"/>
                    </a:cubicBezTo>
                    <a:cubicBezTo>
                      <a:pt x="31" y="0"/>
                      <a:pt x="31" y="2"/>
                      <a:pt x="31" y="1"/>
                    </a:cubicBezTo>
                    <a:cubicBezTo>
                      <a:pt x="31" y="1"/>
                      <a:pt x="30" y="4"/>
                      <a:pt x="30" y="4"/>
                    </a:cubicBezTo>
                    <a:cubicBezTo>
                      <a:pt x="29" y="4"/>
                      <a:pt x="28" y="3"/>
                      <a:pt x="27" y="4"/>
                    </a:cubicBezTo>
                    <a:cubicBezTo>
                      <a:pt x="26" y="4"/>
                      <a:pt x="25" y="5"/>
                      <a:pt x="25" y="5"/>
                    </a:cubicBezTo>
                    <a:cubicBezTo>
                      <a:pt x="25" y="5"/>
                      <a:pt x="24" y="8"/>
                      <a:pt x="24" y="9"/>
                    </a:cubicBezTo>
                    <a:cubicBezTo>
                      <a:pt x="25" y="9"/>
                      <a:pt x="25" y="10"/>
                      <a:pt x="26" y="11"/>
                    </a:cubicBezTo>
                    <a:cubicBezTo>
                      <a:pt x="26" y="11"/>
                      <a:pt x="25" y="15"/>
                      <a:pt x="25" y="15"/>
                    </a:cubicBezTo>
                    <a:cubicBezTo>
                      <a:pt x="25" y="15"/>
                      <a:pt x="23" y="17"/>
                      <a:pt x="22" y="18"/>
                    </a:cubicBezTo>
                    <a:cubicBezTo>
                      <a:pt x="21" y="19"/>
                      <a:pt x="22" y="20"/>
                      <a:pt x="22" y="20"/>
                    </a:cubicBezTo>
                    <a:cubicBezTo>
                      <a:pt x="21" y="21"/>
                      <a:pt x="21" y="22"/>
                      <a:pt x="20" y="23"/>
                    </a:cubicBezTo>
                    <a:cubicBezTo>
                      <a:pt x="20" y="23"/>
                      <a:pt x="18" y="24"/>
                      <a:pt x="18" y="24"/>
                    </a:cubicBezTo>
                    <a:cubicBezTo>
                      <a:pt x="14" y="24"/>
                      <a:pt x="14" y="24"/>
                      <a:pt x="14" y="24"/>
                    </a:cubicBezTo>
                    <a:cubicBezTo>
                      <a:pt x="10" y="24"/>
                      <a:pt x="10" y="24"/>
                      <a:pt x="10" y="24"/>
                    </a:cubicBezTo>
                    <a:cubicBezTo>
                      <a:pt x="9" y="26"/>
                      <a:pt x="9" y="26"/>
                      <a:pt x="9" y="26"/>
                    </a:cubicBezTo>
                    <a:cubicBezTo>
                      <a:pt x="6" y="25"/>
                      <a:pt x="6" y="25"/>
                      <a:pt x="6" y="25"/>
                    </a:cubicBezTo>
                    <a:cubicBezTo>
                      <a:pt x="3" y="25"/>
                      <a:pt x="3" y="25"/>
                      <a:pt x="3" y="25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4" y="35"/>
                      <a:pt x="4" y="35"/>
                      <a:pt x="4" y="35"/>
                    </a:cubicBezTo>
                    <a:cubicBezTo>
                      <a:pt x="5" y="37"/>
                      <a:pt x="5" y="37"/>
                      <a:pt x="5" y="37"/>
                    </a:cubicBezTo>
                    <a:cubicBezTo>
                      <a:pt x="9" y="35"/>
                      <a:pt x="9" y="35"/>
                      <a:pt x="9" y="35"/>
                    </a:cubicBezTo>
                    <a:cubicBezTo>
                      <a:pt x="9" y="35"/>
                      <a:pt x="11" y="36"/>
                      <a:pt x="12" y="38"/>
                    </a:cubicBezTo>
                    <a:cubicBezTo>
                      <a:pt x="14" y="40"/>
                      <a:pt x="15" y="45"/>
                      <a:pt x="15" y="45"/>
                    </a:cubicBezTo>
                    <a:cubicBezTo>
                      <a:pt x="15" y="45"/>
                      <a:pt x="23" y="46"/>
                      <a:pt x="26" y="48"/>
                    </a:cubicBezTo>
                    <a:cubicBezTo>
                      <a:pt x="28" y="52"/>
                      <a:pt x="31" y="59"/>
                      <a:pt x="31" y="59"/>
                    </a:cubicBezTo>
                    <a:cubicBezTo>
                      <a:pt x="29" y="69"/>
                      <a:pt x="29" y="69"/>
                      <a:pt x="29" y="69"/>
                    </a:cubicBezTo>
                    <a:cubicBezTo>
                      <a:pt x="36" y="65"/>
                      <a:pt x="36" y="65"/>
                      <a:pt x="36" y="65"/>
                    </a:cubicBezTo>
                    <a:cubicBezTo>
                      <a:pt x="36" y="65"/>
                      <a:pt x="33" y="58"/>
                      <a:pt x="35" y="55"/>
                    </a:cubicBezTo>
                    <a:cubicBezTo>
                      <a:pt x="37" y="51"/>
                      <a:pt x="42" y="51"/>
                      <a:pt x="42" y="51"/>
                    </a:cubicBezTo>
                    <a:cubicBezTo>
                      <a:pt x="46" y="47"/>
                      <a:pt x="46" y="47"/>
                      <a:pt x="46" y="47"/>
                    </a:cubicBezTo>
                    <a:cubicBezTo>
                      <a:pt x="52" y="54"/>
                      <a:pt x="52" y="54"/>
                      <a:pt x="52" y="54"/>
                    </a:cubicBezTo>
                    <a:cubicBezTo>
                      <a:pt x="58" y="43"/>
                      <a:pt x="58" y="43"/>
                      <a:pt x="58" y="43"/>
                    </a:cubicBezTo>
                    <a:cubicBezTo>
                      <a:pt x="58" y="43"/>
                      <a:pt x="60" y="43"/>
                      <a:pt x="61" y="43"/>
                    </a:cubicBezTo>
                    <a:cubicBezTo>
                      <a:pt x="62" y="42"/>
                      <a:pt x="63" y="42"/>
                      <a:pt x="63" y="4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46" name="Italy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4491038" y="4529138"/>
                <a:ext cx="1255712" cy="1443037"/>
              </a:xfrm>
              <a:custGeom>
                <a:avLst/>
                <a:gdLst/>
                <a:ahLst/>
                <a:cxnLst>
                  <a:cxn ang="0">
                    <a:pos x="173" y="282"/>
                  </a:cxn>
                  <a:cxn ang="0">
                    <a:pos x="150" y="269"/>
                  </a:cxn>
                  <a:cxn ang="0">
                    <a:pos x="126" y="392"/>
                  </a:cxn>
                  <a:cxn ang="0">
                    <a:pos x="63" y="407"/>
                  </a:cxn>
                  <a:cxn ang="0">
                    <a:pos x="70" y="460"/>
                  </a:cxn>
                  <a:cxn ang="0">
                    <a:pos x="73" y="519"/>
                  </a:cxn>
                  <a:cxn ang="0">
                    <a:pos x="104" y="525"/>
                  </a:cxn>
                  <a:cxn ang="0">
                    <a:pos x="140" y="458"/>
                  </a:cxn>
                  <a:cxn ang="0">
                    <a:pos x="70" y="394"/>
                  </a:cxn>
                  <a:cxn ang="0">
                    <a:pos x="271" y="599"/>
                  </a:cxn>
                  <a:cxn ang="0">
                    <a:pos x="263" y="595"/>
                  </a:cxn>
                  <a:cxn ang="0">
                    <a:pos x="549" y="402"/>
                  </a:cxn>
                  <a:cxn ang="0">
                    <a:pos x="489" y="378"/>
                  </a:cxn>
                  <a:cxn ang="0">
                    <a:pos x="432" y="333"/>
                  </a:cxn>
                  <a:cxn ang="0">
                    <a:pos x="363" y="300"/>
                  </a:cxn>
                  <a:cxn ang="0">
                    <a:pos x="327" y="230"/>
                  </a:cxn>
                  <a:cxn ang="0">
                    <a:pos x="278" y="141"/>
                  </a:cxn>
                  <a:cxn ang="0">
                    <a:pos x="286" y="106"/>
                  </a:cxn>
                  <a:cxn ang="0">
                    <a:pos x="329" y="91"/>
                  </a:cxn>
                  <a:cxn ang="0">
                    <a:pos x="319" y="59"/>
                  </a:cxn>
                  <a:cxn ang="0">
                    <a:pos x="290" y="34"/>
                  </a:cxn>
                  <a:cxn ang="0">
                    <a:pos x="262" y="2"/>
                  </a:cxn>
                  <a:cxn ang="0">
                    <a:pos x="206" y="26"/>
                  </a:cxn>
                  <a:cxn ang="0">
                    <a:pos x="172" y="38"/>
                  </a:cxn>
                  <a:cxn ang="0">
                    <a:pos x="163" y="60"/>
                  </a:cxn>
                  <a:cxn ang="0">
                    <a:pos x="128" y="41"/>
                  </a:cxn>
                  <a:cxn ang="0">
                    <a:pos x="115" y="79"/>
                  </a:cxn>
                  <a:cxn ang="0">
                    <a:pos x="93" y="60"/>
                  </a:cxn>
                  <a:cxn ang="0">
                    <a:pos x="72" y="54"/>
                  </a:cxn>
                  <a:cxn ang="0">
                    <a:pos x="33" y="75"/>
                  </a:cxn>
                  <a:cxn ang="0">
                    <a:pos x="10" y="126"/>
                  </a:cxn>
                  <a:cxn ang="0">
                    <a:pos x="14" y="178"/>
                  </a:cxn>
                  <a:cxn ang="0">
                    <a:pos x="76" y="195"/>
                  </a:cxn>
                  <a:cxn ang="0">
                    <a:pos x="168" y="211"/>
                  </a:cxn>
                  <a:cxn ang="0">
                    <a:pos x="201" y="286"/>
                  </a:cxn>
                  <a:cxn ang="0">
                    <a:pos x="246" y="333"/>
                  </a:cxn>
                  <a:cxn ang="0">
                    <a:pos x="303" y="375"/>
                  </a:cxn>
                  <a:cxn ang="0">
                    <a:pos x="359" y="410"/>
                  </a:cxn>
                  <a:cxn ang="0">
                    <a:pos x="375" y="423"/>
                  </a:cxn>
                  <a:cxn ang="0">
                    <a:pos x="404" y="437"/>
                  </a:cxn>
                  <a:cxn ang="0">
                    <a:pos x="449" y="464"/>
                  </a:cxn>
                  <a:cxn ang="0">
                    <a:pos x="457" y="544"/>
                  </a:cxn>
                  <a:cxn ang="0">
                    <a:pos x="475" y="588"/>
                  </a:cxn>
                  <a:cxn ang="0">
                    <a:pos x="522" y="501"/>
                  </a:cxn>
                  <a:cxn ang="0">
                    <a:pos x="492" y="456"/>
                  </a:cxn>
                  <a:cxn ang="0">
                    <a:pos x="523" y="425"/>
                  </a:cxn>
                  <a:cxn ang="0">
                    <a:pos x="589" y="436"/>
                  </a:cxn>
                  <a:cxn ang="0">
                    <a:pos x="280" y="207"/>
                  </a:cxn>
                  <a:cxn ang="0">
                    <a:pos x="421" y="580"/>
                  </a:cxn>
                  <a:cxn ang="0">
                    <a:pos x="384" y="589"/>
                  </a:cxn>
                  <a:cxn ang="0">
                    <a:pos x="327" y="579"/>
                  </a:cxn>
                  <a:cxn ang="0">
                    <a:pos x="294" y="583"/>
                  </a:cxn>
                  <a:cxn ang="0">
                    <a:pos x="295" y="622"/>
                  </a:cxn>
                  <a:cxn ang="0">
                    <a:pos x="384" y="656"/>
                  </a:cxn>
                  <a:cxn ang="0">
                    <a:pos x="427" y="662"/>
                  </a:cxn>
                  <a:cxn ang="0">
                    <a:pos x="427" y="634"/>
                  </a:cxn>
                  <a:cxn ang="0">
                    <a:pos x="446" y="568"/>
                  </a:cxn>
                </a:cxnLst>
                <a:rect l="0" t="0" r="r" b="b"/>
                <a:pathLst>
                  <a:path w="589" h="678">
                    <a:moveTo>
                      <a:pt x="173" y="282"/>
                    </a:moveTo>
                    <a:cubicBezTo>
                      <a:pt x="161" y="283"/>
                      <a:pt x="161" y="283"/>
                      <a:pt x="161" y="283"/>
                    </a:cubicBezTo>
                    <a:cubicBezTo>
                      <a:pt x="162" y="289"/>
                      <a:pt x="162" y="289"/>
                      <a:pt x="162" y="289"/>
                    </a:cubicBezTo>
                    <a:cubicBezTo>
                      <a:pt x="172" y="285"/>
                      <a:pt x="172" y="285"/>
                      <a:pt x="172" y="285"/>
                    </a:cubicBezTo>
                    <a:cubicBezTo>
                      <a:pt x="178" y="288"/>
                      <a:pt x="178" y="288"/>
                      <a:pt x="178" y="288"/>
                    </a:cubicBezTo>
                    <a:cubicBezTo>
                      <a:pt x="179" y="281"/>
                      <a:pt x="179" y="281"/>
                      <a:pt x="179" y="281"/>
                    </a:cubicBezTo>
                    <a:cubicBezTo>
                      <a:pt x="177" y="279"/>
                      <a:pt x="177" y="279"/>
                      <a:pt x="177" y="279"/>
                    </a:cubicBezTo>
                    <a:lnTo>
                      <a:pt x="173" y="282"/>
                    </a:lnTo>
                    <a:close/>
                    <a:moveTo>
                      <a:pt x="201" y="310"/>
                    </a:moveTo>
                    <a:cubicBezTo>
                      <a:pt x="196" y="311"/>
                      <a:pt x="200" y="315"/>
                      <a:pt x="200" y="315"/>
                    </a:cubicBezTo>
                    <a:cubicBezTo>
                      <a:pt x="203" y="315"/>
                      <a:pt x="205" y="310"/>
                      <a:pt x="201" y="310"/>
                    </a:cubicBezTo>
                    <a:close/>
                    <a:moveTo>
                      <a:pt x="158" y="294"/>
                    </a:moveTo>
                    <a:cubicBezTo>
                      <a:pt x="154" y="297"/>
                      <a:pt x="159" y="300"/>
                      <a:pt x="159" y="300"/>
                    </a:cubicBezTo>
                    <a:cubicBezTo>
                      <a:pt x="164" y="299"/>
                      <a:pt x="163" y="291"/>
                      <a:pt x="158" y="294"/>
                    </a:cubicBezTo>
                    <a:close/>
                    <a:moveTo>
                      <a:pt x="151" y="265"/>
                    </a:moveTo>
                    <a:cubicBezTo>
                      <a:pt x="147" y="265"/>
                      <a:pt x="150" y="269"/>
                      <a:pt x="150" y="269"/>
                    </a:cubicBezTo>
                    <a:cubicBezTo>
                      <a:pt x="154" y="268"/>
                      <a:pt x="154" y="264"/>
                      <a:pt x="151" y="265"/>
                    </a:cubicBezTo>
                    <a:close/>
                    <a:moveTo>
                      <a:pt x="142" y="408"/>
                    </a:moveTo>
                    <a:cubicBezTo>
                      <a:pt x="136" y="402"/>
                      <a:pt x="136" y="402"/>
                      <a:pt x="136" y="402"/>
                    </a:cubicBezTo>
                    <a:cubicBezTo>
                      <a:pt x="138" y="396"/>
                      <a:pt x="138" y="396"/>
                      <a:pt x="138" y="396"/>
                    </a:cubicBezTo>
                    <a:cubicBezTo>
                      <a:pt x="134" y="395"/>
                      <a:pt x="134" y="395"/>
                      <a:pt x="134" y="395"/>
                    </a:cubicBezTo>
                    <a:cubicBezTo>
                      <a:pt x="134" y="392"/>
                      <a:pt x="134" y="392"/>
                      <a:pt x="134" y="392"/>
                    </a:cubicBezTo>
                    <a:cubicBezTo>
                      <a:pt x="132" y="389"/>
                      <a:pt x="132" y="389"/>
                      <a:pt x="132" y="389"/>
                    </a:cubicBezTo>
                    <a:cubicBezTo>
                      <a:pt x="126" y="392"/>
                      <a:pt x="126" y="392"/>
                      <a:pt x="126" y="392"/>
                    </a:cubicBezTo>
                    <a:cubicBezTo>
                      <a:pt x="126" y="392"/>
                      <a:pt x="125" y="389"/>
                      <a:pt x="121" y="386"/>
                    </a:cubicBezTo>
                    <a:cubicBezTo>
                      <a:pt x="118" y="383"/>
                      <a:pt x="113" y="382"/>
                      <a:pt x="113" y="382"/>
                    </a:cubicBezTo>
                    <a:cubicBezTo>
                      <a:pt x="113" y="390"/>
                      <a:pt x="113" y="390"/>
                      <a:pt x="113" y="390"/>
                    </a:cubicBezTo>
                    <a:cubicBezTo>
                      <a:pt x="106" y="389"/>
                      <a:pt x="106" y="389"/>
                      <a:pt x="106" y="389"/>
                    </a:cubicBezTo>
                    <a:cubicBezTo>
                      <a:pt x="106" y="389"/>
                      <a:pt x="91" y="407"/>
                      <a:pt x="80" y="408"/>
                    </a:cubicBezTo>
                    <a:cubicBezTo>
                      <a:pt x="67" y="410"/>
                      <a:pt x="65" y="400"/>
                      <a:pt x="65" y="400"/>
                    </a:cubicBezTo>
                    <a:cubicBezTo>
                      <a:pt x="59" y="401"/>
                      <a:pt x="59" y="401"/>
                      <a:pt x="59" y="401"/>
                    </a:cubicBezTo>
                    <a:cubicBezTo>
                      <a:pt x="63" y="407"/>
                      <a:pt x="63" y="407"/>
                      <a:pt x="63" y="407"/>
                    </a:cubicBezTo>
                    <a:cubicBezTo>
                      <a:pt x="60" y="415"/>
                      <a:pt x="60" y="415"/>
                      <a:pt x="60" y="415"/>
                    </a:cubicBezTo>
                    <a:cubicBezTo>
                      <a:pt x="60" y="415"/>
                      <a:pt x="58" y="421"/>
                      <a:pt x="59" y="425"/>
                    </a:cubicBezTo>
                    <a:cubicBezTo>
                      <a:pt x="61" y="429"/>
                      <a:pt x="67" y="426"/>
                      <a:pt x="67" y="426"/>
                    </a:cubicBezTo>
                    <a:cubicBezTo>
                      <a:pt x="73" y="431"/>
                      <a:pt x="73" y="431"/>
                      <a:pt x="73" y="431"/>
                    </a:cubicBezTo>
                    <a:cubicBezTo>
                      <a:pt x="72" y="440"/>
                      <a:pt x="72" y="440"/>
                      <a:pt x="72" y="440"/>
                    </a:cubicBezTo>
                    <a:cubicBezTo>
                      <a:pt x="76" y="443"/>
                      <a:pt x="76" y="443"/>
                      <a:pt x="76" y="443"/>
                    </a:cubicBezTo>
                    <a:cubicBezTo>
                      <a:pt x="75" y="458"/>
                      <a:pt x="75" y="458"/>
                      <a:pt x="75" y="458"/>
                    </a:cubicBezTo>
                    <a:cubicBezTo>
                      <a:pt x="70" y="460"/>
                      <a:pt x="70" y="460"/>
                      <a:pt x="70" y="460"/>
                    </a:cubicBezTo>
                    <a:cubicBezTo>
                      <a:pt x="73" y="472"/>
                      <a:pt x="73" y="472"/>
                      <a:pt x="73" y="472"/>
                    </a:cubicBezTo>
                    <a:cubicBezTo>
                      <a:pt x="73" y="472"/>
                      <a:pt x="77" y="471"/>
                      <a:pt x="80" y="473"/>
                    </a:cubicBezTo>
                    <a:cubicBezTo>
                      <a:pt x="82" y="475"/>
                      <a:pt x="77" y="483"/>
                      <a:pt x="77" y="483"/>
                    </a:cubicBezTo>
                    <a:cubicBezTo>
                      <a:pt x="74" y="478"/>
                      <a:pt x="74" y="478"/>
                      <a:pt x="74" y="478"/>
                    </a:cubicBezTo>
                    <a:cubicBezTo>
                      <a:pt x="69" y="504"/>
                      <a:pt x="69" y="504"/>
                      <a:pt x="69" y="504"/>
                    </a:cubicBezTo>
                    <a:cubicBezTo>
                      <a:pt x="73" y="509"/>
                      <a:pt x="73" y="509"/>
                      <a:pt x="73" y="509"/>
                    </a:cubicBezTo>
                    <a:cubicBezTo>
                      <a:pt x="69" y="515"/>
                      <a:pt x="69" y="515"/>
                      <a:pt x="69" y="515"/>
                    </a:cubicBezTo>
                    <a:cubicBezTo>
                      <a:pt x="69" y="515"/>
                      <a:pt x="73" y="518"/>
                      <a:pt x="73" y="519"/>
                    </a:cubicBezTo>
                    <a:cubicBezTo>
                      <a:pt x="73" y="521"/>
                      <a:pt x="68" y="520"/>
                      <a:pt x="68" y="520"/>
                    </a:cubicBezTo>
                    <a:cubicBezTo>
                      <a:pt x="66" y="523"/>
                      <a:pt x="66" y="523"/>
                      <a:pt x="66" y="523"/>
                    </a:cubicBezTo>
                    <a:cubicBezTo>
                      <a:pt x="71" y="531"/>
                      <a:pt x="71" y="531"/>
                      <a:pt x="71" y="531"/>
                    </a:cubicBezTo>
                    <a:cubicBezTo>
                      <a:pt x="71" y="531"/>
                      <a:pt x="74" y="525"/>
                      <a:pt x="76" y="525"/>
                    </a:cubicBezTo>
                    <a:cubicBezTo>
                      <a:pt x="79" y="525"/>
                      <a:pt x="81" y="536"/>
                      <a:pt x="81" y="536"/>
                    </a:cubicBezTo>
                    <a:cubicBezTo>
                      <a:pt x="81" y="536"/>
                      <a:pt x="85" y="534"/>
                      <a:pt x="87" y="534"/>
                    </a:cubicBezTo>
                    <a:cubicBezTo>
                      <a:pt x="89" y="534"/>
                      <a:pt x="93" y="535"/>
                      <a:pt x="93" y="535"/>
                    </a:cubicBezTo>
                    <a:cubicBezTo>
                      <a:pt x="104" y="525"/>
                      <a:pt x="104" y="525"/>
                      <a:pt x="104" y="525"/>
                    </a:cubicBezTo>
                    <a:cubicBezTo>
                      <a:pt x="103" y="521"/>
                      <a:pt x="103" y="521"/>
                      <a:pt x="103" y="521"/>
                    </a:cubicBezTo>
                    <a:cubicBezTo>
                      <a:pt x="103" y="521"/>
                      <a:pt x="105" y="517"/>
                      <a:pt x="113" y="516"/>
                    </a:cubicBezTo>
                    <a:cubicBezTo>
                      <a:pt x="119" y="516"/>
                      <a:pt x="123" y="520"/>
                      <a:pt x="123" y="520"/>
                    </a:cubicBezTo>
                    <a:cubicBezTo>
                      <a:pt x="131" y="523"/>
                      <a:pt x="131" y="523"/>
                      <a:pt x="131" y="523"/>
                    </a:cubicBezTo>
                    <a:cubicBezTo>
                      <a:pt x="134" y="511"/>
                      <a:pt x="134" y="511"/>
                      <a:pt x="134" y="511"/>
                    </a:cubicBezTo>
                    <a:cubicBezTo>
                      <a:pt x="137" y="508"/>
                      <a:pt x="137" y="508"/>
                      <a:pt x="137" y="508"/>
                    </a:cubicBezTo>
                    <a:cubicBezTo>
                      <a:pt x="134" y="501"/>
                      <a:pt x="134" y="501"/>
                      <a:pt x="134" y="501"/>
                    </a:cubicBezTo>
                    <a:cubicBezTo>
                      <a:pt x="140" y="458"/>
                      <a:pt x="140" y="458"/>
                      <a:pt x="140" y="458"/>
                    </a:cubicBezTo>
                    <a:cubicBezTo>
                      <a:pt x="140" y="458"/>
                      <a:pt x="136" y="452"/>
                      <a:pt x="137" y="446"/>
                    </a:cubicBezTo>
                    <a:cubicBezTo>
                      <a:pt x="137" y="440"/>
                      <a:pt x="148" y="430"/>
                      <a:pt x="148" y="430"/>
                    </a:cubicBezTo>
                    <a:cubicBezTo>
                      <a:pt x="138" y="412"/>
                      <a:pt x="138" y="412"/>
                      <a:pt x="138" y="412"/>
                    </a:cubicBezTo>
                    <a:lnTo>
                      <a:pt x="142" y="408"/>
                    </a:lnTo>
                    <a:close/>
                    <a:moveTo>
                      <a:pt x="63" y="515"/>
                    </a:moveTo>
                    <a:cubicBezTo>
                      <a:pt x="55" y="516"/>
                      <a:pt x="63" y="520"/>
                      <a:pt x="63" y="520"/>
                    </a:cubicBezTo>
                    <a:cubicBezTo>
                      <a:pt x="70" y="520"/>
                      <a:pt x="71" y="514"/>
                      <a:pt x="63" y="515"/>
                    </a:cubicBezTo>
                    <a:close/>
                    <a:moveTo>
                      <a:pt x="70" y="394"/>
                    </a:moveTo>
                    <a:cubicBezTo>
                      <a:pt x="75" y="390"/>
                      <a:pt x="71" y="383"/>
                      <a:pt x="68" y="390"/>
                    </a:cubicBezTo>
                    <a:cubicBezTo>
                      <a:pt x="65" y="396"/>
                      <a:pt x="70" y="394"/>
                      <a:pt x="70" y="394"/>
                    </a:cubicBezTo>
                    <a:close/>
                    <a:moveTo>
                      <a:pt x="261" y="671"/>
                    </a:moveTo>
                    <a:cubicBezTo>
                      <a:pt x="255" y="666"/>
                      <a:pt x="256" y="671"/>
                      <a:pt x="256" y="671"/>
                    </a:cubicBezTo>
                    <a:cubicBezTo>
                      <a:pt x="256" y="675"/>
                      <a:pt x="256" y="675"/>
                      <a:pt x="256" y="675"/>
                    </a:cubicBezTo>
                    <a:cubicBezTo>
                      <a:pt x="264" y="678"/>
                      <a:pt x="266" y="675"/>
                      <a:pt x="261" y="671"/>
                    </a:cubicBezTo>
                    <a:close/>
                    <a:moveTo>
                      <a:pt x="277" y="598"/>
                    </a:moveTo>
                    <a:cubicBezTo>
                      <a:pt x="271" y="597"/>
                      <a:pt x="271" y="599"/>
                      <a:pt x="271" y="599"/>
                    </a:cubicBezTo>
                    <a:cubicBezTo>
                      <a:pt x="274" y="600"/>
                      <a:pt x="274" y="600"/>
                      <a:pt x="274" y="600"/>
                    </a:cubicBezTo>
                    <a:cubicBezTo>
                      <a:pt x="277" y="601"/>
                      <a:pt x="281" y="598"/>
                      <a:pt x="277" y="598"/>
                    </a:cubicBezTo>
                    <a:close/>
                    <a:moveTo>
                      <a:pt x="413" y="564"/>
                    </a:moveTo>
                    <a:cubicBezTo>
                      <a:pt x="415" y="564"/>
                      <a:pt x="418" y="562"/>
                      <a:pt x="413" y="562"/>
                    </a:cubicBezTo>
                    <a:cubicBezTo>
                      <a:pt x="409" y="562"/>
                      <a:pt x="413" y="564"/>
                      <a:pt x="413" y="564"/>
                    </a:cubicBezTo>
                    <a:close/>
                    <a:moveTo>
                      <a:pt x="263" y="595"/>
                    </a:moveTo>
                    <a:cubicBezTo>
                      <a:pt x="261" y="595"/>
                      <a:pt x="261" y="598"/>
                      <a:pt x="261" y="598"/>
                    </a:cubicBezTo>
                    <a:cubicBezTo>
                      <a:pt x="264" y="599"/>
                      <a:pt x="265" y="596"/>
                      <a:pt x="263" y="595"/>
                    </a:cubicBezTo>
                    <a:close/>
                    <a:moveTo>
                      <a:pt x="589" y="436"/>
                    </a:moveTo>
                    <a:cubicBezTo>
                      <a:pt x="585" y="435"/>
                      <a:pt x="585" y="435"/>
                      <a:pt x="585" y="435"/>
                    </a:cubicBezTo>
                    <a:cubicBezTo>
                      <a:pt x="581" y="427"/>
                      <a:pt x="581" y="427"/>
                      <a:pt x="581" y="427"/>
                    </a:cubicBezTo>
                    <a:cubicBezTo>
                      <a:pt x="573" y="416"/>
                      <a:pt x="573" y="416"/>
                      <a:pt x="573" y="416"/>
                    </a:cubicBezTo>
                    <a:cubicBezTo>
                      <a:pt x="567" y="417"/>
                      <a:pt x="567" y="417"/>
                      <a:pt x="567" y="417"/>
                    </a:cubicBezTo>
                    <a:cubicBezTo>
                      <a:pt x="560" y="410"/>
                      <a:pt x="560" y="410"/>
                      <a:pt x="560" y="410"/>
                    </a:cubicBezTo>
                    <a:cubicBezTo>
                      <a:pt x="560" y="410"/>
                      <a:pt x="562" y="407"/>
                      <a:pt x="558" y="405"/>
                    </a:cubicBezTo>
                    <a:cubicBezTo>
                      <a:pt x="552" y="402"/>
                      <a:pt x="549" y="402"/>
                      <a:pt x="549" y="402"/>
                    </a:cubicBezTo>
                    <a:cubicBezTo>
                      <a:pt x="543" y="398"/>
                      <a:pt x="543" y="398"/>
                      <a:pt x="543" y="398"/>
                    </a:cubicBezTo>
                    <a:cubicBezTo>
                      <a:pt x="540" y="399"/>
                      <a:pt x="540" y="399"/>
                      <a:pt x="540" y="399"/>
                    </a:cubicBezTo>
                    <a:cubicBezTo>
                      <a:pt x="528" y="394"/>
                      <a:pt x="528" y="394"/>
                      <a:pt x="528" y="394"/>
                    </a:cubicBezTo>
                    <a:cubicBezTo>
                      <a:pt x="525" y="390"/>
                      <a:pt x="525" y="390"/>
                      <a:pt x="525" y="390"/>
                    </a:cubicBezTo>
                    <a:cubicBezTo>
                      <a:pt x="516" y="386"/>
                      <a:pt x="516" y="386"/>
                      <a:pt x="516" y="386"/>
                    </a:cubicBezTo>
                    <a:cubicBezTo>
                      <a:pt x="513" y="383"/>
                      <a:pt x="513" y="383"/>
                      <a:pt x="513" y="383"/>
                    </a:cubicBezTo>
                    <a:cubicBezTo>
                      <a:pt x="492" y="377"/>
                      <a:pt x="492" y="377"/>
                      <a:pt x="492" y="377"/>
                    </a:cubicBezTo>
                    <a:cubicBezTo>
                      <a:pt x="489" y="378"/>
                      <a:pt x="489" y="378"/>
                      <a:pt x="489" y="378"/>
                    </a:cubicBezTo>
                    <a:cubicBezTo>
                      <a:pt x="472" y="369"/>
                      <a:pt x="472" y="369"/>
                      <a:pt x="472" y="369"/>
                    </a:cubicBezTo>
                    <a:cubicBezTo>
                      <a:pt x="467" y="369"/>
                      <a:pt x="467" y="369"/>
                      <a:pt x="467" y="369"/>
                    </a:cubicBezTo>
                    <a:cubicBezTo>
                      <a:pt x="467" y="369"/>
                      <a:pt x="450" y="361"/>
                      <a:pt x="448" y="357"/>
                    </a:cubicBezTo>
                    <a:cubicBezTo>
                      <a:pt x="447" y="352"/>
                      <a:pt x="451" y="349"/>
                      <a:pt x="454" y="347"/>
                    </a:cubicBezTo>
                    <a:cubicBezTo>
                      <a:pt x="458" y="345"/>
                      <a:pt x="462" y="341"/>
                      <a:pt x="462" y="341"/>
                    </a:cubicBezTo>
                    <a:cubicBezTo>
                      <a:pt x="461" y="334"/>
                      <a:pt x="461" y="334"/>
                      <a:pt x="461" y="334"/>
                    </a:cubicBezTo>
                    <a:cubicBezTo>
                      <a:pt x="461" y="334"/>
                      <a:pt x="457" y="330"/>
                      <a:pt x="452" y="330"/>
                    </a:cubicBezTo>
                    <a:cubicBezTo>
                      <a:pt x="448" y="329"/>
                      <a:pt x="437" y="332"/>
                      <a:pt x="432" y="333"/>
                    </a:cubicBezTo>
                    <a:cubicBezTo>
                      <a:pt x="407" y="333"/>
                      <a:pt x="407" y="333"/>
                      <a:pt x="407" y="333"/>
                    </a:cubicBezTo>
                    <a:cubicBezTo>
                      <a:pt x="405" y="331"/>
                      <a:pt x="405" y="331"/>
                      <a:pt x="405" y="331"/>
                    </a:cubicBezTo>
                    <a:cubicBezTo>
                      <a:pt x="390" y="323"/>
                      <a:pt x="390" y="323"/>
                      <a:pt x="390" y="323"/>
                    </a:cubicBezTo>
                    <a:cubicBezTo>
                      <a:pt x="388" y="318"/>
                      <a:pt x="388" y="318"/>
                      <a:pt x="388" y="318"/>
                    </a:cubicBezTo>
                    <a:cubicBezTo>
                      <a:pt x="380" y="316"/>
                      <a:pt x="380" y="316"/>
                      <a:pt x="380" y="316"/>
                    </a:cubicBezTo>
                    <a:cubicBezTo>
                      <a:pt x="371" y="306"/>
                      <a:pt x="371" y="306"/>
                      <a:pt x="371" y="306"/>
                    </a:cubicBezTo>
                    <a:cubicBezTo>
                      <a:pt x="366" y="304"/>
                      <a:pt x="366" y="304"/>
                      <a:pt x="366" y="304"/>
                    </a:cubicBezTo>
                    <a:cubicBezTo>
                      <a:pt x="363" y="300"/>
                      <a:pt x="363" y="300"/>
                      <a:pt x="363" y="300"/>
                    </a:cubicBezTo>
                    <a:cubicBezTo>
                      <a:pt x="356" y="296"/>
                      <a:pt x="356" y="296"/>
                      <a:pt x="356" y="296"/>
                    </a:cubicBezTo>
                    <a:cubicBezTo>
                      <a:pt x="350" y="285"/>
                      <a:pt x="350" y="285"/>
                      <a:pt x="350" y="285"/>
                    </a:cubicBezTo>
                    <a:cubicBezTo>
                      <a:pt x="350" y="278"/>
                      <a:pt x="350" y="278"/>
                      <a:pt x="350" y="278"/>
                    </a:cubicBezTo>
                    <a:cubicBezTo>
                      <a:pt x="346" y="273"/>
                      <a:pt x="346" y="273"/>
                      <a:pt x="346" y="273"/>
                    </a:cubicBezTo>
                    <a:cubicBezTo>
                      <a:pt x="346" y="273"/>
                      <a:pt x="346" y="262"/>
                      <a:pt x="343" y="257"/>
                    </a:cubicBezTo>
                    <a:cubicBezTo>
                      <a:pt x="341" y="252"/>
                      <a:pt x="332" y="235"/>
                      <a:pt x="332" y="235"/>
                    </a:cubicBezTo>
                    <a:cubicBezTo>
                      <a:pt x="333" y="233"/>
                      <a:pt x="333" y="233"/>
                      <a:pt x="333" y="233"/>
                    </a:cubicBezTo>
                    <a:cubicBezTo>
                      <a:pt x="327" y="230"/>
                      <a:pt x="327" y="230"/>
                      <a:pt x="327" y="230"/>
                    </a:cubicBezTo>
                    <a:cubicBezTo>
                      <a:pt x="318" y="227"/>
                      <a:pt x="318" y="227"/>
                      <a:pt x="318" y="227"/>
                    </a:cubicBezTo>
                    <a:cubicBezTo>
                      <a:pt x="297" y="209"/>
                      <a:pt x="297" y="209"/>
                      <a:pt x="297" y="209"/>
                    </a:cubicBezTo>
                    <a:cubicBezTo>
                      <a:pt x="287" y="206"/>
                      <a:pt x="287" y="206"/>
                      <a:pt x="287" y="206"/>
                    </a:cubicBezTo>
                    <a:cubicBezTo>
                      <a:pt x="271" y="189"/>
                      <a:pt x="271" y="189"/>
                      <a:pt x="271" y="189"/>
                    </a:cubicBezTo>
                    <a:cubicBezTo>
                      <a:pt x="268" y="164"/>
                      <a:pt x="268" y="164"/>
                      <a:pt x="268" y="164"/>
                    </a:cubicBezTo>
                    <a:cubicBezTo>
                      <a:pt x="265" y="160"/>
                      <a:pt x="265" y="160"/>
                      <a:pt x="265" y="160"/>
                    </a:cubicBezTo>
                    <a:cubicBezTo>
                      <a:pt x="270" y="148"/>
                      <a:pt x="270" y="148"/>
                      <a:pt x="270" y="148"/>
                    </a:cubicBezTo>
                    <a:cubicBezTo>
                      <a:pt x="270" y="148"/>
                      <a:pt x="277" y="146"/>
                      <a:pt x="278" y="141"/>
                    </a:cubicBezTo>
                    <a:cubicBezTo>
                      <a:pt x="279" y="136"/>
                      <a:pt x="269" y="134"/>
                      <a:pt x="269" y="134"/>
                    </a:cubicBezTo>
                    <a:cubicBezTo>
                      <a:pt x="269" y="134"/>
                      <a:pt x="269" y="129"/>
                      <a:pt x="267" y="127"/>
                    </a:cubicBezTo>
                    <a:cubicBezTo>
                      <a:pt x="266" y="124"/>
                      <a:pt x="261" y="121"/>
                      <a:pt x="261" y="121"/>
                    </a:cubicBezTo>
                    <a:cubicBezTo>
                      <a:pt x="261" y="121"/>
                      <a:pt x="265" y="118"/>
                      <a:pt x="266" y="117"/>
                    </a:cubicBezTo>
                    <a:cubicBezTo>
                      <a:pt x="268" y="116"/>
                      <a:pt x="267" y="111"/>
                      <a:pt x="267" y="111"/>
                    </a:cubicBezTo>
                    <a:cubicBezTo>
                      <a:pt x="271" y="109"/>
                      <a:pt x="271" y="109"/>
                      <a:pt x="271" y="109"/>
                    </a:cubicBezTo>
                    <a:cubicBezTo>
                      <a:pt x="271" y="111"/>
                      <a:pt x="271" y="111"/>
                      <a:pt x="271" y="111"/>
                    </a:cubicBezTo>
                    <a:cubicBezTo>
                      <a:pt x="271" y="111"/>
                      <a:pt x="281" y="109"/>
                      <a:pt x="286" y="106"/>
                    </a:cubicBezTo>
                    <a:cubicBezTo>
                      <a:pt x="293" y="102"/>
                      <a:pt x="296" y="97"/>
                      <a:pt x="296" y="97"/>
                    </a:cubicBezTo>
                    <a:cubicBezTo>
                      <a:pt x="303" y="97"/>
                      <a:pt x="303" y="97"/>
                      <a:pt x="303" y="97"/>
                    </a:cubicBezTo>
                    <a:cubicBezTo>
                      <a:pt x="306" y="94"/>
                      <a:pt x="306" y="94"/>
                      <a:pt x="306" y="94"/>
                    </a:cubicBezTo>
                    <a:cubicBezTo>
                      <a:pt x="302" y="93"/>
                      <a:pt x="302" y="93"/>
                      <a:pt x="302" y="93"/>
                    </a:cubicBezTo>
                    <a:cubicBezTo>
                      <a:pt x="305" y="89"/>
                      <a:pt x="305" y="89"/>
                      <a:pt x="305" y="89"/>
                    </a:cubicBezTo>
                    <a:cubicBezTo>
                      <a:pt x="323" y="93"/>
                      <a:pt x="323" y="93"/>
                      <a:pt x="323" y="93"/>
                    </a:cubicBezTo>
                    <a:cubicBezTo>
                      <a:pt x="322" y="90"/>
                      <a:pt x="322" y="90"/>
                      <a:pt x="322" y="90"/>
                    </a:cubicBezTo>
                    <a:cubicBezTo>
                      <a:pt x="322" y="90"/>
                      <a:pt x="326" y="90"/>
                      <a:pt x="329" y="91"/>
                    </a:cubicBezTo>
                    <a:cubicBezTo>
                      <a:pt x="332" y="91"/>
                      <a:pt x="334" y="99"/>
                      <a:pt x="334" y="99"/>
                    </a:cubicBezTo>
                    <a:cubicBezTo>
                      <a:pt x="334" y="99"/>
                      <a:pt x="339" y="96"/>
                      <a:pt x="339" y="92"/>
                    </a:cubicBezTo>
                    <a:cubicBezTo>
                      <a:pt x="339" y="86"/>
                      <a:pt x="327" y="86"/>
                      <a:pt x="327" y="86"/>
                    </a:cubicBezTo>
                    <a:cubicBezTo>
                      <a:pt x="327" y="86"/>
                      <a:pt x="331" y="75"/>
                      <a:pt x="330" y="73"/>
                    </a:cubicBezTo>
                    <a:cubicBezTo>
                      <a:pt x="329" y="70"/>
                      <a:pt x="321" y="76"/>
                      <a:pt x="321" y="76"/>
                    </a:cubicBezTo>
                    <a:cubicBezTo>
                      <a:pt x="320" y="70"/>
                      <a:pt x="320" y="70"/>
                      <a:pt x="320" y="70"/>
                    </a:cubicBezTo>
                    <a:cubicBezTo>
                      <a:pt x="320" y="70"/>
                      <a:pt x="330" y="65"/>
                      <a:pt x="330" y="61"/>
                    </a:cubicBezTo>
                    <a:cubicBezTo>
                      <a:pt x="329" y="55"/>
                      <a:pt x="319" y="59"/>
                      <a:pt x="319" y="59"/>
                    </a:cubicBezTo>
                    <a:cubicBezTo>
                      <a:pt x="316" y="53"/>
                      <a:pt x="316" y="53"/>
                      <a:pt x="316" y="53"/>
                    </a:cubicBezTo>
                    <a:cubicBezTo>
                      <a:pt x="326" y="44"/>
                      <a:pt x="326" y="44"/>
                      <a:pt x="326" y="44"/>
                    </a:cubicBezTo>
                    <a:cubicBezTo>
                      <a:pt x="331" y="44"/>
                      <a:pt x="331" y="44"/>
                      <a:pt x="331" y="44"/>
                    </a:cubicBezTo>
                    <a:cubicBezTo>
                      <a:pt x="332" y="43"/>
                      <a:pt x="331" y="39"/>
                      <a:pt x="330" y="38"/>
                    </a:cubicBezTo>
                    <a:cubicBezTo>
                      <a:pt x="315" y="35"/>
                      <a:pt x="315" y="35"/>
                      <a:pt x="315" y="35"/>
                    </a:cubicBezTo>
                    <a:cubicBezTo>
                      <a:pt x="309" y="37"/>
                      <a:pt x="309" y="37"/>
                      <a:pt x="309" y="37"/>
                    </a:cubicBezTo>
                    <a:cubicBezTo>
                      <a:pt x="306" y="34"/>
                      <a:pt x="306" y="34"/>
                      <a:pt x="306" y="34"/>
                    </a:cubicBezTo>
                    <a:cubicBezTo>
                      <a:pt x="290" y="34"/>
                      <a:pt x="290" y="34"/>
                      <a:pt x="290" y="34"/>
                    </a:cubicBezTo>
                    <a:cubicBezTo>
                      <a:pt x="288" y="31"/>
                      <a:pt x="288" y="31"/>
                      <a:pt x="288" y="31"/>
                    </a:cubicBezTo>
                    <a:cubicBezTo>
                      <a:pt x="271" y="30"/>
                      <a:pt x="271" y="30"/>
                      <a:pt x="271" y="30"/>
                    </a:cubicBezTo>
                    <a:cubicBezTo>
                      <a:pt x="268" y="22"/>
                      <a:pt x="268" y="22"/>
                      <a:pt x="268" y="22"/>
                    </a:cubicBezTo>
                    <a:cubicBezTo>
                      <a:pt x="265" y="21"/>
                      <a:pt x="265" y="21"/>
                      <a:pt x="265" y="21"/>
                    </a:cubicBezTo>
                    <a:cubicBezTo>
                      <a:pt x="265" y="21"/>
                      <a:pt x="266" y="17"/>
                      <a:pt x="264" y="16"/>
                    </a:cubicBezTo>
                    <a:cubicBezTo>
                      <a:pt x="262" y="15"/>
                      <a:pt x="260" y="17"/>
                      <a:pt x="260" y="17"/>
                    </a:cubicBezTo>
                    <a:cubicBezTo>
                      <a:pt x="257" y="8"/>
                      <a:pt x="257" y="8"/>
                      <a:pt x="257" y="8"/>
                    </a:cubicBezTo>
                    <a:cubicBezTo>
                      <a:pt x="257" y="8"/>
                      <a:pt x="264" y="4"/>
                      <a:pt x="262" y="2"/>
                    </a:cubicBezTo>
                    <a:cubicBezTo>
                      <a:pt x="260" y="0"/>
                      <a:pt x="254" y="6"/>
                      <a:pt x="254" y="6"/>
                    </a:cubicBezTo>
                    <a:cubicBezTo>
                      <a:pt x="250" y="4"/>
                      <a:pt x="250" y="4"/>
                      <a:pt x="250" y="4"/>
                    </a:cubicBezTo>
                    <a:cubicBezTo>
                      <a:pt x="241" y="13"/>
                      <a:pt x="241" y="13"/>
                      <a:pt x="241" y="13"/>
                    </a:cubicBezTo>
                    <a:cubicBezTo>
                      <a:pt x="227" y="7"/>
                      <a:pt x="227" y="7"/>
                      <a:pt x="227" y="7"/>
                    </a:cubicBezTo>
                    <a:cubicBezTo>
                      <a:pt x="224" y="12"/>
                      <a:pt x="224" y="12"/>
                      <a:pt x="224" y="12"/>
                    </a:cubicBezTo>
                    <a:cubicBezTo>
                      <a:pt x="224" y="12"/>
                      <a:pt x="222" y="11"/>
                      <a:pt x="213" y="12"/>
                    </a:cubicBezTo>
                    <a:cubicBezTo>
                      <a:pt x="204" y="13"/>
                      <a:pt x="210" y="21"/>
                      <a:pt x="210" y="21"/>
                    </a:cubicBezTo>
                    <a:cubicBezTo>
                      <a:pt x="206" y="26"/>
                      <a:pt x="206" y="26"/>
                      <a:pt x="206" y="26"/>
                    </a:cubicBezTo>
                    <a:cubicBezTo>
                      <a:pt x="194" y="23"/>
                      <a:pt x="194" y="23"/>
                      <a:pt x="194" y="23"/>
                    </a:cubicBezTo>
                    <a:cubicBezTo>
                      <a:pt x="194" y="23"/>
                      <a:pt x="194" y="19"/>
                      <a:pt x="190" y="17"/>
                    </a:cubicBezTo>
                    <a:cubicBezTo>
                      <a:pt x="187" y="16"/>
                      <a:pt x="185" y="20"/>
                      <a:pt x="185" y="20"/>
                    </a:cubicBezTo>
                    <a:cubicBezTo>
                      <a:pt x="182" y="20"/>
                      <a:pt x="182" y="20"/>
                      <a:pt x="182" y="20"/>
                    </a:cubicBezTo>
                    <a:cubicBezTo>
                      <a:pt x="179" y="34"/>
                      <a:pt x="179" y="34"/>
                      <a:pt x="179" y="34"/>
                    </a:cubicBezTo>
                    <a:cubicBezTo>
                      <a:pt x="182" y="34"/>
                      <a:pt x="182" y="34"/>
                      <a:pt x="182" y="34"/>
                    </a:cubicBezTo>
                    <a:cubicBezTo>
                      <a:pt x="182" y="41"/>
                      <a:pt x="182" y="41"/>
                      <a:pt x="182" y="41"/>
                    </a:cubicBezTo>
                    <a:cubicBezTo>
                      <a:pt x="172" y="38"/>
                      <a:pt x="172" y="38"/>
                      <a:pt x="172" y="38"/>
                    </a:cubicBezTo>
                    <a:cubicBezTo>
                      <a:pt x="171" y="32"/>
                      <a:pt x="171" y="32"/>
                      <a:pt x="171" y="32"/>
                    </a:cubicBezTo>
                    <a:cubicBezTo>
                      <a:pt x="171" y="32"/>
                      <a:pt x="169" y="31"/>
                      <a:pt x="163" y="37"/>
                    </a:cubicBezTo>
                    <a:cubicBezTo>
                      <a:pt x="157" y="43"/>
                      <a:pt x="163" y="47"/>
                      <a:pt x="163" y="47"/>
                    </a:cubicBezTo>
                    <a:cubicBezTo>
                      <a:pt x="166" y="47"/>
                      <a:pt x="166" y="47"/>
                      <a:pt x="166" y="47"/>
                    </a:cubicBezTo>
                    <a:cubicBezTo>
                      <a:pt x="168" y="48"/>
                      <a:pt x="168" y="48"/>
                      <a:pt x="168" y="48"/>
                    </a:cubicBezTo>
                    <a:cubicBezTo>
                      <a:pt x="165" y="53"/>
                      <a:pt x="165" y="53"/>
                      <a:pt x="165" y="53"/>
                    </a:cubicBezTo>
                    <a:cubicBezTo>
                      <a:pt x="165" y="60"/>
                      <a:pt x="165" y="60"/>
                      <a:pt x="165" y="60"/>
                    </a:cubicBezTo>
                    <a:cubicBezTo>
                      <a:pt x="163" y="60"/>
                      <a:pt x="163" y="60"/>
                      <a:pt x="163" y="60"/>
                    </a:cubicBezTo>
                    <a:cubicBezTo>
                      <a:pt x="162" y="58"/>
                      <a:pt x="162" y="58"/>
                      <a:pt x="162" y="58"/>
                    </a:cubicBezTo>
                    <a:cubicBezTo>
                      <a:pt x="159" y="54"/>
                      <a:pt x="159" y="54"/>
                      <a:pt x="159" y="54"/>
                    </a:cubicBezTo>
                    <a:cubicBezTo>
                      <a:pt x="157" y="50"/>
                      <a:pt x="157" y="50"/>
                      <a:pt x="157" y="50"/>
                    </a:cubicBezTo>
                    <a:cubicBezTo>
                      <a:pt x="148" y="52"/>
                      <a:pt x="148" y="52"/>
                      <a:pt x="148" y="52"/>
                    </a:cubicBezTo>
                    <a:cubicBezTo>
                      <a:pt x="148" y="52"/>
                      <a:pt x="145" y="57"/>
                      <a:pt x="139" y="54"/>
                    </a:cubicBezTo>
                    <a:cubicBezTo>
                      <a:pt x="134" y="51"/>
                      <a:pt x="135" y="41"/>
                      <a:pt x="135" y="41"/>
                    </a:cubicBezTo>
                    <a:cubicBezTo>
                      <a:pt x="132" y="43"/>
                      <a:pt x="132" y="43"/>
                      <a:pt x="132" y="43"/>
                    </a:cubicBezTo>
                    <a:cubicBezTo>
                      <a:pt x="128" y="41"/>
                      <a:pt x="128" y="41"/>
                      <a:pt x="128" y="41"/>
                    </a:cubicBezTo>
                    <a:cubicBezTo>
                      <a:pt x="125" y="46"/>
                      <a:pt x="125" y="46"/>
                      <a:pt x="125" y="46"/>
                    </a:cubicBezTo>
                    <a:cubicBezTo>
                      <a:pt x="128" y="48"/>
                      <a:pt x="128" y="48"/>
                      <a:pt x="128" y="48"/>
                    </a:cubicBezTo>
                    <a:cubicBezTo>
                      <a:pt x="128" y="48"/>
                      <a:pt x="128" y="51"/>
                      <a:pt x="125" y="57"/>
                    </a:cubicBezTo>
                    <a:cubicBezTo>
                      <a:pt x="123" y="62"/>
                      <a:pt x="117" y="66"/>
                      <a:pt x="117" y="66"/>
                    </a:cubicBezTo>
                    <a:cubicBezTo>
                      <a:pt x="116" y="69"/>
                      <a:pt x="116" y="69"/>
                      <a:pt x="116" y="69"/>
                    </a:cubicBezTo>
                    <a:cubicBezTo>
                      <a:pt x="112" y="73"/>
                      <a:pt x="112" y="73"/>
                      <a:pt x="112" y="73"/>
                    </a:cubicBezTo>
                    <a:cubicBezTo>
                      <a:pt x="113" y="77"/>
                      <a:pt x="113" y="77"/>
                      <a:pt x="113" y="77"/>
                    </a:cubicBezTo>
                    <a:cubicBezTo>
                      <a:pt x="115" y="79"/>
                      <a:pt x="115" y="79"/>
                      <a:pt x="115" y="79"/>
                    </a:cubicBezTo>
                    <a:cubicBezTo>
                      <a:pt x="114" y="84"/>
                      <a:pt x="114" y="84"/>
                      <a:pt x="114" y="84"/>
                    </a:cubicBezTo>
                    <a:cubicBezTo>
                      <a:pt x="110" y="83"/>
                      <a:pt x="110" y="83"/>
                      <a:pt x="110" y="83"/>
                    </a:cubicBezTo>
                    <a:cubicBezTo>
                      <a:pt x="106" y="74"/>
                      <a:pt x="106" y="74"/>
                      <a:pt x="106" y="74"/>
                    </a:cubicBezTo>
                    <a:cubicBezTo>
                      <a:pt x="104" y="71"/>
                      <a:pt x="104" y="71"/>
                      <a:pt x="104" y="71"/>
                    </a:cubicBezTo>
                    <a:cubicBezTo>
                      <a:pt x="107" y="69"/>
                      <a:pt x="107" y="69"/>
                      <a:pt x="107" y="69"/>
                    </a:cubicBezTo>
                    <a:cubicBezTo>
                      <a:pt x="104" y="66"/>
                      <a:pt x="104" y="66"/>
                      <a:pt x="104" y="66"/>
                    </a:cubicBezTo>
                    <a:cubicBezTo>
                      <a:pt x="104" y="66"/>
                      <a:pt x="99" y="67"/>
                      <a:pt x="96" y="65"/>
                    </a:cubicBezTo>
                    <a:cubicBezTo>
                      <a:pt x="92" y="63"/>
                      <a:pt x="93" y="61"/>
                      <a:pt x="93" y="60"/>
                    </a:cubicBezTo>
                    <a:cubicBezTo>
                      <a:pt x="93" y="59"/>
                      <a:pt x="89" y="58"/>
                      <a:pt x="87" y="54"/>
                    </a:cubicBezTo>
                    <a:cubicBezTo>
                      <a:pt x="85" y="51"/>
                      <a:pt x="91" y="45"/>
                      <a:pt x="91" y="45"/>
                    </a:cubicBezTo>
                    <a:cubicBezTo>
                      <a:pt x="87" y="43"/>
                      <a:pt x="87" y="43"/>
                      <a:pt x="87" y="43"/>
                    </a:cubicBezTo>
                    <a:cubicBezTo>
                      <a:pt x="80" y="45"/>
                      <a:pt x="80" y="45"/>
                      <a:pt x="80" y="45"/>
                    </a:cubicBezTo>
                    <a:cubicBezTo>
                      <a:pt x="82" y="48"/>
                      <a:pt x="82" y="48"/>
                      <a:pt x="82" y="48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4" y="51"/>
                      <a:pt x="74" y="51"/>
                      <a:pt x="74" y="51"/>
                    </a:cubicBezTo>
                    <a:cubicBezTo>
                      <a:pt x="72" y="54"/>
                      <a:pt x="72" y="54"/>
                      <a:pt x="72" y="54"/>
                    </a:cubicBezTo>
                    <a:cubicBezTo>
                      <a:pt x="75" y="62"/>
                      <a:pt x="75" y="62"/>
                      <a:pt x="75" y="62"/>
                    </a:cubicBezTo>
                    <a:cubicBezTo>
                      <a:pt x="75" y="62"/>
                      <a:pt x="72" y="65"/>
                      <a:pt x="69" y="66"/>
                    </a:cubicBezTo>
                    <a:cubicBezTo>
                      <a:pt x="67" y="67"/>
                      <a:pt x="68" y="70"/>
                      <a:pt x="67" y="71"/>
                    </a:cubicBezTo>
                    <a:cubicBezTo>
                      <a:pt x="66" y="73"/>
                      <a:pt x="63" y="73"/>
                      <a:pt x="61" y="73"/>
                    </a:cubicBezTo>
                    <a:cubicBezTo>
                      <a:pt x="60" y="73"/>
                      <a:pt x="61" y="77"/>
                      <a:pt x="57" y="77"/>
                    </a:cubicBezTo>
                    <a:cubicBezTo>
                      <a:pt x="54" y="77"/>
                      <a:pt x="47" y="71"/>
                      <a:pt x="46" y="71"/>
                    </a:cubicBezTo>
                    <a:cubicBezTo>
                      <a:pt x="43" y="71"/>
                      <a:pt x="42" y="76"/>
                      <a:pt x="39" y="76"/>
                    </a:cubicBezTo>
                    <a:cubicBezTo>
                      <a:pt x="36" y="77"/>
                      <a:pt x="35" y="76"/>
                      <a:pt x="33" y="75"/>
                    </a:cubicBezTo>
                    <a:cubicBezTo>
                      <a:pt x="32" y="75"/>
                      <a:pt x="32" y="78"/>
                      <a:pt x="27" y="79"/>
                    </a:cubicBezTo>
                    <a:cubicBezTo>
                      <a:pt x="25" y="79"/>
                      <a:pt x="23" y="78"/>
                      <a:pt x="23" y="77"/>
                    </a:cubicBezTo>
                    <a:cubicBezTo>
                      <a:pt x="21" y="80"/>
                      <a:pt x="15" y="79"/>
                      <a:pt x="11" y="84"/>
                    </a:cubicBezTo>
                    <a:cubicBezTo>
                      <a:pt x="8" y="91"/>
                      <a:pt x="19" y="92"/>
                      <a:pt x="19" y="92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9" y="106"/>
                      <a:pt x="21" y="104"/>
                      <a:pt x="24" y="106"/>
                    </a:cubicBezTo>
                    <a:cubicBezTo>
                      <a:pt x="26" y="108"/>
                      <a:pt x="26" y="109"/>
                      <a:pt x="24" y="116"/>
                    </a:cubicBezTo>
                    <a:cubicBezTo>
                      <a:pt x="23" y="123"/>
                      <a:pt x="10" y="126"/>
                      <a:pt x="10" y="126"/>
                    </a:cubicBezTo>
                    <a:cubicBezTo>
                      <a:pt x="6" y="125"/>
                      <a:pt x="6" y="125"/>
                      <a:pt x="6" y="125"/>
                    </a:cubicBezTo>
                    <a:cubicBezTo>
                      <a:pt x="6" y="125"/>
                      <a:pt x="1" y="126"/>
                      <a:pt x="1" y="131"/>
                    </a:cubicBezTo>
                    <a:cubicBezTo>
                      <a:pt x="0" y="138"/>
                      <a:pt x="5" y="132"/>
                      <a:pt x="5" y="132"/>
                    </a:cubicBezTo>
                    <a:cubicBezTo>
                      <a:pt x="5" y="132"/>
                      <a:pt x="5" y="133"/>
                      <a:pt x="8" y="141"/>
                    </a:cubicBezTo>
                    <a:cubicBezTo>
                      <a:pt x="10" y="147"/>
                      <a:pt x="17" y="143"/>
                      <a:pt x="17" y="143"/>
                    </a:cubicBezTo>
                    <a:cubicBezTo>
                      <a:pt x="18" y="155"/>
                      <a:pt x="18" y="155"/>
                      <a:pt x="18" y="155"/>
                    </a:cubicBezTo>
                    <a:cubicBezTo>
                      <a:pt x="18" y="155"/>
                      <a:pt x="17" y="158"/>
                      <a:pt x="14" y="159"/>
                    </a:cubicBezTo>
                    <a:cubicBezTo>
                      <a:pt x="11" y="161"/>
                      <a:pt x="8" y="170"/>
                      <a:pt x="14" y="178"/>
                    </a:cubicBezTo>
                    <a:cubicBezTo>
                      <a:pt x="18" y="187"/>
                      <a:pt x="23" y="190"/>
                      <a:pt x="30" y="192"/>
                    </a:cubicBezTo>
                    <a:cubicBezTo>
                      <a:pt x="35" y="194"/>
                      <a:pt x="43" y="190"/>
                      <a:pt x="46" y="190"/>
                    </a:cubicBezTo>
                    <a:cubicBezTo>
                      <a:pt x="47" y="190"/>
                      <a:pt x="49" y="192"/>
                      <a:pt x="47" y="200"/>
                    </a:cubicBezTo>
                    <a:cubicBezTo>
                      <a:pt x="43" y="208"/>
                      <a:pt x="36" y="209"/>
                      <a:pt x="36" y="209"/>
                    </a:cubicBezTo>
                    <a:cubicBezTo>
                      <a:pt x="40" y="218"/>
                      <a:pt x="40" y="218"/>
                      <a:pt x="40" y="218"/>
                    </a:cubicBezTo>
                    <a:cubicBezTo>
                      <a:pt x="40" y="218"/>
                      <a:pt x="51" y="218"/>
                      <a:pt x="57" y="216"/>
                    </a:cubicBezTo>
                    <a:cubicBezTo>
                      <a:pt x="63" y="213"/>
                      <a:pt x="71" y="208"/>
                      <a:pt x="71" y="208"/>
                    </a:cubicBezTo>
                    <a:cubicBezTo>
                      <a:pt x="71" y="208"/>
                      <a:pt x="73" y="200"/>
                      <a:pt x="76" y="195"/>
                    </a:cubicBezTo>
                    <a:cubicBezTo>
                      <a:pt x="79" y="191"/>
                      <a:pt x="89" y="180"/>
                      <a:pt x="97" y="177"/>
                    </a:cubicBezTo>
                    <a:cubicBezTo>
                      <a:pt x="104" y="175"/>
                      <a:pt x="116" y="180"/>
                      <a:pt x="116" y="180"/>
                    </a:cubicBezTo>
                    <a:cubicBezTo>
                      <a:pt x="118" y="184"/>
                      <a:pt x="118" y="184"/>
                      <a:pt x="118" y="184"/>
                    </a:cubicBezTo>
                    <a:cubicBezTo>
                      <a:pt x="122" y="183"/>
                      <a:pt x="122" y="183"/>
                      <a:pt x="122" y="183"/>
                    </a:cubicBezTo>
                    <a:cubicBezTo>
                      <a:pt x="133" y="189"/>
                      <a:pt x="133" y="189"/>
                      <a:pt x="133" y="189"/>
                    </a:cubicBezTo>
                    <a:cubicBezTo>
                      <a:pt x="149" y="199"/>
                      <a:pt x="149" y="199"/>
                      <a:pt x="149" y="199"/>
                    </a:cubicBezTo>
                    <a:cubicBezTo>
                      <a:pt x="152" y="197"/>
                      <a:pt x="152" y="197"/>
                      <a:pt x="152" y="197"/>
                    </a:cubicBezTo>
                    <a:cubicBezTo>
                      <a:pt x="168" y="211"/>
                      <a:pt x="168" y="211"/>
                      <a:pt x="168" y="211"/>
                    </a:cubicBezTo>
                    <a:cubicBezTo>
                      <a:pt x="168" y="217"/>
                      <a:pt x="168" y="217"/>
                      <a:pt x="168" y="217"/>
                    </a:cubicBezTo>
                    <a:cubicBezTo>
                      <a:pt x="171" y="238"/>
                      <a:pt x="171" y="238"/>
                      <a:pt x="171" y="238"/>
                    </a:cubicBezTo>
                    <a:cubicBezTo>
                      <a:pt x="171" y="238"/>
                      <a:pt x="179" y="248"/>
                      <a:pt x="182" y="257"/>
                    </a:cubicBezTo>
                    <a:cubicBezTo>
                      <a:pt x="186" y="267"/>
                      <a:pt x="179" y="271"/>
                      <a:pt x="179" y="271"/>
                    </a:cubicBezTo>
                    <a:cubicBezTo>
                      <a:pt x="182" y="275"/>
                      <a:pt x="182" y="275"/>
                      <a:pt x="182" y="275"/>
                    </a:cubicBezTo>
                    <a:cubicBezTo>
                      <a:pt x="182" y="275"/>
                      <a:pt x="188" y="273"/>
                      <a:pt x="192" y="275"/>
                    </a:cubicBezTo>
                    <a:cubicBezTo>
                      <a:pt x="198" y="278"/>
                      <a:pt x="192" y="284"/>
                      <a:pt x="192" y="284"/>
                    </a:cubicBezTo>
                    <a:cubicBezTo>
                      <a:pt x="201" y="286"/>
                      <a:pt x="201" y="286"/>
                      <a:pt x="201" y="286"/>
                    </a:cubicBezTo>
                    <a:cubicBezTo>
                      <a:pt x="212" y="298"/>
                      <a:pt x="212" y="298"/>
                      <a:pt x="212" y="298"/>
                    </a:cubicBezTo>
                    <a:cubicBezTo>
                      <a:pt x="217" y="303"/>
                      <a:pt x="217" y="303"/>
                      <a:pt x="217" y="303"/>
                    </a:cubicBezTo>
                    <a:cubicBezTo>
                      <a:pt x="217" y="303"/>
                      <a:pt x="214" y="303"/>
                      <a:pt x="211" y="306"/>
                    </a:cubicBezTo>
                    <a:cubicBezTo>
                      <a:pt x="208" y="310"/>
                      <a:pt x="215" y="312"/>
                      <a:pt x="215" y="312"/>
                    </a:cubicBezTo>
                    <a:cubicBezTo>
                      <a:pt x="216" y="306"/>
                      <a:pt x="216" y="306"/>
                      <a:pt x="216" y="306"/>
                    </a:cubicBezTo>
                    <a:cubicBezTo>
                      <a:pt x="220" y="306"/>
                      <a:pt x="220" y="306"/>
                      <a:pt x="220" y="306"/>
                    </a:cubicBezTo>
                    <a:cubicBezTo>
                      <a:pt x="220" y="306"/>
                      <a:pt x="227" y="310"/>
                      <a:pt x="233" y="314"/>
                    </a:cubicBezTo>
                    <a:cubicBezTo>
                      <a:pt x="240" y="318"/>
                      <a:pt x="246" y="333"/>
                      <a:pt x="246" y="333"/>
                    </a:cubicBezTo>
                    <a:cubicBezTo>
                      <a:pt x="250" y="332"/>
                      <a:pt x="250" y="332"/>
                      <a:pt x="250" y="332"/>
                    </a:cubicBezTo>
                    <a:cubicBezTo>
                      <a:pt x="252" y="334"/>
                      <a:pt x="252" y="334"/>
                      <a:pt x="252" y="334"/>
                    </a:cubicBezTo>
                    <a:cubicBezTo>
                      <a:pt x="252" y="334"/>
                      <a:pt x="257" y="335"/>
                      <a:pt x="263" y="341"/>
                    </a:cubicBezTo>
                    <a:cubicBezTo>
                      <a:pt x="267" y="345"/>
                      <a:pt x="266" y="351"/>
                      <a:pt x="266" y="351"/>
                    </a:cubicBezTo>
                    <a:cubicBezTo>
                      <a:pt x="266" y="351"/>
                      <a:pt x="273" y="353"/>
                      <a:pt x="277" y="356"/>
                    </a:cubicBezTo>
                    <a:cubicBezTo>
                      <a:pt x="280" y="359"/>
                      <a:pt x="286" y="369"/>
                      <a:pt x="286" y="369"/>
                    </a:cubicBezTo>
                    <a:cubicBezTo>
                      <a:pt x="290" y="369"/>
                      <a:pt x="290" y="369"/>
                      <a:pt x="290" y="369"/>
                    </a:cubicBezTo>
                    <a:cubicBezTo>
                      <a:pt x="290" y="369"/>
                      <a:pt x="300" y="373"/>
                      <a:pt x="303" y="375"/>
                    </a:cubicBezTo>
                    <a:cubicBezTo>
                      <a:pt x="305" y="376"/>
                      <a:pt x="309" y="383"/>
                      <a:pt x="309" y="383"/>
                    </a:cubicBezTo>
                    <a:cubicBezTo>
                      <a:pt x="310" y="384"/>
                      <a:pt x="310" y="384"/>
                      <a:pt x="310" y="384"/>
                    </a:cubicBezTo>
                    <a:cubicBezTo>
                      <a:pt x="310" y="384"/>
                      <a:pt x="314" y="380"/>
                      <a:pt x="319" y="378"/>
                    </a:cubicBezTo>
                    <a:cubicBezTo>
                      <a:pt x="325" y="377"/>
                      <a:pt x="335" y="383"/>
                      <a:pt x="335" y="383"/>
                    </a:cubicBezTo>
                    <a:cubicBezTo>
                      <a:pt x="335" y="383"/>
                      <a:pt x="338" y="377"/>
                      <a:pt x="346" y="384"/>
                    </a:cubicBezTo>
                    <a:cubicBezTo>
                      <a:pt x="353" y="391"/>
                      <a:pt x="354" y="398"/>
                      <a:pt x="354" y="398"/>
                    </a:cubicBezTo>
                    <a:cubicBezTo>
                      <a:pt x="354" y="398"/>
                      <a:pt x="359" y="400"/>
                      <a:pt x="360" y="402"/>
                    </a:cubicBezTo>
                    <a:cubicBezTo>
                      <a:pt x="361" y="405"/>
                      <a:pt x="359" y="410"/>
                      <a:pt x="359" y="410"/>
                    </a:cubicBezTo>
                    <a:cubicBezTo>
                      <a:pt x="361" y="411"/>
                      <a:pt x="361" y="411"/>
                      <a:pt x="361" y="411"/>
                    </a:cubicBezTo>
                    <a:cubicBezTo>
                      <a:pt x="362" y="408"/>
                      <a:pt x="362" y="408"/>
                      <a:pt x="362" y="408"/>
                    </a:cubicBezTo>
                    <a:cubicBezTo>
                      <a:pt x="367" y="410"/>
                      <a:pt x="367" y="410"/>
                      <a:pt x="367" y="410"/>
                    </a:cubicBezTo>
                    <a:cubicBezTo>
                      <a:pt x="371" y="406"/>
                      <a:pt x="371" y="406"/>
                      <a:pt x="371" y="406"/>
                    </a:cubicBezTo>
                    <a:cubicBezTo>
                      <a:pt x="378" y="413"/>
                      <a:pt x="378" y="413"/>
                      <a:pt x="378" y="413"/>
                    </a:cubicBezTo>
                    <a:cubicBezTo>
                      <a:pt x="381" y="414"/>
                      <a:pt x="381" y="414"/>
                      <a:pt x="381" y="414"/>
                    </a:cubicBezTo>
                    <a:cubicBezTo>
                      <a:pt x="372" y="422"/>
                      <a:pt x="372" y="422"/>
                      <a:pt x="372" y="422"/>
                    </a:cubicBezTo>
                    <a:cubicBezTo>
                      <a:pt x="375" y="423"/>
                      <a:pt x="375" y="423"/>
                      <a:pt x="375" y="423"/>
                    </a:cubicBezTo>
                    <a:cubicBezTo>
                      <a:pt x="381" y="420"/>
                      <a:pt x="381" y="420"/>
                      <a:pt x="381" y="420"/>
                    </a:cubicBezTo>
                    <a:cubicBezTo>
                      <a:pt x="384" y="421"/>
                      <a:pt x="384" y="421"/>
                      <a:pt x="384" y="421"/>
                    </a:cubicBezTo>
                    <a:cubicBezTo>
                      <a:pt x="388" y="419"/>
                      <a:pt x="388" y="419"/>
                      <a:pt x="388" y="419"/>
                    </a:cubicBezTo>
                    <a:cubicBezTo>
                      <a:pt x="391" y="420"/>
                      <a:pt x="391" y="420"/>
                      <a:pt x="391" y="420"/>
                    </a:cubicBezTo>
                    <a:cubicBezTo>
                      <a:pt x="395" y="416"/>
                      <a:pt x="395" y="416"/>
                      <a:pt x="395" y="416"/>
                    </a:cubicBezTo>
                    <a:cubicBezTo>
                      <a:pt x="395" y="416"/>
                      <a:pt x="400" y="420"/>
                      <a:pt x="404" y="424"/>
                    </a:cubicBezTo>
                    <a:cubicBezTo>
                      <a:pt x="408" y="428"/>
                      <a:pt x="408" y="437"/>
                      <a:pt x="408" y="437"/>
                    </a:cubicBezTo>
                    <a:cubicBezTo>
                      <a:pt x="404" y="437"/>
                      <a:pt x="404" y="437"/>
                      <a:pt x="404" y="437"/>
                    </a:cubicBezTo>
                    <a:cubicBezTo>
                      <a:pt x="404" y="444"/>
                      <a:pt x="404" y="444"/>
                      <a:pt x="404" y="444"/>
                    </a:cubicBezTo>
                    <a:cubicBezTo>
                      <a:pt x="413" y="448"/>
                      <a:pt x="413" y="448"/>
                      <a:pt x="413" y="448"/>
                    </a:cubicBezTo>
                    <a:cubicBezTo>
                      <a:pt x="413" y="448"/>
                      <a:pt x="416" y="448"/>
                      <a:pt x="419" y="449"/>
                    </a:cubicBezTo>
                    <a:cubicBezTo>
                      <a:pt x="423" y="451"/>
                      <a:pt x="425" y="456"/>
                      <a:pt x="425" y="456"/>
                    </a:cubicBezTo>
                    <a:cubicBezTo>
                      <a:pt x="429" y="459"/>
                      <a:pt x="429" y="459"/>
                      <a:pt x="429" y="459"/>
                    </a:cubicBezTo>
                    <a:cubicBezTo>
                      <a:pt x="429" y="459"/>
                      <a:pt x="435" y="452"/>
                      <a:pt x="440" y="452"/>
                    </a:cubicBezTo>
                    <a:cubicBezTo>
                      <a:pt x="444" y="451"/>
                      <a:pt x="445" y="459"/>
                      <a:pt x="445" y="459"/>
                    </a:cubicBezTo>
                    <a:cubicBezTo>
                      <a:pt x="449" y="464"/>
                      <a:pt x="449" y="464"/>
                      <a:pt x="449" y="464"/>
                    </a:cubicBezTo>
                    <a:cubicBezTo>
                      <a:pt x="449" y="464"/>
                      <a:pt x="452" y="478"/>
                      <a:pt x="456" y="484"/>
                    </a:cubicBezTo>
                    <a:cubicBezTo>
                      <a:pt x="459" y="489"/>
                      <a:pt x="462" y="490"/>
                      <a:pt x="465" y="498"/>
                    </a:cubicBezTo>
                    <a:cubicBezTo>
                      <a:pt x="468" y="505"/>
                      <a:pt x="469" y="518"/>
                      <a:pt x="469" y="518"/>
                    </a:cubicBezTo>
                    <a:cubicBezTo>
                      <a:pt x="473" y="523"/>
                      <a:pt x="473" y="523"/>
                      <a:pt x="473" y="523"/>
                    </a:cubicBezTo>
                    <a:cubicBezTo>
                      <a:pt x="473" y="523"/>
                      <a:pt x="475" y="523"/>
                      <a:pt x="476" y="527"/>
                    </a:cubicBezTo>
                    <a:cubicBezTo>
                      <a:pt x="477" y="532"/>
                      <a:pt x="473" y="537"/>
                      <a:pt x="473" y="537"/>
                    </a:cubicBezTo>
                    <a:cubicBezTo>
                      <a:pt x="465" y="537"/>
                      <a:pt x="465" y="537"/>
                      <a:pt x="465" y="537"/>
                    </a:cubicBezTo>
                    <a:cubicBezTo>
                      <a:pt x="465" y="537"/>
                      <a:pt x="458" y="542"/>
                      <a:pt x="457" y="544"/>
                    </a:cubicBezTo>
                    <a:cubicBezTo>
                      <a:pt x="454" y="548"/>
                      <a:pt x="461" y="550"/>
                      <a:pt x="462" y="552"/>
                    </a:cubicBezTo>
                    <a:cubicBezTo>
                      <a:pt x="464" y="554"/>
                      <a:pt x="461" y="555"/>
                      <a:pt x="459" y="559"/>
                    </a:cubicBezTo>
                    <a:cubicBezTo>
                      <a:pt x="456" y="564"/>
                      <a:pt x="457" y="568"/>
                      <a:pt x="457" y="568"/>
                    </a:cubicBezTo>
                    <a:cubicBezTo>
                      <a:pt x="448" y="573"/>
                      <a:pt x="448" y="573"/>
                      <a:pt x="448" y="573"/>
                    </a:cubicBezTo>
                    <a:cubicBezTo>
                      <a:pt x="450" y="579"/>
                      <a:pt x="450" y="579"/>
                      <a:pt x="450" y="579"/>
                    </a:cubicBezTo>
                    <a:cubicBezTo>
                      <a:pt x="450" y="579"/>
                      <a:pt x="449" y="586"/>
                      <a:pt x="452" y="590"/>
                    </a:cubicBezTo>
                    <a:cubicBezTo>
                      <a:pt x="457" y="595"/>
                      <a:pt x="464" y="590"/>
                      <a:pt x="464" y="590"/>
                    </a:cubicBezTo>
                    <a:cubicBezTo>
                      <a:pt x="464" y="590"/>
                      <a:pt x="470" y="590"/>
                      <a:pt x="475" y="588"/>
                    </a:cubicBezTo>
                    <a:cubicBezTo>
                      <a:pt x="479" y="587"/>
                      <a:pt x="478" y="571"/>
                      <a:pt x="482" y="567"/>
                    </a:cubicBezTo>
                    <a:cubicBezTo>
                      <a:pt x="486" y="563"/>
                      <a:pt x="494" y="558"/>
                      <a:pt x="497" y="556"/>
                    </a:cubicBezTo>
                    <a:cubicBezTo>
                      <a:pt x="500" y="553"/>
                      <a:pt x="495" y="541"/>
                      <a:pt x="495" y="535"/>
                    </a:cubicBezTo>
                    <a:cubicBezTo>
                      <a:pt x="494" y="528"/>
                      <a:pt x="508" y="523"/>
                      <a:pt x="511" y="522"/>
                    </a:cubicBezTo>
                    <a:cubicBezTo>
                      <a:pt x="515" y="521"/>
                      <a:pt x="519" y="522"/>
                      <a:pt x="523" y="521"/>
                    </a:cubicBezTo>
                    <a:cubicBezTo>
                      <a:pt x="526" y="520"/>
                      <a:pt x="526" y="514"/>
                      <a:pt x="526" y="514"/>
                    </a:cubicBezTo>
                    <a:cubicBezTo>
                      <a:pt x="521" y="507"/>
                      <a:pt x="521" y="507"/>
                      <a:pt x="521" y="507"/>
                    </a:cubicBezTo>
                    <a:cubicBezTo>
                      <a:pt x="522" y="501"/>
                      <a:pt x="522" y="501"/>
                      <a:pt x="522" y="501"/>
                    </a:cubicBezTo>
                    <a:cubicBezTo>
                      <a:pt x="519" y="498"/>
                      <a:pt x="519" y="498"/>
                      <a:pt x="519" y="498"/>
                    </a:cubicBezTo>
                    <a:cubicBezTo>
                      <a:pt x="521" y="490"/>
                      <a:pt x="521" y="490"/>
                      <a:pt x="521" y="490"/>
                    </a:cubicBezTo>
                    <a:cubicBezTo>
                      <a:pt x="512" y="483"/>
                      <a:pt x="512" y="483"/>
                      <a:pt x="512" y="483"/>
                    </a:cubicBezTo>
                    <a:cubicBezTo>
                      <a:pt x="509" y="483"/>
                      <a:pt x="509" y="483"/>
                      <a:pt x="509" y="483"/>
                    </a:cubicBezTo>
                    <a:cubicBezTo>
                      <a:pt x="502" y="475"/>
                      <a:pt x="502" y="475"/>
                      <a:pt x="502" y="475"/>
                    </a:cubicBezTo>
                    <a:cubicBezTo>
                      <a:pt x="502" y="475"/>
                      <a:pt x="496" y="477"/>
                      <a:pt x="489" y="476"/>
                    </a:cubicBezTo>
                    <a:cubicBezTo>
                      <a:pt x="482" y="475"/>
                      <a:pt x="486" y="464"/>
                      <a:pt x="486" y="464"/>
                    </a:cubicBezTo>
                    <a:cubicBezTo>
                      <a:pt x="486" y="464"/>
                      <a:pt x="491" y="458"/>
                      <a:pt x="492" y="456"/>
                    </a:cubicBezTo>
                    <a:cubicBezTo>
                      <a:pt x="494" y="453"/>
                      <a:pt x="491" y="449"/>
                      <a:pt x="491" y="449"/>
                    </a:cubicBezTo>
                    <a:cubicBezTo>
                      <a:pt x="495" y="444"/>
                      <a:pt x="495" y="444"/>
                      <a:pt x="495" y="444"/>
                    </a:cubicBezTo>
                    <a:cubicBezTo>
                      <a:pt x="498" y="436"/>
                      <a:pt x="498" y="436"/>
                      <a:pt x="498" y="436"/>
                    </a:cubicBezTo>
                    <a:cubicBezTo>
                      <a:pt x="498" y="436"/>
                      <a:pt x="503" y="424"/>
                      <a:pt x="507" y="422"/>
                    </a:cubicBezTo>
                    <a:cubicBezTo>
                      <a:pt x="509" y="420"/>
                      <a:pt x="516" y="417"/>
                      <a:pt x="516" y="417"/>
                    </a:cubicBezTo>
                    <a:cubicBezTo>
                      <a:pt x="518" y="421"/>
                      <a:pt x="518" y="421"/>
                      <a:pt x="518" y="421"/>
                    </a:cubicBezTo>
                    <a:cubicBezTo>
                      <a:pt x="523" y="422"/>
                      <a:pt x="523" y="422"/>
                      <a:pt x="523" y="422"/>
                    </a:cubicBezTo>
                    <a:cubicBezTo>
                      <a:pt x="523" y="425"/>
                      <a:pt x="523" y="425"/>
                      <a:pt x="523" y="425"/>
                    </a:cubicBezTo>
                    <a:cubicBezTo>
                      <a:pt x="523" y="425"/>
                      <a:pt x="533" y="430"/>
                      <a:pt x="538" y="430"/>
                    </a:cubicBezTo>
                    <a:cubicBezTo>
                      <a:pt x="542" y="431"/>
                      <a:pt x="545" y="428"/>
                      <a:pt x="545" y="428"/>
                    </a:cubicBezTo>
                    <a:cubicBezTo>
                      <a:pt x="545" y="428"/>
                      <a:pt x="550" y="429"/>
                      <a:pt x="556" y="432"/>
                    </a:cubicBezTo>
                    <a:cubicBezTo>
                      <a:pt x="562" y="437"/>
                      <a:pt x="562" y="446"/>
                      <a:pt x="562" y="451"/>
                    </a:cubicBezTo>
                    <a:cubicBezTo>
                      <a:pt x="563" y="455"/>
                      <a:pt x="575" y="456"/>
                      <a:pt x="575" y="456"/>
                    </a:cubicBezTo>
                    <a:cubicBezTo>
                      <a:pt x="575" y="456"/>
                      <a:pt x="580" y="460"/>
                      <a:pt x="583" y="458"/>
                    </a:cubicBezTo>
                    <a:cubicBezTo>
                      <a:pt x="587" y="456"/>
                      <a:pt x="582" y="446"/>
                      <a:pt x="582" y="446"/>
                    </a:cubicBezTo>
                    <a:lnTo>
                      <a:pt x="589" y="436"/>
                    </a:lnTo>
                    <a:close/>
                    <a:moveTo>
                      <a:pt x="280" y="207"/>
                    </a:moveTo>
                    <a:cubicBezTo>
                      <a:pt x="279" y="208"/>
                      <a:pt x="278" y="213"/>
                      <a:pt x="278" y="213"/>
                    </a:cubicBezTo>
                    <a:cubicBezTo>
                      <a:pt x="278" y="213"/>
                      <a:pt x="274" y="216"/>
                      <a:pt x="273" y="215"/>
                    </a:cubicBezTo>
                    <a:cubicBezTo>
                      <a:pt x="271" y="214"/>
                      <a:pt x="271" y="214"/>
                      <a:pt x="271" y="214"/>
                    </a:cubicBezTo>
                    <a:cubicBezTo>
                      <a:pt x="271" y="210"/>
                      <a:pt x="271" y="210"/>
                      <a:pt x="271" y="210"/>
                    </a:cubicBezTo>
                    <a:cubicBezTo>
                      <a:pt x="275" y="209"/>
                      <a:pt x="275" y="209"/>
                      <a:pt x="275" y="209"/>
                    </a:cubicBezTo>
                    <a:cubicBezTo>
                      <a:pt x="275" y="209"/>
                      <a:pt x="275" y="207"/>
                      <a:pt x="278" y="206"/>
                    </a:cubicBezTo>
                    <a:cubicBezTo>
                      <a:pt x="281" y="205"/>
                      <a:pt x="280" y="206"/>
                      <a:pt x="280" y="207"/>
                    </a:cubicBezTo>
                    <a:close/>
                    <a:moveTo>
                      <a:pt x="412" y="554"/>
                    </a:moveTo>
                    <a:cubicBezTo>
                      <a:pt x="409" y="551"/>
                      <a:pt x="409" y="556"/>
                      <a:pt x="409" y="556"/>
                    </a:cubicBezTo>
                    <a:cubicBezTo>
                      <a:pt x="412" y="559"/>
                      <a:pt x="416" y="557"/>
                      <a:pt x="412" y="554"/>
                    </a:cubicBezTo>
                    <a:close/>
                    <a:moveTo>
                      <a:pt x="446" y="568"/>
                    </a:moveTo>
                    <a:cubicBezTo>
                      <a:pt x="445" y="567"/>
                      <a:pt x="445" y="567"/>
                      <a:pt x="445" y="567"/>
                    </a:cubicBezTo>
                    <a:cubicBezTo>
                      <a:pt x="445" y="567"/>
                      <a:pt x="434" y="574"/>
                      <a:pt x="432" y="574"/>
                    </a:cubicBezTo>
                    <a:cubicBezTo>
                      <a:pt x="430" y="574"/>
                      <a:pt x="427" y="572"/>
                      <a:pt x="427" y="572"/>
                    </a:cubicBezTo>
                    <a:cubicBezTo>
                      <a:pt x="427" y="572"/>
                      <a:pt x="423" y="579"/>
                      <a:pt x="421" y="580"/>
                    </a:cubicBezTo>
                    <a:cubicBezTo>
                      <a:pt x="419" y="580"/>
                      <a:pt x="418" y="579"/>
                      <a:pt x="418" y="579"/>
                    </a:cubicBezTo>
                    <a:cubicBezTo>
                      <a:pt x="414" y="578"/>
                      <a:pt x="414" y="578"/>
                      <a:pt x="414" y="578"/>
                    </a:cubicBezTo>
                    <a:cubicBezTo>
                      <a:pt x="411" y="577"/>
                      <a:pt x="411" y="577"/>
                      <a:pt x="411" y="577"/>
                    </a:cubicBezTo>
                    <a:cubicBezTo>
                      <a:pt x="411" y="577"/>
                      <a:pt x="409" y="580"/>
                      <a:pt x="408" y="580"/>
                    </a:cubicBezTo>
                    <a:cubicBezTo>
                      <a:pt x="405" y="579"/>
                      <a:pt x="403" y="578"/>
                      <a:pt x="403" y="578"/>
                    </a:cubicBezTo>
                    <a:cubicBezTo>
                      <a:pt x="403" y="578"/>
                      <a:pt x="397" y="583"/>
                      <a:pt x="395" y="585"/>
                    </a:cubicBezTo>
                    <a:cubicBezTo>
                      <a:pt x="393" y="586"/>
                      <a:pt x="388" y="586"/>
                      <a:pt x="388" y="586"/>
                    </a:cubicBezTo>
                    <a:cubicBezTo>
                      <a:pt x="384" y="589"/>
                      <a:pt x="384" y="589"/>
                      <a:pt x="384" y="589"/>
                    </a:cubicBezTo>
                    <a:cubicBezTo>
                      <a:pt x="370" y="590"/>
                      <a:pt x="370" y="590"/>
                      <a:pt x="370" y="590"/>
                    </a:cubicBezTo>
                    <a:cubicBezTo>
                      <a:pt x="370" y="590"/>
                      <a:pt x="368" y="588"/>
                      <a:pt x="365" y="588"/>
                    </a:cubicBezTo>
                    <a:cubicBezTo>
                      <a:pt x="362" y="588"/>
                      <a:pt x="355" y="594"/>
                      <a:pt x="352" y="594"/>
                    </a:cubicBezTo>
                    <a:cubicBezTo>
                      <a:pt x="348" y="594"/>
                      <a:pt x="341" y="589"/>
                      <a:pt x="341" y="589"/>
                    </a:cubicBezTo>
                    <a:cubicBezTo>
                      <a:pt x="339" y="585"/>
                      <a:pt x="339" y="585"/>
                      <a:pt x="339" y="585"/>
                    </a:cubicBezTo>
                    <a:cubicBezTo>
                      <a:pt x="339" y="585"/>
                      <a:pt x="332" y="587"/>
                      <a:pt x="331" y="586"/>
                    </a:cubicBezTo>
                    <a:cubicBezTo>
                      <a:pt x="330" y="584"/>
                      <a:pt x="331" y="581"/>
                      <a:pt x="331" y="581"/>
                    </a:cubicBezTo>
                    <a:cubicBezTo>
                      <a:pt x="327" y="579"/>
                      <a:pt x="327" y="579"/>
                      <a:pt x="327" y="579"/>
                    </a:cubicBezTo>
                    <a:cubicBezTo>
                      <a:pt x="316" y="581"/>
                      <a:pt x="316" y="581"/>
                      <a:pt x="316" y="581"/>
                    </a:cubicBezTo>
                    <a:cubicBezTo>
                      <a:pt x="314" y="583"/>
                      <a:pt x="314" y="583"/>
                      <a:pt x="314" y="583"/>
                    </a:cubicBezTo>
                    <a:cubicBezTo>
                      <a:pt x="315" y="587"/>
                      <a:pt x="315" y="587"/>
                      <a:pt x="315" y="587"/>
                    </a:cubicBezTo>
                    <a:cubicBezTo>
                      <a:pt x="306" y="591"/>
                      <a:pt x="306" y="591"/>
                      <a:pt x="306" y="591"/>
                    </a:cubicBezTo>
                    <a:cubicBezTo>
                      <a:pt x="301" y="588"/>
                      <a:pt x="301" y="588"/>
                      <a:pt x="301" y="588"/>
                    </a:cubicBezTo>
                    <a:cubicBezTo>
                      <a:pt x="301" y="588"/>
                      <a:pt x="301" y="585"/>
                      <a:pt x="299" y="583"/>
                    </a:cubicBezTo>
                    <a:cubicBezTo>
                      <a:pt x="296" y="581"/>
                      <a:pt x="294" y="581"/>
                      <a:pt x="294" y="581"/>
                    </a:cubicBezTo>
                    <a:cubicBezTo>
                      <a:pt x="294" y="583"/>
                      <a:pt x="294" y="583"/>
                      <a:pt x="294" y="583"/>
                    </a:cubicBezTo>
                    <a:cubicBezTo>
                      <a:pt x="294" y="583"/>
                      <a:pt x="297" y="584"/>
                      <a:pt x="297" y="585"/>
                    </a:cubicBezTo>
                    <a:cubicBezTo>
                      <a:pt x="296" y="586"/>
                      <a:pt x="288" y="588"/>
                      <a:pt x="288" y="588"/>
                    </a:cubicBezTo>
                    <a:cubicBezTo>
                      <a:pt x="284" y="595"/>
                      <a:pt x="284" y="595"/>
                      <a:pt x="284" y="595"/>
                    </a:cubicBezTo>
                    <a:cubicBezTo>
                      <a:pt x="285" y="602"/>
                      <a:pt x="285" y="602"/>
                      <a:pt x="285" y="602"/>
                    </a:cubicBezTo>
                    <a:cubicBezTo>
                      <a:pt x="282" y="606"/>
                      <a:pt x="282" y="606"/>
                      <a:pt x="282" y="606"/>
                    </a:cubicBezTo>
                    <a:cubicBezTo>
                      <a:pt x="285" y="616"/>
                      <a:pt x="285" y="616"/>
                      <a:pt x="285" y="616"/>
                    </a:cubicBezTo>
                    <a:cubicBezTo>
                      <a:pt x="292" y="615"/>
                      <a:pt x="292" y="615"/>
                      <a:pt x="292" y="615"/>
                    </a:cubicBezTo>
                    <a:cubicBezTo>
                      <a:pt x="295" y="622"/>
                      <a:pt x="295" y="622"/>
                      <a:pt x="295" y="622"/>
                    </a:cubicBezTo>
                    <a:cubicBezTo>
                      <a:pt x="295" y="622"/>
                      <a:pt x="303" y="620"/>
                      <a:pt x="310" y="622"/>
                    </a:cubicBezTo>
                    <a:cubicBezTo>
                      <a:pt x="312" y="624"/>
                      <a:pt x="313" y="625"/>
                      <a:pt x="315" y="626"/>
                    </a:cubicBezTo>
                    <a:cubicBezTo>
                      <a:pt x="319" y="627"/>
                      <a:pt x="321" y="626"/>
                      <a:pt x="321" y="626"/>
                    </a:cubicBezTo>
                    <a:cubicBezTo>
                      <a:pt x="321" y="626"/>
                      <a:pt x="333" y="638"/>
                      <a:pt x="335" y="638"/>
                    </a:cubicBezTo>
                    <a:cubicBezTo>
                      <a:pt x="337" y="638"/>
                      <a:pt x="341" y="637"/>
                      <a:pt x="343" y="640"/>
                    </a:cubicBezTo>
                    <a:cubicBezTo>
                      <a:pt x="344" y="641"/>
                      <a:pt x="346" y="644"/>
                      <a:pt x="350" y="646"/>
                    </a:cubicBezTo>
                    <a:cubicBezTo>
                      <a:pt x="354" y="649"/>
                      <a:pt x="362" y="650"/>
                      <a:pt x="366" y="650"/>
                    </a:cubicBezTo>
                    <a:cubicBezTo>
                      <a:pt x="370" y="650"/>
                      <a:pt x="381" y="650"/>
                      <a:pt x="384" y="656"/>
                    </a:cubicBezTo>
                    <a:cubicBezTo>
                      <a:pt x="388" y="660"/>
                      <a:pt x="391" y="667"/>
                      <a:pt x="392" y="668"/>
                    </a:cubicBezTo>
                    <a:cubicBezTo>
                      <a:pt x="394" y="669"/>
                      <a:pt x="398" y="667"/>
                      <a:pt x="401" y="669"/>
                    </a:cubicBezTo>
                    <a:cubicBezTo>
                      <a:pt x="403" y="672"/>
                      <a:pt x="404" y="673"/>
                      <a:pt x="404" y="673"/>
                    </a:cubicBezTo>
                    <a:cubicBezTo>
                      <a:pt x="404" y="673"/>
                      <a:pt x="411" y="672"/>
                      <a:pt x="414" y="672"/>
                    </a:cubicBezTo>
                    <a:cubicBezTo>
                      <a:pt x="416" y="672"/>
                      <a:pt x="419" y="674"/>
                      <a:pt x="419" y="674"/>
                    </a:cubicBezTo>
                    <a:cubicBezTo>
                      <a:pt x="420" y="673"/>
                      <a:pt x="420" y="673"/>
                      <a:pt x="420" y="673"/>
                    </a:cubicBezTo>
                    <a:cubicBezTo>
                      <a:pt x="420" y="673"/>
                      <a:pt x="426" y="677"/>
                      <a:pt x="427" y="675"/>
                    </a:cubicBezTo>
                    <a:cubicBezTo>
                      <a:pt x="428" y="673"/>
                      <a:pt x="425" y="669"/>
                      <a:pt x="427" y="662"/>
                    </a:cubicBezTo>
                    <a:cubicBezTo>
                      <a:pt x="430" y="654"/>
                      <a:pt x="436" y="652"/>
                      <a:pt x="436" y="652"/>
                    </a:cubicBezTo>
                    <a:cubicBezTo>
                      <a:pt x="436" y="649"/>
                      <a:pt x="436" y="649"/>
                      <a:pt x="436" y="649"/>
                    </a:cubicBezTo>
                    <a:cubicBezTo>
                      <a:pt x="434" y="649"/>
                      <a:pt x="434" y="649"/>
                      <a:pt x="434" y="649"/>
                    </a:cubicBezTo>
                    <a:cubicBezTo>
                      <a:pt x="434" y="646"/>
                      <a:pt x="434" y="646"/>
                      <a:pt x="434" y="646"/>
                    </a:cubicBezTo>
                    <a:cubicBezTo>
                      <a:pt x="429" y="640"/>
                      <a:pt x="429" y="640"/>
                      <a:pt x="429" y="640"/>
                    </a:cubicBezTo>
                    <a:cubicBezTo>
                      <a:pt x="431" y="638"/>
                      <a:pt x="431" y="638"/>
                      <a:pt x="431" y="638"/>
                    </a:cubicBezTo>
                    <a:cubicBezTo>
                      <a:pt x="429" y="633"/>
                      <a:pt x="429" y="633"/>
                      <a:pt x="429" y="633"/>
                    </a:cubicBezTo>
                    <a:cubicBezTo>
                      <a:pt x="427" y="634"/>
                      <a:pt x="427" y="634"/>
                      <a:pt x="427" y="634"/>
                    </a:cubicBezTo>
                    <a:cubicBezTo>
                      <a:pt x="427" y="634"/>
                      <a:pt x="423" y="631"/>
                      <a:pt x="423" y="626"/>
                    </a:cubicBezTo>
                    <a:cubicBezTo>
                      <a:pt x="423" y="620"/>
                      <a:pt x="425" y="618"/>
                      <a:pt x="425" y="618"/>
                    </a:cubicBezTo>
                    <a:cubicBezTo>
                      <a:pt x="428" y="603"/>
                      <a:pt x="428" y="603"/>
                      <a:pt x="428" y="603"/>
                    </a:cubicBezTo>
                    <a:cubicBezTo>
                      <a:pt x="428" y="603"/>
                      <a:pt x="436" y="590"/>
                      <a:pt x="440" y="585"/>
                    </a:cubicBezTo>
                    <a:cubicBezTo>
                      <a:pt x="444" y="580"/>
                      <a:pt x="445" y="575"/>
                      <a:pt x="445" y="575"/>
                    </a:cubicBezTo>
                    <a:cubicBezTo>
                      <a:pt x="445" y="573"/>
                      <a:pt x="445" y="573"/>
                      <a:pt x="445" y="573"/>
                    </a:cubicBezTo>
                    <a:cubicBezTo>
                      <a:pt x="448" y="569"/>
                      <a:pt x="448" y="569"/>
                      <a:pt x="448" y="569"/>
                    </a:cubicBezTo>
                    <a:lnTo>
                      <a:pt x="446" y="568"/>
                    </a:lnTo>
                    <a:close/>
                    <a:moveTo>
                      <a:pt x="405" y="550"/>
                    </a:moveTo>
                    <a:cubicBezTo>
                      <a:pt x="401" y="550"/>
                      <a:pt x="404" y="553"/>
                      <a:pt x="404" y="553"/>
                    </a:cubicBezTo>
                    <a:cubicBezTo>
                      <a:pt x="407" y="554"/>
                      <a:pt x="410" y="550"/>
                      <a:pt x="405" y="550"/>
                    </a:cubicBez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47" name="Ireland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3089275" y="3200400"/>
                <a:ext cx="434975" cy="493712"/>
              </a:xfrm>
              <a:custGeom>
                <a:avLst/>
                <a:gdLst/>
                <a:ahLst/>
                <a:cxnLst>
                  <a:cxn ang="0">
                    <a:pos x="55" y="68"/>
                  </a:cxn>
                  <a:cxn ang="0">
                    <a:pos x="52" y="60"/>
                  </a:cxn>
                  <a:cxn ang="0">
                    <a:pos x="57" y="74"/>
                  </a:cxn>
                  <a:cxn ang="0">
                    <a:pos x="45" y="85"/>
                  </a:cxn>
                  <a:cxn ang="0">
                    <a:pos x="56" y="117"/>
                  </a:cxn>
                  <a:cxn ang="0">
                    <a:pos x="49" y="119"/>
                  </a:cxn>
                  <a:cxn ang="0">
                    <a:pos x="201" y="95"/>
                  </a:cxn>
                  <a:cxn ang="0">
                    <a:pos x="183" y="84"/>
                  </a:cxn>
                  <a:cxn ang="0">
                    <a:pos x="159" y="82"/>
                  </a:cxn>
                  <a:cxn ang="0">
                    <a:pos x="142" y="53"/>
                  </a:cxn>
                  <a:cxn ang="0">
                    <a:pos x="149" y="43"/>
                  </a:cxn>
                  <a:cxn ang="0">
                    <a:pos x="170" y="36"/>
                  </a:cxn>
                  <a:cxn ang="0">
                    <a:pos x="186" y="20"/>
                  </a:cxn>
                  <a:cxn ang="0">
                    <a:pos x="184" y="9"/>
                  </a:cxn>
                  <a:cxn ang="0">
                    <a:pos x="174" y="22"/>
                  </a:cxn>
                  <a:cxn ang="0">
                    <a:pos x="172" y="17"/>
                  </a:cxn>
                  <a:cxn ang="0">
                    <a:pos x="168" y="13"/>
                  </a:cxn>
                  <a:cxn ang="0">
                    <a:pos x="161" y="13"/>
                  </a:cxn>
                  <a:cxn ang="0">
                    <a:pos x="145" y="8"/>
                  </a:cxn>
                  <a:cxn ang="0">
                    <a:pos x="131" y="26"/>
                  </a:cxn>
                  <a:cxn ang="0">
                    <a:pos x="126" y="44"/>
                  </a:cxn>
                  <a:cxn ang="0">
                    <a:pos x="125" y="52"/>
                  </a:cxn>
                  <a:cxn ang="0">
                    <a:pos x="103" y="56"/>
                  </a:cxn>
                  <a:cxn ang="0">
                    <a:pos x="84" y="51"/>
                  </a:cxn>
                  <a:cxn ang="0">
                    <a:pos x="67" y="47"/>
                  </a:cxn>
                  <a:cxn ang="0">
                    <a:pos x="63" y="57"/>
                  </a:cxn>
                  <a:cxn ang="0">
                    <a:pos x="64" y="70"/>
                  </a:cxn>
                  <a:cxn ang="0">
                    <a:pos x="58" y="79"/>
                  </a:cxn>
                  <a:cxn ang="0">
                    <a:pos x="44" y="90"/>
                  </a:cxn>
                  <a:cxn ang="0">
                    <a:pos x="55" y="104"/>
                  </a:cxn>
                  <a:cxn ang="0">
                    <a:pos x="62" y="107"/>
                  </a:cxn>
                  <a:cxn ang="0">
                    <a:pos x="84" y="121"/>
                  </a:cxn>
                  <a:cxn ang="0">
                    <a:pos x="60" y="135"/>
                  </a:cxn>
                  <a:cxn ang="0">
                    <a:pos x="47" y="150"/>
                  </a:cxn>
                  <a:cxn ang="0">
                    <a:pos x="71" y="152"/>
                  </a:cxn>
                  <a:cxn ang="0">
                    <a:pos x="75" y="159"/>
                  </a:cxn>
                  <a:cxn ang="0">
                    <a:pos x="34" y="164"/>
                  </a:cxn>
                  <a:cxn ang="0">
                    <a:pos x="21" y="172"/>
                  </a:cxn>
                  <a:cxn ang="0">
                    <a:pos x="19" y="181"/>
                  </a:cxn>
                  <a:cxn ang="0">
                    <a:pos x="2" y="199"/>
                  </a:cxn>
                  <a:cxn ang="0">
                    <a:pos x="14" y="210"/>
                  </a:cxn>
                  <a:cxn ang="0">
                    <a:pos x="33" y="211"/>
                  </a:cxn>
                  <a:cxn ang="0">
                    <a:pos x="22" y="224"/>
                  </a:cxn>
                  <a:cxn ang="0">
                    <a:pos x="35" y="230"/>
                  </a:cxn>
                  <a:cxn ang="0">
                    <a:pos x="61" y="230"/>
                  </a:cxn>
                  <a:cxn ang="0">
                    <a:pos x="87" y="215"/>
                  </a:cxn>
                  <a:cxn ang="0">
                    <a:pos x="112" y="218"/>
                  </a:cxn>
                  <a:cxn ang="0">
                    <a:pos x="141" y="204"/>
                  </a:cxn>
                  <a:cxn ang="0">
                    <a:pos x="150" y="210"/>
                  </a:cxn>
                  <a:cxn ang="0">
                    <a:pos x="164" y="201"/>
                  </a:cxn>
                  <a:cxn ang="0">
                    <a:pos x="184" y="177"/>
                  </a:cxn>
                  <a:cxn ang="0">
                    <a:pos x="195" y="135"/>
                  </a:cxn>
                  <a:cxn ang="0">
                    <a:pos x="204" y="102"/>
                  </a:cxn>
                </a:cxnLst>
                <a:rect l="0" t="0" r="r" b="b"/>
                <a:pathLst>
                  <a:path w="204" h="232">
                    <a:moveTo>
                      <a:pt x="134" y="14"/>
                    </a:moveTo>
                    <a:cubicBezTo>
                      <a:pt x="131" y="17"/>
                      <a:pt x="131" y="17"/>
                      <a:pt x="131" y="17"/>
                    </a:cubicBezTo>
                    <a:cubicBezTo>
                      <a:pt x="135" y="19"/>
                      <a:pt x="135" y="19"/>
                      <a:pt x="135" y="19"/>
                    </a:cubicBezTo>
                    <a:lnTo>
                      <a:pt x="134" y="14"/>
                    </a:lnTo>
                    <a:close/>
                    <a:moveTo>
                      <a:pt x="55" y="68"/>
                    </a:moveTo>
                    <a:cubicBezTo>
                      <a:pt x="55" y="70"/>
                      <a:pt x="57" y="71"/>
                      <a:pt x="57" y="71"/>
                    </a:cubicBezTo>
                    <a:cubicBezTo>
                      <a:pt x="60" y="67"/>
                      <a:pt x="60" y="67"/>
                      <a:pt x="60" y="67"/>
                    </a:cubicBezTo>
                    <a:cubicBezTo>
                      <a:pt x="60" y="60"/>
                      <a:pt x="60" y="60"/>
                      <a:pt x="60" y="60"/>
                    </a:cubicBezTo>
                    <a:cubicBezTo>
                      <a:pt x="56" y="62"/>
                      <a:pt x="56" y="62"/>
                      <a:pt x="56" y="62"/>
                    </a:cubicBezTo>
                    <a:cubicBezTo>
                      <a:pt x="52" y="60"/>
                      <a:pt x="52" y="60"/>
                      <a:pt x="52" y="60"/>
                    </a:cubicBezTo>
                    <a:cubicBezTo>
                      <a:pt x="49" y="61"/>
                      <a:pt x="49" y="61"/>
                      <a:pt x="49" y="61"/>
                    </a:cubicBezTo>
                    <a:cubicBezTo>
                      <a:pt x="49" y="61"/>
                      <a:pt x="51" y="64"/>
                      <a:pt x="52" y="64"/>
                    </a:cubicBezTo>
                    <a:cubicBezTo>
                      <a:pt x="53" y="64"/>
                      <a:pt x="55" y="66"/>
                      <a:pt x="55" y="68"/>
                    </a:cubicBezTo>
                    <a:close/>
                    <a:moveTo>
                      <a:pt x="57" y="77"/>
                    </a:moveTo>
                    <a:cubicBezTo>
                      <a:pt x="57" y="74"/>
                      <a:pt x="57" y="74"/>
                      <a:pt x="57" y="74"/>
                    </a:cubicBezTo>
                    <a:cubicBezTo>
                      <a:pt x="53" y="76"/>
                      <a:pt x="53" y="76"/>
                      <a:pt x="53" y="76"/>
                    </a:cubicBezTo>
                    <a:lnTo>
                      <a:pt x="57" y="77"/>
                    </a:lnTo>
                    <a:close/>
                    <a:moveTo>
                      <a:pt x="42" y="84"/>
                    </a:moveTo>
                    <a:cubicBezTo>
                      <a:pt x="42" y="86"/>
                      <a:pt x="42" y="86"/>
                      <a:pt x="42" y="86"/>
                    </a:cubicBezTo>
                    <a:cubicBezTo>
                      <a:pt x="45" y="85"/>
                      <a:pt x="45" y="85"/>
                      <a:pt x="45" y="85"/>
                    </a:cubicBezTo>
                    <a:lnTo>
                      <a:pt x="42" y="84"/>
                    </a:lnTo>
                    <a:close/>
                    <a:moveTo>
                      <a:pt x="56" y="117"/>
                    </a:moveTo>
                    <a:cubicBezTo>
                      <a:pt x="57" y="112"/>
                      <a:pt x="57" y="112"/>
                      <a:pt x="57" y="112"/>
                    </a:cubicBezTo>
                    <a:cubicBezTo>
                      <a:pt x="55" y="112"/>
                      <a:pt x="55" y="112"/>
                      <a:pt x="55" y="112"/>
                    </a:cubicBezTo>
                    <a:lnTo>
                      <a:pt x="56" y="117"/>
                    </a:lnTo>
                    <a:close/>
                    <a:moveTo>
                      <a:pt x="49" y="119"/>
                    </a:moveTo>
                    <a:cubicBezTo>
                      <a:pt x="55" y="123"/>
                      <a:pt x="55" y="123"/>
                      <a:pt x="55" y="123"/>
                    </a:cubicBezTo>
                    <a:cubicBezTo>
                      <a:pt x="55" y="122"/>
                      <a:pt x="55" y="122"/>
                      <a:pt x="55" y="122"/>
                    </a:cubicBezTo>
                    <a:cubicBezTo>
                      <a:pt x="51" y="119"/>
                      <a:pt x="51" y="119"/>
                      <a:pt x="51" y="119"/>
                    </a:cubicBezTo>
                    <a:lnTo>
                      <a:pt x="49" y="119"/>
                    </a:lnTo>
                    <a:close/>
                    <a:moveTo>
                      <a:pt x="55" y="126"/>
                    </a:moveTo>
                    <a:cubicBezTo>
                      <a:pt x="58" y="126"/>
                      <a:pt x="58" y="126"/>
                      <a:pt x="58" y="126"/>
                    </a:cubicBezTo>
                    <a:cubicBezTo>
                      <a:pt x="56" y="124"/>
                      <a:pt x="56" y="124"/>
                      <a:pt x="56" y="124"/>
                    </a:cubicBezTo>
                    <a:lnTo>
                      <a:pt x="55" y="126"/>
                    </a:lnTo>
                    <a:close/>
                    <a:moveTo>
                      <a:pt x="201" y="95"/>
                    </a:moveTo>
                    <a:cubicBezTo>
                      <a:pt x="199" y="91"/>
                      <a:pt x="199" y="91"/>
                      <a:pt x="199" y="91"/>
                    </a:cubicBezTo>
                    <a:cubicBezTo>
                      <a:pt x="197" y="95"/>
                      <a:pt x="197" y="95"/>
                      <a:pt x="197" y="95"/>
                    </a:cubicBezTo>
                    <a:cubicBezTo>
                      <a:pt x="197" y="95"/>
                      <a:pt x="192" y="94"/>
                      <a:pt x="186" y="94"/>
                    </a:cubicBezTo>
                    <a:cubicBezTo>
                      <a:pt x="181" y="94"/>
                      <a:pt x="188" y="85"/>
                      <a:pt x="188" y="85"/>
                    </a:cubicBezTo>
                    <a:cubicBezTo>
                      <a:pt x="183" y="84"/>
                      <a:pt x="183" y="84"/>
                      <a:pt x="183" y="84"/>
                    </a:cubicBezTo>
                    <a:cubicBezTo>
                      <a:pt x="183" y="76"/>
                      <a:pt x="183" y="76"/>
                      <a:pt x="183" y="76"/>
                    </a:cubicBezTo>
                    <a:cubicBezTo>
                      <a:pt x="183" y="76"/>
                      <a:pt x="182" y="68"/>
                      <a:pt x="177" y="67"/>
                    </a:cubicBezTo>
                    <a:cubicBezTo>
                      <a:pt x="172" y="66"/>
                      <a:pt x="169" y="73"/>
                      <a:pt x="169" y="73"/>
                    </a:cubicBezTo>
                    <a:cubicBezTo>
                      <a:pt x="170" y="77"/>
                      <a:pt x="170" y="77"/>
                      <a:pt x="170" y="77"/>
                    </a:cubicBezTo>
                    <a:cubicBezTo>
                      <a:pt x="170" y="77"/>
                      <a:pt x="167" y="83"/>
                      <a:pt x="159" y="82"/>
                    </a:cubicBezTo>
                    <a:cubicBezTo>
                      <a:pt x="152" y="82"/>
                      <a:pt x="150" y="75"/>
                      <a:pt x="150" y="75"/>
                    </a:cubicBezTo>
                    <a:cubicBezTo>
                      <a:pt x="143" y="74"/>
                      <a:pt x="143" y="74"/>
                      <a:pt x="143" y="74"/>
                    </a:cubicBezTo>
                    <a:cubicBezTo>
                      <a:pt x="144" y="68"/>
                      <a:pt x="144" y="68"/>
                      <a:pt x="144" y="68"/>
                    </a:cubicBezTo>
                    <a:cubicBezTo>
                      <a:pt x="144" y="68"/>
                      <a:pt x="137" y="57"/>
                      <a:pt x="137" y="54"/>
                    </a:cubicBezTo>
                    <a:cubicBezTo>
                      <a:pt x="137" y="51"/>
                      <a:pt x="142" y="53"/>
                      <a:pt x="142" y="53"/>
                    </a:cubicBezTo>
                    <a:cubicBezTo>
                      <a:pt x="144" y="48"/>
                      <a:pt x="144" y="48"/>
                      <a:pt x="144" y="48"/>
                    </a:cubicBezTo>
                    <a:cubicBezTo>
                      <a:pt x="150" y="51"/>
                      <a:pt x="150" y="51"/>
                      <a:pt x="150" y="51"/>
                    </a:cubicBezTo>
                    <a:cubicBezTo>
                      <a:pt x="154" y="48"/>
                      <a:pt x="154" y="48"/>
                      <a:pt x="154" y="48"/>
                    </a:cubicBezTo>
                    <a:cubicBezTo>
                      <a:pt x="157" y="47"/>
                      <a:pt x="157" y="47"/>
                      <a:pt x="157" y="47"/>
                    </a:cubicBezTo>
                    <a:cubicBezTo>
                      <a:pt x="157" y="47"/>
                      <a:pt x="149" y="45"/>
                      <a:pt x="149" y="43"/>
                    </a:cubicBezTo>
                    <a:cubicBezTo>
                      <a:pt x="149" y="40"/>
                      <a:pt x="153" y="39"/>
                      <a:pt x="154" y="39"/>
                    </a:cubicBezTo>
                    <a:cubicBezTo>
                      <a:pt x="156" y="39"/>
                      <a:pt x="157" y="43"/>
                      <a:pt x="157" y="43"/>
                    </a:cubicBezTo>
                    <a:cubicBezTo>
                      <a:pt x="157" y="43"/>
                      <a:pt x="159" y="41"/>
                      <a:pt x="161" y="41"/>
                    </a:cubicBezTo>
                    <a:cubicBezTo>
                      <a:pt x="165" y="41"/>
                      <a:pt x="164" y="43"/>
                      <a:pt x="164" y="43"/>
                    </a:cubicBezTo>
                    <a:cubicBezTo>
                      <a:pt x="170" y="36"/>
                      <a:pt x="170" y="36"/>
                      <a:pt x="170" y="36"/>
                    </a:cubicBezTo>
                    <a:cubicBezTo>
                      <a:pt x="171" y="30"/>
                      <a:pt x="171" y="30"/>
                      <a:pt x="171" y="30"/>
                    </a:cubicBezTo>
                    <a:cubicBezTo>
                      <a:pt x="173" y="30"/>
                      <a:pt x="173" y="30"/>
                      <a:pt x="173" y="30"/>
                    </a:cubicBezTo>
                    <a:cubicBezTo>
                      <a:pt x="176" y="23"/>
                      <a:pt x="176" y="23"/>
                      <a:pt x="176" y="23"/>
                    </a:cubicBezTo>
                    <a:cubicBezTo>
                      <a:pt x="182" y="24"/>
                      <a:pt x="182" y="24"/>
                      <a:pt x="182" y="24"/>
                    </a:cubicBezTo>
                    <a:cubicBezTo>
                      <a:pt x="186" y="20"/>
                      <a:pt x="186" y="20"/>
                      <a:pt x="186" y="20"/>
                    </a:cubicBezTo>
                    <a:cubicBezTo>
                      <a:pt x="186" y="20"/>
                      <a:pt x="194" y="17"/>
                      <a:pt x="194" y="15"/>
                    </a:cubicBezTo>
                    <a:cubicBezTo>
                      <a:pt x="195" y="13"/>
                      <a:pt x="189" y="9"/>
                      <a:pt x="189" y="9"/>
                    </a:cubicBezTo>
                    <a:cubicBezTo>
                      <a:pt x="189" y="6"/>
                      <a:pt x="189" y="6"/>
                      <a:pt x="189" y="6"/>
                    </a:cubicBezTo>
                    <a:cubicBezTo>
                      <a:pt x="189" y="6"/>
                      <a:pt x="183" y="0"/>
                      <a:pt x="182" y="1"/>
                    </a:cubicBezTo>
                    <a:cubicBezTo>
                      <a:pt x="181" y="3"/>
                      <a:pt x="185" y="9"/>
                      <a:pt x="184" y="9"/>
                    </a:cubicBezTo>
                    <a:cubicBezTo>
                      <a:pt x="184" y="10"/>
                      <a:pt x="182" y="7"/>
                      <a:pt x="182" y="7"/>
                    </a:cubicBezTo>
                    <a:cubicBezTo>
                      <a:pt x="175" y="6"/>
                      <a:pt x="175" y="6"/>
                      <a:pt x="175" y="6"/>
                    </a:cubicBezTo>
                    <a:cubicBezTo>
                      <a:pt x="173" y="11"/>
                      <a:pt x="173" y="11"/>
                      <a:pt x="173" y="11"/>
                    </a:cubicBezTo>
                    <a:cubicBezTo>
                      <a:pt x="174" y="13"/>
                      <a:pt x="174" y="13"/>
                      <a:pt x="174" y="13"/>
                    </a:cubicBezTo>
                    <a:cubicBezTo>
                      <a:pt x="174" y="22"/>
                      <a:pt x="174" y="22"/>
                      <a:pt x="174" y="22"/>
                    </a:cubicBezTo>
                    <a:cubicBezTo>
                      <a:pt x="166" y="26"/>
                      <a:pt x="166" y="26"/>
                      <a:pt x="166" y="26"/>
                    </a:cubicBezTo>
                    <a:cubicBezTo>
                      <a:pt x="165" y="26"/>
                      <a:pt x="165" y="26"/>
                      <a:pt x="165" y="26"/>
                    </a:cubicBezTo>
                    <a:cubicBezTo>
                      <a:pt x="168" y="22"/>
                      <a:pt x="168" y="22"/>
                      <a:pt x="168" y="22"/>
                    </a:cubicBezTo>
                    <a:cubicBezTo>
                      <a:pt x="167" y="21"/>
                      <a:pt x="167" y="21"/>
                      <a:pt x="167" y="21"/>
                    </a:cubicBezTo>
                    <a:cubicBezTo>
                      <a:pt x="167" y="21"/>
                      <a:pt x="171" y="21"/>
                      <a:pt x="172" y="17"/>
                    </a:cubicBezTo>
                    <a:cubicBezTo>
                      <a:pt x="172" y="15"/>
                      <a:pt x="170" y="12"/>
                      <a:pt x="170" y="11"/>
                    </a:cubicBezTo>
                    <a:cubicBezTo>
                      <a:pt x="170" y="9"/>
                      <a:pt x="171" y="7"/>
                      <a:pt x="171" y="7"/>
                    </a:cubicBezTo>
                    <a:cubicBezTo>
                      <a:pt x="166" y="7"/>
                      <a:pt x="166" y="7"/>
                      <a:pt x="166" y="7"/>
                    </a:cubicBezTo>
                    <a:cubicBezTo>
                      <a:pt x="166" y="10"/>
                      <a:pt x="166" y="10"/>
                      <a:pt x="166" y="10"/>
                    </a:cubicBezTo>
                    <a:cubicBezTo>
                      <a:pt x="166" y="10"/>
                      <a:pt x="169" y="11"/>
                      <a:pt x="168" y="13"/>
                    </a:cubicBezTo>
                    <a:cubicBezTo>
                      <a:pt x="168" y="15"/>
                      <a:pt x="166" y="16"/>
                      <a:pt x="166" y="16"/>
                    </a:cubicBezTo>
                    <a:cubicBezTo>
                      <a:pt x="166" y="16"/>
                      <a:pt x="166" y="13"/>
                      <a:pt x="165" y="12"/>
                    </a:cubicBezTo>
                    <a:cubicBezTo>
                      <a:pt x="164" y="11"/>
                      <a:pt x="164" y="7"/>
                      <a:pt x="164" y="7"/>
                    </a:cubicBezTo>
                    <a:cubicBezTo>
                      <a:pt x="161" y="7"/>
                      <a:pt x="161" y="7"/>
                      <a:pt x="161" y="7"/>
                    </a:cubicBezTo>
                    <a:cubicBezTo>
                      <a:pt x="161" y="7"/>
                      <a:pt x="162" y="13"/>
                      <a:pt x="161" y="13"/>
                    </a:cubicBezTo>
                    <a:cubicBezTo>
                      <a:pt x="160" y="14"/>
                      <a:pt x="159" y="11"/>
                      <a:pt x="159" y="11"/>
                    </a:cubicBezTo>
                    <a:cubicBezTo>
                      <a:pt x="157" y="9"/>
                      <a:pt x="157" y="9"/>
                      <a:pt x="157" y="9"/>
                    </a:cubicBezTo>
                    <a:cubicBezTo>
                      <a:pt x="157" y="7"/>
                      <a:pt x="157" y="7"/>
                      <a:pt x="157" y="7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5" y="8"/>
                      <a:pt x="145" y="8"/>
                      <a:pt x="145" y="8"/>
                    </a:cubicBezTo>
                    <a:cubicBezTo>
                      <a:pt x="145" y="8"/>
                      <a:pt x="143" y="13"/>
                      <a:pt x="142" y="14"/>
                    </a:cubicBezTo>
                    <a:cubicBezTo>
                      <a:pt x="140" y="15"/>
                      <a:pt x="138" y="15"/>
                      <a:pt x="138" y="15"/>
                    </a:cubicBezTo>
                    <a:cubicBezTo>
                      <a:pt x="136" y="21"/>
                      <a:pt x="136" y="21"/>
                      <a:pt x="136" y="21"/>
                    </a:cubicBezTo>
                    <a:cubicBezTo>
                      <a:pt x="138" y="25"/>
                      <a:pt x="138" y="25"/>
                      <a:pt x="138" y="25"/>
                    </a:cubicBezTo>
                    <a:cubicBezTo>
                      <a:pt x="131" y="26"/>
                      <a:pt x="131" y="26"/>
                      <a:pt x="131" y="26"/>
                    </a:cubicBezTo>
                    <a:cubicBezTo>
                      <a:pt x="132" y="29"/>
                      <a:pt x="132" y="29"/>
                      <a:pt x="132" y="29"/>
                    </a:cubicBezTo>
                    <a:cubicBezTo>
                      <a:pt x="132" y="29"/>
                      <a:pt x="124" y="27"/>
                      <a:pt x="121" y="30"/>
                    </a:cubicBezTo>
                    <a:cubicBezTo>
                      <a:pt x="118" y="32"/>
                      <a:pt x="118" y="40"/>
                      <a:pt x="124" y="40"/>
                    </a:cubicBezTo>
                    <a:cubicBezTo>
                      <a:pt x="131" y="40"/>
                      <a:pt x="129" y="42"/>
                      <a:pt x="129" y="42"/>
                    </a:cubicBezTo>
                    <a:cubicBezTo>
                      <a:pt x="126" y="44"/>
                      <a:pt x="126" y="44"/>
                      <a:pt x="126" y="44"/>
                    </a:cubicBezTo>
                    <a:cubicBezTo>
                      <a:pt x="129" y="45"/>
                      <a:pt x="129" y="45"/>
                      <a:pt x="129" y="45"/>
                    </a:cubicBezTo>
                    <a:cubicBezTo>
                      <a:pt x="134" y="42"/>
                      <a:pt x="134" y="42"/>
                      <a:pt x="134" y="42"/>
                    </a:cubicBezTo>
                    <a:cubicBezTo>
                      <a:pt x="139" y="43"/>
                      <a:pt x="139" y="43"/>
                      <a:pt x="139" y="43"/>
                    </a:cubicBezTo>
                    <a:cubicBezTo>
                      <a:pt x="132" y="51"/>
                      <a:pt x="132" y="51"/>
                      <a:pt x="132" y="51"/>
                    </a:cubicBezTo>
                    <a:cubicBezTo>
                      <a:pt x="125" y="52"/>
                      <a:pt x="125" y="52"/>
                      <a:pt x="125" y="52"/>
                    </a:cubicBezTo>
                    <a:cubicBezTo>
                      <a:pt x="117" y="56"/>
                      <a:pt x="117" y="56"/>
                      <a:pt x="117" y="56"/>
                    </a:cubicBezTo>
                    <a:cubicBezTo>
                      <a:pt x="117" y="56"/>
                      <a:pt x="119" y="62"/>
                      <a:pt x="118" y="63"/>
                    </a:cubicBezTo>
                    <a:cubicBezTo>
                      <a:pt x="117" y="64"/>
                      <a:pt x="115" y="66"/>
                      <a:pt x="115" y="66"/>
                    </a:cubicBezTo>
                    <a:cubicBezTo>
                      <a:pt x="115" y="63"/>
                      <a:pt x="115" y="63"/>
                      <a:pt x="115" y="63"/>
                    </a:cubicBezTo>
                    <a:cubicBezTo>
                      <a:pt x="115" y="63"/>
                      <a:pt x="105" y="56"/>
                      <a:pt x="103" y="56"/>
                    </a:cubicBezTo>
                    <a:cubicBezTo>
                      <a:pt x="100" y="56"/>
                      <a:pt x="95" y="61"/>
                      <a:pt x="95" y="61"/>
                    </a:cubicBezTo>
                    <a:cubicBezTo>
                      <a:pt x="93" y="59"/>
                      <a:pt x="93" y="59"/>
                      <a:pt x="93" y="59"/>
                    </a:cubicBezTo>
                    <a:cubicBezTo>
                      <a:pt x="93" y="55"/>
                      <a:pt x="93" y="55"/>
                      <a:pt x="93" y="55"/>
                    </a:cubicBezTo>
                    <a:cubicBezTo>
                      <a:pt x="91" y="52"/>
                      <a:pt x="91" y="52"/>
                      <a:pt x="91" y="52"/>
                    </a:cubicBezTo>
                    <a:cubicBezTo>
                      <a:pt x="91" y="52"/>
                      <a:pt x="86" y="51"/>
                      <a:pt x="84" y="51"/>
                    </a:cubicBezTo>
                    <a:cubicBezTo>
                      <a:pt x="80" y="49"/>
                      <a:pt x="75" y="44"/>
                      <a:pt x="73" y="45"/>
                    </a:cubicBezTo>
                    <a:cubicBezTo>
                      <a:pt x="72" y="45"/>
                      <a:pt x="70" y="46"/>
                      <a:pt x="70" y="46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67" y="52"/>
                      <a:pt x="67" y="52"/>
                      <a:pt x="67" y="52"/>
                    </a:cubicBezTo>
                    <a:cubicBezTo>
                      <a:pt x="67" y="47"/>
                      <a:pt x="67" y="47"/>
                      <a:pt x="67" y="47"/>
                    </a:cubicBezTo>
                    <a:cubicBezTo>
                      <a:pt x="62" y="46"/>
                      <a:pt x="62" y="46"/>
                      <a:pt x="62" y="46"/>
                    </a:cubicBezTo>
                    <a:cubicBezTo>
                      <a:pt x="57" y="56"/>
                      <a:pt x="57" y="56"/>
                      <a:pt x="57" y="56"/>
                    </a:cubicBezTo>
                    <a:cubicBezTo>
                      <a:pt x="58" y="56"/>
                      <a:pt x="58" y="56"/>
                      <a:pt x="58" y="56"/>
                    </a:cubicBezTo>
                    <a:cubicBezTo>
                      <a:pt x="62" y="51"/>
                      <a:pt x="62" y="51"/>
                      <a:pt x="62" y="51"/>
                    </a:cubicBezTo>
                    <a:cubicBezTo>
                      <a:pt x="63" y="57"/>
                      <a:pt x="63" y="57"/>
                      <a:pt x="63" y="57"/>
                    </a:cubicBezTo>
                    <a:cubicBezTo>
                      <a:pt x="61" y="57"/>
                      <a:pt x="61" y="57"/>
                      <a:pt x="61" y="57"/>
                    </a:cubicBezTo>
                    <a:cubicBezTo>
                      <a:pt x="62" y="59"/>
                      <a:pt x="62" y="59"/>
                      <a:pt x="62" y="59"/>
                    </a:cubicBezTo>
                    <a:cubicBezTo>
                      <a:pt x="67" y="58"/>
                      <a:pt x="67" y="58"/>
                      <a:pt x="67" y="58"/>
                    </a:cubicBezTo>
                    <a:cubicBezTo>
                      <a:pt x="64" y="63"/>
                      <a:pt x="64" y="63"/>
                      <a:pt x="64" y="63"/>
                    </a:cubicBezTo>
                    <a:cubicBezTo>
                      <a:pt x="64" y="70"/>
                      <a:pt x="64" y="70"/>
                      <a:pt x="64" y="70"/>
                    </a:cubicBezTo>
                    <a:cubicBezTo>
                      <a:pt x="62" y="68"/>
                      <a:pt x="62" y="68"/>
                      <a:pt x="62" y="68"/>
                    </a:cubicBezTo>
                    <a:cubicBezTo>
                      <a:pt x="62" y="68"/>
                      <a:pt x="55" y="73"/>
                      <a:pt x="60" y="73"/>
                    </a:cubicBezTo>
                    <a:cubicBezTo>
                      <a:pt x="64" y="74"/>
                      <a:pt x="73" y="74"/>
                      <a:pt x="73" y="74"/>
                    </a:cubicBezTo>
                    <a:cubicBezTo>
                      <a:pt x="70" y="80"/>
                      <a:pt x="70" y="80"/>
                      <a:pt x="70" y="80"/>
                    </a:cubicBezTo>
                    <a:cubicBezTo>
                      <a:pt x="58" y="79"/>
                      <a:pt x="58" y="79"/>
                      <a:pt x="58" y="79"/>
                    </a:cubicBezTo>
                    <a:cubicBezTo>
                      <a:pt x="56" y="87"/>
                      <a:pt x="56" y="87"/>
                      <a:pt x="56" y="87"/>
                    </a:cubicBezTo>
                    <a:cubicBezTo>
                      <a:pt x="62" y="93"/>
                      <a:pt x="62" y="93"/>
                      <a:pt x="62" y="93"/>
                    </a:cubicBezTo>
                    <a:cubicBezTo>
                      <a:pt x="51" y="88"/>
                      <a:pt x="51" y="88"/>
                      <a:pt x="51" y="88"/>
                    </a:cubicBezTo>
                    <a:cubicBezTo>
                      <a:pt x="51" y="91"/>
                      <a:pt x="51" y="91"/>
                      <a:pt x="51" y="91"/>
                    </a:cubicBezTo>
                    <a:cubicBezTo>
                      <a:pt x="44" y="90"/>
                      <a:pt x="44" y="90"/>
                      <a:pt x="44" y="90"/>
                    </a:cubicBezTo>
                    <a:cubicBezTo>
                      <a:pt x="44" y="90"/>
                      <a:pt x="47" y="93"/>
                      <a:pt x="46" y="95"/>
                    </a:cubicBezTo>
                    <a:cubicBezTo>
                      <a:pt x="44" y="99"/>
                      <a:pt x="42" y="98"/>
                      <a:pt x="42" y="98"/>
                    </a:cubicBezTo>
                    <a:cubicBezTo>
                      <a:pt x="49" y="104"/>
                      <a:pt x="49" y="104"/>
                      <a:pt x="49" y="104"/>
                    </a:cubicBezTo>
                    <a:cubicBezTo>
                      <a:pt x="52" y="102"/>
                      <a:pt x="52" y="102"/>
                      <a:pt x="52" y="102"/>
                    </a:cubicBezTo>
                    <a:cubicBezTo>
                      <a:pt x="55" y="104"/>
                      <a:pt x="55" y="104"/>
                      <a:pt x="55" y="104"/>
                    </a:cubicBezTo>
                    <a:cubicBezTo>
                      <a:pt x="49" y="106"/>
                      <a:pt x="49" y="106"/>
                      <a:pt x="49" y="106"/>
                    </a:cubicBezTo>
                    <a:cubicBezTo>
                      <a:pt x="55" y="110"/>
                      <a:pt x="55" y="110"/>
                      <a:pt x="55" y="110"/>
                    </a:cubicBezTo>
                    <a:cubicBezTo>
                      <a:pt x="59" y="106"/>
                      <a:pt x="59" y="106"/>
                      <a:pt x="59" y="106"/>
                    </a:cubicBezTo>
                    <a:cubicBezTo>
                      <a:pt x="60" y="108"/>
                      <a:pt x="60" y="108"/>
                      <a:pt x="60" y="108"/>
                    </a:cubicBezTo>
                    <a:cubicBezTo>
                      <a:pt x="62" y="107"/>
                      <a:pt x="62" y="107"/>
                      <a:pt x="62" y="107"/>
                    </a:cubicBezTo>
                    <a:cubicBezTo>
                      <a:pt x="63" y="111"/>
                      <a:pt x="63" y="111"/>
                      <a:pt x="63" y="111"/>
                    </a:cubicBezTo>
                    <a:cubicBezTo>
                      <a:pt x="59" y="111"/>
                      <a:pt x="59" y="111"/>
                      <a:pt x="59" y="111"/>
                    </a:cubicBezTo>
                    <a:cubicBezTo>
                      <a:pt x="59" y="116"/>
                      <a:pt x="59" y="116"/>
                      <a:pt x="59" y="116"/>
                    </a:cubicBezTo>
                    <a:cubicBezTo>
                      <a:pt x="59" y="116"/>
                      <a:pt x="64" y="119"/>
                      <a:pt x="69" y="119"/>
                    </a:cubicBezTo>
                    <a:cubicBezTo>
                      <a:pt x="74" y="119"/>
                      <a:pt x="84" y="121"/>
                      <a:pt x="84" y="121"/>
                    </a:cubicBezTo>
                    <a:cubicBezTo>
                      <a:pt x="83" y="127"/>
                      <a:pt x="83" y="127"/>
                      <a:pt x="83" y="127"/>
                    </a:cubicBezTo>
                    <a:cubicBezTo>
                      <a:pt x="83" y="127"/>
                      <a:pt x="78" y="129"/>
                      <a:pt x="76" y="129"/>
                    </a:cubicBezTo>
                    <a:cubicBezTo>
                      <a:pt x="74" y="129"/>
                      <a:pt x="70" y="124"/>
                      <a:pt x="70" y="124"/>
                    </a:cubicBezTo>
                    <a:cubicBezTo>
                      <a:pt x="70" y="124"/>
                      <a:pt x="67" y="129"/>
                      <a:pt x="64" y="131"/>
                    </a:cubicBezTo>
                    <a:cubicBezTo>
                      <a:pt x="62" y="132"/>
                      <a:pt x="60" y="135"/>
                      <a:pt x="60" y="135"/>
                    </a:cubicBezTo>
                    <a:cubicBezTo>
                      <a:pt x="64" y="139"/>
                      <a:pt x="64" y="139"/>
                      <a:pt x="64" y="139"/>
                    </a:cubicBezTo>
                    <a:cubicBezTo>
                      <a:pt x="64" y="139"/>
                      <a:pt x="61" y="140"/>
                      <a:pt x="58" y="142"/>
                    </a:cubicBezTo>
                    <a:cubicBezTo>
                      <a:pt x="56" y="145"/>
                      <a:pt x="54" y="148"/>
                      <a:pt x="54" y="148"/>
                    </a:cubicBezTo>
                    <a:cubicBezTo>
                      <a:pt x="50" y="147"/>
                      <a:pt x="50" y="147"/>
                      <a:pt x="50" y="147"/>
                    </a:cubicBezTo>
                    <a:cubicBezTo>
                      <a:pt x="47" y="150"/>
                      <a:pt x="47" y="150"/>
                      <a:pt x="47" y="150"/>
                    </a:cubicBezTo>
                    <a:cubicBezTo>
                      <a:pt x="35" y="155"/>
                      <a:pt x="35" y="155"/>
                      <a:pt x="35" y="155"/>
                    </a:cubicBezTo>
                    <a:cubicBezTo>
                      <a:pt x="47" y="155"/>
                      <a:pt x="47" y="155"/>
                      <a:pt x="47" y="155"/>
                    </a:cubicBezTo>
                    <a:cubicBezTo>
                      <a:pt x="49" y="153"/>
                      <a:pt x="49" y="153"/>
                      <a:pt x="49" y="153"/>
                    </a:cubicBezTo>
                    <a:cubicBezTo>
                      <a:pt x="49" y="153"/>
                      <a:pt x="53" y="159"/>
                      <a:pt x="60" y="157"/>
                    </a:cubicBezTo>
                    <a:cubicBezTo>
                      <a:pt x="67" y="156"/>
                      <a:pt x="71" y="152"/>
                      <a:pt x="71" y="152"/>
                    </a:cubicBezTo>
                    <a:cubicBezTo>
                      <a:pt x="73" y="151"/>
                      <a:pt x="73" y="151"/>
                      <a:pt x="73" y="151"/>
                    </a:cubicBezTo>
                    <a:cubicBezTo>
                      <a:pt x="73" y="157"/>
                      <a:pt x="73" y="157"/>
                      <a:pt x="73" y="157"/>
                    </a:cubicBezTo>
                    <a:cubicBezTo>
                      <a:pt x="79" y="158"/>
                      <a:pt x="79" y="158"/>
                      <a:pt x="79" y="158"/>
                    </a:cubicBezTo>
                    <a:cubicBezTo>
                      <a:pt x="82" y="161"/>
                      <a:pt x="82" y="161"/>
                      <a:pt x="82" y="161"/>
                    </a:cubicBezTo>
                    <a:cubicBezTo>
                      <a:pt x="75" y="159"/>
                      <a:pt x="75" y="159"/>
                      <a:pt x="75" y="159"/>
                    </a:cubicBezTo>
                    <a:cubicBezTo>
                      <a:pt x="67" y="159"/>
                      <a:pt x="67" y="159"/>
                      <a:pt x="67" y="159"/>
                    </a:cubicBezTo>
                    <a:cubicBezTo>
                      <a:pt x="55" y="161"/>
                      <a:pt x="55" y="161"/>
                      <a:pt x="55" y="161"/>
                    </a:cubicBezTo>
                    <a:cubicBezTo>
                      <a:pt x="46" y="157"/>
                      <a:pt x="46" y="157"/>
                      <a:pt x="46" y="157"/>
                    </a:cubicBezTo>
                    <a:cubicBezTo>
                      <a:pt x="39" y="163"/>
                      <a:pt x="39" y="163"/>
                      <a:pt x="39" y="163"/>
                    </a:cubicBezTo>
                    <a:cubicBezTo>
                      <a:pt x="34" y="164"/>
                      <a:pt x="34" y="164"/>
                      <a:pt x="34" y="164"/>
                    </a:cubicBezTo>
                    <a:cubicBezTo>
                      <a:pt x="31" y="173"/>
                      <a:pt x="31" y="173"/>
                      <a:pt x="31" y="173"/>
                    </a:cubicBezTo>
                    <a:cubicBezTo>
                      <a:pt x="35" y="175"/>
                      <a:pt x="35" y="175"/>
                      <a:pt x="35" y="175"/>
                    </a:cubicBezTo>
                    <a:cubicBezTo>
                      <a:pt x="26" y="173"/>
                      <a:pt x="26" y="173"/>
                      <a:pt x="26" y="173"/>
                    </a:cubicBezTo>
                    <a:cubicBezTo>
                      <a:pt x="26" y="169"/>
                      <a:pt x="26" y="169"/>
                      <a:pt x="26" y="169"/>
                    </a:cubicBezTo>
                    <a:cubicBezTo>
                      <a:pt x="21" y="172"/>
                      <a:pt x="21" y="172"/>
                      <a:pt x="21" y="172"/>
                    </a:cubicBezTo>
                    <a:cubicBezTo>
                      <a:pt x="19" y="171"/>
                      <a:pt x="19" y="171"/>
                      <a:pt x="19" y="171"/>
                    </a:cubicBezTo>
                    <a:cubicBezTo>
                      <a:pt x="19" y="169"/>
                      <a:pt x="19" y="169"/>
                      <a:pt x="19" y="169"/>
                    </a:cubicBezTo>
                    <a:cubicBezTo>
                      <a:pt x="19" y="169"/>
                      <a:pt x="14" y="169"/>
                      <a:pt x="9" y="171"/>
                    </a:cubicBezTo>
                    <a:cubicBezTo>
                      <a:pt x="5" y="173"/>
                      <a:pt x="0" y="175"/>
                      <a:pt x="4" y="178"/>
                    </a:cubicBezTo>
                    <a:cubicBezTo>
                      <a:pt x="9" y="179"/>
                      <a:pt x="17" y="181"/>
                      <a:pt x="19" y="181"/>
                    </a:cubicBezTo>
                    <a:cubicBezTo>
                      <a:pt x="21" y="181"/>
                      <a:pt x="30" y="180"/>
                      <a:pt x="29" y="182"/>
                    </a:cubicBezTo>
                    <a:cubicBezTo>
                      <a:pt x="28" y="184"/>
                      <a:pt x="22" y="188"/>
                      <a:pt x="16" y="188"/>
                    </a:cubicBezTo>
                    <a:cubicBezTo>
                      <a:pt x="10" y="188"/>
                      <a:pt x="10" y="190"/>
                      <a:pt x="9" y="192"/>
                    </a:cubicBezTo>
                    <a:cubicBezTo>
                      <a:pt x="7" y="193"/>
                      <a:pt x="2" y="193"/>
                      <a:pt x="2" y="193"/>
                    </a:cubicBezTo>
                    <a:cubicBezTo>
                      <a:pt x="2" y="199"/>
                      <a:pt x="2" y="199"/>
                      <a:pt x="2" y="199"/>
                    </a:cubicBezTo>
                    <a:cubicBezTo>
                      <a:pt x="2" y="199"/>
                      <a:pt x="8" y="196"/>
                      <a:pt x="8" y="198"/>
                    </a:cubicBezTo>
                    <a:cubicBezTo>
                      <a:pt x="8" y="200"/>
                      <a:pt x="10" y="204"/>
                      <a:pt x="10" y="204"/>
                    </a:cubicBezTo>
                    <a:cubicBezTo>
                      <a:pt x="30" y="202"/>
                      <a:pt x="30" y="202"/>
                      <a:pt x="30" y="202"/>
                    </a:cubicBezTo>
                    <a:cubicBezTo>
                      <a:pt x="16" y="206"/>
                      <a:pt x="16" y="206"/>
                      <a:pt x="16" y="206"/>
                    </a:cubicBezTo>
                    <a:cubicBezTo>
                      <a:pt x="14" y="210"/>
                      <a:pt x="14" y="210"/>
                      <a:pt x="14" y="210"/>
                    </a:cubicBezTo>
                    <a:cubicBezTo>
                      <a:pt x="9" y="210"/>
                      <a:pt x="9" y="210"/>
                      <a:pt x="9" y="210"/>
                    </a:cubicBezTo>
                    <a:cubicBezTo>
                      <a:pt x="7" y="214"/>
                      <a:pt x="7" y="214"/>
                      <a:pt x="7" y="214"/>
                    </a:cubicBezTo>
                    <a:cubicBezTo>
                      <a:pt x="22" y="212"/>
                      <a:pt x="22" y="212"/>
                      <a:pt x="22" y="212"/>
                    </a:cubicBezTo>
                    <a:cubicBezTo>
                      <a:pt x="26" y="213"/>
                      <a:pt x="26" y="213"/>
                      <a:pt x="26" y="213"/>
                    </a:cubicBezTo>
                    <a:cubicBezTo>
                      <a:pt x="33" y="211"/>
                      <a:pt x="33" y="211"/>
                      <a:pt x="33" y="211"/>
                    </a:cubicBezTo>
                    <a:cubicBezTo>
                      <a:pt x="35" y="214"/>
                      <a:pt x="35" y="214"/>
                      <a:pt x="35" y="214"/>
                    </a:cubicBezTo>
                    <a:cubicBezTo>
                      <a:pt x="35" y="214"/>
                      <a:pt x="29" y="215"/>
                      <a:pt x="26" y="216"/>
                    </a:cubicBezTo>
                    <a:cubicBezTo>
                      <a:pt x="23" y="216"/>
                      <a:pt x="18" y="220"/>
                      <a:pt x="18" y="220"/>
                    </a:cubicBezTo>
                    <a:cubicBezTo>
                      <a:pt x="28" y="219"/>
                      <a:pt x="28" y="219"/>
                      <a:pt x="28" y="219"/>
                    </a:cubicBezTo>
                    <a:cubicBezTo>
                      <a:pt x="28" y="219"/>
                      <a:pt x="23" y="224"/>
                      <a:pt x="22" y="224"/>
                    </a:cubicBezTo>
                    <a:cubicBezTo>
                      <a:pt x="20" y="224"/>
                      <a:pt x="16" y="225"/>
                      <a:pt x="16" y="225"/>
                    </a:cubicBezTo>
                    <a:cubicBezTo>
                      <a:pt x="18" y="226"/>
                      <a:pt x="18" y="226"/>
                      <a:pt x="18" y="226"/>
                    </a:cubicBezTo>
                    <a:cubicBezTo>
                      <a:pt x="34" y="225"/>
                      <a:pt x="34" y="225"/>
                      <a:pt x="34" y="225"/>
                    </a:cubicBezTo>
                    <a:cubicBezTo>
                      <a:pt x="37" y="226"/>
                      <a:pt x="37" y="226"/>
                      <a:pt x="37" y="226"/>
                    </a:cubicBezTo>
                    <a:cubicBezTo>
                      <a:pt x="35" y="230"/>
                      <a:pt x="35" y="230"/>
                      <a:pt x="35" y="230"/>
                    </a:cubicBezTo>
                    <a:cubicBezTo>
                      <a:pt x="35" y="230"/>
                      <a:pt x="40" y="232"/>
                      <a:pt x="42" y="231"/>
                    </a:cubicBezTo>
                    <a:cubicBezTo>
                      <a:pt x="44" y="229"/>
                      <a:pt x="46" y="228"/>
                      <a:pt x="46" y="228"/>
                    </a:cubicBezTo>
                    <a:cubicBezTo>
                      <a:pt x="53" y="231"/>
                      <a:pt x="53" y="231"/>
                      <a:pt x="53" y="231"/>
                    </a:cubicBezTo>
                    <a:cubicBezTo>
                      <a:pt x="57" y="228"/>
                      <a:pt x="57" y="228"/>
                      <a:pt x="57" y="228"/>
                    </a:cubicBezTo>
                    <a:cubicBezTo>
                      <a:pt x="61" y="230"/>
                      <a:pt x="61" y="230"/>
                      <a:pt x="61" y="230"/>
                    </a:cubicBezTo>
                    <a:cubicBezTo>
                      <a:pt x="66" y="227"/>
                      <a:pt x="66" y="227"/>
                      <a:pt x="66" y="227"/>
                    </a:cubicBezTo>
                    <a:cubicBezTo>
                      <a:pt x="69" y="228"/>
                      <a:pt x="69" y="228"/>
                      <a:pt x="69" y="228"/>
                    </a:cubicBezTo>
                    <a:cubicBezTo>
                      <a:pt x="69" y="228"/>
                      <a:pt x="83" y="228"/>
                      <a:pt x="82" y="222"/>
                    </a:cubicBezTo>
                    <a:cubicBezTo>
                      <a:pt x="82" y="213"/>
                      <a:pt x="82" y="213"/>
                      <a:pt x="82" y="213"/>
                    </a:cubicBezTo>
                    <a:cubicBezTo>
                      <a:pt x="82" y="213"/>
                      <a:pt x="85" y="212"/>
                      <a:pt x="87" y="215"/>
                    </a:cubicBezTo>
                    <a:cubicBezTo>
                      <a:pt x="90" y="219"/>
                      <a:pt x="85" y="218"/>
                      <a:pt x="85" y="220"/>
                    </a:cubicBezTo>
                    <a:cubicBezTo>
                      <a:pt x="85" y="222"/>
                      <a:pt x="87" y="224"/>
                      <a:pt x="91" y="222"/>
                    </a:cubicBezTo>
                    <a:cubicBezTo>
                      <a:pt x="96" y="222"/>
                      <a:pt x="103" y="218"/>
                      <a:pt x="103" y="218"/>
                    </a:cubicBezTo>
                    <a:cubicBezTo>
                      <a:pt x="103" y="214"/>
                      <a:pt x="103" y="214"/>
                      <a:pt x="103" y="214"/>
                    </a:cubicBezTo>
                    <a:cubicBezTo>
                      <a:pt x="103" y="214"/>
                      <a:pt x="109" y="220"/>
                      <a:pt x="112" y="218"/>
                    </a:cubicBezTo>
                    <a:cubicBezTo>
                      <a:pt x="117" y="216"/>
                      <a:pt x="116" y="210"/>
                      <a:pt x="116" y="210"/>
                    </a:cubicBezTo>
                    <a:cubicBezTo>
                      <a:pt x="119" y="211"/>
                      <a:pt x="119" y="211"/>
                      <a:pt x="119" y="211"/>
                    </a:cubicBezTo>
                    <a:cubicBezTo>
                      <a:pt x="125" y="208"/>
                      <a:pt x="125" y="208"/>
                      <a:pt x="125" y="208"/>
                    </a:cubicBezTo>
                    <a:cubicBezTo>
                      <a:pt x="139" y="212"/>
                      <a:pt x="139" y="212"/>
                      <a:pt x="139" y="212"/>
                    </a:cubicBezTo>
                    <a:cubicBezTo>
                      <a:pt x="141" y="204"/>
                      <a:pt x="141" y="204"/>
                      <a:pt x="141" y="204"/>
                    </a:cubicBezTo>
                    <a:cubicBezTo>
                      <a:pt x="144" y="206"/>
                      <a:pt x="144" y="206"/>
                      <a:pt x="144" y="206"/>
                    </a:cubicBezTo>
                    <a:cubicBezTo>
                      <a:pt x="143" y="213"/>
                      <a:pt x="143" y="213"/>
                      <a:pt x="143" y="213"/>
                    </a:cubicBezTo>
                    <a:cubicBezTo>
                      <a:pt x="148" y="212"/>
                      <a:pt x="148" y="212"/>
                      <a:pt x="148" y="212"/>
                    </a:cubicBezTo>
                    <a:cubicBezTo>
                      <a:pt x="150" y="206"/>
                      <a:pt x="150" y="206"/>
                      <a:pt x="150" y="206"/>
                    </a:cubicBezTo>
                    <a:cubicBezTo>
                      <a:pt x="150" y="210"/>
                      <a:pt x="150" y="210"/>
                      <a:pt x="150" y="210"/>
                    </a:cubicBezTo>
                    <a:cubicBezTo>
                      <a:pt x="150" y="210"/>
                      <a:pt x="153" y="214"/>
                      <a:pt x="157" y="214"/>
                    </a:cubicBezTo>
                    <a:cubicBezTo>
                      <a:pt x="161" y="214"/>
                      <a:pt x="169" y="213"/>
                      <a:pt x="169" y="213"/>
                    </a:cubicBezTo>
                    <a:cubicBezTo>
                      <a:pt x="168" y="208"/>
                      <a:pt x="168" y="208"/>
                      <a:pt x="168" y="208"/>
                    </a:cubicBezTo>
                    <a:cubicBezTo>
                      <a:pt x="162" y="202"/>
                      <a:pt x="162" y="202"/>
                      <a:pt x="162" y="202"/>
                    </a:cubicBezTo>
                    <a:cubicBezTo>
                      <a:pt x="164" y="201"/>
                      <a:pt x="164" y="201"/>
                      <a:pt x="164" y="201"/>
                    </a:cubicBezTo>
                    <a:cubicBezTo>
                      <a:pt x="169" y="203"/>
                      <a:pt x="169" y="203"/>
                      <a:pt x="169" y="203"/>
                    </a:cubicBezTo>
                    <a:cubicBezTo>
                      <a:pt x="169" y="201"/>
                      <a:pt x="169" y="201"/>
                      <a:pt x="169" y="201"/>
                    </a:cubicBezTo>
                    <a:cubicBezTo>
                      <a:pt x="178" y="193"/>
                      <a:pt x="178" y="193"/>
                      <a:pt x="178" y="193"/>
                    </a:cubicBezTo>
                    <a:cubicBezTo>
                      <a:pt x="178" y="187"/>
                      <a:pt x="178" y="187"/>
                      <a:pt x="178" y="187"/>
                    </a:cubicBezTo>
                    <a:cubicBezTo>
                      <a:pt x="178" y="187"/>
                      <a:pt x="182" y="178"/>
                      <a:pt x="184" y="177"/>
                    </a:cubicBezTo>
                    <a:cubicBezTo>
                      <a:pt x="187" y="175"/>
                      <a:pt x="192" y="170"/>
                      <a:pt x="193" y="161"/>
                    </a:cubicBezTo>
                    <a:cubicBezTo>
                      <a:pt x="193" y="149"/>
                      <a:pt x="193" y="149"/>
                      <a:pt x="193" y="149"/>
                    </a:cubicBezTo>
                    <a:cubicBezTo>
                      <a:pt x="193" y="149"/>
                      <a:pt x="186" y="145"/>
                      <a:pt x="188" y="142"/>
                    </a:cubicBezTo>
                    <a:cubicBezTo>
                      <a:pt x="191" y="140"/>
                      <a:pt x="194" y="141"/>
                      <a:pt x="194" y="141"/>
                    </a:cubicBezTo>
                    <a:cubicBezTo>
                      <a:pt x="194" y="141"/>
                      <a:pt x="194" y="137"/>
                      <a:pt x="195" y="135"/>
                    </a:cubicBezTo>
                    <a:cubicBezTo>
                      <a:pt x="197" y="134"/>
                      <a:pt x="200" y="132"/>
                      <a:pt x="199" y="130"/>
                    </a:cubicBezTo>
                    <a:cubicBezTo>
                      <a:pt x="197" y="127"/>
                      <a:pt x="194" y="119"/>
                      <a:pt x="194" y="119"/>
                    </a:cubicBezTo>
                    <a:cubicBezTo>
                      <a:pt x="194" y="119"/>
                      <a:pt x="197" y="117"/>
                      <a:pt x="197" y="112"/>
                    </a:cubicBezTo>
                    <a:cubicBezTo>
                      <a:pt x="197" y="107"/>
                      <a:pt x="190" y="104"/>
                      <a:pt x="193" y="102"/>
                    </a:cubicBezTo>
                    <a:cubicBezTo>
                      <a:pt x="197" y="99"/>
                      <a:pt x="203" y="103"/>
                      <a:pt x="204" y="102"/>
                    </a:cubicBezTo>
                    <a:cubicBezTo>
                      <a:pt x="204" y="101"/>
                      <a:pt x="201" y="95"/>
                      <a:pt x="201" y="95"/>
                    </a:cubicBezTo>
                    <a:close/>
                  </a:path>
                </a:pathLst>
              </a:custGeom>
              <a:solidFill>
                <a:srgbClr val="FDC795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48" name="Iceland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2936875" y="1406525"/>
                <a:ext cx="608012" cy="500062"/>
              </a:xfrm>
              <a:custGeom>
                <a:avLst/>
                <a:gdLst/>
                <a:ahLst/>
                <a:cxnLst>
                  <a:cxn ang="0">
                    <a:pos x="273" y="136"/>
                  </a:cxn>
                  <a:cxn ang="0">
                    <a:pos x="262" y="113"/>
                  </a:cxn>
                  <a:cxn ang="0">
                    <a:pos x="268" y="98"/>
                  </a:cxn>
                  <a:cxn ang="0">
                    <a:pos x="252" y="81"/>
                  </a:cxn>
                  <a:cxn ang="0">
                    <a:pos x="229" y="89"/>
                  </a:cxn>
                  <a:cxn ang="0">
                    <a:pos x="206" y="89"/>
                  </a:cxn>
                  <a:cxn ang="0">
                    <a:pos x="189" y="71"/>
                  </a:cxn>
                  <a:cxn ang="0">
                    <a:pos x="178" y="102"/>
                  </a:cxn>
                  <a:cxn ang="0">
                    <a:pos x="177" y="75"/>
                  </a:cxn>
                  <a:cxn ang="0">
                    <a:pos x="170" y="63"/>
                  </a:cxn>
                  <a:cxn ang="0">
                    <a:pos x="144" y="81"/>
                  </a:cxn>
                  <a:cxn ang="0">
                    <a:pos x="141" y="52"/>
                  </a:cxn>
                  <a:cxn ang="0">
                    <a:pos x="133" y="54"/>
                  </a:cxn>
                  <a:cxn ang="0">
                    <a:pos x="115" y="81"/>
                  </a:cxn>
                  <a:cxn ang="0">
                    <a:pos x="110" y="75"/>
                  </a:cxn>
                  <a:cxn ang="0">
                    <a:pos x="95" y="81"/>
                  </a:cxn>
                  <a:cxn ang="0">
                    <a:pos x="90" y="75"/>
                  </a:cxn>
                  <a:cxn ang="0">
                    <a:pos x="92" y="54"/>
                  </a:cxn>
                  <a:cxn ang="0">
                    <a:pos x="109" y="44"/>
                  </a:cxn>
                  <a:cxn ang="0">
                    <a:pos x="104" y="23"/>
                  </a:cxn>
                  <a:cxn ang="0">
                    <a:pos x="97" y="10"/>
                  </a:cxn>
                  <a:cxn ang="0">
                    <a:pos x="81" y="5"/>
                  </a:cxn>
                  <a:cxn ang="0">
                    <a:pos x="88" y="13"/>
                  </a:cxn>
                  <a:cxn ang="0">
                    <a:pos x="87" y="29"/>
                  </a:cxn>
                  <a:cxn ang="0">
                    <a:pos x="79" y="32"/>
                  </a:cxn>
                  <a:cxn ang="0">
                    <a:pos x="73" y="27"/>
                  </a:cxn>
                  <a:cxn ang="0">
                    <a:pos x="71" y="13"/>
                  </a:cxn>
                  <a:cxn ang="0">
                    <a:pos x="53" y="22"/>
                  </a:cxn>
                  <a:cxn ang="0">
                    <a:pos x="57" y="38"/>
                  </a:cxn>
                  <a:cxn ang="0">
                    <a:pos x="38" y="23"/>
                  </a:cxn>
                  <a:cxn ang="0">
                    <a:pos x="30" y="36"/>
                  </a:cxn>
                  <a:cxn ang="0">
                    <a:pos x="30" y="49"/>
                  </a:cxn>
                  <a:cxn ang="0">
                    <a:pos x="60" y="50"/>
                  </a:cxn>
                  <a:cxn ang="0">
                    <a:pos x="72" y="64"/>
                  </a:cxn>
                  <a:cxn ang="0">
                    <a:pos x="72" y="75"/>
                  </a:cxn>
                  <a:cxn ang="0">
                    <a:pos x="69" y="87"/>
                  </a:cxn>
                  <a:cxn ang="0">
                    <a:pos x="45" y="87"/>
                  </a:cxn>
                  <a:cxn ang="0">
                    <a:pos x="31" y="83"/>
                  </a:cxn>
                  <a:cxn ang="0">
                    <a:pos x="4" y="84"/>
                  </a:cxn>
                  <a:cxn ang="0">
                    <a:pos x="34" y="97"/>
                  </a:cxn>
                  <a:cxn ang="0">
                    <a:pos x="36" y="117"/>
                  </a:cxn>
                  <a:cxn ang="0">
                    <a:pos x="48" y="121"/>
                  </a:cxn>
                  <a:cxn ang="0">
                    <a:pos x="36" y="132"/>
                  </a:cxn>
                  <a:cxn ang="0">
                    <a:pos x="36" y="141"/>
                  </a:cxn>
                  <a:cxn ang="0">
                    <a:pos x="14" y="149"/>
                  </a:cxn>
                  <a:cxn ang="0">
                    <a:pos x="0" y="154"/>
                  </a:cxn>
                  <a:cxn ang="0">
                    <a:pos x="28" y="168"/>
                  </a:cxn>
                  <a:cxn ang="0">
                    <a:pos x="45" y="177"/>
                  </a:cxn>
                  <a:cxn ang="0">
                    <a:pos x="55" y="194"/>
                  </a:cxn>
                  <a:cxn ang="0">
                    <a:pos x="79" y="224"/>
                  </a:cxn>
                  <a:cxn ang="0">
                    <a:pos x="123" y="221"/>
                  </a:cxn>
                  <a:cxn ang="0">
                    <a:pos x="155" y="227"/>
                  </a:cxn>
                  <a:cxn ang="0">
                    <a:pos x="195" y="217"/>
                  </a:cxn>
                  <a:cxn ang="0">
                    <a:pos x="212" y="218"/>
                  </a:cxn>
                  <a:cxn ang="0">
                    <a:pos x="240" y="207"/>
                  </a:cxn>
                  <a:cxn ang="0">
                    <a:pos x="243" y="194"/>
                  </a:cxn>
                  <a:cxn ang="0">
                    <a:pos x="258" y="190"/>
                  </a:cxn>
                  <a:cxn ang="0">
                    <a:pos x="263" y="183"/>
                  </a:cxn>
                  <a:cxn ang="0">
                    <a:pos x="272" y="183"/>
                  </a:cxn>
                  <a:cxn ang="0">
                    <a:pos x="278" y="173"/>
                  </a:cxn>
                  <a:cxn ang="0">
                    <a:pos x="284" y="155"/>
                  </a:cxn>
                  <a:cxn ang="0">
                    <a:pos x="50" y="205"/>
                  </a:cxn>
                </a:cxnLst>
                <a:rect l="0" t="0" r="r" b="b"/>
                <a:pathLst>
                  <a:path w="285" h="235">
                    <a:moveTo>
                      <a:pt x="284" y="155"/>
                    </a:moveTo>
                    <a:cubicBezTo>
                      <a:pt x="280" y="156"/>
                      <a:pt x="280" y="156"/>
                      <a:pt x="280" y="156"/>
                    </a:cubicBezTo>
                    <a:cubicBezTo>
                      <a:pt x="280" y="153"/>
                      <a:pt x="280" y="153"/>
                      <a:pt x="280" y="153"/>
                    </a:cubicBezTo>
                    <a:cubicBezTo>
                      <a:pt x="279" y="153"/>
                      <a:pt x="279" y="153"/>
                      <a:pt x="279" y="153"/>
                    </a:cubicBezTo>
                    <a:cubicBezTo>
                      <a:pt x="281" y="150"/>
                      <a:pt x="281" y="150"/>
                      <a:pt x="281" y="150"/>
                    </a:cubicBezTo>
                    <a:cubicBezTo>
                      <a:pt x="280" y="149"/>
                      <a:pt x="280" y="149"/>
                      <a:pt x="280" y="149"/>
                    </a:cubicBezTo>
                    <a:cubicBezTo>
                      <a:pt x="280" y="149"/>
                      <a:pt x="275" y="147"/>
                      <a:pt x="272" y="143"/>
                    </a:cubicBezTo>
                    <a:cubicBezTo>
                      <a:pt x="270" y="139"/>
                      <a:pt x="273" y="136"/>
                      <a:pt x="273" y="136"/>
                    </a:cubicBezTo>
                    <a:cubicBezTo>
                      <a:pt x="260" y="133"/>
                      <a:pt x="260" y="133"/>
                      <a:pt x="260" y="133"/>
                    </a:cubicBezTo>
                    <a:cubicBezTo>
                      <a:pt x="261" y="130"/>
                      <a:pt x="261" y="130"/>
                      <a:pt x="261" y="130"/>
                    </a:cubicBezTo>
                    <a:cubicBezTo>
                      <a:pt x="259" y="130"/>
                      <a:pt x="259" y="130"/>
                      <a:pt x="259" y="130"/>
                    </a:cubicBezTo>
                    <a:cubicBezTo>
                      <a:pt x="259" y="130"/>
                      <a:pt x="260" y="128"/>
                      <a:pt x="262" y="128"/>
                    </a:cubicBezTo>
                    <a:cubicBezTo>
                      <a:pt x="264" y="127"/>
                      <a:pt x="265" y="127"/>
                      <a:pt x="269" y="124"/>
                    </a:cubicBezTo>
                    <a:cubicBezTo>
                      <a:pt x="273" y="122"/>
                      <a:pt x="272" y="116"/>
                      <a:pt x="271" y="115"/>
                    </a:cubicBezTo>
                    <a:cubicBezTo>
                      <a:pt x="270" y="113"/>
                      <a:pt x="268" y="115"/>
                      <a:pt x="265" y="115"/>
                    </a:cubicBezTo>
                    <a:cubicBezTo>
                      <a:pt x="264" y="115"/>
                      <a:pt x="262" y="113"/>
                      <a:pt x="262" y="113"/>
                    </a:cubicBezTo>
                    <a:cubicBezTo>
                      <a:pt x="262" y="113"/>
                      <a:pt x="263" y="112"/>
                      <a:pt x="263" y="110"/>
                    </a:cubicBezTo>
                    <a:cubicBezTo>
                      <a:pt x="263" y="108"/>
                      <a:pt x="260" y="107"/>
                      <a:pt x="260" y="107"/>
                    </a:cubicBezTo>
                    <a:cubicBezTo>
                      <a:pt x="260" y="107"/>
                      <a:pt x="269" y="106"/>
                      <a:pt x="270" y="105"/>
                    </a:cubicBezTo>
                    <a:cubicBezTo>
                      <a:pt x="271" y="102"/>
                      <a:pt x="271" y="99"/>
                      <a:pt x="271" y="99"/>
                    </a:cubicBezTo>
                    <a:cubicBezTo>
                      <a:pt x="284" y="97"/>
                      <a:pt x="284" y="97"/>
                      <a:pt x="284" y="97"/>
                    </a:cubicBezTo>
                    <a:cubicBezTo>
                      <a:pt x="284" y="97"/>
                      <a:pt x="280" y="96"/>
                      <a:pt x="278" y="96"/>
                    </a:cubicBezTo>
                    <a:cubicBezTo>
                      <a:pt x="277" y="95"/>
                      <a:pt x="279" y="94"/>
                      <a:pt x="276" y="93"/>
                    </a:cubicBezTo>
                    <a:cubicBezTo>
                      <a:pt x="274" y="92"/>
                      <a:pt x="270" y="97"/>
                      <a:pt x="268" y="98"/>
                    </a:cubicBezTo>
                    <a:cubicBezTo>
                      <a:pt x="264" y="99"/>
                      <a:pt x="265" y="96"/>
                      <a:pt x="262" y="97"/>
                    </a:cubicBezTo>
                    <a:cubicBezTo>
                      <a:pt x="258" y="97"/>
                      <a:pt x="259" y="101"/>
                      <a:pt x="258" y="102"/>
                    </a:cubicBezTo>
                    <a:cubicBezTo>
                      <a:pt x="257" y="102"/>
                      <a:pt x="256" y="99"/>
                      <a:pt x="256" y="97"/>
                    </a:cubicBezTo>
                    <a:cubicBezTo>
                      <a:pt x="255" y="96"/>
                      <a:pt x="253" y="95"/>
                      <a:pt x="253" y="95"/>
                    </a:cubicBezTo>
                    <a:cubicBezTo>
                      <a:pt x="254" y="93"/>
                      <a:pt x="254" y="93"/>
                      <a:pt x="254" y="93"/>
                    </a:cubicBezTo>
                    <a:cubicBezTo>
                      <a:pt x="252" y="92"/>
                      <a:pt x="252" y="92"/>
                      <a:pt x="252" y="92"/>
                    </a:cubicBezTo>
                    <a:cubicBezTo>
                      <a:pt x="252" y="92"/>
                      <a:pt x="255" y="90"/>
                      <a:pt x="256" y="86"/>
                    </a:cubicBezTo>
                    <a:cubicBezTo>
                      <a:pt x="258" y="84"/>
                      <a:pt x="252" y="81"/>
                      <a:pt x="252" y="81"/>
                    </a:cubicBezTo>
                    <a:cubicBezTo>
                      <a:pt x="252" y="81"/>
                      <a:pt x="255" y="79"/>
                      <a:pt x="253" y="74"/>
                    </a:cubicBezTo>
                    <a:cubicBezTo>
                      <a:pt x="251" y="69"/>
                      <a:pt x="245" y="74"/>
                      <a:pt x="245" y="74"/>
                    </a:cubicBezTo>
                    <a:cubicBezTo>
                      <a:pt x="245" y="74"/>
                      <a:pt x="242" y="69"/>
                      <a:pt x="240" y="69"/>
                    </a:cubicBezTo>
                    <a:cubicBezTo>
                      <a:pt x="238" y="69"/>
                      <a:pt x="238" y="75"/>
                      <a:pt x="238" y="77"/>
                    </a:cubicBezTo>
                    <a:cubicBezTo>
                      <a:pt x="238" y="79"/>
                      <a:pt x="236" y="80"/>
                      <a:pt x="236" y="80"/>
                    </a:cubicBezTo>
                    <a:cubicBezTo>
                      <a:pt x="236" y="80"/>
                      <a:pt x="236" y="86"/>
                      <a:pt x="235" y="89"/>
                    </a:cubicBezTo>
                    <a:cubicBezTo>
                      <a:pt x="232" y="90"/>
                      <a:pt x="230" y="90"/>
                      <a:pt x="230" y="90"/>
                    </a:cubicBezTo>
                    <a:cubicBezTo>
                      <a:pt x="229" y="89"/>
                      <a:pt x="229" y="89"/>
                      <a:pt x="229" y="89"/>
                    </a:cubicBezTo>
                    <a:cubicBezTo>
                      <a:pt x="226" y="89"/>
                      <a:pt x="226" y="89"/>
                      <a:pt x="226" y="89"/>
                    </a:cubicBezTo>
                    <a:cubicBezTo>
                      <a:pt x="226" y="89"/>
                      <a:pt x="224" y="90"/>
                      <a:pt x="223" y="91"/>
                    </a:cubicBezTo>
                    <a:cubicBezTo>
                      <a:pt x="222" y="91"/>
                      <a:pt x="219" y="89"/>
                      <a:pt x="219" y="89"/>
                    </a:cubicBezTo>
                    <a:cubicBezTo>
                      <a:pt x="220" y="84"/>
                      <a:pt x="220" y="84"/>
                      <a:pt x="220" y="84"/>
                    </a:cubicBezTo>
                    <a:cubicBezTo>
                      <a:pt x="220" y="84"/>
                      <a:pt x="217" y="81"/>
                      <a:pt x="214" y="82"/>
                    </a:cubicBezTo>
                    <a:cubicBezTo>
                      <a:pt x="210" y="82"/>
                      <a:pt x="210" y="84"/>
                      <a:pt x="210" y="86"/>
                    </a:cubicBezTo>
                    <a:cubicBezTo>
                      <a:pt x="209" y="87"/>
                      <a:pt x="206" y="87"/>
                      <a:pt x="206" y="87"/>
                    </a:cubicBezTo>
                    <a:cubicBezTo>
                      <a:pt x="206" y="89"/>
                      <a:pt x="206" y="89"/>
                      <a:pt x="206" y="89"/>
                    </a:cubicBezTo>
                    <a:cubicBezTo>
                      <a:pt x="203" y="93"/>
                      <a:pt x="203" y="93"/>
                      <a:pt x="203" y="93"/>
                    </a:cubicBezTo>
                    <a:cubicBezTo>
                      <a:pt x="203" y="93"/>
                      <a:pt x="202" y="91"/>
                      <a:pt x="199" y="90"/>
                    </a:cubicBezTo>
                    <a:cubicBezTo>
                      <a:pt x="198" y="89"/>
                      <a:pt x="197" y="90"/>
                      <a:pt x="197" y="90"/>
                    </a:cubicBezTo>
                    <a:cubicBezTo>
                      <a:pt x="196" y="80"/>
                      <a:pt x="196" y="80"/>
                      <a:pt x="196" y="80"/>
                    </a:cubicBezTo>
                    <a:cubicBezTo>
                      <a:pt x="195" y="79"/>
                      <a:pt x="195" y="79"/>
                      <a:pt x="195" y="79"/>
                    </a:cubicBezTo>
                    <a:cubicBezTo>
                      <a:pt x="195" y="76"/>
                      <a:pt x="195" y="76"/>
                      <a:pt x="195" y="76"/>
                    </a:cubicBezTo>
                    <a:cubicBezTo>
                      <a:pt x="191" y="74"/>
                      <a:pt x="191" y="74"/>
                      <a:pt x="191" y="74"/>
                    </a:cubicBezTo>
                    <a:cubicBezTo>
                      <a:pt x="189" y="71"/>
                      <a:pt x="189" y="71"/>
                      <a:pt x="189" y="71"/>
                    </a:cubicBezTo>
                    <a:cubicBezTo>
                      <a:pt x="189" y="71"/>
                      <a:pt x="184" y="71"/>
                      <a:pt x="183" y="78"/>
                    </a:cubicBezTo>
                    <a:cubicBezTo>
                      <a:pt x="181" y="84"/>
                      <a:pt x="183" y="85"/>
                      <a:pt x="183" y="85"/>
                    </a:cubicBezTo>
                    <a:cubicBezTo>
                      <a:pt x="181" y="86"/>
                      <a:pt x="181" y="86"/>
                      <a:pt x="181" y="86"/>
                    </a:cubicBezTo>
                    <a:cubicBezTo>
                      <a:pt x="181" y="87"/>
                      <a:pt x="181" y="87"/>
                      <a:pt x="181" y="87"/>
                    </a:cubicBezTo>
                    <a:cubicBezTo>
                      <a:pt x="183" y="87"/>
                      <a:pt x="183" y="87"/>
                      <a:pt x="183" y="87"/>
                    </a:cubicBezTo>
                    <a:cubicBezTo>
                      <a:pt x="182" y="93"/>
                      <a:pt x="182" y="93"/>
                      <a:pt x="182" y="93"/>
                    </a:cubicBezTo>
                    <a:cubicBezTo>
                      <a:pt x="178" y="99"/>
                      <a:pt x="178" y="99"/>
                      <a:pt x="178" y="99"/>
                    </a:cubicBezTo>
                    <a:cubicBezTo>
                      <a:pt x="178" y="102"/>
                      <a:pt x="178" y="102"/>
                      <a:pt x="178" y="102"/>
                    </a:cubicBezTo>
                    <a:cubicBezTo>
                      <a:pt x="176" y="105"/>
                      <a:pt x="176" y="105"/>
                      <a:pt x="176" y="105"/>
                    </a:cubicBezTo>
                    <a:cubicBezTo>
                      <a:pt x="177" y="102"/>
                      <a:pt x="177" y="102"/>
                      <a:pt x="177" y="102"/>
                    </a:cubicBezTo>
                    <a:cubicBezTo>
                      <a:pt x="177" y="98"/>
                      <a:pt x="177" y="98"/>
                      <a:pt x="177" y="98"/>
                    </a:cubicBezTo>
                    <a:cubicBezTo>
                      <a:pt x="177" y="98"/>
                      <a:pt x="177" y="96"/>
                      <a:pt x="178" y="95"/>
                    </a:cubicBezTo>
                    <a:cubicBezTo>
                      <a:pt x="179" y="94"/>
                      <a:pt x="179" y="92"/>
                      <a:pt x="179" y="92"/>
                    </a:cubicBezTo>
                    <a:cubicBezTo>
                      <a:pt x="178" y="83"/>
                      <a:pt x="178" y="83"/>
                      <a:pt x="178" y="83"/>
                    </a:cubicBezTo>
                    <a:cubicBezTo>
                      <a:pt x="178" y="83"/>
                      <a:pt x="175" y="81"/>
                      <a:pt x="175" y="80"/>
                    </a:cubicBezTo>
                    <a:cubicBezTo>
                      <a:pt x="175" y="78"/>
                      <a:pt x="177" y="77"/>
                      <a:pt x="177" y="75"/>
                    </a:cubicBezTo>
                    <a:cubicBezTo>
                      <a:pt x="178" y="74"/>
                      <a:pt x="177" y="71"/>
                      <a:pt x="177" y="71"/>
                    </a:cubicBezTo>
                    <a:cubicBezTo>
                      <a:pt x="178" y="69"/>
                      <a:pt x="178" y="69"/>
                      <a:pt x="178" y="69"/>
                    </a:cubicBezTo>
                    <a:cubicBezTo>
                      <a:pt x="177" y="67"/>
                      <a:pt x="177" y="67"/>
                      <a:pt x="177" y="67"/>
                    </a:cubicBezTo>
                    <a:cubicBezTo>
                      <a:pt x="175" y="67"/>
                      <a:pt x="175" y="67"/>
                      <a:pt x="175" y="67"/>
                    </a:cubicBezTo>
                    <a:cubicBezTo>
                      <a:pt x="176" y="65"/>
                      <a:pt x="176" y="65"/>
                      <a:pt x="176" y="65"/>
                    </a:cubicBezTo>
                    <a:cubicBezTo>
                      <a:pt x="175" y="64"/>
                      <a:pt x="175" y="64"/>
                      <a:pt x="175" y="64"/>
                    </a:cubicBezTo>
                    <a:cubicBezTo>
                      <a:pt x="172" y="66"/>
                      <a:pt x="172" y="66"/>
                      <a:pt x="172" y="66"/>
                    </a:cubicBezTo>
                    <a:cubicBezTo>
                      <a:pt x="172" y="66"/>
                      <a:pt x="173" y="63"/>
                      <a:pt x="170" y="63"/>
                    </a:cubicBezTo>
                    <a:cubicBezTo>
                      <a:pt x="167" y="62"/>
                      <a:pt x="166" y="66"/>
                      <a:pt x="164" y="66"/>
                    </a:cubicBezTo>
                    <a:cubicBezTo>
                      <a:pt x="162" y="67"/>
                      <a:pt x="161" y="65"/>
                      <a:pt x="159" y="64"/>
                    </a:cubicBezTo>
                    <a:cubicBezTo>
                      <a:pt x="156" y="64"/>
                      <a:pt x="155" y="67"/>
                      <a:pt x="155" y="68"/>
                    </a:cubicBezTo>
                    <a:cubicBezTo>
                      <a:pt x="154" y="69"/>
                      <a:pt x="153" y="68"/>
                      <a:pt x="150" y="70"/>
                    </a:cubicBezTo>
                    <a:cubicBezTo>
                      <a:pt x="149" y="73"/>
                      <a:pt x="151" y="76"/>
                      <a:pt x="150" y="79"/>
                    </a:cubicBezTo>
                    <a:cubicBezTo>
                      <a:pt x="149" y="82"/>
                      <a:pt x="145" y="83"/>
                      <a:pt x="145" y="83"/>
                    </a:cubicBezTo>
                    <a:cubicBezTo>
                      <a:pt x="145" y="81"/>
                      <a:pt x="145" y="81"/>
                      <a:pt x="145" y="81"/>
                    </a:cubicBezTo>
                    <a:cubicBezTo>
                      <a:pt x="144" y="81"/>
                      <a:pt x="144" y="81"/>
                      <a:pt x="144" y="81"/>
                    </a:cubicBezTo>
                    <a:cubicBezTo>
                      <a:pt x="142" y="82"/>
                      <a:pt x="142" y="82"/>
                      <a:pt x="142" y="82"/>
                    </a:cubicBezTo>
                    <a:cubicBezTo>
                      <a:pt x="141" y="80"/>
                      <a:pt x="141" y="80"/>
                      <a:pt x="141" y="80"/>
                    </a:cubicBezTo>
                    <a:cubicBezTo>
                      <a:pt x="141" y="80"/>
                      <a:pt x="143" y="75"/>
                      <a:pt x="143" y="73"/>
                    </a:cubicBezTo>
                    <a:cubicBezTo>
                      <a:pt x="144" y="71"/>
                      <a:pt x="141" y="69"/>
                      <a:pt x="141" y="69"/>
                    </a:cubicBezTo>
                    <a:cubicBezTo>
                      <a:pt x="141" y="69"/>
                      <a:pt x="141" y="66"/>
                      <a:pt x="142" y="64"/>
                    </a:cubicBezTo>
                    <a:cubicBezTo>
                      <a:pt x="142" y="59"/>
                      <a:pt x="142" y="59"/>
                      <a:pt x="142" y="59"/>
                    </a:cubicBezTo>
                    <a:cubicBezTo>
                      <a:pt x="142" y="59"/>
                      <a:pt x="143" y="57"/>
                      <a:pt x="143" y="54"/>
                    </a:cubicBezTo>
                    <a:cubicBezTo>
                      <a:pt x="143" y="53"/>
                      <a:pt x="141" y="52"/>
                      <a:pt x="141" y="52"/>
                    </a:cubicBezTo>
                    <a:cubicBezTo>
                      <a:pt x="141" y="51"/>
                      <a:pt x="141" y="51"/>
                      <a:pt x="141" y="51"/>
                    </a:cubicBezTo>
                    <a:cubicBezTo>
                      <a:pt x="139" y="53"/>
                      <a:pt x="139" y="53"/>
                      <a:pt x="139" y="53"/>
                    </a:cubicBezTo>
                    <a:cubicBezTo>
                      <a:pt x="138" y="52"/>
                      <a:pt x="138" y="52"/>
                      <a:pt x="138" y="52"/>
                    </a:cubicBezTo>
                    <a:cubicBezTo>
                      <a:pt x="135" y="52"/>
                      <a:pt x="135" y="52"/>
                      <a:pt x="135" y="52"/>
                    </a:cubicBezTo>
                    <a:cubicBezTo>
                      <a:pt x="134" y="53"/>
                      <a:pt x="134" y="53"/>
                      <a:pt x="134" y="53"/>
                    </a:cubicBezTo>
                    <a:cubicBezTo>
                      <a:pt x="134" y="52"/>
                      <a:pt x="134" y="52"/>
                      <a:pt x="134" y="52"/>
                    </a:cubicBezTo>
                    <a:cubicBezTo>
                      <a:pt x="133" y="52"/>
                      <a:pt x="133" y="52"/>
                      <a:pt x="133" y="52"/>
                    </a:cubicBezTo>
                    <a:cubicBezTo>
                      <a:pt x="133" y="54"/>
                      <a:pt x="133" y="54"/>
                      <a:pt x="133" y="54"/>
                    </a:cubicBezTo>
                    <a:cubicBezTo>
                      <a:pt x="131" y="57"/>
                      <a:pt x="131" y="57"/>
                      <a:pt x="131" y="57"/>
                    </a:cubicBezTo>
                    <a:cubicBezTo>
                      <a:pt x="131" y="59"/>
                      <a:pt x="131" y="59"/>
                      <a:pt x="131" y="59"/>
                    </a:cubicBezTo>
                    <a:cubicBezTo>
                      <a:pt x="131" y="59"/>
                      <a:pt x="130" y="63"/>
                      <a:pt x="128" y="66"/>
                    </a:cubicBezTo>
                    <a:cubicBezTo>
                      <a:pt x="126" y="70"/>
                      <a:pt x="126" y="76"/>
                      <a:pt x="126" y="76"/>
                    </a:cubicBezTo>
                    <a:cubicBezTo>
                      <a:pt x="123" y="79"/>
                      <a:pt x="123" y="79"/>
                      <a:pt x="123" y="79"/>
                    </a:cubicBezTo>
                    <a:cubicBezTo>
                      <a:pt x="122" y="79"/>
                      <a:pt x="122" y="79"/>
                      <a:pt x="122" y="79"/>
                    </a:cubicBezTo>
                    <a:cubicBezTo>
                      <a:pt x="118" y="81"/>
                      <a:pt x="118" y="81"/>
                      <a:pt x="118" y="81"/>
                    </a:cubicBezTo>
                    <a:cubicBezTo>
                      <a:pt x="115" y="81"/>
                      <a:pt x="115" y="81"/>
                      <a:pt x="115" y="81"/>
                    </a:cubicBezTo>
                    <a:cubicBezTo>
                      <a:pt x="115" y="82"/>
                      <a:pt x="115" y="82"/>
                      <a:pt x="115" y="82"/>
                    </a:cubicBezTo>
                    <a:cubicBezTo>
                      <a:pt x="115" y="82"/>
                      <a:pt x="114" y="85"/>
                      <a:pt x="112" y="85"/>
                    </a:cubicBezTo>
                    <a:cubicBezTo>
                      <a:pt x="110" y="84"/>
                      <a:pt x="113" y="79"/>
                      <a:pt x="113" y="79"/>
                    </a:cubicBezTo>
                    <a:cubicBezTo>
                      <a:pt x="111" y="79"/>
                      <a:pt x="111" y="79"/>
                      <a:pt x="111" y="79"/>
                    </a:cubicBezTo>
                    <a:cubicBezTo>
                      <a:pt x="115" y="74"/>
                      <a:pt x="115" y="74"/>
                      <a:pt x="115" y="74"/>
                    </a:cubicBezTo>
                    <a:cubicBezTo>
                      <a:pt x="113" y="71"/>
                      <a:pt x="113" y="71"/>
                      <a:pt x="113" y="71"/>
                    </a:cubicBezTo>
                    <a:cubicBezTo>
                      <a:pt x="110" y="73"/>
                      <a:pt x="110" y="73"/>
                      <a:pt x="110" y="73"/>
                    </a:cubicBezTo>
                    <a:cubicBezTo>
                      <a:pt x="110" y="75"/>
                      <a:pt x="110" y="75"/>
                      <a:pt x="110" y="75"/>
                    </a:cubicBezTo>
                    <a:cubicBezTo>
                      <a:pt x="106" y="75"/>
                      <a:pt x="106" y="75"/>
                      <a:pt x="106" y="75"/>
                    </a:cubicBezTo>
                    <a:cubicBezTo>
                      <a:pt x="104" y="75"/>
                      <a:pt x="102" y="77"/>
                      <a:pt x="102" y="77"/>
                    </a:cubicBezTo>
                    <a:cubicBezTo>
                      <a:pt x="102" y="77"/>
                      <a:pt x="101" y="78"/>
                      <a:pt x="100" y="80"/>
                    </a:cubicBezTo>
                    <a:cubicBezTo>
                      <a:pt x="99" y="82"/>
                      <a:pt x="98" y="89"/>
                      <a:pt x="98" y="89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3"/>
                      <a:pt x="97" y="83"/>
                      <a:pt x="97" y="83"/>
                    </a:cubicBezTo>
                    <a:cubicBezTo>
                      <a:pt x="98" y="80"/>
                      <a:pt x="98" y="80"/>
                      <a:pt x="98" y="80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4" y="86"/>
                      <a:pt x="94" y="86"/>
                      <a:pt x="94" y="86"/>
                    </a:cubicBezTo>
                    <a:cubicBezTo>
                      <a:pt x="94" y="86"/>
                      <a:pt x="92" y="89"/>
                      <a:pt x="91" y="90"/>
                    </a:cubicBezTo>
                    <a:cubicBezTo>
                      <a:pt x="90" y="91"/>
                      <a:pt x="90" y="95"/>
                      <a:pt x="90" y="95"/>
                    </a:cubicBezTo>
                    <a:cubicBezTo>
                      <a:pt x="88" y="97"/>
                      <a:pt x="88" y="97"/>
                      <a:pt x="88" y="97"/>
                    </a:cubicBezTo>
                    <a:cubicBezTo>
                      <a:pt x="88" y="97"/>
                      <a:pt x="88" y="92"/>
                      <a:pt x="89" y="89"/>
                    </a:cubicBezTo>
                    <a:cubicBezTo>
                      <a:pt x="89" y="85"/>
                      <a:pt x="93" y="82"/>
                      <a:pt x="93" y="82"/>
                    </a:cubicBezTo>
                    <a:cubicBezTo>
                      <a:pt x="94" y="76"/>
                      <a:pt x="94" y="76"/>
                      <a:pt x="94" y="76"/>
                    </a:cubicBezTo>
                    <a:cubicBezTo>
                      <a:pt x="90" y="75"/>
                      <a:pt x="90" y="75"/>
                      <a:pt x="90" y="75"/>
                    </a:cubicBezTo>
                    <a:cubicBezTo>
                      <a:pt x="94" y="74"/>
                      <a:pt x="94" y="74"/>
                      <a:pt x="94" y="74"/>
                    </a:cubicBezTo>
                    <a:cubicBezTo>
                      <a:pt x="96" y="69"/>
                      <a:pt x="96" y="69"/>
                      <a:pt x="96" y="69"/>
                    </a:cubicBezTo>
                    <a:cubicBezTo>
                      <a:pt x="92" y="68"/>
                      <a:pt x="92" y="68"/>
                      <a:pt x="92" y="68"/>
                    </a:cubicBezTo>
                    <a:cubicBezTo>
                      <a:pt x="95" y="67"/>
                      <a:pt x="95" y="67"/>
                      <a:pt x="95" y="67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6" y="65"/>
                      <a:pt x="92" y="64"/>
                      <a:pt x="91" y="62"/>
                    </a:cubicBezTo>
                    <a:cubicBezTo>
                      <a:pt x="90" y="60"/>
                      <a:pt x="91" y="60"/>
                      <a:pt x="92" y="59"/>
                    </a:cubicBezTo>
                    <a:cubicBezTo>
                      <a:pt x="92" y="54"/>
                      <a:pt x="92" y="54"/>
                      <a:pt x="92" y="54"/>
                    </a:cubicBezTo>
                    <a:cubicBezTo>
                      <a:pt x="93" y="54"/>
                      <a:pt x="93" y="54"/>
                      <a:pt x="93" y="54"/>
                    </a:cubicBezTo>
                    <a:cubicBezTo>
                      <a:pt x="93" y="54"/>
                      <a:pt x="93" y="59"/>
                      <a:pt x="94" y="60"/>
                    </a:cubicBezTo>
                    <a:cubicBezTo>
                      <a:pt x="94" y="62"/>
                      <a:pt x="97" y="62"/>
                      <a:pt x="98" y="62"/>
                    </a:cubicBezTo>
                    <a:cubicBezTo>
                      <a:pt x="100" y="62"/>
                      <a:pt x="99" y="59"/>
                      <a:pt x="99" y="59"/>
                    </a:cubicBezTo>
                    <a:cubicBezTo>
                      <a:pt x="99" y="59"/>
                      <a:pt x="101" y="60"/>
                      <a:pt x="107" y="54"/>
                    </a:cubicBezTo>
                    <a:cubicBezTo>
                      <a:pt x="112" y="49"/>
                      <a:pt x="101" y="47"/>
                      <a:pt x="102" y="46"/>
                    </a:cubicBezTo>
                    <a:cubicBezTo>
                      <a:pt x="102" y="44"/>
                      <a:pt x="109" y="46"/>
                      <a:pt x="109" y="46"/>
                    </a:cubicBezTo>
                    <a:cubicBezTo>
                      <a:pt x="109" y="44"/>
                      <a:pt x="109" y="44"/>
                      <a:pt x="109" y="44"/>
                    </a:cubicBezTo>
                    <a:cubicBezTo>
                      <a:pt x="107" y="42"/>
                      <a:pt x="107" y="42"/>
                      <a:pt x="107" y="42"/>
                    </a:cubicBezTo>
                    <a:cubicBezTo>
                      <a:pt x="108" y="38"/>
                      <a:pt x="108" y="38"/>
                      <a:pt x="108" y="38"/>
                    </a:cubicBezTo>
                    <a:cubicBezTo>
                      <a:pt x="106" y="38"/>
                      <a:pt x="106" y="38"/>
                      <a:pt x="106" y="38"/>
                    </a:cubicBezTo>
                    <a:cubicBezTo>
                      <a:pt x="104" y="42"/>
                      <a:pt x="104" y="42"/>
                      <a:pt x="104" y="42"/>
                    </a:cubicBezTo>
                    <a:cubicBezTo>
                      <a:pt x="104" y="38"/>
                      <a:pt x="104" y="38"/>
                      <a:pt x="104" y="38"/>
                    </a:cubicBezTo>
                    <a:cubicBezTo>
                      <a:pt x="102" y="37"/>
                      <a:pt x="105" y="35"/>
                      <a:pt x="106" y="33"/>
                    </a:cubicBezTo>
                    <a:cubicBezTo>
                      <a:pt x="107" y="30"/>
                      <a:pt x="104" y="30"/>
                      <a:pt x="102" y="28"/>
                    </a:cubicBezTo>
                    <a:cubicBezTo>
                      <a:pt x="101" y="26"/>
                      <a:pt x="104" y="23"/>
                      <a:pt x="104" y="23"/>
                    </a:cubicBezTo>
                    <a:cubicBezTo>
                      <a:pt x="100" y="22"/>
                      <a:pt x="100" y="22"/>
                      <a:pt x="100" y="22"/>
                    </a:cubicBezTo>
                    <a:cubicBezTo>
                      <a:pt x="100" y="19"/>
                      <a:pt x="100" y="19"/>
                      <a:pt x="100" y="19"/>
                    </a:cubicBezTo>
                    <a:cubicBezTo>
                      <a:pt x="98" y="19"/>
                      <a:pt x="98" y="19"/>
                      <a:pt x="98" y="19"/>
                    </a:cubicBezTo>
                    <a:cubicBezTo>
                      <a:pt x="98" y="19"/>
                      <a:pt x="99" y="17"/>
                      <a:pt x="100" y="16"/>
                    </a:cubicBezTo>
                    <a:cubicBezTo>
                      <a:pt x="102" y="14"/>
                      <a:pt x="98" y="12"/>
                      <a:pt x="98" y="12"/>
                    </a:cubicBezTo>
                    <a:cubicBezTo>
                      <a:pt x="100" y="7"/>
                      <a:pt x="100" y="7"/>
                      <a:pt x="100" y="7"/>
                    </a:cubicBezTo>
                    <a:cubicBezTo>
                      <a:pt x="99" y="5"/>
                      <a:pt x="99" y="5"/>
                      <a:pt x="99" y="5"/>
                    </a:cubicBezTo>
                    <a:cubicBezTo>
                      <a:pt x="97" y="10"/>
                      <a:pt x="97" y="10"/>
                      <a:pt x="97" y="10"/>
                    </a:cubicBezTo>
                    <a:cubicBezTo>
                      <a:pt x="95" y="5"/>
                      <a:pt x="95" y="5"/>
                      <a:pt x="95" y="5"/>
                    </a:cubicBezTo>
                    <a:cubicBezTo>
                      <a:pt x="93" y="6"/>
                      <a:pt x="93" y="6"/>
                      <a:pt x="93" y="6"/>
                    </a:cubicBezTo>
                    <a:cubicBezTo>
                      <a:pt x="89" y="0"/>
                      <a:pt x="89" y="0"/>
                      <a:pt x="89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87" y="3"/>
                      <a:pt x="87" y="3"/>
                      <a:pt x="87" y="3"/>
                    </a:cubicBezTo>
                    <a:cubicBezTo>
                      <a:pt x="83" y="1"/>
                      <a:pt x="83" y="1"/>
                      <a:pt x="83" y="1"/>
                    </a:cubicBezTo>
                    <a:cubicBezTo>
                      <a:pt x="82" y="1"/>
                      <a:pt x="82" y="1"/>
                      <a:pt x="82" y="1"/>
                    </a:cubicBezTo>
                    <a:cubicBezTo>
                      <a:pt x="82" y="1"/>
                      <a:pt x="83" y="5"/>
                      <a:pt x="81" y="5"/>
                    </a:cubicBezTo>
                    <a:cubicBezTo>
                      <a:pt x="80" y="6"/>
                      <a:pt x="79" y="3"/>
                      <a:pt x="79" y="3"/>
                    </a:cubicBezTo>
                    <a:cubicBezTo>
                      <a:pt x="77" y="3"/>
                      <a:pt x="77" y="3"/>
                      <a:pt x="77" y="3"/>
                    </a:cubicBezTo>
                    <a:cubicBezTo>
                      <a:pt x="77" y="3"/>
                      <a:pt x="77" y="6"/>
                      <a:pt x="80" y="8"/>
                    </a:cubicBezTo>
                    <a:cubicBezTo>
                      <a:pt x="83" y="11"/>
                      <a:pt x="87" y="8"/>
                      <a:pt x="87" y="8"/>
                    </a:cubicBezTo>
                    <a:cubicBezTo>
                      <a:pt x="85" y="11"/>
                      <a:pt x="85" y="11"/>
                      <a:pt x="85" y="11"/>
                    </a:cubicBezTo>
                    <a:cubicBezTo>
                      <a:pt x="87" y="11"/>
                      <a:pt x="87" y="11"/>
                      <a:pt x="87" y="11"/>
                    </a:cubicBezTo>
                    <a:cubicBezTo>
                      <a:pt x="91" y="10"/>
                      <a:pt x="91" y="10"/>
                      <a:pt x="91" y="10"/>
                    </a:cubicBezTo>
                    <a:cubicBezTo>
                      <a:pt x="88" y="13"/>
                      <a:pt x="88" y="13"/>
                      <a:pt x="88" y="13"/>
                    </a:cubicBezTo>
                    <a:cubicBezTo>
                      <a:pt x="89" y="15"/>
                      <a:pt x="89" y="15"/>
                      <a:pt x="89" y="15"/>
                    </a:cubicBezTo>
                    <a:cubicBezTo>
                      <a:pt x="92" y="15"/>
                      <a:pt x="92" y="15"/>
                      <a:pt x="92" y="15"/>
                    </a:cubicBezTo>
                    <a:cubicBezTo>
                      <a:pt x="91" y="16"/>
                      <a:pt x="91" y="16"/>
                      <a:pt x="91" y="16"/>
                    </a:cubicBezTo>
                    <a:cubicBezTo>
                      <a:pt x="91" y="16"/>
                      <a:pt x="92" y="19"/>
                      <a:pt x="91" y="18"/>
                    </a:cubicBezTo>
                    <a:cubicBezTo>
                      <a:pt x="89" y="17"/>
                      <a:pt x="87" y="17"/>
                      <a:pt x="85" y="15"/>
                    </a:cubicBezTo>
                    <a:cubicBezTo>
                      <a:pt x="84" y="13"/>
                      <a:pt x="81" y="13"/>
                      <a:pt x="79" y="14"/>
                    </a:cubicBezTo>
                    <a:cubicBezTo>
                      <a:pt x="76" y="16"/>
                      <a:pt x="81" y="22"/>
                      <a:pt x="82" y="23"/>
                    </a:cubicBezTo>
                    <a:cubicBezTo>
                      <a:pt x="83" y="24"/>
                      <a:pt x="87" y="29"/>
                      <a:pt x="87" y="29"/>
                    </a:cubicBezTo>
                    <a:cubicBezTo>
                      <a:pt x="87" y="29"/>
                      <a:pt x="84" y="30"/>
                      <a:pt x="83" y="31"/>
                    </a:cubicBezTo>
                    <a:cubicBezTo>
                      <a:pt x="82" y="32"/>
                      <a:pt x="83" y="34"/>
                      <a:pt x="82" y="37"/>
                    </a:cubicBezTo>
                    <a:cubicBezTo>
                      <a:pt x="82" y="41"/>
                      <a:pt x="78" y="43"/>
                      <a:pt x="78" y="43"/>
                    </a:cubicBezTo>
                    <a:cubicBezTo>
                      <a:pt x="77" y="42"/>
                      <a:pt x="77" y="42"/>
                      <a:pt x="77" y="42"/>
                    </a:cubicBezTo>
                    <a:cubicBezTo>
                      <a:pt x="77" y="42"/>
                      <a:pt x="80" y="38"/>
                      <a:pt x="80" y="34"/>
                    </a:cubicBezTo>
                    <a:cubicBezTo>
                      <a:pt x="80" y="31"/>
                      <a:pt x="75" y="38"/>
                      <a:pt x="75" y="38"/>
                    </a:cubicBezTo>
                    <a:cubicBezTo>
                      <a:pt x="75" y="37"/>
                      <a:pt x="75" y="37"/>
                      <a:pt x="75" y="37"/>
                    </a:cubicBezTo>
                    <a:cubicBezTo>
                      <a:pt x="79" y="32"/>
                      <a:pt x="79" y="32"/>
                      <a:pt x="79" y="32"/>
                    </a:cubicBezTo>
                    <a:cubicBezTo>
                      <a:pt x="78" y="29"/>
                      <a:pt x="78" y="29"/>
                      <a:pt x="78" y="29"/>
                    </a:cubicBezTo>
                    <a:cubicBezTo>
                      <a:pt x="79" y="27"/>
                      <a:pt x="79" y="27"/>
                      <a:pt x="79" y="27"/>
                    </a:cubicBezTo>
                    <a:cubicBezTo>
                      <a:pt x="77" y="27"/>
                      <a:pt x="77" y="27"/>
                      <a:pt x="77" y="27"/>
                    </a:cubicBezTo>
                    <a:cubicBezTo>
                      <a:pt x="72" y="33"/>
                      <a:pt x="72" y="33"/>
                      <a:pt x="72" y="33"/>
                    </a:cubicBezTo>
                    <a:cubicBezTo>
                      <a:pt x="74" y="29"/>
                      <a:pt x="74" y="29"/>
                      <a:pt x="74" y="29"/>
                    </a:cubicBezTo>
                    <a:cubicBezTo>
                      <a:pt x="73" y="29"/>
                      <a:pt x="73" y="29"/>
                      <a:pt x="73" y="29"/>
                    </a:cubicBezTo>
                    <a:cubicBezTo>
                      <a:pt x="71" y="30"/>
                      <a:pt x="71" y="30"/>
                      <a:pt x="71" y="30"/>
                    </a:cubicBezTo>
                    <a:cubicBezTo>
                      <a:pt x="73" y="27"/>
                      <a:pt x="73" y="27"/>
                      <a:pt x="73" y="27"/>
                    </a:cubicBezTo>
                    <a:cubicBezTo>
                      <a:pt x="72" y="26"/>
                      <a:pt x="72" y="26"/>
                      <a:pt x="72" y="26"/>
                    </a:cubicBezTo>
                    <a:cubicBezTo>
                      <a:pt x="68" y="27"/>
                      <a:pt x="68" y="27"/>
                      <a:pt x="68" y="27"/>
                    </a:cubicBezTo>
                    <a:cubicBezTo>
                      <a:pt x="73" y="22"/>
                      <a:pt x="73" y="22"/>
                      <a:pt x="73" y="22"/>
                    </a:cubicBezTo>
                    <a:cubicBezTo>
                      <a:pt x="73" y="20"/>
                      <a:pt x="73" y="20"/>
                      <a:pt x="73" y="20"/>
                    </a:cubicBezTo>
                    <a:cubicBezTo>
                      <a:pt x="73" y="20"/>
                      <a:pt x="69" y="22"/>
                      <a:pt x="68" y="21"/>
                    </a:cubicBezTo>
                    <a:cubicBezTo>
                      <a:pt x="68" y="20"/>
                      <a:pt x="72" y="19"/>
                      <a:pt x="72" y="19"/>
                    </a:cubicBezTo>
                    <a:cubicBezTo>
                      <a:pt x="71" y="16"/>
                      <a:pt x="71" y="16"/>
                      <a:pt x="71" y="16"/>
                    </a:cubicBezTo>
                    <a:cubicBezTo>
                      <a:pt x="71" y="13"/>
                      <a:pt x="71" y="13"/>
                      <a:pt x="71" y="13"/>
                    </a:cubicBezTo>
                    <a:cubicBezTo>
                      <a:pt x="71" y="13"/>
                      <a:pt x="68" y="10"/>
                      <a:pt x="64" y="10"/>
                    </a:cubicBezTo>
                    <a:cubicBezTo>
                      <a:pt x="60" y="11"/>
                      <a:pt x="65" y="14"/>
                      <a:pt x="65" y="14"/>
                    </a:cubicBezTo>
                    <a:cubicBezTo>
                      <a:pt x="65" y="14"/>
                      <a:pt x="63" y="13"/>
                      <a:pt x="61" y="13"/>
                    </a:cubicBezTo>
                    <a:cubicBezTo>
                      <a:pt x="60" y="13"/>
                      <a:pt x="59" y="13"/>
                      <a:pt x="61" y="16"/>
                    </a:cubicBezTo>
                    <a:cubicBezTo>
                      <a:pt x="62" y="20"/>
                      <a:pt x="63" y="21"/>
                      <a:pt x="62" y="21"/>
                    </a:cubicBezTo>
                    <a:cubicBezTo>
                      <a:pt x="61" y="22"/>
                      <a:pt x="60" y="20"/>
                      <a:pt x="59" y="18"/>
                    </a:cubicBezTo>
                    <a:cubicBezTo>
                      <a:pt x="58" y="15"/>
                      <a:pt x="56" y="13"/>
                      <a:pt x="53" y="14"/>
                    </a:cubicBezTo>
                    <a:cubicBezTo>
                      <a:pt x="50" y="16"/>
                      <a:pt x="53" y="21"/>
                      <a:pt x="53" y="22"/>
                    </a:cubicBezTo>
                    <a:cubicBezTo>
                      <a:pt x="55" y="24"/>
                      <a:pt x="52" y="24"/>
                      <a:pt x="52" y="24"/>
                    </a:cubicBezTo>
                    <a:cubicBezTo>
                      <a:pt x="55" y="27"/>
                      <a:pt x="55" y="27"/>
                      <a:pt x="55" y="27"/>
                    </a:cubicBezTo>
                    <a:cubicBezTo>
                      <a:pt x="57" y="27"/>
                      <a:pt x="57" y="27"/>
                      <a:pt x="57" y="27"/>
                    </a:cubicBezTo>
                    <a:cubicBezTo>
                      <a:pt x="58" y="31"/>
                      <a:pt x="58" y="31"/>
                      <a:pt x="58" y="31"/>
                    </a:cubicBezTo>
                    <a:cubicBezTo>
                      <a:pt x="58" y="31"/>
                      <a:pt x="50" y="23"/>
                      <a:pt x="47" y="21"/>
                    </a:cubicBezTo>
                    <a:cubicBezTo>
                      <a:pt x="45" y="20"/>
                      <a:pt x="45" y="29"/>
                      <a:pt x="48" y="32"/>
                    </a:cubicBezTo>
                    <a:cubicBezTo>
                      <a:pt x="51" y="36"/>
                      <a:pt x="58" y="36"/>
                      <a:pt x="58" y="36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48" y="36"/>
                      <a:pt x="48" y="36"/>
                      <a:pt x="48" y="36"/>
                    </a:cubicBezTo>
                    <a:cubicBezTo>
                      <a:pt x="49" y="39"/>
                      <a:pt x="49" y="39"/>
                      <a:pt x="49" y="39"/>
                    </a:cubicBezTo>
                    <a:cubicBezTo>
                      <a:pt x="52" y="42"/>
                      <a:pt x="52" y="42"/>
                      <a:pt x="52" y="42"/>
                    </a:cubicBezTo>
                    <a:cubicBezTo>
                      <a:pt x="48" y="42"/>
                      <a:pt x="48" y="42"/>
                      <a:pt x="48" y="42"/>
                    </a:cubicBezTo>
                    <a:cubicBezTo>
                      <a:pt x="47" y="41"/>
                      <a:pt x="47" y="41"/>
                      <a:pt x="47" y="41"/>
                    </a:cubicBezTo>
                    <a:cubicBezTo>
                      <a:pt x="44" y="42"/>
                      <a:pt x="44" y="42"/>
                      <a:pt x="44" y="42"/>
                    </a:cubicBezTo>
                    <a:cubicBezTo>
                      <a:pt x="44" y="42"/>
                      <a:pt x="45" y="41"/>
                      <a:pt x="46" y="37"/>
                    </a:cubicBezTo>
                    <a:cubicBezTo>
                      <a:pt x="46" y="34"/>
                      <a:pt x="38" y="23"/>
                      <a:pt x="38" y="23"/>
                    </a:cubicBezTo>
                    <a:cubicBezTo>
                      <a:pt x="38" y="23"/>
                      <a:pt x="35" y="26"/>
                      <a:pt x="35" y="29"/>
                    </a:cubicBezTo>
                    <a:cubicBezTo>
                      <a:pt x="35" y="32"/>
                      <a:pt x="38" y="37"/>
                      <a:pt x="38" y="37"/>
                    </a:cubicBezTo>
                    <a:cubicBezTo>
                      <a:pt x="33" y="32"/>
                      <a:pt x="33" y="32"/>
                      <a:pt x="33" y="32"/>
                    </a:cubicBezTo>
                    <a:cubicBezTo>
                      <a:pt x="33" y="38"/>
                      <a:pt x="33" y="38"/>
                      <a:pt x="33" y="38"/>
                    </a:cubicBezTo>
                    <a:cubicBezTo>
                      <a:pt x="34" y="41"/>
                      <a:pt x="36" y="43"/>
                      <a:pt x="36" y="43"/>
                    </a:cubicBezTo>
                    <a:cubicBezTo>
                      <a:pt x="33" y="43"/>
                      <a:pt x="33" y="43"/>
                      <a:pt x="33" y="43"/>
                    </a:cubicBezTo>
                    <a:cubicBezTo>
                      <a:pt x="32" y="43"/>
                      <a:pt x="32" y="39"/>
                      <a:pt x="32" y="38"/>
                    </a:cubicBezTo>
                    <a:cubicBezTo>
                      <a:pt x="32" y="37"/>
                      <a:pt x="30" y="38"/>
                      <a:pt x="30" y="36"/>
                    </a:cubicBezTo>
                    <a:cubicBezTo>
                      <a:pt x="30" y="34"/>
                      <a:pt x="30" y="31"/>
                      <a:pt x="27" y="30"/>
                    </a:cubicBezTo>
                    <a:cubicBezTo>
                      <a:pt x="24" y="29"/>
                      <a:pt x="23" y="33"/>
                      <a:pt x="22" y="34"/>
                    </a:cubicBezTo>
                    <a:cubicBezTo>
                      <a:pt x="20" y="35"/>
                      <a:pt x="18" y="35"/>
                      <a:pt x="17" y="36"/>
                    </a:cubicBezTo>
                    <a:cubicBezTo>
                      <a:pt x="16" y="37"/>
                      <a:pt x="19" y="37"/>
                      <a:pt x="23" y="38"/>
                    </a:cubicBezTo>
                    <a:cubicBezTo>
                      <a:pt x="25" y="38"/>
                      <a:pt x="25" y="41"/>
                      <a:pt x="26" y="42"/>
                    </a:cubicBezTo>
                    <a:cubicBezTo>
                      <a:pt x="29" y="45"/>
                      <a:pt x="29" y="45"/>
                      <a:pt x="29" y="45"/>
                    </a:cubicBezTo>
                    <a:cubicBezTo>
                      <a:pt x="27" y="47"/>
                      <a:pt x="27" y="47"/>
                      <a:pt x="27" y="47"/>
                    </a:cubicBezTo>
                    <a:cubicBezTo>
                      <a:pt x="27" y="47"/>
                      <a:pt x="26" y="48"/>
                      <a:pt x="30" y="49"/>
                    </a:cubicBezTo>
                    <a:cubicBezTo>
                      <a:pt x="33" y="51"/>
                      <a:pt x="36" y="48"/>
                      <a:pt x="41" y="49"/>
                    </a:cubicBezTo>
                    <a:cubicBezTo>
                      <a:pt x="45" y="50"/>
                      <a:pt x="46" y="52"/>
                      <a:pt x="48" y="52"/>
                    </a:cubicBezTo>
                    <a:cubicBezTo>
                      <a:pt x="49" y="52"/>
                      <a:pt x="51" y="48"/>
                      <a:pt x="51" y="48"/>
                    </a:cubicBezTo>
                    <a:cubicBezTo>
                      <a:pt x="51" y="50"/>
                      <a:pt x="51" y="50"/>
                      <a:pt x="51" y="50"/>
                    </a:cubicBezTo>
                    <a:cubicBezTo>
                      <a:pt x="53" y="52"/>
                      <a:pt x="53" y="52"/>
                      <a:pt x="53" y="52"/>
                    </a:cubicBezTo>
                    <a:cubicBezTo>
                      <a:pt x="58" y="49"/>
                      <a:pt x="58" y="49"/>
                      <a:pt x="58" y="49"/>
                    </a:cubicBezTo>
                    <a:cubicBezTo>
                      <a:pt x="58" y="52"/>
                      <a:pt x="58" y="52"/>
                      <a:pt x="58" y="52"/>
                    </a:cubicBezTo>
                    <a:cubicBezTo>
                      <a:pt x="60" y="50"/>
                      <a:pt x="60" y="50"/>
                      <a:pt x="60" y="50"/>
                    </a:cubicBezTo>
                    <a:cubicBezTo>
                      <a:pt x="63" y="51"/>
                      <a:pt x="63" y="51"/>
                      <a:pt x="63" y="51"/>
                    </a:cubicBezTo>
                    <a:cubicBezTo>
                      <a:pt x="61" y="58"/>
                      <a:pt x="61" y="58"/>
                      <a:pt x="61" y="58"/>
                    </a:cubicBezTo>
                    <a:cubicBezTo>
                      <a:pt x="64" y="55"/>
                      <a:pt x="64" y="55"/>
                      <a:pt x="64" y="55"/>
                    </a:cubicBezTo>
                    <a:cubicBezTo>
                      <a:pt x="65" y="57"/>
                      <a:pt x="65" y="57"/>
                      <a:pt x="65" y="57"/>
                    </a:cubicBezTo>
                    <a:cubicBezTo>
                      <a:pt x="67" y="54"/>
                      <a:pt x="67" y="54"/>
                      <a:pt x="67" y="54"/>
                    </a:cubicBezTo>
                    <a:cubicBezTo>
                      <a:pt x="66" y="62"/>
                      <a:pt x="66" y="62"/>
                      <a:pt x="66" y="62"/>
                    </a:cubicBezTo>
                    <a:cubicBezTo>
                      <a:pt x="75" y="62"/>
                      <a:pt x="75" y="62"/>
                      <a:pt x="75" y="62"/>
                    </a:cubicBezTo>
                    <a:cubicBezTo>
                      <a:pt x="72" y="64"/>
                      <a:pt x="72" y="64"/>
                      <a:pt x="72" y="64"/>
                    </a:cubicBezTo>
                    <a:cubicBezTo>
                      <a:pt x="67" y="64"/>
                      <a:pt x="67" y="64"/>
                      <a:pt x="67" y="64"/>
                    </a:cubicBezTo>
                    <a:cubicBezTo>
                      <a:pt x="69" y="69"/>
                      <a:pt x="69" y="69"/>
                      <a:pt x="69" y="69"/>
                    </a:cubicBezTo>
                    <a:cubicBezTo>
                      <a:pt x="74" y="66"/>
                      <a:pt x="74" y="66"/>
                      <a:pt x="74" y="66"/>
                    </a:cubicBezTo>
                    <a:cubicBezTo>
                      <a:pt x="74" y="66"/>
                      <a:pt x="76" y="66"/>
                      <a:pt x="77" y="68"/>
                    </a:cubicBezTo>
                    <a:cubicBezTo>
                      <a:pt x="78" y="70"/>
                      <a:pt x="77" y="71"/>
                      <a:pt x="77" y="71"/>
                    </a:cubicBezTo>
                    <a:cubicBezTo>
                      <a:pt x="82" y="74"/>
                      <a:pt x="82" y="74"/>
                      <a:pt x="82" y="74"/>
                    </a:cubicBezTo>
                    <a:cubicBezTo>
                      <a:pt x="74" y="74"/>
                      <a:pt x="74" y="74"/>
                      <a:pt x="74" y="74"/>
                    </a:cubicBezTo>
                    <a:cubicBezTo>
                      <a:pt x="72" y="75"/>
                      <a:pt x="72" y="75"/>
                      <a:pt x="72" y="75"/>
                    </a:cubicBezTo>
                    <a:cubicBezTo>
                      <a:pt x="72" y="75"/>
                      <a:pt x="64" y="75"/>
                      <a:pt x="58" y="76"/>
                    </a:cubicBezTo>
                    <a:cubicBezTo>
                      <a:pt x="50" y="76"/>
                      <a:pt x="56" y="79"/>
                      <a:pt x="56" y="79"/>
                    </a:cubicBezTo>
                    <a:cubicBezTo>
                      <a:pt x="52" y="80"/>
                      <a:pt x="52" y="80"/>
                      <a:pt x="52" y="80"/>
                    </a:cubicBezTo>
                    <a:cubicBezTo>
                      <a:pt x="57" y="82"/>
                      <a:pt x="57" y="82"/>
                      <a:pt x="57" y="82"/>
                    </a:cubicBezTo>
                    <a:cubicBezTo>
                      <a:pt x="57" y="85"/>
                      <a:pt x="57" y="85"/>
                      <a:pt x="57" y="85"/>
                    </a:cubicBezTo>
                    <a:cubicBezTo>
                      <a:pt x="58" y="86"/>
                      <a:pt x="60" y="85"/>
                      <a:pt x="60" y="85"/>
                    </a:cubicBezTo>
                    <a:cubicBezTo>
                      <a:pt x="60" y="85"/>
                      <a:pt x="61" y="90"/>
                      <a:pt x="62" y="90"/>
                    </a:cubicBezTo>
                    <a:cubicBezTo>
                      <a:pt x="64" y="90"/>
                      <a:pt x="69" y="87"/>
                      <a:pt x="69" y="87"/>
                    </a:cubicBezTo>
                    <a:cubicBezTo>
                      <a:pt x="69" y="87"/>
                      <a:pt x="72" y="86"/>
                      <a:pt x="73" y="89"/>
                    </a:cubicBezTo>
                    <a:cubicBezTo>
                      <a:pt x="74" y="92"/>
                      <a:pt x="66" y="93"/>
                      <a:pt x="66" y="93"/>
                    </a:cubicBezTo>
                    <a:cubicBezTo>
                      <a:pt x="65" y="96"/>
                      <a:pt x="65" y="96"/>
                      <a:pt x="65" y="96"/>
                    </a:cubicBezTo>
                    <a:cubicBezTo>
                      <a:pt x="62" y="96"/>
                      <a:pt x="62" y="96"/>
                      <a:pt x="62" y="96"/>
                    </a:cubicBezTo>
                    <a:cubicBezTo>
                      <a:pt x="60" y="96"/>
                      <a:pt x="59" y="92"/>
                      <a:pt x="59" y="92"/>
                    </a:cubicBezTo>
                    <a:cubicBezTo>
                      <a:pt x="59" y="92"/>
                      <a:pt x="58" y="91"/>
                      <a:pt x="57" y="92"/>
                    </a:cubicBezTo>
                    <a:cubicBezTo>
                      <a:pt x="55" y="92"/>
                      <a:pt x="55" y="89"/>
                      <a:pt x="51" y="86"/>
                    </a:cubicBezTo>
                    <a:cubicBezTo>
                      <a:pt x="48" y="84"/>
                      <a:pt x="45" y="87"/>
                      <a:pt x="45" y="87"/>
                    </a:cubicBezTo>
                    <a:cubicBezTo>
                      <a:pt x="46" y="83"/>
                      <a:pt x="46" y="83"/>
                      <a:pt x="46" y="83"/>
                    </a:cubicBezTo>
                    <a:cubicBezTo>
                      <a:pt x="44" y="81"/>
                      <a:pt x="44" y="81"/>
                      <a:pt x="44" y="81"/>
                    </a:cubicBezTo>
                    <a:cubicBezTo>
                      <a:pt x="40" y="82"/>
                      <a:pt x="40" y="82"/>
                      <a:pt x="40" y="82"/>
                    </a:cubicBezTo>
                    <a:cubicBezTo>
                      <a:pt x="41" y="84"/>
                      <a:pt x="41" y="84"/>
                      <a:pt x="41" y="84"/>
                    </a:cubicBezTo>
                    <a:cubicBezTo>
                      <a:pt x="41" y="84"/>
                      <a:pt x="40" y="85"/>
                      <a:pt x="38" y="85"/>
                    </a:cubicBezTo>
                    <a:cubicBezTo>
                      <a:pt x="36" y="85"/>
                      <a:pt x="36" y="84"/>
                      <a:pt x="35" y="82"/>
                    </a:cubicBezTo>
                    <a:cubicBezTo>
                      <a:pt x="34" y="81"/>
                      <a:pt x="33" y="83"/>
                      <a:pt x="31" y="85"/>
                    </a:cubicBezTo>
                    <a:cubicBezTo>
                      <a:pt x="29" y="87"/>
                      <a:pt x="30" y="83"/>
                      <a:pt x="31" y="83"/>
                    </a:cubicBezTo>
                    <a:cubicBezTo>
                      <a:pt x="32" y="82"/>
                      <a:pt x="32" y="80"/>
                      <a:pt x="30" y="80"/>
                    </a:cubicBezTo>
                    <a:cubicBezTo>
                      <a:pt x="28" y="79"/>
                      <a:pt x="28" y="83"/>
                      <a:pt x="26" y="83"/>
                    </a:cubicBezTo>
                    <a:cubicBezTo>
                      <a:pt x="24" y="83"/>
                      <a:pt x="25" y="81"/>
                      <a:pt x="25" y="81"/>
                    </a:cubicBezTo>
                    <a:cubicBezTo>
                      <a:pt x="23" y="81"/>
                      <a:pt x="23" y="81"/>
                      <a:pt x="23" y="81"/>
                    </a:cubicBezTo>
                    <a:cubicBezTo>
                      <a:pt x="22" y="80"/>
                      <a:pt x="22" y="80"/>
                      <a:pt x="22" y="80"/>
                    </a:cubicBezTo>
                    <a:cubicBezTo>
                      <a:pt x="22" y="80"/>
                      <a:pt x="16" y="81"/>
                      <a:pt x="14" y="81"/>
                    </a:cubicBezTo>
                    <a:cubicBezTo>
                      <a:pt x="12" y="80"/>
                      <a:pt x="13" y="76"/>
                      <a:pt x="9" y="76"/>
                    </a:cubicBezTo>
                    <a:cubicBezTo>
                      <a:pt x="4" y="76"/>
                      <a:pt x="3" y="81"/>
                      <a:pt x="4" y="84"/>
                    </a:cubicBezTo>
                    <a:cubicBezTo>
                      <a:pt x="4" y="89"/>
                      <a:pt x="8" y="90"/>
                      <a:pt x="10" y="90"/>
                    </a:cubicBezTo>
                    <a:cubicBezTo>
                      <a:pt x="12" y="90"/>
                      <a:pt x="11" y="87"/>
                      <a:pt x="13" y="86"/>
                    </a:cubicBezTo>
                    <a:cubicBezTo>
                      <a:pt x="15" y="86"/>
                      <a:pt x="16" y="89"/>
                      <a:pt x="17" y="90"/>
                    </a:cubicBezTo>
                    <a:cubicBezTo>
                      <a:pt x="18" y="90"/>
                      <a:pt x="19" y="89"/>
                      <a:pt x="19" y="89"/>
                    </a:cubicBezTo>
                    <a:cubicBezTo>
                      <a:pt x="27" y="95"/>
                      <a:pt x="27" y="95"/>
                      <a:pt x="27" y="95"/>
                    </a:cubicBezTo>
                    <a:cubicBezTo>
                      <a:pt x="29" y="95"/>
                      <a:pt x="29" y="95"/>
                      <a:pt x="29" y="95"/>
                    </a:cubicBezTo>
                    <a:cubicBezTo>
                      <a:pt x="32" y="98"/>
                      <a:pt x="32" y="98"/>
                      <a:pt x="32" y="98"/>
                    </a:cubicBezTo>
                    <a:cubicBezTo>
                      <a:pt x="33" y="98"/>
                      <a:pt x="33" y="97"/>
                      <a:pt x="34" y="97"/>
                    </a:cubicBezTo>
                    <a:cubicBezTo>
                      <a:pt x="36" y="98"/>
                      <a:pt x="35" y="99"/>
                      <a:pt x="36" y="100"/>
                    </a:cubicBezTo>
                    <a:cubicBezTo>
                      <a:pt x="38" y="101"/>
                      <a:pt x="40" y="99"/>
                      <a:pt x="41" y="100"/>
                    </a:cubicBezTo>
                    <a:cubicBezTo>
                      <a:pt x="43" y="102"/>
                      <a:pt x="41" y="103"/>
                      <a:pt x="41" y="103"/>
                    </a:cubicBezTo>
                    <a:cubicBezTo>
                      <a:pt x="43" y="106"/>
                      <a:pt x="43" y="106"/>
                      <a:pt x="43" y="106"/>
                    </a:cubicBezTo>
                    <a:cubicBezTo>
                      <a:pt x="40" y="108"/>
                      <a:pt x="40" y="108"/>
                      <a:pt x="40" y="108"/>
                    </a:cubicBezTo>
                    <a:cubicBezTo>
                      <a:pt x="41" y="110"/>
                      <a:pt x="41" y="110"/>
                      <a:pt x="41" y="110"/>
                    </a:cubicBezTo>
                    <a:cubicBezTo>
                      <a:pt x="36" y="110"/>
                      <a:pt x="36" y="110"/>
                      <a:pt x="36" y="110"/>
                    </a:cubicBezTo>
                    <a:cubicBezTo>
                      <a:pt x="36" y="117"/>
                      <a:pt x="36" y="117"/>
                      <a:pt x="36" y="117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5" y="122"/>
                      <a:pt x="35" y="122"/>
                      <a:pt x="35" y="122"/>
                    </a:cubicBezTo>
                    <a:cubicBezTo>
                      <a:pt x="36" y="122"/>
                      <a:pt x="36" y="122"/>
                      <a:pt x="36" y="122"/>
                    </a:cubicBezTo>
                    <a:cubicBezTo>
                      <a:pt x="36" y="122"/>
                      <a:pt x="36" y="124"/>
                      <a:pt x="39" y="124"/>
                    </a:cubicBezTo>
                    <a:cubicBezTo>
                      <a:pt x="40" y="124"/>
                      <a:pt x="42" y="122"/>
                      <a:pt x="42" y="122"/>
                    </a:cubicBezTo>
                    <a:cubicBezTo>
                      <a:pt x="43" y="123"/>
                      <a:pt x="43" y="123"/>
                      <a:pt x="43" y="123"/>
                    </a:cubicBezTo>
                    <a:cubicBezTo>
                      <a:pt x="46" y="123"/>
                      <a:pt x="46" y="123"/>
                      <a:pt x="46" y="123"/>
                    </a:cubicBezTo>
                    <a:cubicBezTo>
                      <a:pt x="48" y="121"/>
                      <a:pt x="48" y="121"/>
                      <a:pt x="48" y="121"/>
                    </a:cubicBezTo>
                    <a:cubicBezTo>
                      <a:pt x="49" y="123"/>
                      <a:pt x="49" y="123"/>
                      <a:pt x="49" y="123"/>
                    </a:cubicBezTo>
                    <a:cubicBezTo>
                      <a:pt x="48" y="125"/>
                      <a:pt x="48" y="125"/>
                      <a:pt x="48" y="125"/>
                    </a:cubicBezTo>
                    <a:cubicBezTo>
                      <a:pt x="44" y="125"/>
                      <a:pt x="44" y="125"/>
                      <a:pt x="44" y="125"/>
                    </a:cubicBezTo>
                    <a:cubicBezTo>
                      <a:pt x="42" y="125"/>
                      <a:pt x="38" y="128"/>
                      <a:pt x="38" y="128"/>
                    </a:cubicBezTo>
                    <a:cubicBezTo>
                      <a:pt x="38" y="130"/>
                      <a:pt x="38" y="130"/>
                      <a:pt x="38" y="130"/>
                    </a:cubicBezTo>
                    <a:cubicBezTo>
                      <a:pt x="41" y="130"/>
                      <a:pt x="41" y="130"/>
                      <a:pt x="41" y="130"/>
                    </a:cubicBezTo>
                    <a:cubicBezTo>
                      <a:pt x="41" y="132"/>
                      <a:pt x="41" y="132"/>
                      <a:pt x="41" y="132"/>
                    </a:cubicBezTo>
                    <a:cubicBezTo>
                      <a:pt x="36" y="132"/>
                      <a:pt x="36" y="132"/>
                      <a:pt x="36" y="132"/>
                    </a:cubicBezTo>
                    <a:cubicBezTo>
                      <a:pt x="33" y="134"/>
                      <a:pt x="33" y="134"/>
                      <a:pt x="33" y="134"/>
                    </a:cubicBezTo>
                    <a:cubicBezTo>
                      <a:pt x="36" y="136"/>
                      <a:pt x="36" y="136"/>
                      <a:pt x="36" y="136"/>
                    </a:cubicBezTo>
                    <a:cubicBezTo>
                      <a:pt x="43" y="136"/>
                      <a:pt x="43" y="136"/>
                      <a:pt x="43" y="136"/>
                    </a:cubicBezTo>
                    <a:cubicBezTo>
                      <a:pt x="43" y="136"/>
                      <a:pt x="45" y="133"/>
                      <a:pt x="49" y="136"/>
                    </a:cubicBezTo>
                    <a:cubicBezTo>
                      <a:pt x="52" y="137"/>
                      <a:pt x="50" y="140"/>
                      <a:pt x="50" y="140"/>
                    </a:cubicBezTo>
                    <a:cubicBezTo>
                      <a:pt x="47" y="137"/>
                      <a:pt x="47" y="137"/>
                      <a:pt x="47" y="137"/>
                    </a:cubicBezTo>
                    <a:cubicBezTo>
                      <a:pt x="47" y="137"/>
                      <a:pt x="44" y="138"/>
                      <a:pt x="41" y="138"/>
                    </a:cubicBezTo>
                    <a:cubicBezTo>
                      <a:pt x="38" y="138"/>
                      <a:pt x="36" y="138"/>
                      <a:pt x="36" y="141"/>
                    </a:cubicBezTo>
                    <a:cubicBezTo>
                      <a:pt x="35" y="143"/>
                      <a:pt x="38" y="147"/>
                      <a:pt x="38" y="147"/>
                    </a:cubicBezTo>
                    <a:cubicBezTo>
                      <a:pt x="33" y="148"/>
                      <a:pt x="33" y="148"/>
                      <a:pt x="33" y="148"/>
                    </a:cubicBezTo>
                    <a:cubicBezTo>
                      <a:pt x="31" y="145"/>
                      <a:pt x="31" y="145"/>
                      <a:pt x="31" y="145"/>
                    </a:cubicBezTo>
                    <a:cubicBezTo>
                      <a:pt x="27" y="146"/>
                      <a:pt x="27" y="146"/>
                      <a:pt x="27" y="146"/>
                    </a:cubicBezTo>
                    <a:cubicBezTo>
                      <a:pt x="28" y="149"/>
                      <a:pt x="28" y="149"/>
                      <a:pt x="28" y="149"/>
                    </a:cubicBezTo>
                    <a:cubicBezTo>
                      <a:pt x="23" y="150"/>
                      <a:pt x="23" y="150"/>
                      <a:pt x="23" y="150"/>
                    </a:cubicBezTo>
                    <a:cubicBezTo>
                      <a:pt x="23" y="150"/>
                      <a:pt x="22" y="149"/>
                      <a:pt x="19" y="149"/>
                    </a:cubicBezTo>
                    <a:cubicBezTo>
                      <a:pt x="17" y="148"/>
                      <a:pt x="15" y="149"/>
                      <a:pt x="14" y="149"/>
                    </a:cubicBezTo>
                    <a:cubicBezTo>
                      <a:pt x="12" y="149"/>
                      <a:pt x="10" y="147"/>
                      <a:pt x="10" y="147"/>
                    </a:cubicBezTo>
                    <a:cubicBezTo>
                      <a:pt x="12" y="144"/>
                      <a:pt x="12" y="144"/>
                      <a:pt x="12" y="144"/>
                    </a:cubicBezTo>
                    <a:cubicBezTo>
                      <a:pt x="9" y="140"/>
                      <a:pt x="9" y="140"/>
                      <a:pt x="9" y="140"/>
                    </a:cubicBezTo>
                    <a:cubicBezTo>
                      <a:pt x="4" y="144"/>
                      <a:pt x="4" y="144"/>
                      <a:pt x="4" y="144"/>
                    </a:cubicBezTo>
                    <a:cubicBezTo>
                      <a:pt x="4" y="148"/>
                      <a:pt x="4" y="148"/>
                      <a:pt x="4" y="148"/>
                    </a:cubicBezTo>
                    <a:cubicBezTo>
                      <a:pt x="2" y="149"/>
                      <a:pt x="2" y="149"/>
                      <a:pt x="2" y="149"/>
                    </a:cubicBezTo>
                    <a:cubicBezTo>
                      <a:pt x="2" y="152"/>
                      <a:pt x="2" y="152"/>
                      <a:pt x="2" y="152"/>
                    </a:cubicBezTo>
                    <a:cubicBezTo>
                      <a:pt x="0" y="154"/>
                      <a:pt x="0" y="154"/>
                      <a:pt x="0" y="154"/>
                    </a:cubicBezTo>
                    <a:cubicBezTo>
                      <a:pt x="4" y="157"/>
                      <a:pt x="4" y="157"/>
                      <a:pt x="4" y="157"/>
                    </a:cubicBezTo>
                    <a:cubicBezTo>
                      <a:pt x="7" y="157"/>
                      <a:pt x="7" y="157"/>
                      <a:pt x="7" y="157"/>
                    </a:cubicBezTo>
                    <a:cubicBezTo>
                      <a:pt x="9" y="158"/>
                      <a:pt x="9" y="158"/>
                      <a:pt x="9" y="158"/>
                    </a:cubicBezTo>
                    <a:cubicBezTo>
                      <a:pt x="11" y="157"/>
                      <a:pt x="11" y="157"/>
                      <a:pt x="11" y="157"/>
                    </a:cubicBezTo>
                    <a:cubicBezTo>
                      <a:pt x="11" y="157"/>
                      <a:pt x="12" y="159"/>
                      <a:pt x="13" y="160"/>
                    </a:cubicBezTo>
                    <a:cubicBezTo>
                      <a:pt x="14" y="161"/>
                      <a:pt x="19" y="163"/>
                      <a:pt x="19" y="163"/>
                    </a:cubicBezTo>
                    <a:cubicBezTo>
                      <a:pt x="19" y="163"/>
                      <a:pt x="24" y="163"/>
                      <a:pt x="26" y="164"/>
                    </a:cubicBezTo>
                    <a:cubicBezTo>
                      <a:pt x="28" y="165"/>
                      <a:pt x="28" y="168"/>
                      <a:pt x="28" y="168"/>
                    </a:cubicBezTo>
                    <a:cubicBezTo>
                      <a:pt x="35" y="171"/>
                      <a:pt x="35" y="171"/>
                      <a:pt x="35" y="171"/>
                    </a:cubicBezTo>
                    <a:cubicBezTo>
                      <a:pt x="36" y="170"/>
                      <a:pt x="36" y="170"/>
                      <a:pt x="36" y="170"/>
                    </a:cubicBezTo>
                    <a:cubicBezTo>
                      <a:pt x="41" y="170"/>
                      <a:pt x="41" y="170"/>
                      <a:pt x="41" y="170"/>
                    </a:cubicBezTo>
                    <a:cubicBezTo>
                      <a:pt x="39" y="166"/>
                      <a:pt x="39" y="166"/>
                      <a:pt x="39" y="166"/>
                    </a:cubicBezTo>
                    <a:cubicBezTo>
                      <a:pt x="39" y="166"/>
                      <a:pt x="42" y="165"/>
                      <a:pt x="44" y="166"/>
                    </a:cubicBezTo>
                    <a:cubicBezTo>
                      <a:pt x="46" y="168"/>
                      <a:pt x="41" y="169"/>
                      <a:pt x="41" y="169"/>
                    </a:cubicBezTo>
                    <a:cubicBezTo>
                      <a:pt x="41" y="169"/>
                      <a:pt x="42" y="170"/>
                      <a:pt x="43" y="172"/>
                    </a:cubicBezTo>
                    <a:cubicBezTo>
                      <a:pt x="43" y="174"/>
                      <a:pt x="43" y="175"/>
                      <a:pt x="45" y="177"/>
                    </a:cubicBezTo>
                    <a:cubicBezTo>
                      <a:pt x="47" y="178"/>
                      <a:pt x="47" y="181"/>
                      <a:pt x="47" y="181"/>
                    </a:cubicBezTo>
                    <a:cubicBezTo>
                      <a:pt x="52" y="179"/>
                      <a:pt x="52" y="179"/>
                      <a:pt x="52" y="179"/>
                    </a:cubicBezTo>
                    <a:cubicBezTo>
                      <a:pt x="52" y="179"/>
                      <a:pt x="51" y="183"/>
                      <a:pt x="50" y="183"/>
                    </a:cubicBezTo>
                    <a:cubicBezTo>
                      <a:pt x="49" y="184"/>
                      <a:pt x="49" y="184"/>
                      <a:pt x="49" y="184"/>
                    </a:cubicBezTo>
                    <a:cubicBezTo>
                      <a:pt x="50" y="189"/>
                      <a:pt x="50" y="189"/>
                      <a:pt x="50" y="189"/>
                    </a:cubicBezTo>
                    <a:cubicBezTo>
                      <a:pt x="51" y="189"/>
                      <a:pt x="51" y="189"/>
                      <a:pt x="51" y="189"/>
                    </a:cubicBezTo>
                    <a:cubicBezTo>
                      <a:pt x="51" y="194"/>
                      <a:pt x="51" y="194"/>
                      <a:pt x="51" y="194"/>
                    </a:cubicBezTo>
                    <a:cubicBezTo>
                      <a:pt x="55" y="194"/>
                      <a:pt x="55" y="194"/>
                      <a:pt x="55" y="194"/>
                    </a:cubicBezTo>
                    <a:cubicBezTo>
                      <a:pt x="53" y="196"/>
                      <a:pt x="53" y="196"/>
                      <a:pt x="53" y="196"/>
                    </a:cubicBezTo>
                    <a:cubicBezTo>
                      <a:pt x="53" y="196"/>
                      <a:pt x="55" y="202"/>
                      <a:pt x="56" y="204"/>
                    </a:cubicBezTo>
                    <a:cubicBezTo>
                      <a:pt x="58" y="206"/>
                      <a:pt x="60" y="205"/>
                      <a:pt x="61" y="205"/>
                    </a:cubicBezTo>
                    <a:cubicBezTo>
                      <a:pt x="62" y="205"/>
                      <a:pt x="64" y="208"/>
                      <a:pt x="65" y="208"/>
                    </a:cubicBezTo>
                    <a:cubicBezTo>
                      <a:pt x="66" y="209"/>
                      <a:pt x="67" y="208"/>
                      <a:pt x="67" y="208"/>
                    </a:cubicBezTo>
                    <a:cubicBezTo>
                      <a:pt x="67" y="211"/>
                      <a:pt x="67" y="211"/>
                      <a:pt x="67" y="211"/>
                    </a:cubicBezTo>
                    <a:cubicBezTo>
                      <a:pt x="67" y="211"/>
                      <a:pt x="72" y="216"/>
                      <a:pt x="74" y="218"/>
                    </a:cubicBezTo>
                    <a:cubicBezTo>
                      <a:pt x="76" y="220"/>
                      <a:pt x="79" y="224"/>
                      <a:pt x="79" y="224"/>
                    </a:cubicBezTo>
                    <a:cubicBezTo>
                      <a:pt x="79" y="224"/>
                      <a:pt x="83" y="224"/>
                      <a:pt x="85" y="226"/>
                    </a:cubicBezTo>
                    <a:cubicBezTo>
                      <a:pt x="89" y="229"/>
                      <a:pt x="91" y="229"/>
                      <a:pt x="91" y="229"/>
                    </a:cubicBezTo>
                    <a:cubicBezTo>
                      <a:pt x="91" y="229"/>
                      <a:pt x="99" y="232"/>
                      <a:pt x="106" y="233"/>
                    </a:cubicBezTo>
                    <a:cubicBezTo>
                      <a:pt x="112" y="235"/>
                      <a:pt x="118" y="227"/>
                      <a:pt x="118" y="227"/>
                    </a:cubicBezTo>
                    <a:cubicBezTo>
                      <a:pt x="117" y="226"/>
                      <a:pt x="117" y="226"/>
                      <a:pt x="117" y="226"/>
                    </a:cubicBezTo>
                    <a:cubicBezTo>
                      <a:pt x="123" y="226"/>
                      <a:pt x="123" y="226"/>
                      <a:pt x="123" y="226"/>
                    </a:cubicBezTo>
                    <a:cubicBezTo>
                      <a:pt x="120" y="224"/>
                      <a:pt x="120" y="224"/>
                      <a:pt x="120" y="224"/>
                    </a:cubicBezTo>
                    <a:cubicBezTo>
                      <a:pt x="120" y="224"/>
                      <a:pt x="120" y="221"/>
                      <a:pt x="123" y="221"/>
                    </a:cubicBezTo>
                    <a:cubicBezTo>
                      <a:pt x="127" y="221"/>
                      <a:pt x="126" y="224"/>
                      <a:pt x="126" y="224"/>
                    </a:cubicBezTo>
                    <a:cubicBezTo>
                      <a:pt x="133" y="223"/>
                      <a:pt x="133" y="223"/>
                      <a:pt x="133" y="223"/>
                    </a:cubicBezTo>
                    <a:cubicBezTo>
                      <a:pt x="133" y="225"/>
                      <a:pt x="133" y="225"/>
                      <a:pt x="133" y="225"/>
                    </a:cubicBezTo>
                    <a:cubicBezTo>
                      <a:pt x="142" y="225"/>
                      <a:pt x="142" y="225"/>
                      <a:pt x="142" y="225"/>
                    </a:cubicBezTo>
                    <a:cubicBezTo>
                      <a:pt x="144" y="225"/>
                      <a:pt x="148" y="228"/>
                      <a:pt x="148" y="228"/>
                    </a:cubicBezTo>
                    <a:cubicBezTo>
                      <a:pt x="153" y="224"/>
                      <a:pt x="153" y="224"/>
                      <a:pt x="153" y="224"/>
                    </a:cubicBezTo>
                    <a:cubicBezTo>
                      <a:pt x="153" y="228"/>
                      <a:pt x="153" y="228"/>
                      <a:pt x="153" y="228"/>
                    </a:cubicBezTo>
                    <a:cubicBezTo>
                      <a:pt x="155" y="227"/>
                      <a:pt x="155" y="227"/>
                      <a:pt x="155" y="227"/>
                    </a:cubicBezTo>
                    <a:cubicBezTo>
                      <a:pt x="161" y="226"/>
                      <a:pt x="161" y="226"/>
                      <a:pt x="161" y="226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9"/>
                      <a:pt x="160" y="229"/>
                      <a:pt x="160" y="229"/>
                    </a:cubicBezTo>
                    <a:cubicBezTo>
                      <a:pt x="160" y="229"/>
                      <a:pt x="172" y="222"/>
                      <a:pt x="177" y="220"/>
                    </a:cubicBezTo>
                    <a:cubicBezTo>
                      <a:pt x="181" y="219"/>
                      <a:pt x="193" y="218"/>
                      <a:pt x="193" y="218"/>
                    </a:cubicBezTo>
                    <a:cubicBezTo>
                      <a:pt x="192" y="216"/>
                      <a:pt x="192" y="216"/>
                      <a:pt x="192" y="216"/>
                    </a:cubicBezTo>
                    <a:cubicBezTo>
                      <a:pt x="195" y="216"/>
                      <a:pt x="195" y="216"/>
                      <a:pt x="195" y="216"/>
                    </a:cubicBezTo>
                    <a:cubicBezTo>
                      <a:pt x="195" y="217"/>
                      <a:pt x="195" y="217"/>
                      <a:pt x="195" y="217"/>
                    </a:cubicBezTo>
                    <a:cubicBezTo>
                      <a:pt x="200" y="217"/>
                      <a:pt x="200" y="217"/>
                      <a:pt x="200" y="217"/>
                    </a:cubicBezTo>
                    <a:cubicBezTo>
                      <a:pt x="207" y="220"/>
                      <a:pt x="207" y="220"/>
                      <a:pt x="207" y="220"/>
                    </a:cubicBezTo>
                    <a:cubicBezTo>
                      <a:pt x="207" y="219"/>
                      <a:pt x="207" y="219"/>
                      <a:pt x="207" y="219"/>
                    </a:cubicBezTo>
                    <a:cubicBezTo>
                      <a:pt x="203" y="216"/>
                      <a:pt x="203" y="216"/>
                      <a:pt x="203" y="216"/>
                    </a:cubicBezTo>
                    <a:cubicBezTo>
                      <a:pt x="206" y="211"/>
                      <a:pt x="206" y="211"/>
                      <a:pt x="206" y="211"/>
                    </a:cubicBezTo>
                    <a:cubicBezTo>
                      <a:pt x="206" y="211"/>
                      <a:pt x="207" y="215"/>
                      <a:pt x="209" y="216"/>
                    </a:cubicBezTo>
                    <a:cubicBezTo>
                      <a:pt x="210" y="217"/>
                      <a:pt x="208" y="218"/>
                      <a:pt x="208" y="218"/>
                    </a:cubicBezTo>
                    <a:cubicBezTo>
                      <a:pt x="208" y="218"/>
                      <a:pt x="210" y="217"/>
                      <a:pt x="212" y="218"/>
                    </a:cubicBezTo>
                    <a:cubicBezTo>
                      <a:pt x="213" y="219"/>
                      <a:pt x="212" y="222"/>
                      <a:pt x="212" y="222"/>
                    </a:cubicBezTo>
                    <a:cubicBezTo>
                      <a:pt x="214" y="222"/>
                      <a:pt x="214" y="222"/>
                      <a:pt x="214" y="222"/>
                    </a:cubicBezTo>
                    <a:cubicBezTo>
                      <a:pt x="216" y="221"/>
                      <a:pt x="216" y="219"/>
                      <a:pt x="216" y="219"/>
                    </a:cubicBezTo>
                    <a:cubicBezTo>
                      <a:pt x="216" y="219"/>
                      <a:pt x="221" y="218"/>
                      <a:pt x="223" y="217"/>
                    </a:cubicBezTo>
                    <a:cubicBezTo>
                      <a:pt x="225" y="216"/>
                      <a:pt x="226" y="212"/>
                      <a:pt x="228" y="213"/>
                    </a:cubicBezTo>
                    <a:cubicBezTo>
                      <a:pt x="229" y="213"/>
                      <a:pt x="227" y="216"/>
                      <a:pt x="227" y="216"/>
                    </a:cubicBezTo>
                    <a:cubicBezTo>
                      <a:pt x="230" y="217"/>
                      <a:pt x="230" y="217"/>
                      <a:pt x="230" y="217"/>
                    </a:cubicBezTo>
                    <a:cubicBezTo>
                      <a:pt x="240" y="207"/>
                      <a:pt x="240" y="207"/>
                      <a:pt x="240" y="207"/>
                    </a:cubicBezTo>
                    <a:cubicBezTo>
                      <a:pt x="236" y="208"/>
                      <a:pt x="236" y="208"/>
                      <a:pt x="236" y="208"/>
                    </a:cubicBezTo>
                    <a:cubicBezTo>
                      <a:pt x="236" y="205"/>
                      <a:pt x="236" y="205"/>
                      <a:pt x="236" y="205"/>
                    </a:cubicBezTo>
                    <a:cubicBezTo>
                      <a:pt x="240" y="205"/>
                      <a:pt x="240" y="205"/>
                      <a:pt x="240" y="205"/>
                    </a:cubicBezTo>
                    <a:cubicBezTo>
                      <a:pt x="240" y="202"/>
                      <a:pt x="240" y="202"/>
                      <a:pt x="240" y="202"/>
                    </a:cubicBezTo>
                    <a:cubicBezTo>
                      <a:pt x="243" y="206"/>
                      <a:pt x="243" y="206"/>
                      <a:pt x="243" y="206"/>
                    </a:cubicBezTo>
                    <a:cubicBezTo>
                      <a:pt x="245" y="204"/>
                      <a:pt x="245" y="204"/>
                      <a:pt x="245" y="204"/>
                    </a:cubicBezTo>
                    <a:cubicBezTo>
                      <a:pt x="243" y="201"/>
                      <a:pt x="243" y="201"/>
                      <a:pt x="243" y="201"/>
                    </a:cubicBezTo>
                    <a:cubicBezTo>
                      <a:pt x="243" y="201"/>
                      <a:pt x="242" y="193"/>
                      <a:pt x="243" y="194"/>
                    </a:cubicBezTo>
                    <a:cubicBezTo>
                      <a:pt x="244" y="194"/>
                      <a:pt x="244" y="199"/>
                      <a:pt x="245" y="201"/>
                    </a:cubicBezTo>
                    <a:cubicBezTo>
                      <a:pt x="245" y="204"/>
                      <a:pt x="254" y="202"/>
                      <a:pt x="254" y="202"/>
                    </a:cubicBezTo>
                    <a:cubicBezTo>
                      <a:pt x="254" y="200"/>
                      <a:pt x="254" y="200"/>
                      <a:pt x="254" y="200"/>
                    </a:cubicBezTo>
                    <a:cubicBezTo>
                      <a:pt x="260" y="199"/>
                      <a:pt x="260" y="199"/>
                      <a:pt x="260" y="199"/>
                    </a:cubicBezTo>
                    <a:cubicBezTo>
                      <a:pt x="258" y="195"/>
                      <a:pt x="258" y="195"/>
                      <a:pt x="258" y="195"/>
                    </a:cubicBezTo>
                    <a:cubicBezTo>
                      <a:pt x="262" y="197"/>
                      <a:pt x="262" y="197"/>
                      <a:pt x="262" y="197"/>
                    </a:cubicBezTo>
                    <a:cubicBezTo>
                      <a:pt x="264" y="195"/>
                      <a:pt x="264" y="195"/>
                      <a:pt x="264" y="195"/>
                    </a:cubicBezTo>
                    <a:cubicBezTo>
                      <a:pt x="258" y="190"/>
                      <a:pt x="258" y="190"/>
                      <a:pt x="258" y="190"/>
                    </a:cubicBezTo>
                    <a:cubicBezTo>
                      <a:pt x="259" y="189"/>
                      <a:pt x="261" y="191"/>
                      <a:pt x="262" y="192"/>
                    </a:cubicBezTo>
                    <a:cubicBezTo>
                      <a:pt x="263" y="193"/>
                      <a:pt x="268" y="193"/>
                      <a:pt x="268" y="193"/>
                    </a:cubicBezTo>
                    <a:cubicBezTo>
                      <a:pt x="268" y="191"/>
                      <a:pt x="268" y="191"/>
                      <a:pt x="268" y="191"/>
                    </a:cubicBezTo>
                    <a:cubicBezTo>
                      <a:pt x="268" y="191"/>
                      <a:pt x="265" y="191"/>
                      <a:pt x="264" y="190"/>
                    </a:cubicBezTo>
                    <a:cubicBezTo>
                      <a:pt x="263" y="190"/>
                      <a:pt x="264" y="189"/>
                      <a:pt x="263" y="187"/>
                    </a:cubicBezTo>
                    <a:cubicBezTo>
                      <a:pt x="263" y="186"/>
                      <a:pt x="257" y="181"/>
                      <a:pt x="257" y="181"/>
                    </a:cubicBezTo>
                    <a:cubicBezTo>
                      <a:pt x="262" y="183"/>
                      <a:pt x="262" y="183"/>
                      <a:pt x="262" y="183"/>
                    </a:cubicBezTo>
                    <a:cubicBezTo>
                      <a:pt x="263" y="183"/>
                      <a:pt x="263" y="183"/>
                      <a:pt x="263" y="183"/>
                    </a:cubicBezTo>
                    <a:cubicBezTo>
                      <a:pt x="263" y="183"/>
                      <a:pt x="265" y="189"/>
                      <a:pt x="269" y="190"/>
                    </a:cubicBezTo>
                    <a:cubicBezTo>
                      <a:pt x="273" y="191"/>
                      <a:pt x="273" y="187"/>
                      <a:pt x="273" y="187"/>
                    </a:cubicBezTo>
                    <a:cubicBezTo>
                      <a:pt x="276" y="187"/>
                      <a:pt x="276" y="187"/>
                      <a:pt x="276" y="187"/>
                    </a:cubicBezTo>
                    <a:cubicBezTo>
                      <a:pt x="276" y="184"/>
                      <a:pt x="276" y="184"/>
                      <a:pt x="276" y="184"/>
                    </a:cubicBezTo>
                    <a:cubicBezTo>
                      <a:pt x="278" y="181"/>
                      <a:pt x="278" y="181"/>
                      <a:pt x="278" y="181"/>
                    </a:cubicBezTo>
                    <a:cubicBezTo>
                      <a:pt x="277" y="180"/>
                      <a:pt x="277" y="180"/>
                      <a:pt x="277" y="180"/>
                    </a:cubicBezTo>
                    <a:cubicBezTo>
                      <a:pt x="273" y="184"/>
                      <a:pt x="273" y="184"/>
                      <a:pt x="273" y="184"/>
                    </a:cubicBezTo>
                    <a:cubicBezTo>
                      <a:pt x="272" y="183"/>
                      <a:pt x="272" y="183"/>
                      <a:pt x="272" y="183"/>
                    </a:cubicBezTo>
                    <a:cubicBezTo>
                      <a:pt x="273" y="181"/>
                      <a:pt x="273" y="181"/>
                      <a:pt x="273" y="181"/>
                    </a:cubicBezTo>
                    <a:cubicBezTo>
                      <a:pt x="272" y="180"/>
                      <a:pt x="272" y="180"/>
                      <a:pt x="272" y="180"/>
                    </a:cubicBezTo>
                    <a:cubicBezTo>
                      <a:pt x="276" y="178"/>
                      <a:pt x="276" y="178"/>
                      <a:pt x="276" y="178"/>
                    </a:cubicBezTo>
                    <a:cubicBezTo>
                      <a:pt x="276" y="177"/>
                      <a:pt x="276" y="177"/>
                      <a:pt x="276" y="177"/>
                    </a:cubicBezTo>
                    <a:cubicBezTo>
                      <a:pt x="271" y="177"/>
                      <a:pt x="271" y="177"/>
                      <a:pt x="271" y="177"/>
                    </a:cubicBezTo>
                    <a:cubicBezTo>
                      <a:pt x="269" y="174"/>
                      <a:pt x="269" y="174"/>
                      <a:pt x="269" y="174"/>
                    </a:cubicBezTo>
                    <a:cubicBezTo>
                      <a:pt x="274" y="175"/>
                      <a:pt x="274" y="175"/>
                      <a:pt x="274" y="175"/>
                    </a:cubicBezTo>
                    <a:cubicBezTo>
                      <a:pt x="274" y="175"/>
                      <a:pt x="278" y="176"/>
                      <a:pt x="278" y="173"/>
                    </a:cubicBezTo>
                    <a:cubicBezTo>
                      <a:pt x="279" y="170"/>
                      <a:pt x="269" y="170"/>
                      <a:pt x="269" y="170"/>
                    </a:cubicBezTo>
                    <a:cubicBezTo>
                      <a:pt x="268" y="169"/>
                      <a:pt x="268" y="169"/>
                      <a:pt x="268" y="169"/>
                    </a:cubicBezTo>
                    <a:cubicBezTo>
                      <a:pt x="274" y="169"/>
                      <a:pt x="274" y="169"/>
                      <a:pt x="274" y="169"/>
                    </a:cubicBezTo>
                    <a:cubicBezTo>
                      <a:pt x="276" y="169"/>
                      <a:pt x="275" y="165"/>
                      <a:pt x="275" y="165"/>
                    </a:cubicBezTo>
                    <a:cubicBezTo>
                      <a:pt x="275" y="165"/>
                      <a:pt x="277" y="166"/>
                      <a:pt x="279" y="166"/>
                    </a:cubicBezTo>
                    <a:cubicBezTo>
                      <a:pt x="281" y="166"/>
                      <a:pt x="281" y="162"/>
                      <a:pt x="281" y="162"/>
                    </a:cubicBezTo>
                    <a:cubicBezTo>
                      <a:pt x="284" y="160"/>
                      <a:pt x="284" y="160"/>
                      <a:pt x="284" y="160"/>
                    </a:cubicBezTo>
                    <a:cubicBezTo>
                      <a:pt x="285" y="160"/>
                      <a:pt x="284" y="155"/>
                      <a:pt x="284" y="155"/>
                    </a:cubicBezTo>
                    <a:close/>
                    <a:moveTo>
                      <a:pt x="61" y="51"/>
                    </a:moveTo>
                    <a:cubicBezTo>
                      <a:pt x="60" y="51"/>
                      <a:pt x="60" y="51"/>
                      <a:pt x="60" y="51"/>
                    </a:cubicBezTo>
                    <a:cubicBezTo>
                      <a:pt x="56" y="57"/>
                      <a:pt x="56" y="57"/>
                      <a:pt x="56" y="57"/>
                    </a:cubicBezTo>
                    <a:cubicBezTo>
                      <a:pt x="59" y="59"/>
                      <a:pt x="59" y="59"/>
                      <a:pt x="59" y="59"/>
                    </a:cubicBezTo>
                    <a:lnTo>
                      <a:pt x="61" y="51"/>
                    </a:lnTo>
                    <a:close/>
                    <a:moveTo>
                      <a:pt x="48" y="210"/>
                    </a:moveTo>
                    <a:cubicBezTo>
                      <a:pt x="52" y="208"/>
                      <a:pt x="52" y="208"/>
                      <a:pt x="52" y="208"/>
                    </a:cubicBezTo>
                    <a:cubicBezTo>
                      <a:pt x="50" y="205"/>
                      <a:pt x="50" y="205"/>
                      <a:pt x="50" y="205"/>
                    </a:cubicBezTo>
                    <a:lnTo>
                      <a:pt x="48" y="210"/>
                    </a:lnTo>
                    <a:close/>
                    <a:moveTo>
                      <a:pt x="122" y="222"/>
                    </a:moveTo>
                    <a:cubicBezTo>
                      <a:pt x="122" y="222"/>
                      <a:pt x="121" y="225"/>
                      <a:pt x="124" y="224"/>
                    </a:cubicBezTo>
                    <a:cubicBezTo>
                      <a:pt x="126" y="224"/>
                      <a:pt x="125" y="221"/>
                      <a:pt x="122" y="222"/>
                    </a:cubicBezTo>
                    <a:close/>
                  </a:path>
                </a:pathLst>
              </a:custGeom>
              <a:solidFill>
                <a:srgbClr val="FDC795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49" name="Hungary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429250" y="4264025"/>
                <a:ext cx="639762" cy="427037"/>
              </a:xfrm>
              <a:custGeom>
                <a:avLst/>
                <a:gdLst/>
                <a:ahLst/>
                <a:cxnLst>
                  <a:cxn ang="0">
                    <a:pos x="292" y="23"/>
                  </a:cxn>
                  <a:cxn ang="0">
                    <a:pos x="276" y="15"/>
                  </a:cxn>
                  <a:cxn ang="0">
                    <a:pos x="265" y="10"/>
                  </a:cxn>
                  <a:cxn ang="0">
                    <a:pos x="250" y="9"/>
                  </a:cxn>
                  <a:cxn ang="0">
                    <a:pos x="235" y="5"/>
                  </a:cxn>
                  <a:cxn ang="0">
                    <a:pos x="210" y="5"/>
                  </a:cxn>
                  <a:cxn ang="0">
                    <a:pos x="180" y="25"/>
                  </a:cxn>
                  <a:cxn ang="0">
                    <a:pos x="148" y="31"/>
                  </a:cxn>
                  <a:cxn ang="0">
                    <a:pos x="127" y="46"/>
                  </a:cxn>
                  <a:cxn ang="0">
                    <a:pos x="118" y="60"/>
                  </a:cxn>
                  <a:cxn ang="0">
                    <a:pos x="101" y="68"/>
                  </a:cxn>
                  <a:cxn ang="0">
                    <a:pos x="81" y="71"/>
                  </a:cxn>
                  <a:cxn ang="0">
                    <a:pos x="62" y="68"/>
                  </a:cxn>
                  <a:cxn ang="0">
                    <a:pos x="39" y="59"/>
                  </a:cxn>
                  <a:cxn ang="0">
                    <a:pos x="36" y="67"/>
                  </a:cxn>
                  <a:cxn ang="0">
                    <a:pos x="38" y="76"/>
                  </a:cxn>
                  <a:cxn ang="0">
                    <a:pos x="19" y="75"/>
                  </a:cxn>
                  <a:cxn ang="0">
                    <a:pos x="14" y="84"/>
                  </a:cxn>
                  <a:cxn ang="0">
                    <a:pos x="23" y="90"/>
                  </a:cxn>
                  <a:cxn ang="0">
                    <a:pos x="14" y="107"/>
                  </a:cxn>
                  <a:cxn ang="0">
                    <a:pos x="17" y="116"/>
                  </a:cxn>
                  <a:cxn ang="0">
                    <a:pos x="6" y="126"/>
                  </a:cxn>
                  <a:cxn ang="0">
                    <a:pos x="9" y="135"/>
                  </a:cxn>
                  <a:cxn ang="0">
                    <a:pos x="13" y="143"/>
                  </a:cxn>
                  <a:cxn ang="0">
                    <a:pos x="21" y="152"/>
                  </a:cxn>
                  <a:cxn ang="0">
                    <a:pos x="27" y="160"/>
                  </a:cxn>
                  <a:cxn ang="0">
                    <a:pos x="38" y="166"/>
                  </a:cxn>
                  <a:cxn ang="0">
                    <a:pos x="60" y="189"/>
                  </a:cxn>
                  <a:cxn ang="0">
                    <a:pos x="76" y="198"/>
                  </a:cxn>
                  <a:cxn ang="0">
                    <a:pos x="115" y="199"/>
                  </a:cxn>
                  <a:cxn ang="0">
                    <a:pos x="129" y="188"/>
                  </a:cxn>
                  <a:cxn ang="0">
                    <a:pos x="140" y="179"/>
                  </a:cxn>
                  <a:cxn ang="0">
                    <a:pos x="157" y="173"/>
                  </a:cxn>
                  <a:cxn ang="0">
                    <a:pos x="173" y="168"/>
                  </a:cxn>
                  <a:cxn ang="0">
                    <a:pos x="202" y="163"/>
                  </a:cxn>
                  <a:cxn ang="0">
                    <a:pos x="213" y="162"/>
                  </a:cxn>
                  <a:cxn ang="0">
                    <a:pos x="234" y="152"/>
                  </a:cxn>
                  <a:cxn ang="0">
                    <a:pos x="239" y="140"/>
                  </a:cxn>
                  <a:cxn ang="0">
                    <a:pos x="241" y="127"/>
                  </a:cxn>
                  <a:cxn ang="0">
                    <a:pos x="245" y="114"/>
                  </a:cxn>
                  <a:cxn ang="0">
                    <a:pos x="250" y="98"/>
                  </a:cxn>
                  <a:cxn ang="0">
                    <a:pos x="259" y="76"/>
                  </a:cxn>
                  <a:cxn ang="0">
                    <a:pos x="262" y="66"/>
                  </a:cxn>
                  <a:cxn ang="0">
                    <a:pos x="276" y="46"/>
                  </a:cxn>
                  <a:cxn ang="0">
                    <a:pos x="297" y="31"/>
                  </a:cxn>
                </a:cxnLst>
                <a:rect l="0" t="0" r="r" b="b"/>
                <a:pathLst>
                  <a:path w="300" h="200">
                    <a:moveTo>
                      <a:pt x="294" y="30"/>
                    </a:moveTo>
                    <a:cubicBezTo>
                      <a:pt x="294" y="30"/>
                      <a:pt x="300" y="25"/>
                      <a:pt x="292" y="23"/>
                    </a:cubicBezTo>
                    <a:cubicBezTo>
                      <a:pt x="285" y="21"/>
                      <a:pt x="283" y="25"/>
                      <a:pt x="281" y="21"/>
                    </a:cubicBezTo>
                    <a:cubicBezTo>
                      <a:pt x="279" y="19"/>
                      <a:pt x="279" y="16"/>
                      <a:pt x="276" y="15"/>
                    </a:cubicBezTo>
                    <a:cubicBezTo>
                      <a:pt x="273" y="15"/>
                      <a:pt x="270" y="16"/>
                      <a:pt x="270" y="16"/>
                    </a:cubicBezTo>
                    <a:cubicBezTo>
                      <a:pt x="270" y="16"/>
                      <a:pt x="267" y="11"/>
                      <a:pt x="265" y="10"/>
                    </a:cubicBezTo>
                    <a:cubicBezTo>
                      <a:pt x="263" y="8"/>
                      <a:pt x="259" y="8"/>
                      <a:pt x="259" y="8"/>
                    </a:cubicBezTo>
                    <a:cubicBezTo>
                      <a:pt x="259" y="8"/>
                      <a:pt x="253" y="6"/>
                      <a:pt x="250" y="9"/>
                    </a:cubicBezTo>
                    <a:cubicBezTo>
                      <a:pt x="247" y="11"/>
                      <a:pt x="247" y="15"/>
                      <a:pt x="241" y="14"/>
                    </a:cubicBezTo>
                    <a:cubicBezTo>
                      <a:pt x="236" y="13"/>
                      <a:pt x="235" y="5"/>
                      <a:pt x="235" y="5"/>
                    </a:cubicBezTo>
                    <a:cubicBezTo>
                      <a:pt x="226" y="0"/>
                      <a:pt x="226" y="0"/>
                      <a:pt x="226" y="0"/>
                    </a:cubicBezTo>
                    <a:cubicBezTo>
                      <a:pt x="226" y="0"/>
                      <a:pt x="219" y="9"/>
                      <a:pt x="210" y="5"/>
                    </a:cubicBezTo>
                    <a:cubicBezTo>
                      <a:pt x="201" y="3"/>
                      <a:pt x="193" y="4"/>
                      <a:pt x="188" y="8"/>
                    </a:cubicBezTo>
                    <a:cubicBezTo>
                      <a:pt x="183" y="11"/>
                      <a:pt x="184" y="21"/>
                      <a:pt x="180" y="25"/>
                    </a:cubicBezTo>
                    <a:cubicBezTo>
                      <a:pt x="175" y="29"/>
                      <a:pt x="163" y="36"/>
                      <a:pt x="163" y="36"/>
                    </a:cubicBezTo>
                    <a:cubicBezTo>
                      <a:pt x="163" y="36"/>
                      <a:pt x="152" y="30"/>
                      <a:pt x="148" y="31"/>
                    </a:cubicBezTo>
                    <a:cubicBezTo>
                      <a:pt x="143" y="32"/>
                      <a:pt x="144" y="40"/>
                      <a:pt x="144" y="40"/>
                    </a:cubicBezTo>
                    <a:cubicBezTo>
                      <a:pt x="127" y="46"/>
                      <a:pt x="127" y="46"/>
                      <a:pt x="127" y="46"/>
                    </a:cubicBezTo>
                    <a:cubicBezTo>
                      <a:pt x="127" y="46"/>
                      <a:pt x="118" y="43"/>
                      <a:pt x="115" y="48"/>
                    </a:cubicBezTo>
                    <a:cubicBezTo>
                      <a:pt x="111" y="55"/>
                      <a:pt x="118" y="60"/>
                      <a:pt x="118" y="60"/>
                    </a:cubicBezTo>
                    <a:cubicBezTo>
                      <a:pt x="111" y="67"/>
                      <a:pt x="111" y="67"/>
                      <a:pt x="111" y="67"/>
                    </a:cubicBezTo>
                    <a:cubicBezTo>
                      <a:pt x="101" y="68"/>
                      <a:pt x="101" y="68"/>
                      <a:pt x="101" y="68"/>
                    </a:cubicBezTo>
                    <a:cubicBezTo>
                      <a:pt x="88" y="71"/>
                      <a:pt x="88" y="71"/>
                      <a:pt x="88" y="71"/>
                    </a:cubicBezTo>
                    <a:cubicBezTo>
                      <a:pt x="81" y="71"/>
                      <a:pt x="81" y="71"/>
                      <a:pt x="81" y="71"/>
                    </a:cubicBezTo>
                    <a:cubicBezTo>
                      <a:pt x="81" y="71"/>
                      <a:pt x="75" y="72"/>
                      <a:pt x="71" y="72"/>
                    </a:cubicBezTo>
                    <a:cubicBezTo>
                      <a:pt x="66" y="72"/>
                      <a:pt x="62" y="68"/>
                      <a:pt x="62" y="68"/>
                    </a:cubicBezTo>
                    <a:cubicBezTo>
                      <a:pt x="62" y="68"/>
                      <a:pt x="55" y="60"/>
                      <a:pt x="50" y="59"/>
                    </a:cubicBezTo>
                    <a:cubicBezTo>
                      <a:pt x="47" y="58"/>
                      <a:pt x="43" y="58"/>
                      <a:pt x="39" y="59"/>
                    </a:cubicBezTo>
                    <a:cubicBezTo>
                      <a:pt x="39" y="65"/>
                      <a:pt x="39" y="65"/>
                      <a:pt x="39" y="65"/>
                    </a:cubicBezTo>
                    <a:cubicBezTo>
                      <a:pt x="36" y="67"/>
                      <a:pt x="36" y="67"/>
                      <a:pt x="36" y="67"/>
                    </a:cubicBezTo>
                    <a:cubicBezTo>
                      <a:pt x="38" y="68"/>
                      <a:pt x="38" y="68"/>
                      <a:pt x="38" y="68"/>
                    </a:cubicBezTo>
                    <a:cubicBezTo>
                      <a:pt x="38" y="76"/>
                      <a:pt x="38" y="76"/>
                      <a:pt x="38" y="76"/>
                    </a:cubicBezTo>
                    <a:cubicBezTo>
                      <a:pt x="25" y="80"/>
                      <a:pt x="25" y="80"/>
                      <a:pt x="25" y="80"/>
                    </a:cubicBezTo>
                    <a:cubicBezTo>
                      <a:pt x="25" y="80"/>
                      <a:pt x="21" y="75"/>
                      <a:pt x="19" y="75"/>
                    </a:cubicBezTo>
                    <a:cubicBezTo>
                      <a:pt x="17" y="76"/>
                      <a:pt x="12" y="77"/>
                      <a:pt x="11" y="81"/>
                    </a:cubicBezTo>
                    <a:cubicBezTo>
                      <a:pt x="9" y="86"/>
                      <a:pt x="14" y="84"/>
                      <a:pt x="14" y="84"/>
                    </a:cubicBezTo>
                    <a:cubicBezTo>
                      <a:pt x="19" y="83"/>
                      <a:pt x="19" y="83"/>
                      <a:pt x="19" y="83"/>
                    </a:cubicBezTo>
                    <a:cubicBezTo>
                      <a:pt x="19" y="83"/>
                      <a:pt x="21" y="83"/>
                      <a:pt x="23" y="90"/>
                    </a:cubicBezTo>
                    <a:cubicBezTo>
                      <a:pt x="25" y="96"/>
                      <a:pt x="11" y="99"/>
                      <a:pt x="10" y="102"/>
                    </a:cubicBezTo>
                    <a:cubicBezTo>
                      <a:pt x="10" y="105"/>
                      <a:pt x="14" y="105"/>
                      <a:pt x="14" y="107"/>
                    </a:cubicBezTo>
                    <a:cubicBezTo>
                      <a:pt x="14" y="108"/>
                      <a:pt x="11" y="110"/>
                      <a:pt x="12" y="113"/>
                    </a:cubicBezTo>
                    <a:cubicBezTo>
                      <a:pt x="12" y="115"/>
                      <a:pt x="17" y="116"/>
                      <a:pt x="17" y="116"/>
                    </a:cubicBezTo>
                    <a:cubicBezTo>
                      <a:pt x="16" y="125"/>
                      <a:pt x="16" y="125"/>
                      <a:pt x="16" y="125"/>
                    </a:cubicBezTo>
                    <a:cubicBezTo>
                      <a:pt x="6" y="126"/>
                      <a:pt x="6" y="126"/>
                      <a:pt x="6" y="126"/>
                    </a:cubicBezTo>
                    <a:cubicBezTo>
                      <a:pt x="0" y="132"/>
                      <a:pt x="0" y="132"/>
                      <a:pt x="0" y="132"/>
                    </a:cubicBezTo>
                    <a:cubicBezTo>
                      <a:pt x="4" y="134"/>
                      <a:pt x="8" y="135"/>
                      <a:pt x="9" y="135"/>
                    </a:cubicBezTo>
                    <a:cubicBezTo>
                      <a:pt x="13" y="137"/>
                      <a:pt x="10" y="139"/>
                      <a:pt x="9" y="141"/>
                    </a:cubicBezTo>
                    <a:cubicBezTo>
                      <a:pt x="9" y="144"/>
                      <a:pt x="13" y="143"/>
                      <a:pt x="13" y="143"/>
                    </a:cubicBezTo>
                    <a:cubicBezTo>
                      <a:pt x="13" y="150"/>
                      <a:pt x="13" y="150"/>
                      <a:pt x="13" y="150"/>
                    </a:cubicBezTo>
                    <a:cubicBezTo>
                      <a:pt x="13" y="153"/>
                      <a:pt x="21" y="152"/>
                      <a:pt x="21" y="152"/>
                    </a:cubicBezTo>
                    <a:cubicBezTo>
                      <a:pt x="21" y="157"/>
                      <a:pt x="21" y="157"/>
                      <a:pt x="21" y="157"/>
                    </a:cubicBezTo>
                    <a:cubicBezTo>
                      <a:pt x="27" y="160"/>
                      <a:pt x="27" y="160"/>
                      <a:pt x="27" y="160"/>
                    </a:cubicBezTo>
                    <a:cubicBezTo>
                      <a:pt x="29" y="165"/>
                      <a:pt x="29" y="165"/>
                      <a:pt x="29" y="165"/>
                    </a:cubicBezTo>
                    <a:cubicBezTo>
                      <a:pt x="29" y="165"/>
                      <a:pt x="36" y="163"/>
                      <a:pt x="38" y="166"/>
                    </a:cubicBezTo>
                    <a:cubicBezTo>
                      <a:pt x="40" y="169"/>
                      <a:pt x="42" y="174"/>
                      <a:pt x="42" y="174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0" y="189"/>
                      <a:pt x="67" y="188"/>
                      <a:pt x="71" y="190"/>
                    </a:cubicBezTo>
                    <a:cubicBezTo>
                      <a:pt x="75" y="192"/>
                      <a:pt x="76" y="198"/>
                      <a:pt x="76" y="198"/>
                    </a:cubicBezTo>
                    <a:cubicBezTo>
                      <a:pt x="76" y="198"/>
                      <a:pt x="94" y="200"/>
                      <a:pt x="99" y="200"/>
                    </a:cubicBezTo>
                    <a:cubicBezTo>
                      <a:pt x="104" y="200"/>
                      <a:pt x="115" y="199"/>
                      <a:pt x="115" y="199"/>
                    </a:cubicBezTo>
                    <a:cubicBezTo>
                      <a:pt x="122" y="189"/>
                      <a:pt x="122" y="189"/>
                      <a:pt x="122" y="189"/>
                    </a:cubicBezTo>
                    <a:cubicBezTo>
                      <a:pt x="129" y="188"/>
                      <a:pt x="129" y="188"/>
                      <a:pt x="129" y="188"/>
                    </a:cubicBezTo>
                    <a:cubicBezTo>
                      <a:pt x="139" y="183"/>
                      <a:pt x="139" y="183"/>
                      <a:pt x="139" y="183"/>
                    </a:cubicBezTo>
                    <a:cubicBezTo>
                      <a:pt x="140" y="179"/>
                      <a:pt x="140" y="179"/>
                      <a:pt x="140" y="179"/>
                    </a:cubicBezTo>
                    <a:cubicBezTo>
                      <a:pt x="145" y="181"/>
                      <a:pt x="145" y="181"/>
                      <a:pt x="145" y="181"/>
                    </a:cubicBezTo>
                    <a:cubicBezTo>
                      <a:pt x="145" y="181"/>
                      <a:pt x="154" y="176"/>
                      <a:pt x="157" y="173"/>
                    </a:cubicBezTo>
                    <a:cubicBezTo>
                      <a:pt x="159" y="170"/>
                      <a:pt x="164" y="165"/>
                      <a:pt x="166" y="165"/>
                    </a:cubicBezTo>
                    <a:cubicBezTo>
                      <a:pt x="169" y="165"/>
                      <a:pt x="173" y="168"/>
                      <a:pt x="173" y="168"/>
                    </a:cubicBezTo>
                    <a:cubicBezTo>
                      <a:pt x="173" y="168"/>
                      <a:pt x="175" y="162"/>
                      <a:pt x="184" y="163"/>
                    </a:cubicBezTo>
                    <a:cubicBezTo>
                      <a:pt x="202" y="163"/>
                      <a:pt x="202" y="163"/>
                      <a:pt x="202" y="163"/>
                    </a:cubicBezTo>
                    <a:cubicBezTo>
                      <a:pt x="204" y="160"/>
                      <a:pt x="204" y="160"/>
                      <a:pt x="204" y="160"/>
                    </a:cubicBezTo>
                    <a:cubicBezTo>
                      <a:pt x="204" y="160"/>
                      <a:pt x="209" y="163"/>
                      <a:pt x="213" y="162"/>
                    </a:cubicBezTo>
                    <a:cubicBezTo>
                      <a:pt x="216" y="161"/>
                      <a:pt x="214" y="154"/>
                      <a:pt x="219" y="153"/>
                    </a:cubicBezTo>
                    <a:cubicBezTo>
                      <a:pt x="225" y="152"/>
                      <a:pt x="231" y="156"/>
                      <a:pt x="234" y="152"/>
                    </a:cubicBezTo>
                    <a:cubicBezTo>
                      <a:pt x="237" y="149"/>
                      <a:pt x="235" y="143"/>
                      <a:pt x="235" y="143"/>
                    </a:cubicBezTo>
                    <a:cubicBezTo>
                      <a:pt x="239" y="140"/>
                      <a:pt x="239" y="140"/>
                      <a:pt x="239" y="140"/>
                    </a:cubicBezTo>
                    <a:cubicBezTo>
                      <a:pt x="237" y="127"/>
                      <a:pt x="237" y="127"/>
                      <a:pt x="237" y="127"/>
                    </a:cubicBezTo>
                    <a:cubicBezTo>
                      <a:pt x="241" y="127"/>
                      <a:pt x="241" y="127"/>
                      <a:pt x="241" y="127"/>
                    </a:cubicBezTo>
                    <a:cubicBezTo>
                      <a:pt x="247" y="119"/>
                      <a:pt x="247" y="119"/>
                      <a:pt x="247" y="119"/>
                    </a:cubicBezTo>
                    <a:cubicBezTo>
                      <a:pt x="245" y="114"/>
                      <a:pt x="245" y="114"/>
                      <a:pt x="245" y="114"/>
                    </a:cubicBezTo>
                    <a:cubicBezTo>
                      <a:pt x="251" y="104"/>
                      <a:pt x="251" y="104"/>
                      <a:pt x="251" y="104"/>
                    </a:cubicBezTo>
                    <a:cubicBezTo>
                      <a:pt x="250" y="98"/>
                      <a:pt x="250" y="98"/>
                      <a:pt x="250" y="98"/>
                    </a:cubicBezTo>
                    <a:cubicBezTo>
                      <a:pt x="257" y="87"/>
                      <a:pt x="257" y="87"/>
                      <a:pt x="257" y="87"/>
                    </a:cubicBezTo>
                    <a:cubicBezTo>
                      <a:pt x="259" y="76"/>
                      <a:pt x="259" y="76"/>
                      <a:pt x="259" y="76"/>
                    </a:cubicBezTo>
                    <a:cubicBezTo>
                      <a:pt x="263" y="73"/>
                      <a:pt x="263" y="73"/>
                      <a:pt x="263" y="73"/>
                    </a:cubicBezTo>
                    <a:cubicBezTo>
                      <a:pt x="262" y="66"/>
                      <a:pt x="262" y="66"/>
                      <a:pt x="262" y="66"/>
                    </a:cubicBezTo>
                    <a:cubicBezTo>
                      <a:pt x="273" y="49"/>
                      <a:pt x="273" y="49"/>
                      <a:pt x="273" y="49"/>
                    </a:cubicBezTo>
                    <a:cubicBezTo>
                      <a:pt x="276" y="46"/>
                      <a:pt x="276" y="46"/>
                      <a:pt x="276" y="46"/>
                    </a:cubicBezTo>
                    <a:cubicBezTo>
                      <a:pt x="285" y="46"/>
                      <a:pt x="285" y="46"/>
                      <a:pt x="285" y="46"/>
                    </a:cubicBezTo>
                    <a:cubicBezTo>
                      <a:pt x="297" y="31"/>
                      <a:pt x="297" y="31"/>
                      <a:pt x="297" y="31"/>
                    </a:cubicBezTo>
                    <a:lnTo>
                      <a:pt x="294" y="30"/>
                    </a:lnTo>
                    <a:close/>
                  </a:path>
                </a:pathLst>
              </a:custGeom>
              <a:solidFill>
                <a:srgbClr val="FDC795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50" name="Greece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5875338" y="5122863"/>
                <a:ext cx="1027112" cy="962025"/>
              </a:xfrm>
              <a:custGeom>
                <a:avLst/>
                <a:gdLst/>
                <a:ahLst/>
                <a:cxnLst>
                  <a:cxn ang="0">
                    <a:pos x="168" y="214"/>
                  </a:cxn>
                  <a:cxn ang="0">
                    <a:pos x="269" y="244"/>
                  </a:cxn>
                  <a:cxn ang="0">
                    <a:pos x="168" y="189"/>
                  </a:cxn>
                  <a:cxn ang="0">
                    <a:pos x="156" y="148"/>
                  </a:cxn>
                  <a:cxn ang="0">
                    <a:pos x="161" y="113"/>
                  </a:cxn>
                  <a:cxn ang="0">
                    <a:pos x="194" y="117"/>
                  </a:cxn>
                  <a:cxn ang="0">
                    <a:pos x="236" y="119"/>
                  </a:cxn>
                  <a:cxn ang="0">
                    <a:pos x="228" y="73"/>
                  </a:cxn>
                  <a:cxn ang="0">
                    <a:pos x="279" y="58"/>
                  </a:cxn>
                  <a:cxn ang="0">
                    <a:pos x="317" y="0"/>
                  </a:cxn>
                  <a:cxn ang="0">
                    <a:pos x="230" y="26"/>
                  </a:cxn>
                  <a:cxn ang="0">
                    <a:pos x="177" y="46"/>
                  </a:cxn>
                  <a:cxn ang="0">
                    <a:pos x="111" y="71"/>
                  </a:cxn>
                  <a:cxn ang="0">
                    <a:pos x="55" y="132"/>
                  </a:cxn>
                  <a:cxn ang="0">
                    <a:pos x="29" y="182"/>
                  </a:cxn>
                  <a:cxn ang="0">
                    <a:pos x="59" y="230"/>
                  </a:cxn>
                  <a:cxn ang="0">
                    <a:pos x="113" y="255"/>
                  </a:cxn>
                  <a:cxn ang="0">
                    <a:pos x="171" y="245"/>
                  </a:cxn>
                  <a:cxn ang="0">
                    <a:pos x="116" y="267"/>
                  </a:cxn>
                  <a:cxn ang="0">
                    <a:pos x="144" y="353"/>
                  </a:cxn>
                  <a:cxn ang="0">
                    <a:pos x="205" y="353"/>
                  </a:cxn>
                  <a:cxn ang="0">
                    <a:pos x="216" y="296"/>
                  </a:cxn>
                  <a:cxn ang="0">
                    <a:pos x="253" y="275"/>
                  </a:cxn>
                  <a:cxn ang="0">
                    <a:pos x="285" y="129"/>
                  </a:cxn>
                  <a:cxn ang="0">
                    <a:pos x="337" y="172"/>
                  </a:cxn>
                  <a:cxn ang="0">
                    <a:pos x="214" y="193"/>
                  </a:cxn>
                  <a:cxn ang="0">
                    <a:pos x="228" y="180"/>
                  </a:cxn>
                  <a:cxn ang="0">
                    <a:pos x="268" y="198"/>
                  </a:cxn>
                  <a:cxn ang="0">
                    <a:pos x="317" y="213"/>
                  </a:cxn>
                  <a:cxn ang="0">
                    <a:pos x="286" y="255"/>
                  </a:cxn>
                  <a:cxn ang="0">
                    <a:pos x="295" y="273"/>
                  </a:cxn>
                  <a:cxn ang="0">
                    <a:pos x="311" y="283"/>
                  </a:cxn>
                  <a:cxn ang="0">
                    <a:pos x="310" y="303"/>
                  </a:cxn>
                  <a:cxn ang="0">
                    <a:pos x="283" y="316"/>
                  </a:cxn>
                  <a:cxn ang="0">
                    <a:pos x="266" y="290"/>
                  </a:cxn>
                  <a:cxn ang="0">
                    <a:pos x="352" y="262"/>
                  </a:cxn>
                  <a:cxn ang="0">
                    <a:pos x="398" y="246"/>
                  </a:cxn>
                  <a:cxn ang="0">
                    <a:pos x="382" y="274"/>
                  </a:cxn>
                  <a:cxn ang="0">
                    <a:pos x="393" y="285"/>
                  </a:cxn>
                  <a:cxn ang="0">
                    <a:pos x="421" y="296"/>
                  </a:cxn>
                  <a:cxn ang="0">
                    <a:pos x="328" y="330"/>
                  </a:cxn>
                  <a:cxn ang="0">
                    <a:pos x="378" y="333"/>
                  </a:cxn>
                  <a:cxn ang="0">
                    <a:pos x="213" y="278"/>
                  </a:cxn>
                  <a:cxn ang="0">
                    <a:pos x="273" y="334"/>
                  </a:cxn>
                  <a:cxn ang="0">
                    <a:pos x="316" y="332"/>
                  </a:cxn>
                  <a:cxn ang="0">
                    <a:pos x="304" y="339"/>
                  </a:cxn>
                  <a:cxn ang="0">
                    <a:pos x="63" y="291"/>
                  </a:cxn>
                  <a:cxn ang="0">
                    <a:pos x="55" y="260"/>
                  </a:cxn>
                  <a:cxn ang="0">
                    <a:pos x="18" y="190"/>
                  </a:cxn>
                  <a:cxn ang="0">
                    <a:pos x="392" y="415"/>
                  </a:cxn>
                  <a:cxn ang="0">
                    <a:pos x="324" y="420"/>
                  </a:cxn>
                  <a:cxn ang="0">
                    <a:pos x="276" y="414"/>
                  </a:cxn>
                  <a:cxn ang="0">
                    <a:pos x="273" y="440"/>
                  </a:cxn>
                  <a:cxn ang="0">
                    <a:pos x="389" y="429"/>
                  </a:cxn>
                  <a:cxn ang="0">
                    <a:pos x="459" y="352"/>
                  </a:cxn>
                  <a:cxn ang="0">
                    <a:pos x="448" y="337"/>
                  </a:cxn>
                  <a:cxn ang="0">
                    <a:pos x="422" y="322"/>
                  </a:cxn>
                  <a:cxn ang="0">
                    <a:pos x="437" y="390"/>
                  </a:cxn>
                  <a:cxn ang="0">
                    <a:pos x="420" y="398"/>
                  </a:cxn>
                </a:cxnLst>
                <a:rect l="0" t="0" r="r" b="b"/>
                <a:pathLst>
                  <a:path w="482" h="452">
                    <a:moveTo>
                      <a:pt x="253" y="275"/>
                    </a:moveTo>
                    <a:cubicBezTo>
                      <a:pt x="253" y="275"/>
                      <a:pt x="245" y="270"/>
                      <a:pt x="243" y="261"/>
                    </a:cubicBezTo>
                    <a:cubicBezTo>
                      <a:pt x="241" y="254"/>
                      <a:pt x="243" y="248"/>
                      <a:pt x="243" y="244"/>
                    </a:cubicBezTo>
                    <a:cubicBezTo>
                      <a:pt x="243" y="240"/>
                      <a:pt x="223" y="239"/>
                      <a:pt x="219" y="239"/>
                    </a:cubicBezTo>
                    <a:cubicBezTo>
                      <a:pt x="214" y="238"/>
                      <a:pt x="214" y="232"/>
                      <a:pt x="214" y="232"/>
                    </a:cubicBezTo>
                    <a:cubicBezTo>
                      <a:pt x="214" y="232"/>
                      <a:pt x="210" y="235"/>
                      <a:pt x="207" y="232"/>
                    </a:cubicBezTo>
                    <a:cubicBezTo>
                      <a:pt x="204" y="231"/>
                      <a:pt x="193" y="222"/>
                      <a:pt x="193" y="222"/>
                    </a:cubicBezTo>
                    <a:cubicBezTo>
                      <a:pt x="193" y="222"/>
                      <a:pt x="190" y="226"/>
                      <a:pt x="189" y="226"/>
                    </a:cubicBezTo>
                    <a:cubicBezTo>
                      <a:pt x="187" y="226"/>
                      <a:pt x="185" y="220"/>
                      <a:pt x="185" y="220"/>
                    </a:cubicBezTo>
                    <a:cubicBezTo>
                      <a:pt x="169" y="219"/>
                      <a:pt x="169" y="219"/>
                      <a:pt x="169" y="219"/>
                    </a:cubicBezTo>
                    <a:cubicBezTo>
                      <a:pt x="168" y="214"/>
                      <a:pt x="168" y="214"/>
                      <a:pt x="168" y="214"/>
                    </a:cubicBezTo>
                    <a:cubicBezTo>
                      <a:pt x="168" y="214"/>
                      <a:pt x="160" y="217"/>
                      <a:pt x="160" y="213"/>
                    </a:cubicBezTo>
                    <a:cubicBezTo>
                      <a:pt x="160" y="209"/>
                      <a:pt x="174" y="211"/>
                      <a:pt x="174" y="211"/>
                    </a:cubicBezTo>
                    <a:cubicBezTo>
                      <a:pt x="174" y="211"/>
                      <a:pt x="184" y="211"/>
                      <a:pt x="193" y="213"/>
                    </a:cubicBezTo>
                    <a:cubicBezTo>
                      <a:pt x="203" y="216"/>
                      <a:pt x="210" y="224"/>
                      <a:pt x="210" y="224"/>
                    </a:cubicBezTo>
                    <a:cubicBezTo>
                      <a:pt x="216" y="225"/>
                      <a:pt x="216" y="225"/>
                      <a:pt x="216" y="225"/>
                    </a:cubicBezTo>
                    <a:cubicBezTo>
                      <a:pt x="216" y="225"/>
                      <a:pt x="217" y="232"/>
                      <a:pt x="219" y="235"/>
                    </a:cubicBezTo>
                    <a:cubicBezTo>
                      <a:pt x="221" y="237"/>
                      <a:pt x="225" y="235"/>
                      <a:pt x="227" y="235"/>
                    </a:cubicBezTo>
                    <a:cubicBezTo>
                      <a:pt x="229" y="235"/>
                      <a:pt x="238" y="235"/>
                      <a:pt x="244" y="239"/>
                    </a:cubicBezTo>
                    <a:cubicBezTo>
                      <a:pt x="251" y="244"/>
                      <a:pt x="258" y="258"/>
                      <a:pt x="258" y="258"/>
                    </a:cubicBezTo>
                    <a:cubicBezTo>
                      <a:pt x="258" y="258"/>
                      <a:pt x="267" y="259"/>
                      <a:pt x="269" y="257"/>
                    </a:cubicBezTo>
                    <a:cubicBezTo>
                      <a:pt x="271" y="256"/>
                      <a:pt x="269" y="244"/>
                      <a:pt x="269" y="244"/>
                    </a:cubicBezTo>
                    <a:cubicBezTo>
                      <a:pt x="269" y="244"/>
                      <a:pt x="257" y="246"/>
                      <a:pt x="253" y="239"/>
                    </a:cubicBezTo>
                    <a:cubicBezTo>
                      <a:pt x="247" y="231"/>
                      <a:pt x="249" y="224"/>
                      <a:pt x="249" y="224"/>
                    </a:cubicBezTo>
                    <a:cubicBezTo>
                      <a:pt x="242" y="222"/>
                      <a:pt x="242" y="222"/>
                      <a:pt x="242" y="222"/>
                    </a:cubicBezTo>
                    <a:cubicBezTo>
                      <a:pt x="240" y="214"/>
                      <a:pt x="240" y="214"/>
                      <a:pt x="240" y="214"/>
                    </a:cubicBezTo>
                    <a:cubicBezTo>
                      <a:pt x="240" y="214"/>
                      <a:pt x="236" y="216"/>
                      <a:pt x="229" y="216"/>
                    </a:cubicBezTo>
                    <a:cubicBezTo>
                      <a:pt x="222" y="216"/>
                      <a:pt x="220" y="212"/>
                      <a:pt x="220" y="212"/>
                    </a:cubicBezTo>
                    <a:cubicBezTo>
                      <a:pt x="217" y="214"/>
                      <a:pt x="217" y="214"/>
                      <a:pt x="217" y="214"/>
                    </a:cubicBezTo>
                    <a:cubicBezTo>
                      <a:pt x="204" y="207"/>
                      <a:pt x="204" y="207"/>
                      <a:pt x="204" y="207"/>
                    </a:cubicBezTo>
                    <a:cubicBezTo>
                      <a:pt x="204" y="207"/>
                      <a:pt x="200" y="197"/>
                      <a:pt x="196" y="196"/>
                    </a:cubicBezTo>
                    <a:cubicBezTo>
                      <a:pt x="192" y="195"/>
                      <a:pt x="185" y="201"/>
                      <a:pt x="180" y="200"/>
                    </a:cubicBezTo>
                    <a:cubicBezTo>
                      <a:pt x="176" y="199"/>
                      <a:pt x="169" y="192"/>
                      <a:pt x="168" y="189"/>
                    </a:cubicBezTo>
                    <a:cubicBezTo>
                      <a:pt x="167" y="185"/>
                      <a:pt x="174" y="184"/>
                      <a:pt x="174" y="184"/>
                    </a:cubicBezTo>
                    <a:cubicBezTo>
                      <a:pt x="173" y="182"/>
                      <a:pt x="173" y="182"/>
                      <a:pt x="173" y="182"/>
                    </a:cubicBezTo>
                    <a:cubicBezTo>
                      <a:pt x="173" y="182"/>
                      <a:pt x="184" y="181"/>
                      <a:pt x="187" y="186"/>
                    </a:cubicBezTo>
                    <a:cubicBezTo>
                      <a:pt x="191" y="192"/>
                      <a:pt x="182" y="193"/>
                      <a:pt x="182" y="193"/>
                    </a:cubicBezTo>
                    <a:cubicBezTo>
                      <a:pt x="184" y="197"/>
                      <a:pt x="184" y="197"/>
                      <a:pt x="184" y="197"/>
                    </a:cubicBezTo>
                    <a:cubicBezTo>
                      <a:pt x="193" y="193"/>
                      <a:pt x="193" y="193"/>
                      <a:pt x="193" y="193"/>
                    </a:cubicBezTo>
                    <a:cubicBezTo>
                      <a:pt x="193" y="184"/>
                      <a:pt x="193" y="184"/>
                      <a:pt x="193" y="184"/>
                    </a:cubicBezTo>
                    <a:cubicBezTo>
                      <a:pt x="179" y="169"/>
                      <a:pt x="179" y="169"/>
                      <a:pt x="179" y="169"/>
                    </a:cubicBezTo>
                    <a:cubicBezTo>
                      <a:pt x="170" y="166"/>
                      <a:pt x="170" y="166"/>
                      <a:pt x="170" y="166"/>
                    </a:cubicBezTo>
                    <a:cubicBezTo>
                      <a:pt x="170" y="166"/>
                      <a:pt x="167" y="159"/>
                      <a:pt x="167" y="154"/>
                    </a:cubicBezTo>
                    <a:cubicBezTo>
                      <a:pt x="167" y="149"/>
                      <a:pt x="156" y="148"/>
                      <a:pt x="156" y="148"/>
                    </a:cubicBezTo>
                    <a:cubicBezTo>
                      <a:pt x="156" y="143"/>
                      <a:pt x="156" y="143"/>
                      <a:pt x="156" y="143"/>
                    </a:cubicBezTo>
                    <a:cubicBezTo>
                      <a:pt x="156" y="143"/>
                      <a:pt x="151" y="141"/>
                      <a:pt x="147" y="134"/>
                    </a:cubicBezTo>
                    <a:cubicBezTo>
                      <a:pt x="143" y="129"/>
                      <a:pt x="149" y="117"/>
                      <a:pt x="149" y="117"/>
                    </a:cubicBezTo>
                    <a:cubicBezTo>
                      <a:pt x="147" y="112"/>
                      <a:pt x="147" y="112"/>
                      <a:pt x="147" y="112"/>
                    </a:cubicBezTo>
                    <a:cubicBezTo>
                      <a:pt x="148" y="106"/>
                      <a:pt x="148" y="106"/>
                      <a:pt x="148" y="106"/>
                    </a:cubicBezTo>
                    <a:cubicBezTo>
                      <a:pt x="154" y="106"/>
                      <a:pt x="154" y="106"/>
                      <a:pt x="154" y="106"/>
                    </a:cubicBezTo>
                    <a:cubicBezTo>
                      <a:pt x="159" y="100"/>
                      <a:pt x="159" y="100"/>
                      <a:pt x="159" y="100"/>
                    </a:cubicBezTo>
                    <a:cubicBezTo>
                      <a:pt x="159" y="97"/>
                      <a:pt x="159" y="97"/>
                      <a:pt x="159" y="97"/>
                    </a:cubicBezTo>
                    <a:cubicBezTo>
                      <a:pt x="164" y="102"/>
                      <a:pt x="164" y="102"/>
                      <a:pt x="164" y="102"/>
                    </a:cubicBezTo>
                    <a:cubicBezTo>
                      <a:pt x="158" y="106"/>
                      <a:pt x="158" y="106"/>
                      <a:pt x="158" y="106"/>
                    </a:cubicBezTo>
                    <a:cubicBezTo>
                      <a:pt x="161" y="113"/>
                      <a:pt x="161" y="113"/>
                      <a:pt x="161" y="113"/>
                    </a:cubicBezTo>
                    <a:cubicBezTo>
                      <a:pt x="168" y="113"/>
                      <a:pt x="168" y="113"/>
                      <a:pt x="168" y="113"/>
                    </a:cubicBezTo>
                    <a:cubicBezTo>
                      <a:pt x="174" y="117"/>
                      <a:pt x="174" y="117"/>
                      <a:pt x="174" y="117"/>
                    </a:cubicBezTo>
                    <a:cubicBezTo>
                      <a:pt x="174" y="117"/>
                      <a:pt x="182" y="118"/>
                      <a:pt x="186" y="120"/>
                    </a:cubicBezTo>
                    <a:cubicBezTo>
                      <a:pt x="189" y="121"/>
                      <a:pt x="188" y="126"/>
                      <a:pt x="188" y="129"/>
                    </a:cubicBezTo>
                    <a:cubicBezTo>
                      <a:pt x="188" y="132"/>
                      <a:pt x="191" y="134"/>
                      <a:pt x="191" y="134"/>
                    </a:cubicBezTo>
                    <a:cubicBezTo>
                      <a:pt x="192" y="138"/>
                      <a:pt x="192" y="138"/>
                      <a:pt x="192" y="138"/>
                    </a:cubicBezTo>
                    <a:cubicBezTo>
                      <a:pt x="206" y="138"/>
                      <a:pt x="206" y="138"/>
                      <a:pt x="206" y="138"/>
                    </a:cubicBezTo>
                    <a:cubicBezTo>
                      <a:pt x="210" y="138"/>
                      <a:pt x="212" y="135"/>
                      <a:pt x="209" y="134"/>
                    </a:cubicBezTo>
                    <a:cubicBezTo>
                      <a:pt x="205" y="132"/>
                      <a:pt x="195" y="130"/>
                      <a:pt x="195" y="130"/>
                    </a:cubicBezTo>
                    <a:cubicBezTo>
                      <a:pt x="195" y="130"/>
                      <a:pt x="189" y="122"/>
                      <a:pt x="189" y="118"/>
                    </a:cubicBezTo>
                    <a:cubicBezTo>
                      <a:pt x="189" y="114"/>
                      <a:pt x="194" y="117"/>
                      <a:pt x="194" y="117"/>
                    </a:cubicBezTo>
                    <a:cubicBezTo>
                      <a:pt x="202" y="117"/>
                      <a:pt x="202" y="117"/>
                      <a:pt x="202" y="117"/>
                    </a:cubicBezTo>
                    <a:cubicBezTo>
                      <a:pt x="212" y="127"/>
                      <a:pt x="212" y="127"/>
                      <a:pt x="212" y="127"/>
                    </a:cubicBezTo>
                    <a:cubicBezTo>
                      <a:pt x="221" y="134"/>
                      <a:pt x="221" y="134"/>
                      <a:pt x="221" y="134"/>
                    </a:cubicBezTo>
                    <a:cubicBezTo>
                      <a:pt x="221" y="134"/>
                      <a:pt x="225" y="130"/>
                      <a:pt x="222" y="125"/>
                    </a:cubicBezTo>
                    <a:cubicBezTo>
                      <a:pt x="220" y="119"/>
                      <a:pt x="214" y="118"/>
                      <a:pt x="212" y="118"/>
                    </a:cubicBezTo>
                    <a:cubicBezTo>
                      <a:pt x="209" y="117"/>
                      <a:pt x="206" y="115"/>
                      <a:pt x="206" y="111"/>
                    </a:cubicBezTo>
                    <a:cubicBezTo>
                      <a:pt x="205" y="107"/>
                      <a:pt x="209" y="106"/>
                      <a:pt x="209" y="106"/>
                    </a:cubicBezTo>
                    <a:cubicBezTo>
                      <a:pt x="225" y="110"/>
                      <a:pt x="225" y="110"/>
                      <a:pt x="225" y="110"/>
                    </a:cubicBezTo>
                    <a:cubicBezTo>
                      <a:pt x="229" y="111"/>
                      <a:pt x="229" y="111"/>
                      <a:pt x="229" y="111"/>
                    </a:cubicBezTo>
                    <a:cubicBezTo>
                      <a:pt x="230" y="113"/>
                      <a:pt x="230" y="113"/>
                      <a:pt x="230" y="113"/>
                    </a:cubicBezTo>
                    <a:cubicBezTo>
                      <a:pt x="236" y="119"/>
                      <a:pt x="236" y="119"/>
                      <a:pt x="236" y="119"/>
                    </a:cubicBezTo>
                    <a:cubicBezTo>
                      <a:pt x="240" y="114"/>
                      <a:pt x="240" y="114"/>
                      <a:pt x="240" y="114"/>
                    </a:cubicBezTo>
                    <a:cubicBezTo>
                      <a:pt x="227" y="103"/>
                      <a:pt x="227" y="103"/>
                      <a:pt x="227" y="103"/>
                    </a:cubicBezTo>
                    <a:cubicBezTo>
                      <a:pt x="224" y="103"/>
                      <a:pt x="224" y="103"/>
                      <a:pt x="224" y="103"/>
                    </a:cubicBezTo>
                    <a:cubicBezTo>
                      <a:pt x="217" y="100"/>
                      <a:pt x="217" y="100"/>
                      <a:pt x="217" y="100"/>
                    </a:cubicBezTo>
                    <a:cubicBezTo>
                      <a:pt x="217" y="104"/>
                      <a:pt x="217" y="104"/>
                      <a:pt x="217" y="104"/>
                    </a:cubicBezTo>
                    <a:cubicBezTo>
                      <a:pt x="217" y="104"/>
                      <a:pt x="213" y="102"/>
                      <a:pt x="210" y="102"/>
                    </a:cubicBezTo>
                    <a:cubicBezTo>
                      <a:pt x="207" y="101"/>
                      <a:pt x="210" y="95"/>
                      <a:pt x="210" y="95"/>
                    </a:cubicBezTo>
                    <a:cubicBezTo>
                      <a:pt x="210" y="95"/>
                      <a:pt x="200" y="88"/>
                      <a:pt x="200" y="86"/>
                    </a:cubicBezTo>
                    <a:cubicBezTo>
                      <a:pt x="200" y="84"/>
                      <a:pt x="206" y="81"/>
                      <a:pt x="206" y="81"/>
                    </a:cubicBezTo>
                    <a:cubicBezTo>
                      <a:pt x="206" y="81"/>
                      <a:pt x="214" y="82"/>
                      <a:pt x="218" y="82"/>
                    </a:cubicBezTo>
                    <a:cubicBezTo>
                      <a:pt x="221" y="82"/>
                      <a:pt x="228" y="73"/>
                      <a:pt x="228" y="73"/>
                    </a:cubicBezTo>
                    <a:cubicBezTo>
                      <a:pt x="229" y="68"/>
                      <a:pt x="229" y="68"/>
                      <a:pt x="229" y="68"/>
                    </a:cubicBezTo>
                    <a:cubicBezTo>
                      <a:pt x="229" y="68"/>
                      <a:pt x="234" y="64"/>
                      <a:pt x="236" y="64"/>
                    </a:cubicBezTo>
                    <a:cubicBezTo>
                      <a:pt x="239" y="63"/>
                      <a:pt x="244" y="67"/>
                      <a:pt x="250" y="67"/>
                    </a:cubicBezTo>
                    <a:cubicBezTo>
                      <a:pt x="256" y="66"/>
                      <a:pt x="259" y="64"/>
                      <a:pt x="260" y="63"/>
                    </a:cubicBezTo>
                    <a:cubicBezTo>
                      <a:pt x="262" y="60"/>
                      <a:pt x="267" y="55"/>
                      <a:pt x="267" y="55"/>
                    </a:cubicBezTo>
                    <a:cubicBezTo>
                      <a:pt x="263" y="51"/>
                      <a:pt x="263" y="51"/>
                      <a:pt x="263" y="51"/>
                    </a:cubicBezTo>
                    <a:cubicBezTo>
                      <a:pt x="265" y="50"/>
                      <a:pt x="265" y="50"/>
                      <a:pt x="265" y="50"/>
                    </a:cubicBezTo>
                    <a:cubicBezTo>
                      <a:pt x="269" y="54"/>
                      <a:pt x="269" y="54"/>
                      <a:pt x="269" y="54"/>
                    </a:cubicBezTo>
                    <a:cubicBezTo>
                      <a:pt x="269" y="58"/>
                      <a:pt x="269" y="58"/>
                      <a:pt x="269" y="58"/>
                    </a:cubicBezTo>
                    <a:cubicBezTo>
                      <a:pt x="275" y="60"/>
                      <a:pt x="275" y="60"/>
                      <a:pt x="275" y="60"/>
                    </a:cubicBezTo>
                    <a:cubicBezTo>
                      <a:pt x="279" y="58"/>
                      <a:pt x="279" y="58"/>
                      <a:pt x="279" y="58"/>
                    </a:cubicBezTo>
                    <a:cubicBezTo>
                      <a:pt x="279" y="58"/>
                      <a:pt x="305" y="59"/>
                      <a:pt x="310" y="59"/>
                    </a:cubicBezTo>
                    <a:cubicBezTo>
                      <a:pt x="315" y="60"/>
                      <a:pt x="316" y="66"/>
                      <a:pt x="316" y="66"/>
                    </a:cubicBezTo>
                    <a:cubicBezTo>
                      <a:pt x="316" y="66"/>
                      <a:pt x="326" y="55"/>
                      <a:pt x="328" y="50"/>
                    </a:cubicBezTo>
                    <a:cubicBezTo>
                      <a:pt x="331" y="46"/>
                      <a:pt x="323" y="40"/>
                      <a:pt x="323" y="40"/>
                    </a:cubicBezTo>
                    <a:cubicBezTo>
                      <a:pt x="322" y="31"/>
                      <a:pt x="322" y="31"/>
                      <a:pt x="322" y="31"/>
                    </a:cubicBezTo>
                    <a:cubicBezTo>
                      <a:pt x="329" y="24"/>
                      <a:pt x="329" y="24"/>
                      <a:pt x="329" y="24"/>
                    </a:cubicBezTo>
                    <a:cubicBezTo>
                      <a:pt x="329" y="24"/>
                      <a:pt x="335" y="25"/>
                      <a:pt x="337" y="23"/>
                    </a:cubicBezTo>
                    <a:cubicBezTo>
                      <a:pt x="339" y="21"/>
                      <a:pt x="333" y="16"/>
                      <a:pt x="332" y="14"/>
                    </a:cubicBezTo>
                    <a:cubicBezTo>
                      <a:pt x="331" y="11"/>
                      <a:pt x="331" y="5"/>
                      <a:pt x="331" y="5"/>
                    </a:cubicBezTo>
                    <a:cubicBezTo>
                      <a:pt x="324" y="2"/>
                      <a:pt x="324" y="2"/>
                      <a:pt x="324" y="2"/>
                    </a:cubicBezTo>
                    <a:cubicBezTo>
                      <a:pt x="317" y="0"/>
                      <a:pt x="317" y="0"/>
                      <a:pt x="317" y="0"/>
                    </a:cubicBezTo>
                    <a:cubicBezTo>
                      <a:pt x="317" y="0"/>
                      <a:pt x="306" y="1"/>
                      <a:pt x="303" y="3"/>
                    </a:cubicBezTo>
                    <a:cubicBezTo>
                      <a:pt x="301" y="6"/>
                      <a:pt x="311" y="11"/>
                      <a:pt x="311" y="20"/>
                    </a:cubicBezTo>
                    <a:cubicBezTo>
                      <a:pt x="310" y="27"/>
                      <a:pt x="301" y="31"/>
                      <a:pt x="301" y="31"/>
                    </a:cubicBezTo>
                    <a:cubicBezTo>
                      <a:pt x="294" y="30"/>
                      <a:pt x="294" y="30"/>
                      <a:pt x="294" y="30"/>
                    </a:cubicBezTo>
                    <a:cubicBezTo>
                      <a:pt x="294" y="30"/>
                      <a:pt x="271" y="41"/>
                      <a:pt x="270" y="41"/>
                    </a:cubicBezTo>
                    <a:cubicBezTo>
                      <a:pt x="268" y="42"/>
                      <a:pt x="265" y="37"/>
                      <a:pt x="265" y="37"/>
                    </a:cubicBezTo>
                    <a:cubicBezTo>
                      <a:pt x="251" y="33"/>
                      <a:pt x="251" y="33"/>
                      <a:pt x="251" y="33"/>
                    </a:cubicBezTo>
                    <a:cubicBezTo>
                      <a:pt x="245" y="38"/>
                      <a:pt x="245" y="38"/>
                      <a:pt x="245" y="38"/>
                    </a:cubicBezTo>
                    <a:cubicBezTo>
                      <a:pt x="240" y="32"/>
                      <a:pt x="240" y="32"/>
                      <a:pt x="240" y="32"/>
                    </a:cubicBezTo>
                    <a:cubicBezTo>
                      <a:pt x="236" y="33"/>
                      <a:pt x="236" y="33"/>
                      <a:pt x="236" y="33"/>
                    </a:cubicBezTo>
                    <a:cubicBezTo>
                      <a:pt x="230" y="26"/>
                      <a:pt x="230" y="26"/>
                      <a:pt x="230" y="26"/>
                    </a:cubicBezTo>
                    <a:cubicBezTo>
                      <a:pt x="230" y="26"/>
                      <a:pt x="223" y="30"/>
                      <a:pt x="221" y="32"/>
                    </a:cubicBezTo>
                    <a:cubicBezTo>
                      <a:pt x="219" y="33"/>
                      <a:pt x="216" y="27"/>
                      <a:pt x="216" y="27"/>
                    </a:cubicBezTo>
                    <a:cubicBezTo>
                      <a:pt x="213" y="31"/>
                      <a:pt x="213" y="31"/>
                      <a:pt x="213" y="31"/>
                    </a:cubicBezTo>
                    <a:cubicBezTo>
                      <a:pt x="207" y="31"/>
                      <a:pt x="207" y="31"/>
                      <a:pt x="207" y="31"/>
                    </a:cubicBezTo>
                    <a:cubicBezTo>
                      <a:pt x="208" y="36"/>
                      <a:pt x="208" y="36"/>
                      <a:pt x="208" y="36"/>
                    </a:cubicBezTo>
                    <a:cubicBezTo>
                      <a:pt x="203" y="40"/>
                      <a:pt x="203" y="40"/>
                      <a:pt x="203" y="40"/>
                    </a:cubicBezTo>
                    <a:cubicBezTo>
                      <a:pt x="201" y="37"/>
                      <a:pt x="201" y="37"/>
                      <a:pt x="201" y="37"/>
                    </a:cubicBezTo>
                    <a:cubicBezTo>
                      <a:pt x="194" y="42"/>
                      <a:pt x="194" y="42"/>
                      <a:pt x="194" y="42"/>
                    </a:cubicBezTo>
                    <a:cubicBezTo>
                      <a:pt x="191" y="43"/>
                      <a:pt x="191" y="43"/>
                      <a:pt x="191" y="43"/>
                    </a:cubicBezTo>
                    <a:cubicBezTo>
                      <a:pt x="189" y="46"/>
                      <a:pt x="189" y="46"/>
                      <a:pt x="189" y="46"/>
                    </a:cubicBezTo>
                    <a:cubicBezTo>
                      <a:pt x="177" y="46"/>
                      <a:pt x="177" y="46"/>
                      <a:pt x="177" y="46"/>
                    </a:cubicBezTo>
                    <a:cubicBezTo>
                      <a:pt x="175" y="50"/>
                      <a:pt x="175" y="50"/>
                      <a:pt x="175" y="50"/>
                    </a:cubicBezTo>
                    <a:cubicBezTo>
                      <a:pt x="170" y="48"/>
                      <a:pt x="170" y="48"/>
                      <a:pt x="170" y="48"/>
                    </a:cubicBezTo>
                    <a:cubicBezTo>
                      <a:pt x="165" y="53"/>
                      <a:pt x="165" y="53"/>
                      <a:pt x="165" y="53"/>
                    </a:cubicBezTo>
                    <a:cubicBezTo>
                      <a:pt x="155" y="54"/>
                      <a:pt x="155" y="54"/>
                      <a:pt x="155" y="54"/>
                    </a:cubicBezTo>
                    <a:cubicBezTo>
                      <a:pt x="155" y="54"/>
                      <a:pt x="146" y="52"/>
                      <a:pt x="146" y="55"/>
                    </a:cubicBezTo>
                    <a:cubicBezTo>
                      <a:pt x="145" y="59"/>
                      <a:pt x="146" y="69"/>
                      <a:pt x="146" y="69"/>
                    </a:cubicBezTo>
                    <a:cubicBezTo>
                      <a:pt x="142" y="66"/>
                      <a:pt x="142" y="66"/>
                      <a:pt x="142" y="66"/>
                    </a:cubicBezTo>
                    <a:cubicBezTo>
                      <a:pt x="141" y="70"/>
                      <a:pt x="141" y="70"/>
                      <a:pt x="141" y="70"/>
                    </a:cubicBezTo>
                    <a:cubicBezTo>
                      <a:pt x="122" y="69"/>
                      <a:pt x="122" y="69"/>
                      <a:pt x="122" y="69"/>
                    </a:cubicBezTo>
                    <a:cubicBezTo>
                      <a:pt x="118" y="72"/>
                      <a:pt x="118" y="72"/>
                      <a:pt x="118" y="72"/>
                    </a:cubicBezTo>
                    <a:cubicBezTo>
                      <a:pt x="111" y="71"/>
                      <a:pt x="111" y="71"/>
                      <a:pt x="111" y="71"/>
                    </a:cubicBezTo>
                    <a:cubicBezTo>
                      <a:pt x="111" y="71"/>
                      <a:pt x="107" y="72"/>
                      <a:pt x="105" y="75"/>
                    </a:cubicBezTo>
                    <a:cubicBezTo>
                      <a:pt x="103" y="80"/>
                      <a:pt x="105" y="84"/>
                      <a:pt x="102" y="87"/>
                    </a:cubicBezTo>
                    <a:cubicBezTo>
                      <a:pt x="98" y="89"/>
                      <a:pt x="92" y="93"/>
                      <a:pt x="92" y="93"/>
                    </a:cubicBezTo>
                    <a:cubicBezTo>
                      <a:pt x="92" y="93"/>
                      <a:pt x="88" y="91"/>
                      <a:pt x="86" y="91"/>
                    </a:cubicBezTo>
                    <a:cubicBezTo>
                      <a:pt x="82" y="91"/>
                      <a:pt x="77" y="97"/>
                      <a:pt x="77" y="97"/>
                    </a:cubicBezTo>
                    <a:cubicBezTo>
                      <a:pt x="61" y="98"/>
                      <a:pt x="61" y="98"/>
                      <a:pt x="61" y="98"/>
                    </a:cubicBezTo>
                    <a:cubicBezTo>
                      <a:pt x="61" y="105"/>
                      <a:pt x="61" y="105"/>
                      <a:pt x="61" y="105"/>
                    </a:cubicBezTo>
                    <a:cubicBezTo>
                      <a:pt x="61" y="105"/>
                      <a:pt x="65" y="109"/>
                      <a:pt x="66" y="113"/>
                    </a:cubicBezTo>
                    <a:cubicBezTo>
                      <a:pt x="66" y="117"/>
                      <a:pt x="61" y="122"/>
                      <a:pt x="61" y="122"/>
                    </a:cubicBezTo>
                    <a:cubicBezTo>
                      <a:pt x="61" y="122"/>
                      <a:pt x="58" y="122"/>
                      <a:pt x="56" y="123"/>
                    </a:cubicBezTo>
                    <a:cubicBezTo>
                      <a:pt x="53" y="126"/>
                      <a:pt x="55" y="132"/>
                      <a:pt x="55" y="132"/>
                    </a:cubicBezTo>
                    <a:cubicBezTo>
                      <a:pt x="51" y="137"/>
                      <a:pt x="51" y="137"/>
                      <a:pt x="51" y="137"/>
                    </a:cubicBezTo>
                    <a:cubicBezTo>
                      <a:pt x="51" y="137"/>
                      <a:pt x="54" y="144"/>
                      <a:pt x="49" y="149"/>
                    </a:cubicBezTo>
                    <a:cubicBezTo>
                      <a:pt x="44" y="153"/>
                      <a:pt x="42" y="150"/>
                      <a:pt x="39" y="151"/>
                    </a:cubicBezTo>
                    <a:cubicBezTo>
                      <a:pt x="36" y="152"/>
                      <a:pt x="37" y="156"/>
                      <a:pt x="37" y="156"/>
                    </a:cubicBezTo>
                    <a:cubicBezTo>
                      <a:pt x="37" y="156"/>
                      <a:pt x="33" y="154"/>
                      <a:pt x="32" y="159"/>
                    </a:cubicBezTo>
                    <a:cubicBezTo>
                      <a:pt x="31" y="162"/>
                      <a:pt x="37" y="165"/>
                      <a:pt x="37" y="165"/>
                    </a:cubicBezTo>
                    <a:cubicBezTo>
                      <a:pt x="38" y="169"/>
                      <a:pt x="38" y="169"/>
                      <a:pt x="38" y="169"/>
                    </a:cubicBezTo>
                    <a:cubicBezTo>
                      <a:pt x="38" y="169"/>
                      <a:pt x="33" y="168"/>
                      <a:pt x="33" y="169"/>
                    </a:cubicBezTo>
                    <a:cubicBezTo>
                      <a:pt x="32" y="172"/>
                      <a:pt x="33" y="175"/>
                      <a:pt x="33" y="175"/>
                    </a:cubicBezTo>
                    <a:cubicBezTo>
                      <a:pt x="33" y="175"/>
                      <a:pt x="28" y="180"/>
                      <a:pt x="26" y="180"/>
                    </a:cubicBezTo>
                    <a:cubicBezTo>
                      <a:pt x="29" y="182"/>
                      <a:pt x="29" y="182"/>
                      <a:pt x="29" y="182"/>
                    </a:cubicBezTo>
                    <a:cubicBezTo>
                      <a:pt x="29" y="188"/>
                      <a:pt x="29" y="188"/>
                      <a:pt x="29" y="188"/>
                    </a:cubicBezTo>
                    <a:cubicBezTo>
                      <a:pt x="34" y="190"/>
                      <a:pt x="34" y="190"/>
                      <a:pt x="34" y="190"/>
                    </a:cubicBezTo>
                    <a:cubicBezTo>
                      <a:pt x="33" y="195"/>
                      <a:pt x="33" y="195"/>
                      <a:pt x="33" y="195"/>
                    </a:cubicBezTo>
                    <a:cubicBezTo>
                      <a:pt x="40" y="204"/>
                      <a:pt x="40" y="204"/>
                      <a:pt x="40" y="204"/>
                    </a:cubicBezTo>
                    <a:cubicBezTo>
                      <a:pt x="48" y="205"/>
                      <a:pt x="48" y="205"/>
                      <a:pt x="48" y="205"/>
                    </a:cubicBezTo>
                    <a:cubicBezTo>
                      <a:pt x="63" y="222"/>
                      <a:pt x="63" y="222"/>
                      <a:pt x="63" y="222"/>
                    </a:cubicBezTo>
                    <a:cubicBezTo>
                      <a:pt x="70" y="215"/>
                      <a:pt x="70" y="215"/>
                      <a:pt x="70" y="215"/>
                    </a:cubicBezTo>
                    <a:cubicBezTo>
                      <a:pt x="85" y="216"/>
                      <a:pt x="85" y="216"/>
                      <a:pt x="85" y="216"/>
                    </a:cubicBezTo>
                    <a:cubicBezTo>
                      <a:pt x="87" y="223"/>
                      <a:pt x="87" y="223"/>
                      <a:pt x="87" y="223"/>
                    </a:cubicBezTo>
                    <a:cubicBezTo>
                      <a:pt x="73" y="220"/>
                      <a:pt x="73" y="220"/>
                      <a:pt x="73" y="220"/>
                    </a:cubicBezTo>
                    <a:cubicBezTo>
                      <a:pt x="73" y="220"/>
                      <a:pt x="63" y="226"/>
                      <a:pt x="59" y="230"/>
                    </a:cubicBezTo>
                    <a:cubicBezTo>
                      <a:pt x="55" y="235"/>
                      <a:pt x="54" y="244"/>
                      <a:pt x="57" y="246"/>
                    </a:cubicBezTo>
                    <a:cubicBezTo>
                      <a:pt x="61" y="249"/>
                      <a:pt x="64" y="242"/>
                      <a:pt x="65" y="238"/>
                    </a:cubicBezTo>
                    <a:cubicBezTo>
                      <a:pt x="67" y="233"/>
                      <a:pt x="71" y="232"/>
                      <a:pt x="71" y="232"/>
                    </a:cubicBezTo>
                    <a:cubicBezTo>
                      <a:pt x="75" y="238"/>
                      <a:pt x="75" y="238"/>
                      <a:pt x="75" y="238"/>
                    </a:cubicBezTo>
                    <a:cubicBezTo>
                      <a:pt x="74" y="246"/>
                      <a:pt x="74" y="246"/>
                      <a:pt x="74" y="246"/>
                    </a:cubicBezTo>
                    <a:cubicBezTo>
                      <a:pt x="80" y="243"/>
                      <a:pt x="80" y="243"/>
                      <a:pt x="80" y="243"/>
                    </a:cubicBezTo>
                    <a:cubicBezTo>
                      <a:pt x="85" y="248"/>
                      <a:pt x="85" y="248"/>
                      <a:pt x="85" y="248"/>
                    </a:cubicBezTo>
                    <a:cubicBezTo>
                      <a:pt x="85" y="248"/>
                      <a:pt x="80" y="258"/>
                      <a:pt x="89" y="259"/>
                    </a:cubicBezTo>
                    <a:cubicBezTo>
                      <a:pt x="97" y="261"/>
                      <a:pt x="98" y="249"/>
                      <a:pt x="98" y="249"/>
                    </a:cubicBezTo>
                    <a:cubicBezTo>
                      <a:pt x="108" y="260"/>
                      <a:pt x="108" y="260"/>
                      <a:pt x="108" y="260"/>
                    </a:cubicBezTo>
                    <a:cubicBezTo>
                      <a:pt x="108" y="260"/>
                      <a:pt x="111" y="257"/>
                      <a:pt x="113" y="255"/>
                    </a:cubicBezTo>
                    <a:cubicBezTo>
                      <a:pt x="116" y="254"/>
                      <a:pt x="121" y="255"/>
                      <a:pt x="121" y="255"/>
                    </a:cubicBezTo>
                    <a:cubicBezTo>
                      <a:pt x="121" y="255"/>
                      <a:pt x="125" y="248"/>
                      <a:pt x="129" y="248"/>
                    </a:cubicBezTo>
                    <a:cubicBezTo>
                      <a:pt x="134" y="248"/>
                      <a:pt x="144" y="251"/>
                      <a:pt x="144" y="251"/>
                    </a:cubicBezTo>
                    <a:cubicBezTo>
                      <a:pt x="146" y="249"/>
                      <a:pt x="146" y="249"/>
                      <a:pt x="146" y="249"/>
                    </a:cubicBezTo>
                    <a:cubicBezTo>
                      <a:pt x="156" y="251"/>
                      <a:pt x="156" y="251"/>
                      <a:pt x="156" y="251"/>
                    </a:cubicBezTo>
                    <a:cubicBezTo>
                      <a:pt x="153" y="245"/>
                      <a:pt x="153" y="245"/>
                      <a:pt x="153" y="245"/>
                    </a:cubicBezTo>
                    <a:cubicBezTo>
                      <a:pt x="155" y="243"/>
                      <a:pt x="155" y="243"/>
                      <a:pt x="155" y="243"/>
                    </a:cubicBezTo>
                    <a:cubicBezTo>
                      <a:pt x="162" y="247"/>
                      <a:pt x="162" y="247"/>
                      <a:pt x="162" y="247"/>
                    </a:cubicBezTo>
                    <a:cubicBezTo>
                      <a:pt x="161" y="252"/>
                      <a:pt x="161" y="252"/>
                      <a:pt x="161" y="252"/>
                    </a:cubicBezTo>
                    <a:cubicBezTo>
                      <a:pt x="164" y="252"/>
                      <a:pt x="164" y="252"/>
                      <a:pt x="164" y="252"/>
                    </a:cubicBezTo>
                    <a:cubicBezTo>
                      <a:pt x="171" y="245"/>
                      <a:pt x="171" y="245"/>
                      <a:pt x="171" y="245"/>
                    </a:cubicBezTo>
                    <a:cubicBezTo>
                      <a:pt x="177" y="254"/>
                      <a:pt x="177" y="254"/>
                      <a:pt x="177" y="254"/>
                    </a:cubicBezTo>
                    <a:cubicBezTo>
                      <a:pt x="177" y="254"/>
                      <a:pt x="192" y="253"/>
                      <a:pt x="197" y="255"/>
                    </a:cubicBezTo>
                    <a:cubicBezTo>
                      <a:pt x="203" y="257"/>
                      <a:pt x="191" y="262"/>
                      <a:pt x="191" y="262"/>
                    </a:cubicBezTo>
                    <a:cubicBezTo>
                      <a:pt x="187" y="262"/>
                      <a:pt x="187" y="262"/>
                      <a:pt x="187" y="262"/>
                    </a:cubicBezTo>
                    <a:cubicBezTo>
                      <a:pt x="182" y="268"/>
                      <a:pt x="182" y="268"/>
                      <a:pt x="182" y="268"/>
                    </a:cubicBezTo>
                    <a:cubicBezTo>
                      <a:pt x="186" y="270"/>
                      <a:pt x="186" y="270"/>
                      <a:pt x="186" y="270"/>
                    </a:cubicBezTo>
                    <a:cubicBezTo>
                      <a:pt x="184" y="273"/>
                      <a:pt x="184" y="273"/>
                      <a:pt x="184" y="273"/>
                    </a:cubicBezTo>
                    <a:cubicBezTo>
                      <a:pt x="184" y="273"/>
                      <a:pt x="172" y="263"/>
                      <a:pt x="167" y="263"/>
                    </a:cubicBezTo>
                    <a:cubicBezTo>
                      <a:pt x="162" y="262"/>
                      <a:pt x="146" y="260"/>
                      <a:pt x="146" y="260"/>
                    </a:cubicBezTo>
                    <a:cubicBezTo>
                      <a:pt x="146" y="260"/>
                      <a:pt x="136" y="255"/>
                      <a:pt x="129" y="255"/>
                    </a:cubicBezTo>
                    <a:cubicBezTo>
                      <a:pt x="122" y="254"/>
                      <a:pt x="116" y="267"/>
                      <a:pt x="116" y="267"/>
                    </a:cubicBezTo>
                    <a:cubicBezTo>
                      <a:pt x="102" y="267"/>
                      <a:pt x="102" y="267"/>
                      <a:pt x="102" y="267"/>
                    </a:cubicBezTo>
                    <a:cubicBezTo>
                      <a:pt x="100" y="279"/>
                      <a:pt x="100" y="279"/>
                      <a:pt x="100" y="279"/>
                    </a:cubicBezTo>
                    <a:cubicBezTo>
                      <a:pt x="100" y="279"/>
                      <a:pt x="91" y="284"/>
                      <a:pt x="91" y="290"/>
                    </a:cubicBezTo>
                    <a:cubicBezTo>
                      <a:pt x="91" y="296"/>
                      <a:pt x="100" y="294"/>
                      <a:pt x="100" y="294"/>
                    </a:cubicBezTo>
                    <a:cubicBezTo>
                      <a:pt x="104" y="303"/>
                      <a:pt x="104" y="303"/>
                      <a:pt x="104" y="303"/>
                    </a:cubicBezTo>
                    <a:cubicBezTo>
                      <a:pt x="104" y="303"/>
                      <a:pt x="114" y="304"/>
                      <a:pt x="122" y="311"/>
                    </a:cubicBezTo>
                    <a:cubicBezTo>
                      <a:pt x="130" y="319"/>
                      <a:pt x="122" y="326"/>
                      <a:pt x="120" y="334"/>
                    </a:cubicBezTo>
                    <a:cubicBezTo>
                      <a:pt x="119" y="340"/>
                      <a:pt x="129" y="346"/>
                      <a:pt x="129" y="346"/>
                    </a:cubicBezTo>
                    <a:cubicBezTo>
                      <a:pt x="129" y="350"/>
                      <a:pt x="129" y="350"/>
                      <a:pt x="129" y="350"/>
                    </a:cubicBezTo>
                    <a:cubicBezTo>
                      <a:pt x="140" y="356"/>
                      <a:pt x="140" y="356"/>
                      <a:pt x="140" y="356"/>
                    </a:cubicBezTo>
                    <a:cubicBezTo>
                      <a:pt x="144" y="353"/>
                      <a:pt x="144" y="353"/>
                      <a:pt x="144" y="353"/>
                    </a:cubicBezTo>
                    <a:cubicBezTo>
                      <a:pt x="144" y="353"/>
                      <a:pt x="141" y="349"/>
                      <a:pt x="144" y="341"/>
                    </a:cubicBezTo>
                    <a:cubicBezTo>
                      <a:pt x="146" y="333"/>
                      <a:pt x="155" y="339"/>
                      <a:pt x="155" y="339"/>
                    </a:cubicBezTo>
                    <a:cubicBezTo>
                      <a:pt x="155" y="345"/>
                      <a:pt x="155" y="345"/>
                      <a:pt x="155" y="345"/>
                    </a:cubicBezTo>
                    <a:cubicBezTo>
                      <a:pt x="155" y="345"/>
                      <a:pt x="160" y="347"/>
                      <a:pt x="165" y="353"/>
                    </a:cubicBezTo>
                    <a:cubicBezTo>
                      <a:pt x="171" y="358"/>
                      <a:pt x="168" y="369"/>
                      <a:pt x="168" y="369"/>
                    </a:cubicBezTo>
                    <a:cubicBezTo>
                      <a:pt x="176" y="374"/>
                      <a:pt x="176" y="374"/>
                      <a:pt x="176" y="374"/>
                    </a:cubicBezTo>
                    <a:cubicBezTo>
                      <a:pt x="176" y="374"/>
                      <a:pt x="173" y="353"/>
                      <a:pt x="181" y="347"/>
                    </a:cubicBezTo>
                    <a:cubicBezTo>
                      <a:pt x="190" y="340"/>
                      <a:pt x="191" y="353"/>
                      <a:pt x="191" y="353"/>
                    </a:cubicBezTo>
                    <a:cubicBezTo>
                      <a:pt x="210" y="368"/>
                      <a:pt x="210" y="368"/>
                      <a:pt x="210" y="368"/>
                    </a:cubicBezTo>
                    <a:cubicBezTo>
                      <a:pt x="213" y="366"/>
                      <a:pt x="213" y="366"/>
                      <a:pt x="213" y="366"/>
                    </a:cubicBezTo>
                    <a:cubicBezTo>
                      <a:pt x="205" y="353"/>
                      <a:pt x="205" y="353"/>
                      <a:pt x="205" y="353"/>
                    </a:cubicBezTo>
                    <a:cubicBezTo>
                      <a:pt x="205" y="346"/>
                      <a:pt x="205" y="346"/>
                      <a:pt x="205" y="346"/>
                    </a:cubicBezTo>
                    <a:cubicBezTo>
                      <a:pt x="192" y="325"/>
                      <a:pt x="192" y="325"/>
                      <a:pt x="192" y="325"/>
                    </a:cubicBezTo>
                    <a:cubicBezTo>
                      <a:pt x="191" y="317"/>
                      <a:pt x="191" y="317"/>
                      <a:pt x="191" y="317"/>
                    </a:cubicBezTo>
                    <a:cubicBezTo>
                      <a:pt x="179" y="299"/>
                      <a:pt x="179" y="299"/>
                      <a:pt x="179" y="299"/>
                    </a:cubicBezTo>
                    <a:cubicBezTo>
                      <a:pt x="200" y="303"/>
                      <a:pt x="200" y="303"/>
                      <a:pt x="200" y="303"/>
                    </a:cubicBezTo>
                    <a:cubicBezTo>
                      <a:pt x="197" y="309"/>
                      <a:pt x="197" y="309"/>
                      <a:pt x="197" y="309"/>
                    </a:cubicBezTo>
                    <a:cubicBezTo>
                      <a:pt x="206" y="311"/>
                      <a:pt x="206" y="311"/>
                      <a:pt x="206" y="311"/>
                    </a:cubicBezTo>
                    <a:cubicBezTo>
                      <a:pt x="211" y="303"/>
                      <a:pt x="211" y="303"/>
                      <a:pt x="211" y="303"/>
                    </a:cubicBezTo>
                    <a:cubicBezTo>
                      <a:pt x="216" y="304"/>
                      <a:pt x="216" y="304"/>
                      <a:pt x="216" y="304"/>
                    </a:cubicBezTo>
                    <a:cubicBezTo>
                      <a:pt x="221" y="296"/>
                      <a:pt x="221" y="296"/>
                      <a:pt x="221" y="296"/>
                    </a:cubicBezTo>
                    <a:cubicBezTo>
                      <a:pt x="216" y="296"/>
                      <a:pt x="216" y="296"/>
                      <a:pt x="216" y="296"/>
                    </a:cubicBezTo>
                    <a:cubicBezTo>
                      <a:pt x="211" y="287"/>
                      <a:pt x="211" y="287"/>
                      <a:pt x="211" y="287"/>
                    </a:cubicBezTo>
                    <a:cubicBezTo>
                      <a:pt x="211" y="287"/>
                      <a:pt x="205" y="291"/>
                      <a:pt x="202" y="289"/>
                    </a:cubicBezTo>
                    <a:cubicBezTo>
                      <a:pt x="197" y="286"/>
                      <a:pt x="202" y="284"/>
                      <a:pt x="202" y="280"/>
                    </a:cubicBezTo>
                    <a:cubicBezTo>
                      <a:pt x="202" y="276"/>
                      <a:pt x="194" y="277"/>
                      <a:pt x="192" y="275"/>
                    </a:cubicBezTo>
                    <a:cubicBezTo>
                      <a:pt x="190" y="274"/>
                      <a:pt x="196" y="272"/>
                      <a:pt x="196" y="272"/>
                    </a:cubicBezTo>
                    <a:cubicBezTo>
                      <a:pt x="208" y="267"/>
                      <a:pt x="208" y="267"/>
                      <a:pt x="208" y="267"/>
                    </a:cubicBezTo>
                    <a:cubicBezTo>
                      <a:pt x="219" y="260"/>
                      <a:pt x="219" y="260"/>
                      <a:pt x="219" y="260"/>
                    </a:cubicBezTo>
                    <a:cubicBezTo>
                      <a:pt x="220" y="265"/>
                      <a:pt x="220" y="265"/>
                      <a:pt x="220" y="265"/>
                    </a:cubicBezTo>
                    <a:cubicBezTo>
                      <a:pt x="226" y="265"/>
                      <a:pt x="226" y="265"/>
                      <a:pt x="226" y="265"/>
                    </a:cubicBezTo>
                    <a:cubicBezTo>
                      <a:pt x="226" y="265"/>
                      <a:pt x="239" y="279"/>
                      <a:pt x="245" y="282"/>
                    </a:cubicBezTo>
                    <a:cubicBezTo>
                      <a:pt x="251" y="284"/>
                      <a:pt x="253" y="275"/>
                      <a:pt x="253" y="275"/>
                    </a:cubicBezTo>
                    <a:close/>
                    <a:moveTo>
                      <a:pt x="247" y="72"/>
                    </a:moveTo>
                    <a:cubicBezTo>
                      <a:pt x="234" y="72"/>
                      <a:pt x="238" y="86"/>
                      <a:pt x="247" y="87"/>
                    </a:cubicBezTo>
                    <a:cubicBezTo>
                      <a:pt x="258" y="88"/>
                      <a:pt x="262" y="72"/>
                      <a:pt x="247" y="72"/>
                    </a:cubicBezTo>
                    <a:close/>
                    <a:moveTo>
                      <a:pt x="288" y="89"/>
                    </a:moveTo>
                    <a:cubicBezTo>
                      <a:pt x="288" y="89"/>
                      <a:pt x="293" y="91"/>
                      <a:pt x="296" y="94"/>
                    </a:cubicBezTo>
                    <a:cubicBezTo>
                      <a:pt x="300" y="96"/>
                      <a:pt x="303" y="89"/>
                      <a:pt x="298" y="84"/>
                    </a:cubicBezTo>
                    <a:cubicBezTo>
                      <a:pt x="292" y="79"/>
                      <a:pt x="288" y="89"/>
                      <a:pt x="288" y="89"/>
                    </a:cubicBezTo>
                    <a:close/>
                    <a:moveTo>
                      <a:pt x="274" y="125"/>
                    </a:moveTo>
                    <a:cubicBezTo>
                      <a:pt x="276" y="133"/>
                      <a:pt x="276" y="133"/>
                      <a:pt x="276" y="133"/>
                    </a:cubicBezTo>
                    <a:cubicBezTo>
                      <a:pt x="285" y="134"/>
                      <a:pt x="285" y="134"/>
                      <a:pt x="285" y="134"/>
                    </a:cubicBezTo>
                    <a:cubicBezTo>
                      <a:pt x="285" y="129"/>
                      <a:pt x="285" y="129"/>
                      <a:pt x="285" y="129"/>
                    </a:cubicBezTo>
                    <a:cubicBezTo>
                      <a:pt x="285" y="129"/>
                      <a:pt x="288" y="134"/>
                      <a:pt x="291" y="134"/>
                    </a:cubicBezTo>
                    <a:cubicBezTo>
                      <a:pt x="294" y="135"/>
                      <a:pt x="290" y="127"/>
                      <a:pt x="290" y="127"/>
                    </a:cubicBezTo>
                    <a:cubicBezTo>
                      <a:pt x="293" y="116"/>
                      <a:pt x="293" y="116"/>
                      <a:pt x="293" y="116"/>
                    </a:cubicBezTo>
                    <a:cubicBezTo>
                      <a:pt x="291" y="116"/>
                      <a:pt x="291" y="116"/>
                      <a:pt x="291" y="116"/>
                    </a:cubicBezTo>
                    <a:cubicBezTo>
                      <a:pt x="287" y="122"/>
                      <a:pt x="287" y="122"/>
                      <a:pt x="287" y="122"/>
                    </a:cubicBezTo>
                    <a:cubicBezTo>
                      <a:pt x="287" y="122"/>
                      <a:pt x="278" y="118"/>
                      <a:pt x="274" y="125"/>
                    </a:cubicBezTo>
                    <a:close/>
                    <a:moveTo>
                      <a:pt x="322" y="160"/>
                    </a:moveTo>
                    <a:cubicBezTo>
                      <a:pt x="322" y="168"/>
                      <a:pt x="322" y="168"/>
                      <a:pt x="322" y="168"/>
                    </a:cubicBezTo>
                    <a:cubicBezTo>
                      <a:pt x="334" y="173"/>
                      <a:pt x="334" y="173"/>
                      <a:pt x="334" y="173"/>
                    </a:cubicBezTo>
                    <a:cubicBezTo>
                      <a:pt x="339" y="168"/>
                      <a:pt x="339" y="168"/>
                      <a:pt x="339" y="168"/>
                    </a:cubicBezTo>
                    <a:cubicBezTo>
                      <a:pt x="337" y="172"/>
                      <a:pt x="337" y="172"/>
                      <a:pt x="337" y="172"/>
                    </a:cubicBezTo>
                    <a:cubicBezTo>
                      <a:pt x="340" y="177"/>
                      <a:pt x="340" y="177"/>
                      <a:pt x="340" y="177"/>
                    </a:cubicBezTo>
                    <a:cubicBezTo>
                      <a:pt x="353" y="176"/>
                      <a:pt x="353" y="176"/>
                      <a:pt x="353" y="176"/>
                    </a:cubicBezTo>
                    <a:cubicBezTo>
                      <a:pt x="353" y="176"/>
                      <a:pt x="361" y="172"/>
                      <a:pt x="361" y="166"/>
                    </a:cubicBezTo>
                    <a:cubicBezTo>
                      <a:pt x="361" y="161"/>
                      <a:pt x="350" y="157"/>
                      <a:pt x="350" y="157"/>
                    </a:cubicBezTo>
                    <a:cubicBezTo>
                      <a:pt x="350" y="157"/>
                      <a:pt x="348" y="150"/>
                      <a:pt x="343" y="151"/>
                    </a:cubicBezTo>
                    <a:cubicBezTo>
                      <a:pt x="338" y="152"/>
                      <a:pt x="336" y="157"/>
                      <a:pt x="336" y="157"/>
                    </a:cubicBezTo>
                    <a:lnTo>
                      <a:pt x="322" y="160"/>
                    </a:lnTo>
                    <a:close/>
                    <a:moveTo>
                      <a:pt x="274" y="154"/>
                    </a:moveTo>
                    <a:cubicBezTo>
                      <a:pt x="274" y="162"/>
                      <a:pt x="277" y="161"/>
                      <a:pt x="279" y="156"/>
                    </a:cubicBezTo>
                    <a:cubicBezTo>
                      <a:pt x="280" y="149"/>
                      <a:pt x="275" y="149"/>
                      <a:pt x="274" y="154"/>
                    </a:cubicBezTo>
                    <a:close/>
                    <a:moveTo>
                      <a:pt x="214" y="193"/>
                    </a:moveTo>
                    <a:cubicBezTo>
                      <a:pt x="221" y="191"/>
                      <a:pt x="221" y="191"/>
                      <a:pt x="221" y="191"/>
                    </a:cubicBezTo>
                    <a:cubicBezTo>
                      <a:pt x="208" y="184"/>
                      <a:pt x="208" y="184"/>
                      <a:pt x="208" y="184"/>
                    </a:cubicBezTo>
                    <a:lnTo>
                      <a:pt x="214" y="193"/>
                    </a:lnTo>
                    <a:close/>
                    <a:moveTo>
                      <a:pt x="202" y="191"/>
                    </a:moveTo>
                    <a:cubicBezTo>
                      <a:pt x="206" y="188"/>
                      <a:pt x="206" y="188"/>
                      <a:pt x="206" y="188"/>
                    </a:cubicBezTo>
                    <a:cubicBezTo>
                      <a:pt x="202" y="185"/>
                      <a:pt x="202" y="185"/>
                      <a:pt x="202" y="185"/>
                    </a:cubicBezTo>
                    <a:cubicBezTo>
                      <a:pt x="197" y="190"/>
                      <a:pt x="197" y="190"/>
                      <a:pt x="197" y="190"/>
                    </a:cubicBezTo>
                    <a:lnTo>
                      <a:pt x="202" y="191"/>
                    </a:lnTo>
                    <a:close/>
                    <a:moveTo>
                      <a:pt x="222" y="185"/>
                    </a:moveTo>
                    <a:cubicBezTo>
                      <a:pt x="225" y="186"/>
                      <a:pt x="225" y="186"/>
                      <a:pt x="225" y="186"/>
                    </a:cubicBezTo>
                    <a:cubicBezTo>
                      <a:pt x="228" y="180"/>
                      <a:pt x="228" y="180"/>
                      <a:pt x="228" y="180"/>
                    </a:cubicBezTo>
                    <a:cubicBezTo>
                      <a:pt x="224" y="179"/>
                      <a:pt x="224" y="179"/>
                      <a:pt x="224" y="179"/>
                    </a:cubicBezTo>
                    <a:lnTo>
                      <a:pt x="222" y="185"/>
                    </a:lnTo>
                    <a:close/>
                    <a:moveTo>
                      <a:pt x="236" y="193"/>
                    </a:moveTo>
                    <a:cubicBezTo>
                      <a:pt x="240" y="195"/>
                      <a:pt x="240" y="189"/>
                      <a:pt x="236" y="189"/>
                    </a:cubicBezTo>
                    <a:cubicBezTo>
                      <a:pt x="231" y="189"/>
                      <a:pt x="230" y="192"/>
                      <a:pt x="236" y="193"/>
                    </a:cubicBezTo>
                    <a:close/>
                    <a:moveTo>
                      <a:pt x="268" y="198"/>
                    </a:moveTo>
                    <a:cubicBezTo>
                      <a:pt x="262" y="200"/>
                      <a:pt x="262" y="200"/>
                      <a:pt x="262" y="200"/>
                    </a:cubicBezTo>
                    <a:cubicBezTo>
                      <a:pt x="255" y="191"/>
                      <a:pt x="255" y="191"/>
                      <a:pt x="255" y="191"/>
                    </a:cubicBezTo>
                    <a:cubicBezTo>
                      <a:pt x="252" y="198"/>
                      <a:pt x="252" y="198"/>
                      <a:pt x="252" y="198"/>
                    </a:cubicBezTo>
                    <a:cubicBezTo>
                      <a:pt x="260" y="206"/>
                      <a:pt x="260" y="206"/>
                      <a:pt x="260" y="206"/>
                    </a:cubicBezTo>
                    <a:lnTo>
                      <a:pt x="268" y="198"/>
                    </a:lnTo>
                    <a:close/>
                    <a:moveTo>
                      <a:pt x="350" y="220"/>
                    </a:moveTo>
                    <a:cubicBezTo>
                      <a:pt x="350" y="213"/>
                      <a:pt x="343" y="203"/>
                      <a:pt x="343" y="203"/>
                    </a:cubicBezTo>
                    <a:cubicBezTo>
                      <a:pt x="329" y="208"/>
                      <a:pt x="329" y="208"/>
                      <a:pt x="329" y="208"/>
                    </a:cubicBezTo>
                    <a:cubicBezTo>
                      <a:pt x="333" y="213"/>
                      <a:pt x="333" y="213"/>
                      <a:pt x="333" y="213"/>
                    </a:cubicBezTo>
                    <a:cubicBezTo>
                      <a:pt x="333" y="213"/>
                      <a:pt x="337" y="216"/>
                      <a:pt x="339" y="220"/>
                    </a:cubicBezTo>
                    <a:cubicBezTo>
                      <a:pt x="341" y="222"/>
                      <a:pt x="334" y="227"/>
                      <a:pt x="334" y="227"/>
                    </a:cubicBezTo>
                    <a:cubicBezTo>
                      <a:pt x="343" y="233"/>
                      <a:pt x="343" y="233"/>
                      <a:pt x="343" y="233"/>
                    </a:cubicBezTo>
                    <a:cubicBezTo>
                      <a:pt x="343" y="233"/>
                      <a:pt x="350" y="225"/>
                      <a:pt x="350" y="220"/>
                    </a:cubicBezTo>
                    <a:close/>
                    <a:moveTo>
                      <a:pt x="318" y="206"/>
                    </a:moveTo>
                    <a:cubicBezTo>
                      <a:pt x="315" y="207"/>
                      <a:pt x="315" y="207"/>
                      <a:pt x="315" y="207"/>
                    </a:cubicBezTo>
                    <a:cubicBezTo>
                      <a:pt x="317" y="213"/>
                      <a:pt x="317" y="213"/>
                      <a:pt x="317" y="213"/>
                    </a:cubicBezTo>
                    <a:cubicBezTo>
                      <a:pt x="319" y="211"/>
                      <a:pt x="319" y="211"/>
                      <a:pt x="319" y="211"/>
                    </a:cubicBezTo>
                    <a:lnTo>
                      <a:pt x="318" y="206"/>
                    </a:lnTo>
                    <a:close/>
                    <a:moveTo>
                      <a:pt x="355" y="207"/>
                    </a:moveTo>
                    <a:cubicBezTo>
                      <a:pt x="348" y="205"/>
                      <a:pt x="348" y="205"/>
                      <a:pt x="348" y="205"/>
                    </a:cubicBezTo>
                    <a:cubicBezTo>
                      <a:pt x="350" y="208"/>
                      <a:pt x="350" y="208"/>
                      <a:pt x="350" y="208"/>
                    </a:cubicBezTo>
                    <a:lnTo>
                      <a:pt x="355" y="207"/>
                    </a:lnTo>
                    <a:close/>
                    <a:moveTo>
                      <a:pt x="295" y="267"/>
                    </a:moveTo>
                    <a:cubicBezTo>
                      <a:pt x="292" y="263"/>
                      <a:pt x="292" y="263"/>
                      <a:pt x="292" y="263"/>
                    </a:cubicBezTo>
                    <a:cubicBezTo>
                      <a:pt x="294" y="262"/>
                      <a:pt x="294" y="262"/>
                      <a:pt x="294" y="262"/>
                    </a:cubicBezTo>
                    <a:cubicBezTo>
                      <a:pt x="290" y="255"/>
                      <a:pt x="290" y="255"/>
                      <a:pt x="290" y="255"/>
                    </a:cubicBezTo>
                    <a:cubicBezTo>
                      <a:pt x="286" y="255"/>
                      <a:pt x="286" y="255"/>
                      <a:pt x="286" y="255"/>
                    </a:cubicBezTo>
                    <a:cubicBezTo>
                      <a:pt x="282" y="249"/>
                      <a:pt x="282" y="249"/>
                      <a:pt x="282" y="249"/>
                    </a:cubicBezTo>
                    <a:cubicBezTo>
                      <a:pt x="276" y="257"/>
                      <a:pt x="276" y="257"/>
                      <a:pt x="276" y="257"/>
                    </a:cubicBezTo>
                    <a:cubicBezTo>
                      <a:pt x="292" y="271"/>
                      <a:pt x="292" y="271"/>
                      <a:pt x="292" y="271"/>
                    </a:cubicBezTo>
                    <a:lnTo>
                      <a:pt x="295" y="267"/>
                    </a:lnTo>
                    <a:close/>
                    <a:moveTo>
                      <a:pt x="295" y="273"/>
                    </a:moveTo>
                    <a:cubicBezTo>
                      <a:pt x="301" y="276"/>
                      <a:pt x="301" y="276"/>
                      <a:pt x="301" y="276"/>
                    </a:cubicBezTo>
                    <a:cubicBezTo>
                      <a:pt x="302" y="278"/>
                      <a:pt x="302" y="278"/>
                      <a:pt x="302" y="278"/>
                    </a:cubicBezTo>
                    <a:cubicBezTo>
                      <a:pt x="309" y="275"/>
                      <a:pt x="309" y="275"/>
                      <a:pt x="309" y="275"/>
                    </a:cubicBezTo>
                    <a:cubicBezTo>
                      <a:pt x="308" y="271"/>
                      <a:pt x="308" y="271"/>
                      <a:pt x="308" y="271"/>
                    </a:cubicBezTo>
                    <a:cubicBezTo>
                      <a:pt x="296" y="271"/>
                      <a:pt x="296" y="271"/>
                      <a:pt x="296" y="271"/>
                    </a:cubicBezTo>
                    <a:lnTo>
                      <a:pt x="295" y="273"/>
                    </a:lnTo>
                    <a:close/>
                    <a:moveTo>
                      <a:pt x="298" y="288"/>
                    </a:moveTo>
                    <a:cubicBezTo>
                      <a:pt x="293" y="282"/>
                      <a:pt x="293" y="282"/>
                      <a:pt x="293" y="282"/>
                    </a:cubicBezTo>
                    <a:cubicBezTo>
                      <a:pt x="291" y="282"/>
                      <a:pt x="291" y="282"/>
                      <a:pt x="291" y="282"/>
                    </a:cubicBezTo>
                    <a:cubicBezTo>
                      <a:pt x="291" y="290"/>
                      <a:pt x="291" y="290"/>
                      <a:pt x="291" y="290"/>
                    </a:cubicBezTo>
                    <a:lnTo>
                      <a:pt x="298" y="288"/>
                    </a:lnTo>
                    <a:close/>
                    <a:moveTo>
                      <a:pt x="284" y="273"/>
                    </a:moveTo>
                    <a:cubicBezTo>
                      <a:pt x="278" y="278"/>
                      <a:pt x="278" y="278"/>
                      <a:pt x="278" y="278"/>
                    </a:cubicBezTo>
                    <a:cubicBezTo>
                      <a:pt x="285" y="279"/>
                      <a:pt x="285" y="279"/>
                      <a:pt x="285" y="279"/>
                    </a:cubicBezTo>
                    <a:lnTo>
                      <a:pt x="284" y="273"/>
                    </a:lnTo>
                    <a:close/>
                    <a:moveTo>
                      <a:pt x="315" y="278"/>
                    </a:moveTo>
                    <a:cubicBezTo>
                      <a:pt x="311" y="283"/>
                      <a:pt x="311" y="283"/>
                      <a:pt x="311" y="283"/>
                    </a:cubicBezTo>
                    <a:cubicBezTo>
                      <a:pt x="316" y="283"/>
                      <a:pt x="316" y="283"/>
                      <a:pt x="316" y="283"/>
                    </a:cubicBezTo>
                    <a:cubicBezTo>
                      <a:pt x="322" y="278"/>
                      <a:pt x="322" y="278"/>
                      <a:pt x="322" y="278"/>
                    </a:cubicBezTo>
                    <a:lnTo>
                      <a:pt x="315" y="278"/>
                    </a:lnTo>
                    <a:close/>
                    <a:moveTo>
                      <a:pt x="322" y="310"/>
                    </a:moveTo>
                    <a:cubicBezTo>
                      <a:pt x="324" y="314"/>
                      <a:pt x="327" y="316"/>
                      <a:pt x="327" y="316"/>
                    </a:cubicBezTo>
                    <a:cubicBezTo>
                      <a:pt x="333" y="307"/>
                      <a:pt x="333" y="307"/>
                      <a:pt x="333" y="307"/>
                    </a:cubicBezTo>
                    <a:cubicBezTo>
                      <a:pt x="335" y="300"/>
                      <a:pt x="335" y="300"/>
                      <a:pt x="335" y="300"/>
                    </a:cubicBezTo>
                    <a:cubicBezTo>
                      <a:pt x="326" y="295"/>
                      <a:pt x="326" y="295"/>
                      <a:pt x="326" y="295"/>
                    </a:cubicBezTo>
                    <a:cubicBezTo>
                      <a:pt x="320" y="305"/>
                      <a:pt x="320" y="305"/>
                      <a:pt x="320" y="305"/>
                    </a:cubicBezTo>
                    <a:cubicBezTo>
                      <a:pt x="320" y="305"/>
                      <a:pt x="319" y="307"/>
                      <a:pt x="322" y="310"/>
                    </a:cubicBezTo>
                    <a:close/>
                    <a:moveTo>
                      <a:pt x="310" y="303"/>
                    </a:moveTo>
                    <a:cubicBezTo>
                      <a:pt x="310" y="303"/>
                      <a:pt x="308" y="305"/>
                      <a:pt x="308" y="307"/>
                    </a:cubicBezTo>
                    <a:cubicBezTo>
                      <a:pt x="307" y="310"/>
                      <a:pt x="310" y="316"/>
                      <a:pt x="312" y="314"/>
                    </a:cubicBezTo>
                    <a:cubicBezTo>
                      <a:pt x="316" y="310"/>
                      <a:pt x="317" y="303"/>
                      <a:pt x="317" y="303"/>
                    </a:cubicBezTo>
                    <a:lnTo>
                      <a:pt x="310" y="303"/>
                    </a:lnTo>
                    <a:close/>
                    <a:moveTo>
                      <a:pt x="306" y="309"/>
                    </a:moveTo>
                    <a:cubicBezTo>
                      <a:pt x="302" y="315"/>
                      <a:pt x="302" y="315"/>
                      <a:pt x="302" y="315"/>
                    </a:cubicBezTo>
                    <a:cubicBezTo>
                      <a:pt x="307" y="316"/>
                      <a:pt x="307" y="316"/>
                      <a:pt x="307" y="316"/>
                    </a:cubicBezTo>
                    <a:lnTo>
                      <a:pt x="306" y="309"/>
                    </a:lnTo>
                    <a:close/>
                    <a:moveTo>
                      <a:pt x="290" y="320"/>
                    </a:moveTo>
                    <a:cubicBezTo>
                      <a:pt x="290" y="320"/>
                      <a:pt x="290" y="318"/>
                      <a:pt x="288" y="316"/>
                    </a:cubicBezTo>
                    <a:cubicBezTo>
                      <a:pt x="285" y="314"/>
                      <a:pt x="283" y="316"/>
                      <a:pt x="283" y="316"/>
                    </a:cubicBezTo>
                    <a:cubicBezTo>
                      <a:pt x="288" y="323"/>
                      <a:pt x="288" y="323"/>
                      <a:pt x="288" y="323"/>
                    </a:cubicBezTo>
                    <a:lnTo>
                      <a:pt x="290" y="320"/>
                    </a:lnTo>
                    <a:close/>
                    <a:moveTo>
                      <a:pt x="271" y="311"/>
                    </a:moveTo>
                    <a:cubicBezTo>
                      <a:pt x="274" y="311"/>
                      <a:pt x="274" y="311"/>
                      <a:pt x="274" y="311"/>
                    </a:cubicBezTo>
                    <a:cubicBezTo>
                      <a:pt x="277" y="307"/>
                      <a:pt x="277" y="307"/>
                      <a:pt x="277" y="307"/>
                    </a:cubicBezTo>
                    <a:cubicBezTo>
                      <a:pt x="275" y="304"/>
                      <a:pt x="275" y="304"/>
                      <a:pt x="275" y="304"/>
                    </a:cubicBezTo>
                    <a:cubicBezTo>
                      <a:pt x="272" y="306"/>
                      <a:pt x="272" y="306"/>
                      <a:pt x="272" y="306"/>
                    </a:cubicBezTo>
                    <a:lnTo>
                      <a:pt x="271" y="311"/>
                    </a:lnTo>
                    <a:close/>
                    <a:moveTo>
                      <a:pt x="270" y="294"/>
                    </a:moveTo>
                    <a:cubicBezTo>
                      <a:pt x="271" y="290"/>
                      <a:pt x="270" y="288"/>
                      <a:pt x="270" y="288"/>
                    </a:cubicBezTo>
                    <a:cubicBezTo>
                      <a:pt x="266" y="290"/>
                      <a:pt x="266" y="290"/>
                      <a:pt x="266" y="290"/>
                    </a:cubicBezTo>
                    <a:cubicBezTo>
                      <a:pt x="266" y="296"/>
                      <a:pt x="266" y="296"/>
                      <a:pt x="266" y="296"/>
                    </a:cubicBezTo>
                    <a:cubicBezTo>
                      <a:pt x="267" y="301"/>
                      <a:pt x="267" y="301"/>
                      <a:pt x="267" y="301"/>
                    </a:cubicBezTo>
                    <a:cubicBezTo>
                      <a:pt x="267" y="301"/>
                      <a:pt x="270" y="300"/>
                      <a:pt x="270" y="294"/>
                    </a:cubicBezTo>
                    <a:close/>
                    <a:moveTo>
                      <a:pt x="260" y="275"/>
                    </a:moveTo>
                    <a:cubicBezTo>
                      <a:pt x="259" y="287"/>
                      <a:pt x="259" y="287"/>
                      <a:pt x="259" y="287"/>
                    </a:cubicBezTo>
                    <a:cubicBezTo>
                      <a:pt x="267" y="276"/>
                      <a:pt x="267" y="276"/>
                      <a:pt x="267" y="276"/>
                    </a:cubicBezTo>
                    <a:lnTo>
                      <a:pt x="260" y="275"/>
                    </a:lnTo>
                    <a:close/>
                    <a:moveTo>
                      <a:pt x="366" y="261"/>
                    </a:moveTo>
                    <a:cubicBezTo>
                      <a:pt x="367" y="258"/>
                      <a:pt x="367" y="258"/>
                      <a:pt x="367" y="258"/>
                    </a:cubicBezTo>
                    <a:cubicBezTo>
                      <a:pt x="359" y="262"/>
                      <a:pt x="359" y="262"/>
                      <a:pt x="359" y="262"/>
                    </a:cubicBezTo>
                    <a:cubicBezTo>
                      <a:pt x="359" y="262"/>
                      <a:pt x="356" y="257"/>
                      <a:pt x="352" y="262"/>
                    </a:cubicBezTo>
                    <a:cubicBezTo>
                      <a:pt x="348" y="269"/>
                      <a:pt x="351" y="274"/>
                      <a:pt x="351" y="274"/>
                    </a:cubicBezTo>
                    <a:cubicBezTo>
                      <a:pt x="358" y="269"/>
                      <a:pt x="358" y="269"/>
                      <a:pt x="358" y="269"/>
                    </a:cubicBezTo>
                    <a:cubicBezTo>
                      <a:pt x="362" y="269"/>
                      <a:pt x="362" y="269"/>
                      <a:pt x="362" y="269"/>
                    </a:cubicBezTo>
                    <a:lnTo>
                      <a:pt x="366" y="261"/>
                    </a:lnTo>
                    <a:close/>
                    <a:moveTo>
                      <a:pt x="381" y="255"/>
                    </a:moveTo>
                    <a:cubicBezTo>
                      <a:pt x="384" y="253"/>
                      <a:pt x="384" y="253"/>
                      <a:pt x="384" y="253"/>
                    </a:cubicBezTo>
                    <a:cubicBezTo>
                      <a:pt x="384" y="253"/>
                      <a:pt x="390" y="258"/>
                      <a:pt x="393" y="257"/>
                    </a:cubicBezTo>
                    <a:cubicBezTo>
                      <a:pt x="396" y="256"/>
                      <a:pt x="401" y="249"/>
                      <a:pt x="401" y="249"/>
                    </a:cubicBezTo>
                    <a:cubicBezTo>
                      <a:pt x="402" y="244"/>
                      <a:pt x="402" y="244"/>
                      <a:pt x="402" y="244"/>
                    </a:cubicBezTo>
                    <a:cubicBezTo>
                      <a:pt x="398" y="244"/>
                      <a:pt x="398" y="244"/>
                      <a:pt x="398" y="244"/>
                    </a:cubicBezTo>
                    <a:cubicBezTo>
                      <a:pt x="398" y="246"/>
                      <a:pt x="398" y="246"/>
                      <a:pt x="398" y="246"/>
                    </a:cubicBezTo>
                    <a:cubicBezTo>
                      <a:pt x="398" y="246"/>
                      <a:pt x="393" y="242"/>
                      <a:pt x="387" y="245"/>
                    </a:cubicBezTo>
                    <a:cubicBezTo>
                      <a:pt x="381" y="248"/>
                      <a:pt x="376" y="252"/>
                      <a:pt x="376" y="252"/>
                    </a:cubicBezTo>
                    <a:cubicBezTo>
                      <a:pt x="377" y="257"/>
                      <a:pt x="377" y="257"/>
                      <a:pt x="377" y="257"/>
                    </a:cubicBezTo>
                    <a:lnTo>
                      <a:pt x="381" y="255"/>
                    </a:lnTo>
                    <a:close/>
                    <a:moveTo>
                      <a:pt x="373" y="258"/>
                    </a:moveTo>
                    <a:cubicBezTo>
                      <a:pt x="370" y="263"/>
                      <a:pt x="370" y="263"/>
                      <a:pt x="370" y="263"/>
                    </a:cubicBezTo>
                    <a:cubicBezTo>
                      <a:pt x="376" y="264"/>
                      <a:pt x="376" y="264"/>
                      <a:pt x="376" y="264"/>
                    </a:cubicBezTo>
                    <a:lnTo>
                      <a:pt x="373" y="258"/>
                    </a:lnTo>
                    <a:close/>
                    <a:moveTo>
                      <a:pt x="377" y="276"/>
                    </a:moveTo>
                    <a:cubicBezTo>
                      <a:pt x="382" y="284"/>
                      <a:pt x="382" y="284"/>
                      <a:pt x="382" y="284"/>
                    </a:cubicBezTo>
                    <a:cubicBezTo>
                      <a:pt x="382" y="274"/>
                      <a:pt x="382" y="274"/>
                      <a:pt x="382" y="274"/>
                    </a:cubicBezTo>
                    <a:lnTo>
                      <a:pt x="377" y="276"/>
                    </a:lnTo>
                    <a:close/>
                    <a:moveTo>
                      <a:pt x="398" y="264"/>
                    </a:moveTo>
                    <a:cubicBezTo>
                      <a:pt x="402" y="269"/>
                      <a:pt x="402" y="269"/>
                      <a:pt x="402" y="269"/>
                    </a:cubicBezTo>
                    <a:cubicBezTo>
                      <a:pt x="405" y="267"/>
                      <a:pt x="405" y="267"/>
                      <a:pt x="405" y="267"/>
                    </a:cubicBezTo>
                    <a:lnTo>
                      <a:pt x="398" y="264"/>
                    </a:lnTo>
                    <a:close/>
                    <a:moveTo>
                      <a:pt x="387" y="278"/>
                    </a:moveTo>
                    <a:cubicBezTo>
                      <a:pt x="393" y="278"/>
                      <a:pt x="393" y="278"/>
                      <a:pt x="393" y="278"/>
                    </a:cubicBezTo>
                    <a:cubicBezTo>
                      <a:pt x="396" y="276"/>
                      <a:pt x="396" y="276"/>
                      <a:pt x="396" y="276"/>
                    </a:cubicBezTo>
                    <a:cubicBezTo>
                      <a:pt x="387" y="276"/>
                      <a:pt x="387" y="276"/>
                      <a:pt x="387" y="276"/>
                    </a:cubicBezTo>
                    <a:lnTo>
                      <a:pt x="387" y="278"/>
                    </a:lnTo>
                    <a:close/>
                    <a:moveTo>
                      <a:pt x="393" y="285"/>
                    </a:moveTo>
                    <a:cubicBezTo>
                      <a:pt x="398" y="290"/>
                      <a:pt x="398" y="290"/>
                      <a:pt x="398" y="290"/>
                    </a:cubicBezTo>
                    <a:cubicBezTo>
                      <a:pt x="402" y="289"/>
                      <a:pt x="402" y="289"/>
                      <a:pt x="402" y="289"/>
                    </a:cubicBezTo>
                    <a:cubicBezTo>
                      <a:pt x="398" y="284"/>
                      <a:pt x="398" y="284"/>
                      <a:pt x="398" y="284"/>
                    </a:cubicBezTo>
                    <a:lnTo>
                      <a:pt x="393" y="285"/>
                    </a:lnTo>
                    <a:close/>
                    <a:moveTo>
                      <a:pt x="410" y="292"/>
                    </a:moveTo>
                    <a:cubicBezTo>
                      <a:pt x="403" y="292"/>
                      <a:pt x="403" y="292"/>
                      <a:pt x="403" y="292"/>
                    </a:cubicBezTo>
                    <a:cubicBezTo>
                      <a:pt x="405" y="300"/>
                      <a:pt x="405" y="300"/>
                      <a:pt x="405" y="300"/>
                    </a:cubicBezTo>
                    <a:cubicBezTo>
                      <a:pt x="413" y="299"/>
                      <a:pt x="413" y="299"/>
                      <a:pt x="413" y="299"/>
                    </a:cubicBezTo>
                    <a:lnTo>
                      <a:pt x="410" y="292"/>
                    </a:lnTo>
                    <a:close/>
                    <a:moveTo>
                      <a:pt x="430" y="301"/>
                    </a:moveTo>
                    <a:cubicBezTo>
                      <a:pt x="421" y="296"/>
                      <a:pt x="421" y="296"/>
                      <a:pt x="421" y="296"/>
                    </a:cubicBezTo>
                    <a:cubicBezTo>
                      <a:pt x="406" y="314"/>
                      <a:pt x="406" y="314"/>
                      <a:pt x="406" y="314"/>
                    </a:cubicBezTo>
                    <a:cubicBezTo>
                      <a:pt x="409" y="317"/>
                      <a:pt x="409" y="317"/>
                      <a:pt x="409" y="317"/>
                    </a:cubicBezTo>
                    <a:cubicBezTo>
                      <a:pt x="411" y="312"/>
                      <a:pt x="411" y="312"/>
                      <a:pt x="411" y="312"/>
                    </a:cubicBezTo>
                    <a:cubicBezTo>
                      <a:pt x="418" y="311"/>
                      <a:pt x="418" y="311"/>
                      <a:pt x="418" y="311"/>
                    </a:cubicBezTo>
                    <a:cubicBezTo>
                      <a:pt x="421" y="306"/>
                      <a:pt x="421" y="306"/>
                      <a:pt x="421" y="306"/>
                    </a:cubicBezTo>
                    <a:lnTo>
                      <a:pt x="430" y="301"/>
                    </a:lnTo>
                    <a:close/>
                    <a:moveTo>
                      <a:pt x="328" y="330"/>
                    </a:moveTo>
                    <a:cubicBezTo>
                      <a:pt x="319" y="322"/>
                      <a:pt x="319" y="322"/>
                      <a:pt x="319" y="322"/>
                    </a:cubicBezTo>
                    <a:cubicBezTo>
                      <a:pt x="319" y="329"/>
                      <a:pt x="319" y="329"/>
                      <a:pt x="319" y="329"/>
                    </a:cubicBezTo>
                    <a:cubicBezTo>
                      <a:pt x="326" y="333"/>
                      <a:pt x="326" y="333"/>
                      <a:pt x="326" y="333"/>
                    </a:cubicBezTo>
                    <a:lnTo>
                      <a:pt x="328" y="330"/>
                    </a:lnTo>
                    <a:close/>
                    <a:moveTo>
                      <a:pt x="354" y="306"/>
                    </a:moveTo>
                    <a:cubicBezTo>
                      <a:pt x="344" y="321"/>
                      <a:pt x="344" y="321"/>
                      <a:pt x="344" y="321"/>
                    </a:cubicBezTo>
                    <a:cubicBezTo>
                      <a:pt x="352" y="319"/>
                      <a:pt x="352" y="319"/>
                      <a:pt x="352" y="319"/>
                    </a:cubicBezTo>
                    <a:cubicBezTo>
                      <a:pt x="355" y="311"/>
                      <a:pt x="355" y="311"/>
                      <a:pt x="355" y="311"/>
                    </a:cubicBezTo>
                    <a:cubicBezTo>
                      <a:pt x="360" y="308"/>
                      <a:pt x="360" y="308"/>
                      <a:pt x="360" y="308"/>
                    </a:cubicBezTo>
                    <a:lnTo>
                      <a:pt x="354" y="306"/>
                    </a:lnTo>
                    <a:close/>
                    <a:moveTo>
                      <a:pt x="378" y="333"/>
                    </a:moveTo>
                    <a:cubicBezTo>
                      <a:pt x="386" y="323"/>
                      <a:pt x="386" y="323"/>
                      <a:pt x="386" y="323"/>
                    </a:cubicBezTo>
                    <a:cubicBezTo>
                      <a:pt x="383" y="321"/>
                      <a:pt x="383" y="321"/>
                      <a:pt x="383" y="321"/>
                    </a:cubicBezTo>
                    <a:cubicBezTo>
                      <a:pt x="375" y="326"/>
                      <a:pt x="375" y="326"/>
                      <a:pt x="375" y="326"/>
                    </a:cubicBezTo>
                    <a:lnTo>
                      <a:pt x="378" y="333"/>
                    </a:lnTo>
                    <a:close/>
                    <a:moveTo>
                      <a:pt x="231" y="176"/>
                    </a:moveTo>
                    <a:cubicBezTo>
                      <a:pt x="233" y="170"/>
                      <a:pt x="233" y="170"/>
                      <a:pt x="233" y="170"/>
                    </a:cubicBezTo>
                    <a:cubicBezTo>
                      <a:pt x="228" y="175"/>
                      <a:pt x="228" y="175"/>
                      <a:pt x="228" y="175"/>
                    </a:cubicBezTo>
                    <a:lnTo>
                      <a:pt x="231" y="176"/>
                    </a:lnTo>
                    <a:close/>
                    <a:moveTo>
                      <a:pt x="211" y="268"/>
                    </a:moveTo>
                    <a:cubicBezTo>
                      <a:pt x="213" y="272"/>
                      <a:pt x="213" y="272"/>
                      <a:pt x="213" y="272"/>
                    </a:cubicBezTo>
                    <a:cubicBezTo>
                      <a:pt x="218" y="269"/>
                      <a:pt x="218" y="269"/>
                      <a:pt x="218" y="269"/>
                    </a:cubicBezTo>
                    <a:cubicBezTo>
                      <a:pt x="216" y="263"/>
                      <a:pt x="216" y="263"/>
                      <a:pt x="216" y="263"/>
                    </a:cubicBezTo>
                    <a:lnTo>
                      <a:pt x="211" y="268"/>
                    </a:lnTo>
                    <a:close/>
                    <a:moveTo>
                      <a:pt x="222" y="278"/>
                    </a:moveTo>
                    <a:cubicBezTo>
                      <a:pt x="213" y="278"/>
                      <a:pt x="213" y="278"/>
                      <a:pt x="213" y="278"/>
                    </a:cubicBezTo>
                    <a:cubicBezTo>
                      <a:pt x="217" y="286"/>
                      <a:pt x="217" y="286"/>
                      <a:pt x="217" y="286"/>
                    </a:cubicBezTo>
                    <a:lnTo>
                      <a:pt x="222" y="278"/>
                    </a:lnTo>
                    <a:close/>
                    <a:moveTo>
                      <a:pt x="200" y="382"/>
                    </a:moveTo>
                    <a:cubicBezTo>
                      <a:pt x="209" y="386"/>
                      <a:pt x="209" y="386"/>
                      <a:pt x="209" y="386"/>
                    </a:cubicBezTo>
                    <a:cubicBezTo>
                      <a:pt x="210" y="379"/>
                      <a:pt x="210" y="379"/>
                      <a:pt x="210" y="379"/>
                    </a:cubicBezTo>
                    <a:cubicBezTo>
                      <a:pt x="201" y="372"/>
                      <a:pt x="201" y="372"/>
                      <a:pt x="201" y="372"/>
                    </a:cubicBezTo>
                    <a:lnTo>
                      <a:pt x="200" y="382"/>
                    </a:lnTo>
                    <a:close/>
                    <a:moveTo>
                      <a:pt x="283" y="333"/>
                    </a:moveTo>
                    <a:cubicBezTo>
                      <a:pt x="276" y="332"/>
                      <a:pt x="276" y="332"/>
                      <a:pt x="276" y="332"/>
                    </a:cubicBezTo>
                    <a:cubicBezTo>
                      <a:pt x="276" y="337"/>
                      <a:pt x="276" y="337"/>
                      <a:pt x="276" y="337"/>
                    </a:cubicBezTo>
                    <a:cubicBezTo>
                      <a:pt x="273" y="334"/>
                      <a:pt x="273" y="334"/>
                      <a:pt x="273" y="334"/>
                    </a:cubicBezTo>
                    <a:cubicBezTo>
                      <a:pt x="270" y="335"/>
                      <a:pt x="270" y="335"/>
                      <a:pt x="270" y="335"/>
                    </a:cubicBezTo>
                    <a:cubicBezTo>
                      <a:pt x="269" y="345"/>
                      <a:pt x="269" y="345"/>
                      <a:pt x="269" y="345"/>
                    </a:cubicBezTo>
                    <a:cubicBezTo>
                      <a:pt x="283" y="341"/>
                      <a:pt x="283" y="341"/>
                      <a:pt x="283" y="341"/>
                    </a:cubicBezTo>
                    <a:lnTo>
                      <a:pt x="283" y="333"/>
                    </a:lnTo>
                    <a:close/>
                    <a:moveTo>
                      <a:pt x="263" y="327"/>
                    </a:moveTo>
                    <a:cubicBezTo>
                      <a:pt x="259" y="331"/>
                      <a:pt x="259" y="331"/>
                      <a:pt x="259" y="331"/>
                    </a:cubicBezTo>
                    <a:cubicBezTo>
                      <a:pt x="266" y="335"/>
                      <a:pt x="266" y="335"/>
                      <a:pt x="266" y="335"/>
                    </a:cubicBezTo>
                    <a:lnTo>
                      <a:pt x="263" y="327"/>
                    </a:lnTo>
                    <a:close/>
                    <a:moveTo>
                      <a:pt x="311" y="327"/>
                    </a:moveTo>
                    <a:cubicBezTo>
                      <a:pt x="305" y="337"/>
                      <a:pt x="305" y="337"/>
                      <a:pt x="305" y="337"/>
                    </a:cubicBezTo>
                    <a:cubicBezTo>
                      <a:pt x="316" y="332"/>
                      <a:pt x="316" y="332"/>
                      <a:pt x="316" y="332"/>
                    </a:cubicBezTo>
                    <a:lnTo>
                      <a:pt x="311" y="327"/>
                    </a:lnTo>
                    <a:close/>
                    <a:moveTo>
                      <a:pt x="337" y="350"/>
                    </a:moveTo>
                    <a:cubicBezTo>
                      <a:pt x="331" y="340"/>
                      <a:pt x="331" y="340"/>
                      <a:pt x="331" y="340"/>
                    </a:cubicBezTo>
                    <a:cubicBezTo>
                      <a:pt x="325" y="343"/>
                      <a:pt x="325" y="343"/>
                      <a:pt x="325" y="343"/>
                    </a:cubicBezTo>
                    <a:cubicBezTo>
                      <a:pt x="329" y="352"/>
                      <a:pt x="329" y="352"/>
                      <a:pt x="329" y="352"/>
                    </a:cubicBezTo>
                    <a:lnTo>
                      <a:pt x="337" y="350"/>
                    </a:lnTo>
                    <a:close/>
                    <a:moveTo>
                      <a:pt x="349" y="349"/>
                    </a:moveTo>
                    <a:cubicBezTo>
                      <a:pt x="356" y="346"/>
                      <a:pt x="356" y="346"/>
                      <a:pt x="356" y="346"/>
                    </a:cubicBezTo>
                    <a:cubicBezTo>
                      <a:pt x="351" y="341"/>
                      <a:pt x="351" y="341"/>
                      <a:pt x="351" y="341"/>
                    </a:cubicBezTo>
                    <a:lnTo>
                      <a:pt x="349" y="349"/>
                    </a:lnTo>
                    <a:close/>
                    <a:moveTo>
                      <a:pt x="304" y="339"/>
                    </a:moveTo>
                    <a:cubicBezTo>
                      <a:pt x="298" y="335"/>
                      <a:pt x="298" y="335"/>
                      <a:pt x="298" y="335"/>
                    </a:cubicBezTo>
                    <a:cubicBezTo>
                      <a:pt x="296" y="337"/>
                      <a:pt x="296" y="337"/>
                      <a:pt x="296" y="337"/>
                    </a:cubicBezTo>
                    <a:cubicBezTo>
                      <a:pt x="303" y="342"/>
                      <a:pt x="303" y="342"/>
                      <a:pt x="303" y="342"/>
                    </a:cubicBezTo>
                    <a:lnTo>
                      <a:pt x="304" y="339"/>
                    </a:lnTo>
                    <a:close/>
                    <a:moveTo>
                      <a:pt x="63" y="291"/>
                    </a:moveTo>
                    <a:cubicBezTo>
                      <a:pt x="67" y="300"/>
                      <a:pt x="67" y="300"/>
                      <a:pt x="67" y="300"/>
                    </a:cubicBezTo>
                    <a:cubicBezTo>
                      <a:pt x="80" y="306"/>
                      <a:pt x="80" y="306"/>
                      <a:pt x="80" y="306"/>
                    </a:cubicBezTo>
                    <a:cubicBezTo>
                      <a:pt x="80" y="300"/>
                      <a:pt x="80" y="300"/>
                      <a:pt x="80" y="300"/>
                    </a:cubicBezTo>
                    <a:cubicBezTo>
                      <a:pt x="86" y="296"/>
                      <a:pt x="86" y="296"/>
                      <a:pt x="86" y="296"/>
                    </a:cubicBezTo>
                    <a:cubicBezTo>
                      <a:pt x="69" y="287"/>
                      <a:pt x="69" y="287"/>
                      <a:pt x="69" y="287"/>
                    </a:cubicBezTo>
                    <a:lnTo>
                      <a:pt x="63" y="291"/>
                    </a:lnTo>
                    <a:close/>
                    <a:moveTo>
                      <a:pt x="43" y="268"/>
                    </a:moveTo>
                    <a:cubicBezTo>
                      <a:pt x="44" y="273"/>
                      <a:pt x="44" y="273"/>
                      <a:pt x="44" y="273"/>
                    </a:cubicBezTo>
                    <a:cubicBezTo>
                      <a:pt x="47" y="274"/>
                      <a:pt x="47" y="274"/>
                      <a:pt x="47" y="274"/>
                    </a:cubicBezTo>
                    <a:cubicBezTo>
                      <a:pt x="48" y="263"/>
                      <a:pt x="48" y="263"/>
                      <a:pt x="48" y="263"/>
                    </a:cubicBezTo>
                    <a:cubicBezTo>
                      <a:pt x="47" y="260"/>
                      <a:pt x="47" y="260"/>
                      <a:pt x="47" y="260"/>
                    </a:cubicBezTo>
                    <a:lnTo>
                      <a:pt x="43" y="268"/>
                    </a:lnTo>
                    <a:close/>
                    <a:moveTo>
                      <a:pt x="69" y="279"/>
                    </a:moveTo>
                    <a:cubicBezTo>
                      <a:pt x="72" y="277"/>
                      <a:pt x="71" y="272"/>
                      <a:pt x="66" y="267"/>
                    </a:cubicBezTo>
                    <a:cubicBezTo>
                      <a:pt x="62" y="261"/>
                      <a:pt x="57" y="254"/>
                      <a:pt x="57" y="254"/>
                    </a:cubicBezTo>
                    <a:cubicBezTo>
                      <a:pt x="55" y="255"/>
                      <a:pt x="55" y="255"/>
                      <a:pt x="55" y="255"/>
                    </a:cubicBezTo>
                    <a:cubicBezTo>
                      <a:pt x="55" y="260"/>
                      <a:pt x="55" y="260"/>
                      <a:pt x="55" y="260"/>
                    </a:cubicBezTo>
                    <a:cubicBezTo>
                      <a:pt x="51" y="262"/>
                      <a:pt x="51" y="262"/>
                      <a:pt x="51" y="262"/>
                    </a:cubicBezTo>
                    <a:cubicBezTo>
                      <a:pt x="51" y="262"/>
                      <a:pt x="49" y="277"/>
                      <a:pt x="55" y="277"/>
                    </a:cubicBezTo>
                    <a:cubicBezTo>
                      <a:pt x="59" y="277"/>
                      <a:pt x="64" y="276"/>
                      <a:pt x="64" y="276"/>
                    </a:cubicBezTo>
                    <a:cubicBezTo>
                      <a:pt x="64" y="276"/>
                      <a:pt x="64" y="280"/>
                      <a:pt x="69" y="279"/>
                    </a:cubicBezTo>
                    <a:close/>
                    <a:moveTo>
                      <a:pt x="67" y="263"/>
                    </a:moveTo>
                    <a:cubicBezTo>
                      <a:pt x="71" y="264"/>
                      <a:pt x="74" y="267"/>
                      <a:pt x="74" y="267"/>
                    </a:cubicBezTo>
                    <a:cubicBezTo>
                      <a:pt x="74" y="267"/>
                      <a:pt x="76" y="264"/>
                      <a:pt x="72" y="260"/>
                    </a:cubicBezTo>
                    <a:cubicBezTo>
                      <a:pt x="69" y="257"/>
                      <a:pt x="66" y="251"/>
                      <a:pt x="66" y="251"/>
                    </a:cubicBezTo>
                    <a:cubicBezTo>
                      <a:pt x="62" y="252"/>
                      <a:pt x="62" y="252"/>
                      <a:pt x="62" y="252"/>
                    </a:cubicBezTo>
                    <a:cubicBezTo>
                      <a:pt x="62" y="252"/>
                      <a:pt x="64" y="261"/>
                      <a:pt x="67" y="263"/>
                    </a:cubicBezTo>
                    <a:close/>
                    <a:moveTo>
                      <a:pt x="18" y="190"/>
                    </a:moveTo>
                    <a:cubicBezTo>
                      <a:pt x="16" y="185"/>
                      <a:pt x="18" y="183"/>
                      <a:pt x="18" y="183"/>
                    </a:cubicBezTo>
                    <a:cubicBezTo>
                      <a:pt x="12" y="179"/>
                      <a:pt x="12" y="179"/>
                      <a:pt x="12" y="179"/>
                    </a:cubicBezTo>
                    <a:cubicBezTo>
                      <a:pt x="12" y="179"/>
                      <a:pt x="16" y="180"/>
                      <a:pt x="16" y="177"/>
                    </a:cubicBezTo>
                    <a:cubicBezTo>
                      <a:pt x="16" y="173"/>
                      <a:pt x="12" y="169"/>
                      <a:pt x="6" y="173"/>
                    </a:cubicBezTo>
                    <a:cubicBezTo>
                      <a:pt x="0" y="176"/>
                      <a:pt x="0" y="181"/>
                      <a:pt x="5" y="183"/>
                    </a:cubicBezTo>
                    <a:cubicBezTo>
                      <a:pt x="8" y="185"/>
                      <a:pt x="12" y="189"/>
                      <a:pt x="12" y="189"/>
                    </a:cubicBezTo>
                    <a:cubicBezTo>
                      <a:pt x="12" y="189"/>
                      <a:pt x="10" y="193"/>
                      <a:pt x="14" y="195"/>
                    </a:cubicBezTo>
                    <a:cubicBezTo>
                      <a:pt x="29" y="199"/>
                      <a:pt x="29" y="199"/>
                      <a:pt x="29" y="199"/>
                    </a:cubicBezTo>
                    <a:cubicBezTo>
                      <a:pt x="25" y="193"/>
                      <a:pt x="25" y="193"/>
                      <a:pt x="25" y="193"/>
                    </a:cubicBezTo>
                    <a:cubicBezTo>
                      <a:pt x="25" y="193"/>
                      <a:pt x="21" y="194"/>
                      <a:pt x="18" y="190"/>
                    </a:cubicBezTo>
                    <a:close/>
                    <a:moveTo>
                      <a:pt x="392" y="415"/>
                    </a:moveTo>
                    <a:cubicBezTo>
                      <a:pt x="392" y="415"/>
                      <a:pt x="393" y="410"/>
                      <a:pt x="392" y="409"/>
                    </a:cubicBezTo>
                    <a:cubicBezTo>
                      <a:pt x="390" y="409"/>
                      <a:pt x="385" y="418"/>
                      <a:pt x="385" y="418"/>
                    </a:cubicBezTo>
                    <a:cubicBezTo>
                      <a:pt x="385" y="418"/>
                      <a:pt x="383" y="416"/>
                      <a:pt x="382" y="416"/>
                    </a:cubicBezTo>
                    <a:cubicBezTo>
                      <a:pt x="380" y="416"/>
                      <a:pt x="372" y="421"/>
                      <a:pt x="372" y="421"/>
                    </a:cubicBezTo>
                    <a:cubicBezTo>
                      <a:pt x="370" y="422"/>
                      <a:pt x="370" y="422"/>
                      <a:pt x="370" y="422"/>
                    </a:cubicBezTo>
                    <a:cubicBezTo>
                      <a:pt x="370" y="422"/>
                      <a:pt x="369" y="426"/>
                      <a:pt x="366" y="426"/>
                    </a:cubicBezTo>
                    <a:cubicBezTo>
                      <a:pt x="362" y="427"/>
                      <a:pt x="362" y="418"/>
                      <a:pt x="362" y="418"/>
                    </a:cubicBezTo>
                    <a:cubicBezTo>
                      <a:pt x="362" y="418"/>
                      <a:pt x="367" y="413"/>
                      <a:pt x="360" y="413"/>
                    </a:cubicBezTo>
                    <a:cubicBezTo>
                      <a:pt x="353" y="413"/>
                      <a:pt x="349" y="418"/>
                      <a:pt x="347" y="418"/>
                    </a:cubicBezTo>
                    <a:cubicBezTo>
                      <a:pt x="345" y="419"/>
                      <a:pt x="345" y="416"/>
                      <a:pt x="342" y="416"/>
                    </a:cubicBezTo>
                    <a:cubicBezTo>
                      <a:pt x="338" y="416"/>
                      <a:pt x="324" y="420"/>
                      <a:pt x="324" y="420"/>
                    </a:cubicBezTo>
                    <a:cubicBezTo>
                      <a:pt x="321" y="414"/>
                      <a:pt x="321" y="414"/>
                      <a:pt x="321" y="414"/>
                    </a:cubicBezTo>
                    <a:cubicBezTo>
                      <a:pt x="318" y="414"/>
                      <a:pt x="318" y="414"/>
                      <a:pt x="318" y="414"/>
                    </a:cubicBezTo>
                    <a:cubicBezTo>
                      <a:pt x="317" y="416"/>
                      <a:pt x="317" y="416"/>
                      <a:pt x="317" y="416"/>
                    </a:cubicBezTo>
                    <a:cubicBezTo>
                      <a:pt x="317" y="416"/>
                      <a:pt x="309" y="415"/>
                      <a:pt x="305" y="417"/>
                    </a:cubicBezTo>
                    <a:cubicBezTo>
                      <a:pt x="301" y="418"/>
                      <a:pt x="296" y="421"/>
                      <a:pt x="294" y="424"/>
                    </a:cubicBezTo>
                    <a:cubicBezTo>
                      <a:pt x="292" y="425"/>
                      <a:pt x="282" y="424"/>
                      <a:pt x="282" y="424"/>
                    </a:cubicBezTo>
                    <a:cubicBezTo>
                      <a:pt x="284" y="421"/>
                      <a:pt x="284" y="421"/>
                      <a:pt x="284" y="421"/>
                    </a:cubicBezTo>
                    <a:cubicBezTo>
                      <a:pt x="280" y="418"/>
                      <a:pt x="280" y="418"/>
                      <a:pt x="280" y="418"/>
                    </a:cubicBezTo>
                    <a:cubicBezTo>
                      <a:pt x="277" y="421"/>
                      <a:pt x="277" y="421"/>
                      <a:pt x="277" y="421"/>
                    </a:cubicBezTo>
                    <a:cubicBezTo>
                      <a:pt x="277" y="421"/>
                      <a:pt x="272" y="422"/>
                      <a:pt x="272" y="419"/>
                    </a:cubicBezTo>
                    <a:cubicBezTo>
                      <a:pt x="272" y="415"/>
                      <a:pt x="283" y="422"/>
                      <a:pt x="276" y="414"/>
                    </a:cubicBezTo>
                    <a:cubicBezTo>
                      <a:pt x="271" y="405"/>
                      <a:pt x="268" y="417"/>
                      <a:pt x="268" y="417"/>
                    </a:cubicBezTo>
                    <a:cubicBezTo>
                      <a:pt x="268" y="417"/>
                      <a:pt x="263" y="417"/>
                      <a:pt x="260" y="418"/>
                    </a:cubicBezTo>
                    <a:cubicBezTo>
                      <a:pt x="258" y="419"/>
                      <a:pt x="254" y="418"/>
                      <a:pt x="254" y="418"/>
                    </a:cubicBezTo>
                    <a:cubicBezTo>
                      <a:pt x="254" y="418"/>
                      <a:pt x="253" y="408"/>
                      <a:pt x="250" y="409"/>
                    </a:cubicBezTo>
                    <a:cubicBezTo>
                      <a:pt x="245" y="411"/>
                      <a:pt x="252" y="420"/>
                      <a:pt x="247" y="421"/>
                    </a:cubicBezTo>
                    <a:cubicBezTo>
                      <a:pt x="244" y="422"/>
                      <a:pt x="244" y="414"/>
                      <a:pt x="244" y="414"/>
                    </a:cubicBezTo>
                    <a:cubicBezTo>
                      <a:pt x="242" y="413"/>
                      <a:pt x="242" y="413"/>
                      <a:pt x="242" y="413"/>
                    </a:cubicBezTo>
                    <a:cubicBezTo>
                      <a:pt x="242" y="413"/>
                      <a:pt x="241" y="425"/>
                      <a:pt x="240" y="428"/>
                    </a:cubicBezTo>
                    <a:cubicBezTo>
                      <a:pt x="238" y="432"/>
                      <a:pt x="240" y="435"/>
                      <a:pt x="243" y="440"/>
                    </a:cubicBezTo>
                    <a:cubicBezTo>
                      <a:pt x="246" y="443"/>
                      <a:pt x="258" y="437"/>
                      <a:pt x="260" y="437"/>
                    </a:cubicBezTo>
                    <a:cubicBezTo>
                      <a:pt x="263" y="437"/>
                      <a:pt x="269" y="440"/>
                      <a:pt x="273" y="440"/>
                    </a:cubicBezTo>
                    <a:cubicBezTo>
                      <a:pt x="277" y="440"/>
                      <a:pt x="287" y="436"/>
                      <a:pt x="287" y="436"/>
                    </a:cubicBezTo>
                    <a:cubicBezTo>
                      <a:pt x="298" y="438"/>
                      <a:pt x="298" y="438"/>
                      <a:pt x="298" y="438"/>
                    </a:cubicBezTo>
                    <a:cubicBezTo>
                      <a:pt x="298" y="438"/>
                      <a:pt x="303" y="436"/>
                      <a:pt x="309" y="441"/>
                    </a:cubicBezTo>
                    <a:cubicBezTo>
                      <a:pt x="316" y="444"/>
                      <a:pt x="309" y="450"/>
                      <a:pt x="309" y="450"/>
                    </a:cubicBezTo>
                    <a:cubicBezTo>
                      <a:pt x="310" y="452"/>
                      <a:pt x="310" y="452"/>
                      <a:pt x="310" y="452"/>
                    </a:cubicBezTo>
                    <a:cubicBezTo>
                      <a:pt x="310" y="452"/>
                      <a:pt x="318" y="448"/>
                      <a:pt x="323" y="447"/>
                    </a:cubicBezTo>
                    <a:cubicBezTo>
                      <a:pt x="328" y="446"/>
                      <a:pt x="340" y="442"/>
                      <a:pt x="344" y="440"/>
                    </a:cubicBezTo>
                    <a:cubicBezTo>
                      <a:pt x="348" y="437"/>
                      <a:pt x="360" y="435"/>
                      <a:pt x="360" y="435"/>
                    </a:cubicBezTo>
                    <a:cubicBezTo>
                      <a:pt x="367" y="436"/>
                      <a:pt x="367" y="436"/>
                      <a:pt x="367" y="436"/>
                    </a:cubicBezTo>
                    <a:cubicBezTo>
                      <a:pt x="373" y="431"/>
                      <a:pt x="373" y="431"/>
                      <a:pt x="373" y="431"/>
                    </a:cubicBezTo>
                    <a:cubicBezTo>
                      <a:pt x="373" y="431"/>
                      <a:pt x="384" y="431"/>
                      <a:pt x="389" y="429"/>
                    </a:cubicBezTo>
                    <a:cubicBezTo>
                      <a:pt x="394" y="428"/>
                      <a:pt x="394" y="416"/>
                      <a:pt x="394" y="416"/>
                    </a:cubicBezTo>
                    <a:lnTo>
                      <a:pt x="392" y="415"/>
                    </a:lnTo>
                    <a:close/>
                    <a:moveTo>
                      <a:pt x="482" y="322"/>
                    </a:moveTo>
                    <a:cubicBezTo>
                      <a:pt x="482" y="319"/>
                      <a:pt x="480" y="317"/>
                      <a:pt x="480" y="317"/>
                    </a:cubicBezTo>
                    <a:cubicBezTo>
                      <a:pt x="480" y="317"/>
                      <a:pt x="472" y="320"/>
                      <a:pt x="469" y="323"/>
                    </a:cubicBezTo>
                    <a:cubicBezTo>
                      <a:pt x="465" y="326"/>
                      <a:pt x="463" y="332"/>
                      <a:pt x="463" y="332"/>
                    </a:cubicBezTo>
                    <a:cubicBezTo>
                      <a:pt x="463" y="332"/>
                      <a:pt x="458" y="334"/>
                      <a:pt x="458" y="335"/>
                    </a:cubicBezTo>
                    <a:cubicBezTo>
                      <a:pt x="458" y="338"/>
                      <a:pt x="458" y="338"/>
                      <a:pt x="458" y="338"/>
                    </a:cubicBezTo>
                    <a:cubicBezTo>
                      <a:pt x="458" y="338"/>
                      <a:pt x="453" y="340"/>
                      <a:pt x="455" y="342"/>
                    </a:cubicBezTo>
                    <a:cubicBezTo>
                      <a:pt x="457" y="343"/>
                      <a:pt x="459" y="346"/>
                      <a:pt x="459" y="346"/>
                    </a:cubicBezTo>
                    <a:cubicBezTo>
                      <a:pt x="459" y="352"/>
                      <a:pt x="459" y="352"/>
                      <a:pt x="459" y="352"/>
                    </a:cubicBezTo>
                    <a:cubicBezTo>
                      <a:pt x="459" y="354"/>
                      <a:pt x="462" y="358"/>
                      <a:pt x="462" y="358"/>
                    </a:cubicBezTo>
                    <a:cubicBezTo>
                      <a:pt x="465" y="358"/>
                      <a:pt x="469" y="351"/>
                      <a:pt x="470" y="349"/>
                    </a:cubicBezTo>
                    <a:cubicBezTo>
                      <a:pt x="471" y="347"/>
                      <a:pt x="474" y="343"/>
                      <a:pt x="474" y="343"/>
                    </a:cubicBezTo>
                    <a:cubicBezTo>
                      <a:pt x="478" y="343"/>
                      <a:pt x="478" y="343"/>
                      <a:pt x="478" y="343"/>
                    </a:cubicBezTo>
                    <a:cubicBezTo>
                      <a:pt x="479" y="340"/>
                      <a:pt x="479" y="340"/>
                      <a:pt x="479" y="340"/>
                    </a:cubicBezTo>
                    <a:cubicBezTo>
                      <a:pt x="479" y="340"/>
                      <a:pt x="476" y="340"/>
                      <a:pt x="476" y="338"/>
                    </a:cubicBezTo>
                    <a:cubicBezTo>
                      <a:pt x="478" y="335"/>
                      <a:pt x="480" y="333"/>
                      <a:pt x="480" y="333"/>
                    </a:cubicBezTo>
                    <a:cubicBezTo>
                      <a:pt x="480" y="333"/>
                      <a:pt x="482" y="325"/>
                      <a:pt x="482" y="322"/>
                    </a:cubicBezTo>
                    <a:close/>
                    <a:moveTo>
                      <a:pt x="448" y="337"/>
                    </a:moveTo>
                    <a:cubicBezTo>
                      <a:pt x="442" y="339"/>
                      <a:pt x="444" y="341"/>
                      <a:pt x="448" y="340"/>
                    </a:cubicBezTo>
                    <a:cubicBezTo>
                      <a:pt x="452" y="340"/>
                      <a:pt x="452" y="335"/>
                      <a:pt x="448" y="337"/>
                    </a:cubicBezTo>
                    <a:close/>
                    <a:moveTo>
                      <a:pt x="459" y="310"/>
                    </a:moveTo>
                    <a:cubicBezTo>
                      <a:pt x="457" y="308"/>
                      <a:pt x="457" y="308"/>
                      <a:pt x="457" y="308"/>
                    </a:cubicBezTo>
                    <a:cubicBezTo>
                      <a:pt x="454" y="314"/>
                      <a:pt x="454" y="314"/>
                      <a:pt x="454" y="314"/>
                    </a:cubicBezTo>
                    <a:cubicBezTo>
                      <a:pt x="460" y="317"/>
                      <a:pt x="460" y="317"/>
                      <a:pt x="460" y="317"/>
                    </a:cubicBezTo>
                    <a:lnTo>
                      <a:pt x="459" y="310"/>
                    </a:lnTo>
                    <a:close/>
                    <a:moveTo>
                      <a:pt x="432" y="325"/>
                    </a:moveTo>
                    <a:cubicBezTo>
                      <a:pt x="433" y="329"/>
                      <a:pt x="433" y="329"/>
                      <a:pt x="433" y="329"/>
                    </a:cubicBezTo>
                    <a:cubicBezTo>
                      <a:pt x="441" y="332"/>
                      <a:pt x="441" y="332"/>
                      <a:pt x="441" y="332"/>
                    </a:cubicBezTo>
                    <a:cubicBezTo>
                      <a:pt x="440" y="329"/>
                      <a:pt x="440" y="329"/>
                      <a:pt x="440" y="329"/>
                    </a:cubicBezTo>
                    <a:lnTo>
                      <a:pt x="432" y="325"/>
                    </a:lnTo>
                    <a:close/>
                    <a:moveTo>
                      <a:pt x="422" y="322"/>
                    </a:moveTo>
                    <a:cubicBezTo>
                      <a:pt x="427" y="320"/>
                      <a:pt x="426" y="316"/>
                      <a:pt x="422" y="318"/>
                    </a:cubicBezTo>
                    <a:cubicBezTo>
                      <a:pt x="417" y="320"/>
                      <a:pt x="420" y="323"/>
                      <a:pt x="422" y="322"/>
                    </a:cubicBezTo>
                    <a:close/>
                    <a:moveTo>
                      <a:pt x="435" y="364"/>
                    </a:moveTo>
                    <a:cubicBezTo>
                      <a:pt x="432" y="366"/>
                      <a:pt x="432" y="366"/>
                      <a:pt x="432" y="366"/>
                    </a:cubicBezTo>
                    <a:cubicBezTo>
                      <a:pt x="430" y="380"/>
                      <a:pt x="430" y="380"/>
                      <a:pt x="430" y="380"/>
                    </a:cubicBezTo>
                    <a:cubicBezTo>
                      <a:pt x="427" y="380"/>
                      <a:pt x="427" y="380"/>
                      <a:pt x="427" y="380"/>
                    </a:cubicBezTo>
                    <a:cubicBezTo>
                      <a:pt x="429" y="384"/>
                      <a:pt x="429" y="384"/>
                      <a:pt x="429" y="384"/>
                    </a:cubicBezTo>
                    <a:cubicBezTo>
                      <a:pt x="432" y="386"/>
                      <a:pt x="432" y="386"/>
                      <a:pt x="432" y="386"/>
                    </a:cubicBezTo>
                    <a:cubicBezTo>
                      <a:pt x="433" y="392"/>
                      <a:pt x="433" y="392"/>
                      <a:pt x="433" y="392"/>
                    </a:cubicBezTo>
                    <a:cubicBezTo>
                      <a:pt x="437" y="394"/>
                      <a:pt x="437" y="394"/>
                      <a:pt x="437" y="394"/>
                    </a:cubicBezTo>
                    <a:cubicBezTo>
                      <a:pt x="437" y="390"/>
                      <a:pt x="437" y="390"/>
                      <a:pt x="437" y="390"/>
                    </a:cubicBezTo>
                    <a:cubicBezTo>
                      <a:pt x="439" y="388"/>
                      <a:pt x="439" y="388"/>
                      <a:pt x="439" y="388"/>
                    </a:cubicBezTo>
                    <a:cubicBezTo>
                      <a:pt x="439" y="385"/>
                      <a:pt x="439" y="385"/>
                      <a:pt x="439" y="385"/>
                    </a:cubicBezTo>
                    <a:cubicBezTo>
                      <a:pt x="436" y="382"/>
                      <a:pt x="436" y="382"/>
                      <a:pt x="436" y="382"/>
                    </a:cubicBezTo>
                    <a:lnTo>
                      <a:pt x="435" y="364"/>
                    </a:lnTo>
                    <a:close/>
                    <a:moveTo>
                      <a:pt x="434" y="362"/>
                    </a:moveTo>
                    <a:cubicBezTo>
                      <a:pt x="436" y="358"/>
                      <a:pt x="435" y="353"/>
                      <a:pt x="433" y="357"/>
                    </a:cubicBezTo>
                    <a:cubicBezTo>
                      <a:pt x="431" y="363"/>
                      <a:pt x="431" y="366"/>
                      <a:pt x="434" y="362"/>
                    </a:cubicBezTo>
                    <a:close/>
                    <a:moveTo>
                      <a:pt x="420" y="398"/>
                    </a:moveTo>
                    <a:cubicBezTo>
                      <a:pt x="419" y="402"/>
                      <a:pt x="422" y="400"/>
                      <a:pt x="424" y="399"/>
                    </a:cubicBezTo>
                    <a:cubicBezTo>
                      <a:pt x="430" y="396"/>
                      <a:pt x="429" y="394"/>
                      <a:pt x="429" y="394"/>
                    </a:cubicBezTo>
                    <a:cubicBezTo>
                      <a:pt x="429" y="394"/>
                      <a:pt x="420" y="393"/>
                      <a:pt x="420" y="398"/>
                    </a:cubicBezTo>
                    <a:close/>
                  </a:path>
                </a:pathLst>
              </a:custGeom>
              <a:solidFill>
                <a:srgbClr val="FDC795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51" name="Great Britain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3381375" y="2557463"/>
                <a:ext cx="760412" cy="1425575"/>
              </a:xfrm>
              <a:custGeom>
                <a:avLst/>
                <a:gdLst/>
                <a:ahLst/>
                <a:cxnLst>
                  <a:cxn ang="0">
                    <a:pos x="281" y="467"/>
                  </a:cxn>
                  <a:cxn ang="0">
                    <a:pos x="290" y="431"/>
                  </a:cxn>
                  <a:cxn ang="0">
                    <a:pos x="245" y="321"/>
                  </a:cxn>
                  <a:cxn ang="0">
                    <a:pos x="210" y="295"/>
                  </a:cxn>
                  <a:cxn ang="0">
                    <a:pos x="257" y="247"/>
                  </a:cxn>
                  <a:cxn ang="0">
                    <a:pos x="197" y="186"/>
                  </a:cxn>
                  <a:cxn ang="0">
                    <a:pos x="248" y="141"/>
                  </a:cxn>
                  <a:cxn ang="0">
                    <a:pos x="191" y="133"/>
                  </a:cxn>
                  <a:cxn ang="0">
                    <a:pos x="164" y="140"/>
                  </a:cxn>
                  <a:cxn ang="0">
                    <a:pos x="143" y="161"/>
                  </a:cxn>
                  <a:cxn ang="0">
                    <a:pos x="146" y="202"/>
                  </a:cxn>
                  <a:cxn ang="0">
                    <a:pos x="111" y="230"/>
                  </a:cxn>
                  <a:cxn ang="0">
                    <a:pos x="127" y="247"/>
                  </a:cxn>
                  <a:cxn ang="0">
                    <a:pos x="131" y="260"/>
                  </a:cxn>
                  <a:cxn ang="0">
                    <a:pos x="101" y="317"/>
                  </a:cxn>
                  <a:cxn ang="0">
                    <a:pos x="142" y="276"/>
                  </a:cxn>
                  <a:cxn ang="0">
                    <a:pos x="148" y="287"/>
                  </a:cxn>
                  <a:cxn ang="0">
                    <a:pos x="127" y="344"/>
                  </a:cxn>
                  <a:cxn ang="0">
                    <a:pos x="145" y="363"/>
                  </a:cxn>
                  <a:cxn ang="0">
                    <a:pos x="188" y="366"/>
                  </a:cxn>
                  <a:cxn ang="0">
                    <a:pos x="180" y="416"/>
                  </a:cxn>
                  <a:cxn ang="0">
                    <a:pos x="186" y="472"/>
                  </a:cxn>
                  <a:cxn ang="0">
                    <a:pos x="109" y="492"/>
                  </a:cxn>
                  <a:cxn ang="0">
                    <a:pos x="102" y="536"/>
                  </a:cxn>
                  <a:cxn ang="0">
                    <a:pos x="74" y="560"/>
                  </a:cxn>
                  <a:cxn ang="0">
                    <a:pos x="109" y="569"/>
                  </a:cxn>
                  <a:cxn ang="0">
                    <a:pos x="171" y="582"/>
                  </a:cxn>
                  <a:cxn ang="0">
                    <a:pos x="55" y="640"/>
                  </a:cxn>
                  <a:cxn ang="0">
                    <a:pos x="62" y="657"/>
                  </a:cxn>
                  <a:cxn ang="0">
                    <a:pos x="122" y="645"/>
                  </a:cxn>
                  <a:cxn ang="0">
                    <a:pos x="201" y="649"/>
                  </a:cxn>
                  <a:cxn ang="0">
                    <a:pos x="310" y="653"/>
                  </a:cxn>
                  <a:cxn ang="0">
                    <a:pos x="295" y="614"/>
                  </a:cxn>
                  <a:cxn ang="0">
                    <a:pos x="319" y="598"/>
                  </a:cxn>
                  <a:cxn ang="0">
                    <a:pos x="209" y="650"/>
                  </a:cxn>
                  <a:cxn ang="0">
                    <a:pos x="121" y="471"/>
                  </a:cxn>
                  <a:cxn ang="0">
                    <a:pos x="139" y="396"/>
                  </a:cxn>
                  <a:cxn ang="0">
                    <a:pos x="138" y="302"/>
                  </a:cxn>
                  <a:cxn ang="0">
                    <a:pos x="89" y="291"/>
                  </a:cxn>
                  <a:cxn ang="0">
                    <a:pos x="109" y="281"/>
                  </a:cxn>
                  <a:cxn ang="0">
                    <a:pos x="88" y="238"/>
                  </a:cxn>
                  <a:cxn ang="0">
                    <a:pos x="112" y="235"/>
                  </a:cxn>
                  <a:cxn ang="0">
                    <a:pos x="103" y="260"/>
                  </a:cxn>
                  <a:cxn ang="0">
                    <a:pos x="117" y="217"/>
                  </a:cxn>
                  <a:cxn ang="0">
                    <a:pos x="82" y="197"/>
                  </a:cxn>
                  <a:cxn ang="0">
                    <a:pos x="88" y="177"/>
                  </a:cxn>
                  <a:cxn ang="0">
                    <a:pos x="114" y="176"/>
                  </a:cxn>
                  <a:cxn ang="0">
                    <a:pos x="127" y="203"/>
                  </a:cxn>
                  <a:cxn ang="0">
                    <a:pos x="135" y="173"/>
                  </a:cxn>
                  <a:cxn ang="0">
                    <a:pos x="81" y="165"/>
                  </a:cxn>
                  <a:cxn ang="0">
                    <a:pos x="141" y="134"/>
                  </a:cxn>
                  <a:cxn ang="0">
                    <a:pos x="104" y="132"/>
                  </a:cxn>
                  <a:cxn ang="0">
                    <a:pos x="242" y="113"/>
                  </a:cxn>
                  <a:cxn ang="0">
                    <a:pos x="256" y="107"/>
                  </a:cxn>
                  <a:cxn ang="0">
                    <a:pos x="259" y="94"/>
                  </a:cxn>
                  <a:cxn ang="0">
                    <a:pos x="310" y="82"/>
                  </a:cxn>
                  <a:cxn ang="0">
                    <a:pos x="282" y="93"/>
                  </a:cxn>
                  <a:cxn ang="0">
                    <a:pos x="339" y="23"/>
                  </a:cxn>
                  <a:cxn ang="0">
                    <a:pos x="357" y="3"/>
                  </a:cxn>
                  <a:cxn ang="0">
                    <a:pos x="49" y="396"/>
                  </a:cxn>
                  <a:cxn ang="0">
                    <a:pos x="96" y="386"/>
                  </a:cxn>
                  <a:cxn ang="0">
                    <a:pos x="34" y="332"/>
                  </a:cxn>
                  <a:cxn ang="0">
                    <a:pos x="13" y="377"/>
                  </a:cxn>
                </a:cxnLst>
                <a:rect l="0" t="0" r="r" b="b"/>
                <a:pathLst>
                  <a:path w="357" h="670">
                    <a:moveTo>
                      <a:pt x="342" y="526"/>
                    </a:moveTo>
                    <a:cubicBezTo>
                      <a:pt x="330" y="519"/>
                      <a:pt x="330" y="519"/>
                      <a:pt x="330" y="519"/>
                    </a:cubicBezTo>
                    <a:cubicBezTo>
                      <a:pt x="328" y="520"/>
                      <a:pt x="328" y="520"/>
                      <a:pt x="328" y="520"/>
                    </a:cubicBezTo>
                    <a:cubicBezTo>
                      <a:pt x="310" y="519"/>
                      <a:pt x="310" y="519"/>
                      <a:pt x="310" y="519"/>
                    </a:cubicBezTo>
                    <a:cubicBezTo>
                      <a:pt x="303" y="530"/>
                      <a:pt x="303" y="530"/>
                      <a:pt x="303" y="530"/>
                    </a:cubicBezTo>
                    <a:cubicBezTo>
                      <a:pt x="299" y="528"/>
                      <a:pt x="299" y="528"/>
                      <a:pt x="299" y="528"/>
                    </a:cubicBezTo>
                    <a:cubicBezTo>
                      <a:pt x="295" y="522"/>
                      <a:pt x="295" y="522"/>
                      <a:pt x="295" y="522"/>
                    </a:cubicBezTo>
                    <a:cubicBezTo>
                      <a:pt x="291" y="520"/>
                      <a:pt x="291" y="520"/>
                      <a:pt x="291" y="520"/>
                    </a:cubicBezTo>
                    <a:cubicBezTo>
                      <a:pt x="291" y="520"/>
                      <a:pt x="292" y="515"/>
                      <a:pt x="296" y="514"/>
                    </a:cubicBezTo>
                    <a:cubicBezTo>
                      <a:pt x="301" y="512"/>
                      <a:pt x="308" y="508"/>
                      <a:pt x="308" y="504"/>
                    </a:cubicBezTo>
                    <a:cubicBezTo>
                      <a:pt x="309" y="501"/>
                      <a:pt x="305" y="486"/>
                      <a:pt x="305" y="486"/>
                    </a:cubicBezTo>
                    <a:cubicBezTo>
                      <a:pt x="299" y="480"/>
                      <a:pt x="299" y="480"/>
                      <a:pt x="299" y="480"/>
                    </a:cubicBezTo>
                    <a:cubicBezTo>
                      <a:pt x="292" y="473"/>
                      <a:pt x="292" y="473"/>
                      <a:pt x="292" y="473"/>
                    </a:cubicBezTo>
                    <a:cubicBezTo>
                      <a:pt x="292" y="473"/>
                      <a:pt x="290" y="469"/>
                      <a:pt x="287" y="468"/>
                    </a:cubicBezTo>
                    <a:cubicBezTo>
                      <a:pt x="285" y="468"/>
                      <a:pt x="281" y="467"/>
                      <a:pt x="281" y="467"/>
                    </a:cubicBezTo>
                    <a:cubicBezTo>
                      <a:pt x="279" y="469"/>
                      <a:pt x="279" y="469"/>
                      <a:pt x="279" y="469"/>
                    </a:cubicBezTo>
                    <a:cubicBezTo>
                      <a:pt x="276" y="466"/>
                      <a:pt x="276" y="466"/>
                      <a:pt x="276" y="466"/>
                    </a:cubicBezTo>
                    <a:cubicBezTo>
                      <a:pt x="268" y="465"/>
                      <a:pt x="268" y="465"/>
                      <a:pt x="268" y="465"/>
                    </a:cubicBezTo>
                    <a:cubicBezTo>
                      <a:pt x="276" y="463"/>
                      <a:pt x="276" y="463"/>
                      <a:pt x="276" y="463"/>
                    </a:cubicBezTo>
                    <a:cubicBezTo>
                      <a:pt x="279" y="466"/>
                      <a:pt x="279" y="466"/>
                      <a:pt x="279" y="466"/>
                    </a:cubicBezTo>
                    <a:cubicBezTo>
                      <a:pt x="289" y="465"/>
                      <a:pt x="289" y="465"/>
                      <a:pt x="289" y="465"/>
                    </a:cubicBezTo>
                    <a:cubicBezTo>
                      <a:pt x="289" y="465"/>
                      <a:pt x="293" y="472"/>
                      <a:pt x="294" y="473"/>
                    </a:cubicBezTo>
                    <a:cubicBezTo>
                      <a:pt x="298" y="473"/>
                      <a:pt x="298" y="473"/>
                      <a:pt x="298" y="473"/>
                    </a:cubicBezTo>
                    <a:cubicBezTo>
                      <a:pt x="301" y="477"/>
                      <a:pt x="301" y="477"/>
                      <a:pt x="301" y="477"/>
                    </a:cubicBezTo>
                    <a:cubicBezTo>
                      <a:pt x="303" y="475"/>
                      <a:pt x="303" y="475"/>
                      <a:pt x="303" y="475"/>
                    </a:cubicBezTo>
                    <a:cubicBezTo>
                      <a:pt x="295" y="455"/>
                      <a:pt x="295" y="455"/>
                      <a:pt x="295" y="455"/>
                    </a:cubicBezTo>
                    <a:cubicBezTo>
                      <a:pt x="295" y="443"/>
                      <a:pt x="295" y="443"/>
                      <a:pt x="295" y="443"/>
                    </a:cubicBezTo>
                    <a:cubicBezTo>
                      <a:pt x="298" y="441"/>
                      <a:pt x="298" y="441"/>
                      <a:pt x="298" y="441"/>
                    </a:cubicBezTo>
                    <a:cubicBezTo>
                      <a:pt x="294" y="431"/>
                      <a:pt x="294" y="431"/>
                      <a:pt x="294" y="431"/>
                    </a:cubicBezTo>
                    <a:cubicBezTo>
                      <a:pt x="290" y="431"/>
                      <a:pt x="290" y="431"/>
                      <a:pt x="290" y="431"/>
                    </a:cubicBezTo>
                    <a:cubicBezTo>
                      <a:pt x="286" y="416"/>
                      <a:pt x="286" y="416"/>
                      <a:pt x="286" y="416"/>
                    </a:cubicBezTo>
                    <a:cubicBezTo>
                      <a:pt x="277" y="407"/>
                      <a:pt x="277" y="407"/>
                      <a:pt x="277" y="407"/>
                    </a:cubicBezTo>
                    <a:cubicBezTo>
                      <a:pt x="273" y="406"/>
                      <a:pt x="273" y="406"/>
                      <a:pt x="273" y="406"/>
                    </a:cubicBezTo>
                    <a:cubicBezTo>
                      <a:pt x="267" y="395"/>
                      <a:pt x="267" y="395"/>
                      <a:pt x="267" y="395"/>
                    </a:cubicBezTo>
                    <a:cubicBezTo>
                      <a:pt x="263" y="392"/>
                      <a:pt x="263" y="392"/>
                      <a:pt x="263" y="392"/>
                    </a:cubicBezTo>
                    <a:cubicBezTo>
                      <a:pt x="262" y="380"/>
                      <a:pt x="262" y="380"/>
                      <a:pt x="262" y="380"/>
                    </a:cubicBezTo>
                    <a:cubicBezTo>
                      <a:pt x="259" y="372"/>
                      <a:pt x="259" y="372"/>
                      <a:pt x="259" y="372"/>
                    </a:cubicBezTo>
                    <a:cubicBezTo>
                      <a:pt x="260" y="354"/>
                      <a:pt x="260" y="354"/>
                      <a:pt x="260" y="354"/>
                    </a:cubicBezTo>
                    <a:cubicBezTo>
                      <a:pt x="257" y="349"/>
                      <a:pt x="257" y="349"/>
                      <a:pt x="257" y="349"/>
                    </a:cubicBezTo>
                    <a:cubicBezTo>
                      <a:pt x="259" y="337"/>
                      <a:pt x="259" y="337"/>
                      <a:pt x="259" y="337"/>
                    </a:cubicBezTo>
                    <a:cubicBezTo>
                      <a:pt x="253" y="332"/>
                      <a:pt x="253" y="332"/>
                      <a:pt x="253" y="332"/>
                    </a:cubicBezTo>
                    <a:cubicBezTo>
                      <a:pt x="253" y="327"/>
                      <a:pt x="253" y="327"/>
                      <a:pt x="253" y="327"/>
                    </a:cubicBezTo>
                    <a:cubicBezTo>
                      <a:pt x="249" y="324"/>
                      <a:pt x="249" y="324"/>
                      <a:pt x="249" y="324"/>
                    </a:cubicBezTo>
                    <a:cubicBezTo>
                      <a:pt x="248" y="319"/>
                      <a:pt x="248" y="319"/>
                      <a:pt x="248" y="319"/>
                    </a:cubicBezTo>
                    <a:cubicBezTo>
                      <a:pt x="245" y="321"/>
                      <a:pt x="245" y="321"/>
                      <a:pt x="245" y="321"/>
                    </a:cubicBezTo>
                    <a:cubicBezTo>
                      <a:pt x="248" y="317"/>
                      <a:pt x="248" y="317"/>
                      <a:pt x="248" y="317"/>
                    </a:cubicBezTo>
                    <a:cubicBezTo>
                      <a:pt x="245" y="315"/>
                      <a:pt x="245" y="315"/>
                      <a:pt x="245" y="315"/>
                    </a:cubicBezTo>
                    <a:cubicBezTo>
                      <a:pt x="245" y="315"/>
                      <a:pt x="247" y="312"/>
                      <a:pt x="244" y="311"/>
                    </a:cubicBezTo>
                    <a:cubicBezTo>
                      <a:pt x="241" y="311"/>
                      <a:pt x="238" y="310"/>
                      <a:pt x="238" y="310"/>
                    </a:cubicBezTo>
                    <a:cubicBezTo>
                      <a:pt x="228" y="298"/>
                      <a:pt x="228" y="298"/>
                      <a:pt x="228" y="298"/>
                    </a:cubicBezTo>
                    <a:cubicBezTo>
                      <a:pt x="228" y="298"/>
                      <a:pt x="228" y="296"/>
                      <a:pt x="223" y="297"/>
                    </a:cubicBezTo>
                    <a:cubicBezTo>
                      <a:pt x="217" y="298"/>
                      <a:pt x="217" y="305"/>
                      <a:pt x="213" y="305"/>
                    </a:cubicBezTo>
                    <a:cubicBezTo>
                      <a:pt x="209" y="305"/>
                      <a:pt x="208" y="299"/>
                      <a:pt x="208" y="299"/>
                    </a:cubicBezTo>
                    <a:cubicBezTo>
                      <a:pt x="208" y="299"/>
                      <a:pt x="203" y="301"/>
                      <a:pt x="200" y="300"/>
                    </a:cubicBezTo>
                    <a:cubicBezTo>
                      <a:pt x="197" y="299"/>
                      <a:pt x="195" y="296"/>
                      <a:pt x="195" y="296"/>
                    </a:cubicBezTo>
                    <a:cubicBezTo>
                      <a:pt x="195" y="296"/>
                      <a:pt x="187" y="295"/>
                      <a:pt x="188" y="294"/>
                    </a:cubicBezTo>
                    <a:cubicBezTo>
                      <a:pt x="189" y="292"/>
                      <a:pt x="196" y="292"/>
                      <a:pt x="196" y="292"/>
                    </a:cubicBezTo>
                    <a:cubicBezTo>
                      <a:pt x="196" y="292"/>
                      <a:pt x="197" y="296"/>
                      <a:pt x="200" y="296"/>
                    </a:cubicBezTo>
                    <a:cubicBezTo>
                      <a:pt x="202" y="296"/>
                      <a:pt x="207" y="294"/>
                      <a:pt x="207" y="294"/>
                    </a:cubicBezTo>
                    <a:cubicBezTo>
                      <a:pt x="210" y="295"/>
                      <a:pt x="210" y="295"/>
                      <a:pt x="210" y="295"/>
                    </a:cubicBezTo>
                    <a:cubicBezTo>
                      <a:pt x="210" y="291"/>
                      <a:pt x="210" y="291"/>
                      <a:pt x="210" y="291"/>
                    </a:cubicBezTo>
                    <a:cubicBezTo>
                      <a:pt x="218" y="287"/>
                      <a:pt x="218" y="287"/>
                      <a:pt x="218" y="287"/>
                    </a:cubicBezTo>
                    <a:cubicBezTo>
                      <a:pt x="226" y="290"/>
                      <a:pt x="226" y="290"/>
                      <a:pt x="226" y="290"/>
                    </a:cubicBezTo>
                    <a:cubicBezTo>
                      <a:pt x="234" y="283"/>
                      <a:pt x="234" y="283"/>
                      <a:pt x="234" y="283"/>
                    </a:cubicBezTo>
                    <a:cubicBezTo>
                      <a:pt x="226" y="279"/>
                      <a:pt x="226" y="279"/>
                      <a:pt x="226" y="279"/>
                    </a:cubicBezTo>
                    <a:cubicBezTo>
                      <a:pt x="226" y="279"/>
                      <a:pt x="230" y="278"/>
                      <a:pt x="228" y="275"/>
                    </a:cubicBezTo>
                    <a:cubicBezTo>
                      <a:pt x="226" y="272"/>
                      <a:pt x="227" y="271"/>
                      <a:pt x="224" y="271"/>
                    </a:cubicBezTo>
                    <a:cubicBezTo>
                      <a:pt x="219" y="272"/>
                      <a:pt x="217" y="276"/>
                      <a:pt x="215" y="276"/>
                    </a:cubicBezTo>
                    <a:cubicBezTo>
                      <a:pt x="213" y="277"/>
                      <a:pt x="208" y="276"/>
                      <a:pt x="208" y="276"/>
                    </a:cubicBezTo>
                    <a:cubicBezTo>
                      <a:pt x="208" y="276"/>
                      <a:pt x="214" y="275"/>
                      <a:pt x="215" y="274"/>
                    </a:cubicBezTo>
                    <a:cubicBezTo>
                      <a:pt x="216" y="272"/>
                      <a:pt x="220" y="269"/>
                      <a:pt x="223" y="269"/>
                    </a:cubicBezTo>
                    <a:cubicBezTo>
                      <a:pt x="225" y="269"/>
                      <a:pt x="230" y="272"/>
                      <a:pt x="230" y="272"/>
                    </a:cubicBezTo>
                    <a:cubicBezTo>
                      <a:pt x="241" y="267"/>
                      <a:pt x="241" y="267"/>
                      <a:pt x="241" y="267"/>
                    </a:cubicBezTo>
                    <a:cubicBezTo>
                      <a:pt x="246" y="256"/>
                      <a:pt x="246" y="256"/>
                      <a:pt x="246" y="256"/>
                    </a:cubicBezTo>
                    <a:cubicBezTo>
                      <a:pt x="257" y="247"/>
                      <a:pt x="257" y="247"/>
                      <a:pt x="257" y="247"/>
                    </a:cubicBezTo>
                    <a:cubicBezTo>
                      <a:pt x="264" y="234"/>
                      <a:pt x="264" y="234"/>
                      <a:pt x="264" y="234"/>
                    </a:cubicBezTo>
                    <a:cubicBezTo>
                      <a:pt x="264" y="234"/>
                      <a:pt x="264" y="231"/>
                      <a:pt x="266" y="229"/>
                    </a:cubicBezTo>
                    <a:cubicBezTo>
                      <a:pt x="267" y="227"/>
                      <a:pt x="281" y="214"/>
                      <a:pt x="279" y="206"/>
                    </a:cubicBezTo>
                    <a:cubicBezTo>
                      <a:pt x="277" y="199"/>
                      <a:pt x="265" y="197"/>
                      <a:pt x="265" y="197"/>
                    </a:cubicBezTo>
                    <a:cubicBezTo>
                      <a:pt x="257" y="198"/>
                      <a:pt x="257" y="198"/>
                      <a:pt x="257" y="198"/>
                    </a:cubicBezTo>
                    <a:cubicBezTo>
                      <a:pt x="242" y="192"/>
                      <a:pt x="242" y="192"/>
                      <a:pt x="242" y="192"/>
                    </a:cubicBezTo>
                    <a:cubicBezTo>
                      <a:pt x="235" y="193"/>
                      <a:pt x="235" y="193"/>
                      <a:pt x="235" y="193"/>
                    </a:cubicBezTo>
                    <a:cubicBezTo>
                      <a:pt x="235" y="193"/>
                      <a:pt x="231" y="189"/>
                      <a:pt x="226" y="188"/>
                    </a:cubicBezTo>
                    <a:cubicBezTo>
                      <a:pt x="220" y="188"/>
                      <a:pt x="207" y="192"/>
                      <a:pt x="207" y="192"/>
                    </a:cubicBezTo>
                    <a:cubicBezTo>
                      <a:pt x="203" y="191"/>
                      <a:pt x="203" y="191"/>
                      <a:pt x="203" y="191"/>
                    </a:cubicBezTo>
                    <a:cubicBezTo>
                      <a:pt x="199" y="196"/>
                      <a:pt x="199" y="196"/>
                      <a:pt x="199" y="196"/>
                    </a:cubicBezTo>
                    <a:cubicBezTo>
                      <a:pt x="185" y="197"/>
                      <a:pt x="185" y="197"/>
                      <a:pt x="185" y="197"/>
                    </a:cubicBezTo>
                    <a:cubicBezTo>
                      <a:pt x="196" y="193"/>
                      <a:pt x="196" y="193"/>
                      <a:pt x="196" y="193"/>
                    </a:cubicBezTo>
                    <a:cubicBezTo>
                      <a:pt x="202" y="187"/>
                      <a:pt x="202" y="187"/>
                      <a:pt x="202" y="187"/>
                    </a:cubicBezTo>
                    <a:cubicBezTo>
                      <a:pt x="202" y="187"/>
                      <a:pt x="198" y="186"/>
                      <a:pt x="197" y="186"/>
                    </a:cubicBezTo>
                    <a:cubicBezTo>
                      <a:pt x="196" y="186"/>
                      <a:pt x="191" y="188"/>
                      <a:pt x="191" y="188"/>
                    </a:cubicBezTo>
                    <a:cubicBezTo>
                      <a:pt x="188" y="187"/>
                      <a:pt x="188" y="187"/>
                      <a:pt x="188" y="187"/>
                    </a:cubicBezTo>
                    <a:cubicBezTo>
                      <a:pt x="196" y="184"/>
                      <a:pt x="196" y="184"/>
                      <a:pt x="196" y="184"/>
                    </a:cubicBezTo>
                    <a:cubicBezTo>
                      <a:pt x="204" y="185"/>
                      <a:pt x="204" y="185"/>
                      <a:pt x="204" y="185"/>
                    </a:cubicBezTo>
                    <a:cubicBezTo>
                      <a:pt x="214" y="176"/>
                      <a:pt x="214" y="176"/>
                      <a:pt x="214" y="176"/>
                    </a:cubicBezTo>
                    <a:cubicBezTo>
                      <a:pt x="208" y="176"/>
                      <a:pt x="208" y="176"/>
                      <a:pt x="208" y="176"/>
                    </a:cubicBezTo>
                    <a:cubicBezTo>
                      <a:pt x="201" y="174"/>
                      <a:pt x="201" y="174"/>
                      <a:pt x="201" y="174"/>
                    </a:cubicBezTo>
                    <a:cubicBezTo>
                      <a:pt x="207" y="173"/>
                      <a:pt x="207" y="173"/>
                      <a:pt x="207" y="173"/>
                    </a:cubicBezTo>
                    <a:cubicBezTo>
                      <a:pt x="204" y="169"/>
                      <a:pt x="204" y="169"/>
                      <a:pt x="204" y="169"/>
                    </a:cubicBezTo>
                    <a:cubicBezTo>
                      <a:pt x="209" y="169"/>
                      <a:pt x="209" y="169"/>
                      <a:pt x="209" y="169"/>
                    </a:cubicBezTo>
                    <a:cubicBezTo>
                      <a:pt x="215" y="164"/>
                      <a:pt x="215" y="164"/>
                      <a:pt x="215" y="164"/>
                    </a:cubicBezTo>
                    <a:cubicBezTo>
                      <a:pt x="215" y="164"/>
                      <a:pt x="221" y="163"/>
                      <a:pt x="227" y="158"/>
                    </a:cubicBezTo>
                    <a:cubicBezTo>
                      <a:pt x="231" y="154"/>
                      <a:pt x="233" y="153"/>
                      <a:pt x="233" y="153"/>
                    </a:cubicBezTo>
                    <a:cubicBezTo>
                      <a:pt x="233" y="153"/>
                      <a:pt x="240" y="152"/>
                      <a:pt x="243" y="151"/>
                    </a:cubicBezTo>
                    <a:cubicBezTo>
                      <a:pt x="245" y="149"/>
                      <a:pt x="248" y="141"/>
                      <a:pt x="248" y="141"/>
                    </a:cubicBezTo>
                    <a:cubicBezTo>
                      <a:pt x="248" y="141"/>
                      <a:pt x="245" y="144"/>
                      <a:pt x="246" y="141"/>
                    </a:cubicBezTo>
                    <a:cubicBezTo>
                      <a:pt x="246" y="138"/>
                      <a:pt x="251" y="132"/>
                      <a:pt x="251" y="132"/>
                    </a:cubicBezTo>
                    <a:cubicBezTo>
                      <a:pt x="242" y="129"/>
                      <a:pt x="242" y="129"/>
                      <a:pt x="242" y="129"/>
                    </a:cubicBezTo>
                    <a:cubicBezTo>
                      <a:pt x="237" y="129"/>
                      <a:pt x="237" y="129"/>
                      <a:pt x="237" y="129"/>
                    </a:cubicBezTo>
                    <a:cubicBezTo>
                      <a:pt x="240" y="132"/>
                      <a:pt x="240" y="132"/>
                      <a:pt x="240" y="132"/>
                    </a:cubicBezTo>
                    <a:cubicBezTo>
                      <a:pt x="231" y="129"/>
                      <a:pt x="231" y="129"/>
                      <a:pt x="231" y="129"/>
                    </a:cubicBezTo>
                    <a:cubicBezTo>
                      <a:pt x="225" y="132"/>
                      <a:pt x="225" y="132"/>
                      <a:pt x="225" y="132"/>
                    </a:cubicBezTo>
                    <a:cubicBezTo>
                      <a:pt x="218" y="130"/>
                      <a:pt x="218" y="130"/>
                      <a:pt x="218" y="130"/>
                    </a:cubicBezTo>
                    <a:cubicBezTo>
                      <a:pt x="216" y="127"/>
                      <a:pt x="216" y="127"/>
                      <a:pt x="216" y="127"/>
                    </a:cubicBezTo>
                    <a:cubicBezTo>
                      <a:pt x="215" y="130"/>
                      <a:pt x="215" y="130"/>
                      <a:pt x="215" y="130"/>
                    </a:cubicBezTo>
                    <a:cubicBezTo>
                      <a:pt x="207" y="130"/>
                      <a:pt x="207" y="130"/>
                      <a:pt x="207" y="130"/>
                    </a:cubicBezTo>
                    <a:cubicBezTo>
                      <a:pt x="199" y="135"/>
                      <a:pt x="199" y="135"/>
                      <a:pt x="199" y="135"/>
                    </a:cubicBezTo>
                    <a:cubicBezTo>
                      <a:pt x="202" y="129"/>
                      <a:pt x="202" y="129"/>
                      <a:pt x="202" y="129"/>
                    </a:cubicBezTo>
                    <a:cubicBezTo>
                      <a:pt x="198" y="124"/>
                      <a:pt x="198" y="124"/>
                      <a:pt x="198" y="124"/>
                    </a:cubicBezTo>
                    <a:cubicBezTo>
                      <a:pt x="198" y="124"/>
                      <a:pt x="192" y="133"/>
                      <a:pt x="191" y="133"/>
                    </a:cubicBezTo>
                    <a:cubicBezTo>
                      <a:pt x="188" y="132"/>
                      <a:pt x="193" y="126"/>
                      <a:pt x="193" y="126"/>
                    </a:cubicBezTo>
                    <a:cubicBezTo>
                      <a:pt x="192" y="120"/>
                      <a:pt x="192" y="120"/>
                      <a:pt x="192" y="120"/>
                    </a:cubicBezTo>
                    <a:cubicBezTo>
                      <a:pt x="189" y="123"/>
                      <a:pt x="189" y="123"/>
                      <a:pt x="189" y="123"/>
                    </a:cubicBezTo>
                    <a:cubicBezTo>
                      <a:pt x="188" y="121"/>
                      <a:pt x="188" y="121"/>
                      <a:pt x="188" y="121"/>
                    </a:cubicBezTo>
                    <a:cubicBezTo>
                      <a:pt x="188" y="121"/>
                      <a:pt x="184" y="120"/>
                      <a:pt x="183" y="120"/>
                    </a:cubicBezTo>
                    <a:cubicBezTo>
                      <a:pt x="181" y="120"/>
                      <a:pt x="182" y="122"/>
                      <a:pt x="182" y="122"/>
                    </a:cubicBezTo>
                    <a:cubicBezTo>
                      <a:pt x="182" y="122"/>
                      <a:pt x="179" y="123"/>
                      <a:pt x="178" y="125"/>
                    </a:cubicBezTo>
                    <a:cubicBezTo>
                      <a:pt x="177" y="127"/>
                      <a:pt x="179" y="132"/>
                      <a:pt x="179" y="132"/>
                    </a:cubicBezTo>
                    <a:cubicBezTo>
                      <a:pt x="179" y="132"/>
                      <a:pt x="176" y="130"/>
                      <a:pt x="176" y="134"/>
                    </a:cubicBezTo>
                    <a:cubicBezTo>
                      <a:pt x="175" y="137"/>
                      <a:pt x="176" y="140"/>
                      <a:pt x="176" y="140"/>
                    </a:cubicBezTo>
                    <a:cubicBezTo>
                      <a:pt x="180" y="143"/>
                      <a:pt x="180" y="143"/>
                      <a:pt x="180" y="143"/>
                    </a:cubicBezTo>
                    <a:cubicBezTo>
                      <a:pt x="175" y="141"/>
                      <a:pt x="175" y="141"/>
                      <a:pt x="175" y="141"/>
                    </a:cubicBezTo>
                    <a:cubicBezTo>
                      <a:pt x="169" y="142"/>
                      <a:pt x="169" y="142"/>
                      <a:pt x="169" y="142"/>
                    </a:cubicBezTo>
                    <a:cubicBezTo>
                      <a:pt x="165" y="140"/>
                      <a:pt x="165" y="140"/>
                      <a:pt x="165" y="140"/>
                    </a:cubicBezTo>
                    <a:cubicBezTo>
                      <a:pt x="164" y="140"/>
                      <a:pt x="164" y="140"/>
                      <a:pt x="164" y="140"/>
                    </a:cubicBezTo>
                    <a:cubicBezTo>
                      <a:pt x="166" y="143"/>
                      <a:pt x="166" y="143"/>
                      <a:pt x="166" y="143"/>
                    </a:cubicBezTo>
                    <a:cubicBezTo>
                      <a:pt x="165" y="152"/>
                      <a:pt x="165" y="152"/>
                      <a:pt x="165" y="152"/>
                    </a:cubicBezTo>
                    <a:cubicBezTo>
                      <a:pt x="161" y="151"/>
                      <a:pt x="161" y="151"/>
                      <a:pt x="161" y="151"/>
                    </a:cubicBezTo>
                    <a:cubicBezTo>
                      <a:pt x="161" y="154"/>
                      <a:pt x="161" y="154"/>
                      <a:pt x="161" y="154"/>
                    </a:cubicBezTo>
                    <a:cubicBezTo>
                      <a:pt x="164" y="156"/>
                      <a:pt x="164" y="156"/>
                      <a:pt x="164" y="156"/>
                    </a:cubicBezTo>
                    <a:cubicBezTo>
                      <a:pt x="163" y="158"/>
                      <a:pt x="163" y="158"/>
                      <a:pt x="163" y="158"/>
                    </a:cubicBezTo>
                    <a:cubicBezTo>
                      <a:pt x="166" y="160"/>
                      <a:pt x="166" y="160"/>
                      <a:pt x="166" y="160"/>
                    </a:cubicBezTo>
                    <a:cubicBezTo>
                      <a:pt x="169" y="168"/>
                      <a:pt x="169" y="168"/>
                      <a:pt x="169" y="168"/>
                    </a:cubicBezTo>
                    <a:cubicBezTo>
                      <a:pt x="162" y="158"/>
                      <a:pt x="162" y="158"/>
                      <a:pt x="162" y="158"/>
                    </a:cubicBezTo>
                    <a:cubicBezTo>
                      <a:pt x="155" y="164"/>
                      <a:pt x="155" y="164"/>
                      <a:pt x="155" y="164"/>
                    </a:cubicBezTo>
                    <a:cubicBezTo>
                      <a:pt x="153" y="159"/>
                      <a:pt x="153" y="159"/>
                      <a:pt x="153" y="159"/>
                    </a:cubicBezTo>
                    <a:cubicBezTo>
                      <a:pt x="150" y="160"/>
                      <a:pt x="150" y="160"/>
                      <a:pt x="150" y="160"/>
                    </a:cubicBezTo>
                    <a:cubicBezTo>
                      <a:pt x="151" y="167"/>
                      <a:pt x="151" y="167"/>
                      <a:pt x="151" y="167"/>
                    </a:cubicBezTo>
                    <a:cubicBezTo>
                      <a:pt x="148" y="161"/>
                      <a:pt x="148" y="161"/>
                      <a:pt x="148" y="161"/>
                    </a:cubicBezTo>
                    <a:cubicBezTo>
                      <a:pt x="143" y="161"/>
                      <a:pt x="143" y="161"/>
                      <a:pt x="143" y="161"/>
                    </a:cubicBezTo>
                    <a:cubicBezTo>
                      <a:pt x="143" y="168"/>
                      <a:pt x="143" y="168"/>
                      <a:pt x="143" y="168"/>
                    </a:cubicBezTo>
                    <a:cubicBezTo>
                      <a:pt x="146" y="172"/>
                      <a:pt x="146" y="172"/>
                      <a:pt x="146" y="172"/>
                    </a:cubicBezTo>
                    <a:cubicBezTo>
                      <a:pt x="143" y="171"/>
                      <a:pt x="143" y="171"/>
                      <a:pt x="143" y="171"/>
                    </a:cubicBezTo>
                    <a:cubicBezTo>
                      <a:pt x="142" y="174"/>
                      <a:pt x="142" y="174"/>
                      <a:pt x="142" y="174"/>
                    </a:cubicBezTo>
                    <a:cubicBezTo>
                      <a:pt x="144" y="179"/>
                      <a:pt x="144" y="179"/>
                      <a:pt x="144" y="179"/>
                    </a:cubicBezTo>
                    <a:cubicBezTo>
                      <a:pt x="149" y="183"/>
                      <a:pt x="149" y="183"/>
                      <a:pt x="149" y="183"/>
                    </a:cubicBezTo>
                    <a:cubicBezTo>
                      <a:pt x="143" y="183"/>
                      <a:pt x="143" y="183"/>
                      <a:pt x="143" y="183"/>
                    </a:cubicBezTo>
                    <a:cubicBezTo>
                      <a:pt x="143" y="183"/>
                      <a:pt x="141" y="179"/>
                      <a:pt x="138" y="179"/>
                    </a:cubicBezTo>
                    <a:cubicBezTo>
                      <a:pt x="136" y="179"/>
                      <a:pt x="136" y="185"/>
                      <a:pt x="136" y="186"/>
                    </a:cubicBezTo>
                    <a:cubicBezTo>
                      <a:pt x="137" y="187"/>
                      <a:pt x="134" y="189"/>
                      <a:pt x="135" y="191"/>
                    </a:cubicBezTo>
                    <a:cubicBezTo>
                      <a:pt x="136" y="193"/>
                      <a:pt x="139" y="192"/>
                      <a:pt x="139" y="192"/>
                    </a:cubicBezTo>
                    <a:cubicBezTo>
                      <a:pt x="147" y="193"/>
                      <a:pt x="147" y="193"/>
                      <a:pt x="147" y="193"/>
                    </a:cubicBezTo>
                    <a:cubicBezTo>
                      <a:pt x="141" y="195"/>
                      <a:pt x="141" y="195"/>
                      <a:pt x="141" y="195"/>
                    </a:cubicBezTo>
                    <a:cubicBezTo>
                      <a:pt x="141" y="195"/>
                      <a:pt x="138" y="196"/>
                      <a:pt x="139" y="198"/>
                    </a:cubicBezTo>
                    <a:cubicBezTo>
                      <a:pt x="139" y="200"/>
                      <a:pt x="144" y="200"/>
                      <a:pt x="146" y="202"/>
                    </a:cubicBezTo>
                    <a:cubicBezTo>
                      <a:pt x="147" y="204"/>
                      <a:pt x="147" y="206"/>
                      <a:pt x="147" y="206"/>
                    </a:cubicBezTo>
                    <a:cubicBezTo>
                      <a:pt x="147" y="206"/>
                      <a:pt x="144" y="203"/>
                      <a:pt x="142" y="202"/>
                    </a:cubicBezTo>
                    <a:cubicBezTo>
                      <a:pt x="141" y="201"/>
                      <a:pt x="137" y="206"/>
                      <a:pt x="137" y="206"/>
                    </a:cubicBezTo>
                    <a:cubicBezTo>
                      <a:pt x="142" y="213"/>
                      <a:pt x="142" y="213"/>
                      <a:pt x="142" y="213"/>
                    </a:cubicBezTo>
                    <a:cubicBezTo>
                      <a:pt x="135" y="207"/>
                      <a:pt x="135" y="207"/>
                      <a:pt x="135" y="207"/>
                    </a:cubicBezTo>
                    <a:cubicBezTo>
                      <a:pt x="132" y="212"/>
                      <a:pt x="132" y="212"/>
                      <a:pt x="132" y="212"/>
                    </a:cubicBezTo>
                    <a:cubicBezTo>
                      <a:pt x="136" y="217"/>
                      <a:pt x="136" y="217"/>
                      <a:pt x="136" y="217"/>
                    </a:cubicBezTo>
                    <a:cubicBezTo>
                      <a:pt x="136" y="218"/>
                      <a:pt x="136" y="218"/>
                      <a:pt x="136" y="218"/>
                    </a:cubicBezTo>
                    <a:cubicBezTo>
                      <a:pt x="131" y="215"/>
                      <a:pt x="131" y="215"/>
                      <a:pt x="131" y="215"/>
                    </a:cubicBezTo>
                    <a:cubicBezTo>
                      <a:pt x="123" y="221"/>
                      <a:pt x="123" y="221"/>
                      <a:pt x="123" y="221"/>
                    </a:cubicBezTo>
                    <a:cubicBezTo>
                      <a:pt x="123" y="221"/>
                      <a:pt x="132" y="222"/>
                      <a:pt x="131" y="223"/>
                    </a:cubicBezTo>
                    <a:cubicBezTo>
                      <a:pt x="129" y="226"/>
                      <a:pt x="123" y="226"/>
                      <a:pt x="123" y="226"/>
                    </a:cubicBezTo>
                    <a:cubicBezTo>
                      <a:pt x="122" y="232"/>
                      <a:pt x="122" y="232"/>
                      <a:pt x="122" y="232"/>
                    </a:cubicBezTo>
                    <a:cubicBezTo>
                      <a:pt x="120" y="229"/>
                      <a:pt x="120" y="229"/>
                      <a:pt x="120" y="229"/>
                    </a:cubicBezTo>
                    <a:cubicBezTo>
                      <a:pt x="120" y="229"/>
                      <a:pt x="111" y="229"/>
                      <a:pt x="111" y="230"/>
                    </a:cubicBezTo>
                    <a:cubicBezTo>
                      <a:pt x="111" y="232"/>
                      <a:pt x="121" y="235"/>
                      <a:pt x="121" y="235"/>
                    </a:cubicBezTo>
                    <a:cubicBezTo>
                      <a:pt x="127" y="234"/>
                      <a:pt x="127" y="234"/>
                      <a:pt x="127" y="234"/>
                    </a:cubicBezTo>
                    <a:cubicBezTo>
                      <a:pt x="130" y="231"/>
                      <a:pt x="130" y="231"/>
                      <a:pt x="130" y="231"/>
                    </a:cubicBezTo>
                    <a:cubicBezTo>
                      <a:pt x="139" y="228"/>
                      <a:pt x="139" y="228"/>
                      <a:pt x="139" y="228"/>
                    </a:cubicBezTo>
                    <a:cubicBezTo>
                      <a:pt x="139" y="230"/>
                      <a:pt x="139" y="230"/>
                      <a:pt x="139" y="230"/>
                    </a:cubicBezTo>
                    <a:cubicBezTo>
                      <a:pt x="132" y="232"/>
                      <a:pt x="132" y="232"/>
                      <a:pt x="132" y="232"/>
                    </a:cubicBezTo>
                    <a:cubicBezTo>
                      <a:pt x="130" y="234"/>
                      <a:pt x="130" y="234"/>
                      <a:pt x="130" y="234"/>
                    </a:cubicBezTo>
                    <a:cubicBezTo>
                      <a:pt x="134" y="236"/>
                      <a:pt x="134" y="236"/>
                      <a:pt x="134" y="236"/>
                    </a:cubicBezTo>
                    <a:cubicBezTo>
                      <a:pt x="132" y="237"/>
                      <a:pt x="132" y="237"/>
                      <a:pt x="132" y="237"/>
                    </a:cubicBezTo>
                    <a:cubicBezTo>
                      <a:pt x="129" y="235"/>
                      <a:pt x="129" y="235"/>
                      <a:pt x="129" y="235"/>
                    </a:cubicBezTo>
                    <a:cubicBezTo>
                      <a:pt x="122" y="237"/>
                      <a:pt x="122" y="237"/>
                      <a:pt x="122" y="237"/>
                    </a:cubicBezTo>
                    <a:cubicBezTo>
                      <a:pt x="118" y="236"/>
                      <a:pt x="118" y="236"/>
                      <a:pt x="118" y="236"/>
                    </a:cubicBezTo>
                    <a:cubicBezTo>
                      <a:pt x="117" y="240"/>
                      <a:pt x="117" y="240"/>
                      <a:pt x="117" y="240"/>
                    </a:cubicBezTo>
                    <a:cubicBezTo>
                      <a:pt x="122" y="244"/>
                      <a:pt x="122" y="244"/>
                      <a:pt x="122" y="244"/>
                    </a:cubicBezTo>
                    <a:cubicBezTo>
                      <a:pt x="127" y="247"/>
                      <a:pt x="127" y="247"/>
                      <a:pt x="127" y="247"/>
                    </a:cubicBezTo>
                    <a:cubicBezTo>
                      <a:pt x="135" y="244"/>
                      <a:pt x="135" y="244"/>
                      <a:pt x="135" y="244"/>
                    </a:cubicBezTo>
                    <a:cubicBezTo>
                      <a:pt x="148" y="233"/>
                      <a:pt x="148" y="233"/>
                      <a:pt x="148" y="233"/>
                    </a:cubicBezTo>
                    <a:cubicBezTo>
                      <a:pt x="146" y="231"/>
                      <a:pt x="146" y="231"/>
                      <a:pt x="146" y="231"/>
                    </a:cubicBezTo>
                    <a:cubicBezTo>
                      <a:pt x="149" y="230"/>
                      <a:pt x="149" y="230"/>
                      <a:pt x="149" y="230"/>
                    </a:cubicBezTo>
                    <a:cubicBezTo>
                      <a:pt x="153" y="232"/>
                      <a:pt x="153" y="232"/>
                      <a:pt x="153" y="232"/>
                    </a:cubicBezTo>
                    <a:cubicBezTo>
                      <a:pt x="145" y="238"/>
                      <a:pt x="145" y="238"/>
                      <a:pt x="145" y="238"/>
                    </a:cubicBezTo>
                    <a:cubicBezTo>
                      <a:pt x="145" y="238"/>
                      <a:pt x="152" y="240"/>
                      <a:pt x="151" y="240"/>
                    </a:cubicBezTo>
                    <a:cubicBezTo>
                      <a:pt x="145" y="240"/>
                      <a:pt x="145" y="240"/>
                      <a:pt x="145" y="240"/>
                    </a:cubicBezTo>
                    <a:cubicBezTo>
                      <a:pt x="137" y="246"/>
                      <a:pt x="137" y="246"/>
                      <a:pt x="137" y="246"/>
                    </a:cubicBezTo>
                    <a:cubicBezTo>
                      <a:pt x="141" y="249"/>
                      <a:pt x="141" y="249"/>
                      <a:pt x="141" y="249"/>
                    </a:cubicBezTo>
                    <a:cubicBezTo>
                      <a:pt x="137" y="249"/>
                      <a:pt x="137" y="249"/>
                      <a:pt x="137" y="249"/>
                    </a:cubicBezTo>
                    <a:cubicBezTo>
                      <a:pt x="134" y="251"/>
                      <a:pt x="134" y="251"/>
                      <a:pt x="134" y="251"/>
                    </a:cubicBezTo>
                    <a:cubicBezTo>
                      <a:pt x="141" y="254"/>
                      <a:pt x="141" y="254"/>
                      <a:pt x="141" y="254"/>
                    </a:cubicBezTo>
                    <a:cubicBezTo>
                      <a:pt x="135" y="253"/>
                      <a:pt x="135" y="253"/>
                      <a:pt x="135" y="253"/>
                    </a:cubicBezTo>
                    <a:cubicBezTo>
                      <a:pt x="131" y="260"/>
                      <a:pt x="131" y="260"/>
                      <a:pt x="131" y="260"/>
                    </a:cubicBezTo>
                    <a:cubicBezTo>
                      <a:pt x="125" y="260"/>
                      <a:pt x="125" y="260"/>
                      <a:pt x="125" y="260"/>
                    </a:cubicBezTo>
                    <a:cubicBezTo>
                      <a:pt x="122" y="267"/>
                      <a:pt x="122" y="267"/>
                      <a:pt x="122" y="267"/>
                    </a:cubicBezTo>
                    <a:cubicBezTo>
                      <a:pt x="126" y="267"/>
                      <a:pt x="126" y="267"/>
                      <a:pt x="126" y="267"/>
                    </a:cubicBezTo>
                    <a:cubicBezTo>
                      <a:pt x="125" y="277"/>
                      <a:pt x="125" y="277"/>
                      <a:pt x="125" y="277"/>
                    </a:cubicBezTo>
                    <a:cubicBezTo>
                      <a:pt x="120" y="277"/>
                      <a:pt x="120" y="277"/>
                      <a:pt x="120" y="277"/>
                    </a:cubicBezTo>
                    <a:cubicBezTo>
                      <a:pt x="115" y="281"/>
                      <a:pt x="115" y="281"/>
                      <a:pt x="115" y="281"/>
                    </a:cubicBezTo>
                    <a:cubicBezTo>
                      <a:pt x="118" y="285"/>
                      <a:pt x="118" y="285"/>
                      <a:pt x="118" y="285"/>
                    </a:cubicBezTo>
                    <a:cubicBezTo>
                      <a:pt x="115" y="292"/>
                      <a:pt x="115" y="292"/>
                      <a:pt x="115" y="292"/>
                    </a:cubicBezTo>
                    <a:cubicBezTo>
                      <a:pt x="116" y="294"/>
                      <a:pt x="116" y="294"/>
                      <a:pt x="116" y="294"/>
                    </a:cubicBezTo>
                    <a:cubicBezTo>
                      <a:pt x="121" y="294"/>
                      <a:pt x="121" y="294"/>
                      <a:pt x="121" y="294"/>
                    </a:cubicBezTo>
                    <a:cubicBezTo>
                      <a:pt x="116" y="296"/>
                      <a:pt x="116" y="296"/>
                      <a:pt x="116" y="296"/>
                    </a:cubicBezTo>
                    <a:cubicBezTo>
                      <a:pt x="111" y="305"/>
                      <a:pt x="111" y="305"/>
                      <a:pt x="111" y="305"/>
                    </a:cubicBezTo>
                    <a:cubicBezTo>
                      <a:pt x="110" y="306"/>
                      <a:pt x="110" y="306"/>
                      <a:pt x="110" y="306"/>
                    </a:cubicBezTo>
                    <a:cubicBezTo>
                      <a:pt x="110" y="306"/>
                      <a:pt x="109" y="313"/>
                      <a:pt x="106" y="315"/>
                    </a:cubicBezTo>
                    <a:cubicBezTo>
                      <a:pt x="105" y="316"/>
                      <a:pt x="101" y="317"/>
                      <a:pt x="101" y="317"/>
                    </a:cubicBezTo>
                    <a:cubicBezTo>
                      <a:pt x="101" y="317"/>
                      <a:pt x="100" y="324"/>
                      <a:pt x="105" y="324"/>
                    </a:cubicBezTo>
                    <a:cubicBezTo>
                      <a:pt x="112" y="325"/>
                      <a:pt x="114" y="318"/>
                      <a:pt x="114" y="318"/>
                    </a:cubicBezTo>
                    <a:cubicBezTo>
                      <a:pt x="113" y="316"/>
                      <a:pt x="113" y="316"/>
                      <a:pt x="113" y="316"/>
                    </a:cubicBezTo>
                    <a:cubicBezTo>
                      <a:pt x="114" y="314"/>
                      <a:pt x="114" y="314"/>
                      <a:pt x="114" y="314"/>
                    </a:cubicBezTo>
                    <a:cubicBezTo>
                      <a:pt x="121" y="300"/>
                      <a:pt x="121" y="300"/>
                      <a:pt x="121" y="300"/>
                    </a:cubicBezTo>
                    <a:cubicBezTo>
                      <a:pt x="128" y="296"/>
                      <a:pt x="128" y="296"/>
                      <a:pt x="128" y="296"/>
                    </a:cubicBezTo>
                    <a:cubicBezTo>
                      <a:pt x="125" y="292"/>
                      <a:pt x="125" y="292"/>
                      <a:pt x="125" y="292"/>
                    </a:cubicBezTo>
                    <a:cubicBezTo>
                      <a:pt x="126" y="282"/>
                      <a:pt x="126" y="282"/>
                      <a:pt x="126" y="282"/>
                    </a:cubicBezTo>
                    <a:cubicBezTo>
                      <a:pt x="129" y="282"/>
                      <a:pt x="129" y="282"/>
                      <a:pt x="129" y="282"/>
                    </a:cubicBezTo>
                    <a:cubicBezTo>
                      <a:pt x="136" y="276"/>
                      <a:pt x="136" y="276"/>
                      <a:pt x="136" y="276"/>
                    </a:cubicBezTo>
                    <a:cubicBezTo>
                      <a:pt x="139" y="275"/>
                      <a:pt x="139" y="275"/>
                      <a:pt x="139" y="275"/>
                    </a:cubicBezTo>
                    <a:cubicBezTo>
                      <a:pt x="144" y="271"/>
                      <a:pt x="144" y="271"/>
                      <a:pt x="144" y="271"/>
                    </a:cubicBezTo>
                    <a:cubicBezTo>
                      <a:pt x="148" y="270"/>
                      <a:pt x="148" y="270"/>
                      <a:pt x="148" y="270"/>
                    </a:cubicBezTo>
                    <a:cubicBezTo>
                      <a:pt x="145" y="272"/>
                      <a:pt x="145" y="272"/>
                      <a:pt x="145" y="272"/>
                    </a:cubicBezTo>
                    <a:cubicBezTo>
                      <a:pt x="142" y="276"/>
                      <a:pt x="142" y="276"/>
                      <a:pt x="142" y="276"/>
                    </a:cubicBezTo>
                    <a:cubicBezTo>
                      <a:pt x="137" y="277"/>
                      <a:pt x="137" y="277"/>
                      <a:pt x="137" y="277"/>
                    </a:cubicBezTo>
                    <a:cubicBezTo>
                      <a:pt x="132" y="282"/>
                      <a:pt x="132" y="282"/>
                      <a:pt x="132" y="282"/>
                    </a:cubicBezTo>
                    <a:cubicBezTo>
                      <a:pt x="129" y="283"/>
                      <a:pt x="129" y="283"/>
                      <a:pt x="129" y="283"/>
                    </a:cubicBezTo>
                    <a:cubicBezTo>
                      <a:pt x="127" y="291"/>
                      <a:pt x="127" y="291"/>
                      <a:pt x="127" y="291"/>
                    </a:cubicBezTo>
                    <a:cubicBezTo>
                      <a:pt x="132" y="295"/>
                      <a:pt x="132" y="295"/>
                      <a:pt x="132" y="295"/>
                    </a:cubicBezTo>
                    <a:cubicBezTo>
                      <a:pt x="131" y="287"/>
                      <a:pt x="131" y="287"/>
                      <a:pt x="131" y="287"/>
                    </a:cubicBezTo>
                    <a:cubicBezTo>
                      <a:pt x="135" y="290"/>
                      <a:pt x="135" y="290"/>
                      <a:pt x="135" y="290"/>
                    </a:cubicBezTo>
                    <a:cubicBezTo>
                      <a:pt x="137" y="287"/>
                      <a:pt x="137" y="287"/>
                      <a:pt x="137" y="287"/>
                    </a:cubicBezTo>
                    <a:cubicBezTo>
                      <a:pt x="139" y="294"/>
                      <a:pt x="139" y="294"/>
                      <a:pt x="139" y="294"/>
                    </a:cubicBezTo>
                    <a:cubicBezTo>
                      <a:pt x="144" y="290"/>
                      <a:pt x="144" y="290"/>
                      <a:pt x="144" y="290"/>
                    </a:cubicBezTo>
                    <a:cubicBezTo>
                      <a:pt x="143" y="285"/>
                      <a:pt x="143" y="285"/>
                      <a:pt x="143" y="285"/>
                    </a:cubicBezTo>
                    <a:cubicBezTo>
                      <a:pt x="145" y="285"/>
                      <a:pt x="145" y="285"/>
                      <a:pt x="145" y="285"/>
                    </a:cubicBezTo>
                    <a:cubicBezTo>
                      <a:pt x="145" y="285"/>
                      <a:pt x="147" y="279"/>
                      <a:pt x="148" y="280"/>
                    </a:cubicBezTo>
                    <a:cubicBezTo>
                      <a:pt x="150" y="280"/>
                      <a:pt x="148" y="283"/>
                      <a:pt x="148" y="283"/>
                    </a:cubicBezTo>
                    <a:cubicBezTo>
                      <a:pt x="148" y="287"/>
                      <a:pt x="148" y="287"/>
                      <a:pt x="148" y="287"/>
                    </a:cubicBezTo>
                    <a:cubicBezTo>
                      <a:pt x="149" y="285"/>
                      <a:pt x="149" y="285"/>
                      <a:pt x="149" y="285"/>
                    </a:cubicBezTo>
                    <a:cubicBezTo>
                      <a:pt x="152" y="290"/>
                      <a:pt x="152" y="290"/>
                      <a:pt x="152" y="290"/>
                    </a:cubicBezTo>
                    <a:cubicBezTo>
                      <a:pt x="158" y="294"/>
                      <a:pt x="158" y="294"/>
                      <a:pt x="158" y="294"/>
                    </a:cubicBezTo>
                    <a:cubicBezTo>
                      <a:pt x="151" y="293"/>
                      <a:pt x="151" y="293"/>
                      <a:pt x="151" y="293"/>
                    </a:cubicBezTo>
                    <a:cubicBezTo>
                      <a:pt x="148" y="290"/>
                      <a:pt x="148" y="290"/>
                      <a:pt x="148" y="290"/>
                    </a:cubicBezTo>
                    <a:cubicBezTo>
                      <a:pt x="145" y="292"/>
                      <a:pt x="145" y="292"/>
                      <a:pt x="145" y="292"/>
                    </a:cubicBezTo>
                    <a:cubicBezTo>
                      <a:pt x="144" y="302"/>
                      <a:pt x="144" y="302"/>
                      <a:pt x="144" y="302"/>
                    </a:cubicBezTo>
                    <a:cubicBezTo>
                      <a:pt x="144" y="302"/>
                      <a:pt x="141" y="302"/>
                      <a:pt x="141" y="303"/>
                    </a:cubicBezTo>
                    <a:cubicBezTo>
                      <a:pt x="141" y="311"/>
                      <a:pt x="141" y="311"/>
                      <a:pt x="141" y="311"/>
                    </a:cubicBezTo>
                    <a:cubicBezTo>
                      <a:pt x="141" y="311"/>
                      <a:pt x="148" y="313"/>
                      <a:pt x="147" y="317"/>
                    </a:cubicBezTo>
                    <a:cubicBezTo>
                      <a:pt x="147" y="322"/>
                      <a:pt x="142" y="325"/>
                      <a:pt x="142" y="325"/>
                    </a:cubicBezTo>
                    <a:cubicBezTo>
                      <a:pt x="141" y="329"/>
                      <a:pt x="141" y="329"/>
                      <a:pt x="141" y="329"/>
                    </a:cubicBezTo>
                    <a:cubicBezTo>
                      <a:pt x="137" y="329"/>
                      <a:pt x="137" y="329"/>
                      <a:pt x="137" y="329"/>
                    </a:cubicBezTo>
                    <a:cubicBezTo>
                      <a:pt x="137" y="329"/>
                      <a:pt x="137" y="333"/>
                      <a:pt x="135" y="335"/>
                    </a:cubicBezTo>
                    <a:cubicBezTo>
                      <a:pt x="133" y="337"/>
                      <a:pt x="128" y="341"/>
                      <a:pt x="127" y="344"/>
                    </a:cubicBezTo>
                    <a:cubicBezTo>
                      <a:pt x="126" y="347"/>
                      <a:pt x="123" y="355"/>
                      <a:pt x="123" y="355"/>
                    </a:cubicBezTo>
                    <a:cubicBezTo>
                      <a:pt x="121" y="348"/>
                      <a:pt x="121" y="348"/>
                      <a:pt x="121" y="348"/>
                    </a:cubicBezTo>
                    <a:cubicBezTo>
                      <a:pt x="120" y="348"/>
                      <a:pt x="120" y="348"/>
                      <a:pt x="120" y="348"/>
                    </a:cubicBezTo>
                    <a:cubicBezTo>
                      <a:pt x="120" y="348"/>
                      <a:pt x="117" y="355"/>
                      <a:pt x="119" y="358"/>
                    </a:cubicBezTo>
                    <a:cubicBezTo>
                      <a:pt x="120" y="360"/>
                      <a:pt x="122" y="365"/>
                      <a:pt x="122" y="365"/>
                    </a:cubicBezTo>
                    <a:cubicBezTo>
                      <a:pt x="122" y="371"/>
                      <a:pt x="122" y="371"/>
                      <a:pt x="122" y="371"/>
                    </a:cubicBezTo>
                    <a:cubicBezTo>
                      <a:pt x="125" y="373"/>
                      <a:pt x="125" y="373"/>
                      <a:pt x="125" y="373"/>
                    </a:cubicBezTo>
                    <a:cubicBezTo>
                      <a:pt x="126" y="370"/>
                      <a:pt x="126" y="370"/>
                      <a:pt x="126" y="370"/>
                    </a:cubicBezTo>
                    <a:cubicBezTo>
                      <a:pt x="126" y="370"/>
                      <a:pt x="122" y="363"/>
                      <a:pt x="127" y="361"/>
                    </a:cubicBezTo>
                    <a:cubicBezTo>
                      <a:pt x="130" y="359"/>
                      <a:pt x="132" y="360"/>
                      <a:pt x="132" y="360"/>
                    </a:cubicBezTo>
                    <a:cubicBezTo>
                      <a:pt x="132" y="363"/>
                      <a:pt x="132" y="363"/>
                      <a:pt x="132" y="363"/>
                    </a:cubicBezTo>
                    <a:cubicBezTo>
                      <a:pt x="139" y="368"/>
                      <a:pt x="139" y="368"/>
                      <a:pt x="139" y="368"/>
                    </a:cubicBezTo>
                    <a:cubicBezTo>
                      <a:pt x="144" y="374"/>
                      <a:pt x="144" y="374"/>
                      <a:pt x="144" y="374"/>
                    </a:cubicBezTo>
                    <a:cubicBezTo>
                      <a:pt x="147" y="368"/>
                      <a:pt x="147" y="368"/>
                      <a:pt x="147" y="368"/>
                    </a:cubicBezTo>
                    <a:cubicBezTo>
                      <a:pt x="145" y="363"/>
                      <a:pt x="145" y="363"/>
                      <a:pt x="145" y="363"/>
                    </a:cubicBezTo>
                    <a:cubicBezTo>
                      <a:pt x="145" y="360"/>
                      <a:pt x="145" y="360"/>
                      <a:pt x="145" y="360"/>
                    </a:cubicBezTo>
                    <a:cubicBezTo>
                      <a:pt x="145" y="360"/>
                      <a:pt x="147" y="364"/>
                      <a:pt x="149" y="365"/>
                    </a:cubicBezTo>
                    <a:cubicBezTo>
                      <a:pt x="153" y="365"/>
                      <a:pt x="153" y="365"/>
                      <a:pt x="153" y="365"/>
                    </a:cubicBezTo>
                    <a:cubicBezTo>
                      <a:pt x="153" y="365"/>
                      <a:pt x="149" y="372"/>
                      <a:pt x="153" y="372"/>
                    </a:cubicBezTo>
                    <a:cubicBezTo>
                      <a:pt x="158" y="372"/>
                      <a:pt x="164" y="371"/>
                      <a:pt x="164" y="371"/>
                    </a:cubicBezTo>
                    <a:cubicBezTo>
                      <a:pt x="166" y="368"/>
                      <a:pt x="166" y="368"/>
                      <a:pt x="166" y="368"/>
                    </a:cubicBezTo>
                    <a:cubicBezTo>
                      <a:pt x="170" y="369"/>
                      <a:pt x="170" y="369"/>
                      <a:pt x="170" y="369"/>
                    </a:cubicBezTo>
                    <a:cubicBezTo>
                      <a:pt x="178" y="369"/>
                      <a:pt x="178" y="369"/>
                      <a:pt x="178" y="369"/>
                    </a:cubicBezTo>
                    <a:cubicBezTo>
                      <a:pt x="179" y="357"/>
                      <a:pt x="179" y="357"/>
                      <a:pt x="179" y="357"/>
                    </a:cubicBezTo>
                    <a:cubicBezTo>
                      <a:pt x="179" y="357"/>
                      <a:pt x="179" y="362"/>
                      <a:pt x="181" y="363"/>
                    </a:cubicBezTo>
                    <a:cubicBezTo>
                      <a:pt x="183" y="363"/>
                      <a:pt x="198" y="365"/>
                      <a:pt x="198" y="365"/>
                    </a:cubicBezTo>
                    <a:cubicBezTo>
                      <a:pt x="196" y="368"/>
                      <a:pt x="196" y="368"/>
                      <a:pt x="196" y="368"/>
                    </a:cubicBezTo>
                    <a:cubicBezTo>
                      <a:pt x="194" y="368"/>
                      <a:pt x="194" y="368"/>
                      <a:pt x="194" y="368"/>
                    </a:cubicBezTo>
                    <a:cubicBezTo>
                      <a:pt x="193" y="366"/>
                      <a:pt x="193" y="366"/>
                      <a:pt x="193" y="366"/>
                    </a:cubicBezTo>
                    <a:cubicBezTo>
                      <a:pt x="188" y="366"/>
                      <a:pt x="188" y="366"/>
                      <a:pt x="188" y="366"/>
                    </a:cubicBezTo>
                    <a:cubicBezTo>
                      <a:pt x="189" y="370"/>
                      <a:pt x="189" y="370"/>
                      <a:pt x="189" y="370"/>
                    </a:cubicBezTo>
                    <a:cubicBezTo>
                      <a:pt x="186" y="369"/>
                      <a:pt x="186" y="369"/>
                      <a:pt x="186" y="369"/>
                    </a:cubicBezTo>
                    <a:cubicBezTo>
                      <a:pt x="180" y="373"/>
                      <a:pt x="180" y="373"/>
                      <a:pt x="180" y="373"/>
                    </a:cubicBezTo>
                    <a:cubicBezTo>
                      <a:pt x="181" y="375"/>
                      <a:pt x="181" y="375"/>
                      <a:pt x="181" y="375"/>
                    </a:cubicBezTo>
                    <a:cubicBezTo>
                      <a:pt x="181" y="375"/>
                      <a:pt x="176" y="378"/>
                      <a:pt x="175" y="381"/>
                    </a:cubicBezTo>
                    <a:cubicBezTo>
                      <a:pt x="174" y="384"/>
                      <a:pt x="172" y="388"/>
                      <a:pt x="172" y="388"/>
                    </a:cubicBezTo>
                    <a:cubicBezTo>
                      <a:pt x="169" y="390"/>
                      <a:pt x="169" y="390"/>
                      <a:pt x="169" y="390"/>
                    </a:cubicBezTo>
                    <a:cubicBezTo>
                      <a:pt x="172" y="396"/>
                      <a:pt x="172" y="396"/>
                      <a:pt x="172" y="396"/>
                    </a:cubicBezTo>
                    <a:cubicBezTo>
                      <a:pt x="174" y="400"/>
                      <a:pt x="174" y="400"/>
                      <a:pt x="174" y="400"/>
                    </a:cubicBezTo>
                    <a:cubicBezTo>
                      <a:pt x="174" y="400"/>
                      <a:pt x="176" y="401"/>
                      <a:pt x="176" y="403"/>
                    </a:cubicBezTo>
                    <a:cubicBezTo>
                      <a:pt x="176" y="404"/>
                      <a:pt x="175" y="409"/>
                      <a:pt x="175" y="410"/>
                    </a:cubicBezTo>
                    <a:cubicBezTo>
                      <a:pt x="176" y="412"/>
                      <a:pt x="178" y="414"/>
                      <a:pt x="178" y="414"/>
                    </a:cubicBezTo>
                    <a:cubicBezTo>
                      <a:pt x="182" y="409"/>
                      <a:pt x="182" y="409"/>
                      <a:pt x="182" y="409"/>
                    </a:cubicBezTo>
                    <a:cubicBezTo>
                      <a:pt x="182" y="413"/>
                      <a:pt x="182" y="413"/>
                      <a:pt x="182" y="413"/>
                    </a:cubicBezTo>
                    <a:cubicBezTo>
                      <a:pt x="180" y="416"/>
                      <a:pt x="180" y="416"/>
                      <a:pt x="180" y="416"/>
                    </a:cubicBezTo>
                    <a:cubicBezTo>
                      <a:pt x="179" y="416"/>
                      <a:pt x="181" y="422"/>
                      <a:pt x="181" y="422"/>
                    </a:cubicBezTo>
                    <a:cubicBezTo>
                      <a:pt x="185" y="417"/>
                      <a:pt x="185" y="417"/>
                      <a:pt x="185" y="417"/>
                    </a:cubicBezTo>
                    <a:cubicBezTo>
                      <a:pt x="186" y="412"/>
                      <a:pt x="186" y="412"/>
                      <a:pt x="186" y="412"/>
                    </a:cubicBezTo>
                    <a:cubicBezTo>
                      <a:pt x="189" y="420"/>
                      <a:pt x="189" y="420"/>
                      <a:pt x="189" y="420"/>
                    </a:cubicBezTo>
                    <a:cubicBezTo>
                      <a:pt x="194" y="417"/>
                      <a:pt x="194" y="417"/>
                      <a:pt x="194" y="417"/>
                    </a:cubicBezTo>
                    <a:cubicBezTo>
                      <a:pt x="194" y="423"/>
                      <a:pt x="194" y="423"/>
                      <a:pt x="194" y="423"/>
                    </a:cubicBezTo>
                    <a:cubicBezTo>
                      <a:pt x="194" y="423"/>
                      <a:pt x="189" y="424"/>
                      <a:pt x="189" y="425"/>
                    </a:cubicBezTo>
                    <a:cubicBezTo>
                      <a:pt x="189" y="427"/>
                      <a:pt x="192" y="428"/>
                      <a:pt x="192" y="428"/>
                    </a:cubicBezTo>
                    <a:cubicBezTo>
                      <a:pt x="191" y="432"/>
                      <a:pt x="191" y="432"/>
                      <a:pt x="191" y="432"/>
                    </a:cubicBezTo>
                    <a:cubicBezTo>
                      <a:pt x="182" y="433"/>
                      <a:pt x="182" y="433"/>
                      <a:pt x="182" y="433"/>
                    </a:cubicBezTo>
                    <a:cubicBezTo>
                      <a:pt x="182" y="433"/>
                      <a:pt x="180" y="442"/>
                      <a:pt x="182" y="443"/>
                    </a:cubicBezTo>
                    <a:cubicBezTo>
                      <a:pt x="184" y="444"/>
                      <a:pt x="185" y="448"/>
                      <a:pt x="185" y="448"/>
                    </a:cubicBezTo>
                    <a:cubicBezTo>
                      <a:pt x="185" y="448"/>
                      <a:pt x="177" y="452"/>
                      <a:pt x="177" y="457"/>
                    </a:cubicBezTo>
                    <a:cubicBezTo>
                      <a:pt x="178" y="461"/>
                      <a:pt x="181" y="470"/>
                      <a:pt x="181" y="470"/>
                    </a:cubicBezTo>
                    <a:cubicBezTo>
                      <a:pt x="186" y="472"/>
                      <a:pt x="186" y="472"/>
                      <a:pt x="186" y="472"/>
                    </a:cubicBezTo>
                    <a:cubicBezTo>
                      <a:pt x="186" y="472"/>
                      <a:pt x="185" y="474"/>
                      <a:pt x="184" y="474"/>
                    </a:cubicBezTo>
                    <a:cubicBezTo>
                      <a:pt x="183" y="474"/>
                      <a:pt x="179" y="472"/>
                      <a:pt x="179" y="472"/>
                    </a:cubicBezTo>
                    <a:cubicBezTo>
                      <a:pt x="177" y="465"/>
                      <a:pt x="177" y="465"/>
                      <a:pt x="177" y="465"/>
                    </a:cubicBezTo>
                    <a:cubicBezTo>
                      <a:pt x="177" y="465"/>
                      <a:pt x="171" y="464"/>
                      <a:pt x="171" y="466"/>
                    </a:cubicBezTo>
                    <a:cubicBezTo>
                      <a:pt x="170" y="467"/>
                      <a:pt x="172" y="474"/>
                      <a:pt x="172" y="474"/>
                    </a:cubicBezTo>
                    <a:cubicBezTo>
                      <a:pt x="165" y="467"/>
                      <a:pt x="165" y="467"/>
                      <a:pt x="165" y="467"/>
                    </a:cubicBezTo>
                    <a:cubicBezTo>
                      <a:pt x="152" y="469"/>
                      <a:pt x="152" y="469"/>
                      <a:pt x="152" y="469"/>
                    </a:cubicBezTo>
                    <a:cubicBezTo>
                      <a:pt x="144" y="464"/>
                      <a:pt x="144" y="464"/>
                      <a:pt x="144" y="464"/>
                    </a:cubicBezTo>
                    <a:cubicBezTo>
                      <a:pt x="144" y="467"/>
                      <a:pt x="144" y="467"/>
                      <a:pt x="144" y="467"/>
                    </a:cubicBezTo>
                    <a:cubicBezTo>
                      <a:pt x="133" y="469"/>
                      <a:pt x="133" y="469"/>
                      <a:pt x="133" y="469"/>
                    </a:cubicBezTo>
                    <a:cubicBezTo>
                      <a:pt x="121" y="475"/>
                      <a:pt x="121" y="475"/>
                      <a:pt x="121" y="475"/>
                    </a:cubicBezTo>
                    <a:cubicBezTo>
                      <a:pt x="121" y="475"/>
                      <a:pt x="120" y="482"/>
                      <a:pt x="117" y="483"/>
                    </a:cubicBezTo>
                    <a:cubicBezTo>
                      <a:pt x="115" y="485"/>
                      <a:pt x="111" y="485"/>
                      <a:pt x="111" y="485"/>
                    </a:cubicBezTo>
                    <a:cubicBezTo>
                      <a:pt x="111" y="485"/>
                      <a:pt x="100" y="490"/>
                      <a:pt x="101" y="491"/>
                    </a:cubicBezTo>
                    <a:cubicBezTo>
                      <a:pt x="103" y="492"/>
                      <a:pt x="107" y="491"/>
                      <a:pt x="109" y="492"/>
                    </a:cubicBezTo>
                    <a:cubicBezTo>
                      <a:pt x="110" y="494"/>
                      <a:pt x="110" y="497"/>
                      <a:pt x="110" y="497"/>
                    </a:cubicBezTo>
                    <a:cubicBezTo>
                      <a:pt x="110" y="497"/>
                      <a:pt x="112" y="496"/>
                      <a:pt x="112" y="494"/>
                    </a:cubicBezTo>
                    <a:cubicBezTo>
                      <a:pt x="113" y="491"/>
                      <a:pt x="114" y="489"/>
                      <a:pt x="116" y="489"/>
                    </a:cubicBezTo>
                    <a:cubicBezTo>
                      <a:pt x="117" y="488"/>
                      <a:pt x="119" y="490"/>
                      <a:pt x="119" y="490"/>
                    </a:cubicBezTo>
                    <a:cubicBezTo>
                      <a:pt x="122" y="489"/>
                      <a:pt x="122" y="489"/>
                      <a:pt x="122" y="489"/>
                    </a:cubicBezTo>
                    <a:cubicBezTo>
                      <a:pt x="129" y="490"/>
                      <a:pt x="129" y="490"/>
                      <a:pt x="129" y="490"/>
                    </a:cubicBezTo>
                    <a:cubicBezTo>
                      <a:pt x="127" y="494"/>
                      <a:pt x="127" y="494"/>
                      <a:pt x="127" y="494"/>
                    </a:cubicBezTo>
                    <a:cubicBezTo>
                      <a:pt x="127" y="494"/>
                      <a:pt x="126" y="499"/>
                      <a:pt x="127" y="500"/>
                    </a:cubicBezTo>
                    <a:cubicBezTo>
                      <a:pt x="128" y="501"/>
                      <a:pt x="128" y="503"/>
                      <a:pt x="128" y="503"/>
                    </a:cubicBezTo>
                    <a:cubicBezTo>
                      <a:pt x="128" y="503"/>
                      <a:pt x="123" y="506"/>
                      <a:pt x="123" y="510"/>
                    </a:cubicBezTo>
                    <a:cubicBezTo>
                      <a:pt x="123" y="512"/>
                      <a:pt x="128" y="514"/>
                      <a:pt x="128" y="514"/>
                    </a:cubicBezTo>
                    <a:cubicBezTo>
                      <a:pt x="126" y="516"/>
                      <a:pt x="126" y="516"/>
                      <a:pt x="126" y="516"/>
                    </a:cubicBezTo>
                    <a:cubicBezTo>
                      <a:pt x="126" y="516"/>
                      <a:pt x="119" y="531"/>
                      <a:pt x="116" y="531"/>
                    </a:cubicBezTo>
                    <a:cubicBezTo>
                      <a:pt x="113" y="532"/>
                      <a:pt x="110" y="532"/>
                      <a:pt x="109" y="533"/>
                    </a:cubicBezTo>
                    <a:cubicBezTo>
                      <a:pt x="106" y="534"/>
                      <a:pt x="102" y="536"/>
                      <a:pt x="102" y="536"/>
                    </a:cubicBezTo>
                    <a:cubicBezTo>
                      <a:pt x="98" y="535"/>
                      <a:pt x="98" y="535"/>
                      <a:pt x="98" y="535"/>
                    </a:cubicBezTo>
                    <a:cubicBezTo>
                      <a:pt x="88" y="538"/>
                      <a:pt x="88" y="538"/>
                      <a:pt x="88" y="538"/>
                    </a:cubicBezTo>
                    <a:cubicBezTo>
                      <a:pt x="87" y="542"/>
                      <a:pt x="87" y="542"/>
                      <a:pt x="87" y="542"/>
                    </a:cubicBezTo>
                    <a:cubicBezTo>
                      <a:pt x="82" y="542"/>
                      <a:pt x="82" y="542"/>
                      <a:pt x="82" y="542"/>
                    </a:cubicBezTo>
                    <a:cubicBezTo>
                      <a:pt x="79" y="538"/>
                      <a:pt x="79" y="538"/>
                      <a:pt x="79" y="538"/>
                    </a:cubicBezTo>
                    <a:cubicBezTo>
                      <a:pt x="76" y="539"/>
                      <a:pt x="76" y="539"/>
                      <a:pt x="76" y="539"/>
                    </a:cubicBezTo>
                    <a:cubicBezTo>
                      <a:pt x="77" y="542"/>
                      <a:pt x="77" y="542"/>
                      <a:pt x="77" y="542"/>
                    </a:cubicBezTo>
                    <a:cubicBezTo>
                      <a:pt x="77" y="542"/>
                      <a:pt x="66" y="543"/>
                      <a:pt x="66" y="545"/>
                    </a:cubicBezTo>
                    <a:cubicBezTo>
                      <a:pt x="65" y="547"/>
                      <a:pt x="65" y="548"/>
                      <a:pt x="65" y="548"/>
                    </a:cubicBezTo>
                    <a:cubicBezTo>
                      <a:pt x="72" y="549"/>
                      <a:pt x="72" y="549"/>
                      <a:pt x="72" y="549"/>
                    </a:cubicBezTo>
                    <a:cubicBezTo>
                      <a:pt x="72" y="549"/>
                      <a:pt x="73" y="554"/>
                      <a:pt x="71" y="554"/>
                    </a:cubicBezTo>
                    <a:cubicBezTo>
                      <a:pt x="68" y="554"/>
                      <a:pt x="66" y="555"/>
                      <a:pt x="66" y="555"/>
                    </a:cubicBezTo>
                    <a:cubicBezTo>
                      <a:pt x="67" y="561"/>
                      <a:pt x="67" y="561"/>
                      <a:pt x="67" y="561"/>
                    </a:cubicBezTo>
                    <a:cubicBezTo>
                      <a:pt x="67" y="561"/>
                      <a:pt x="70" y="559"/>
                      <a:pt x="71" y="559"/>
                    </a:cubicBezTo>
                    <a:cubicBezTo>
                      <a:pt x="72" y="559"/>
                      <a:pt x="74" y="560"/>
                      <a:pt x="74" y="560"/>
                    </a:cubicBezTo>
                    <a:cubicBezTo>
                      <a:pt x="80" y="559"/>
                      <a:pt x="80" y="559"/>
                      <a:pt x="80" y="559"/>
                    </a:cubicBezTo>
                    <a:cubicBezTo>
                      <a:pt x="82" y="555"/>
                      <a:pt x="82" y="555"/>
                      <a:pt x="82" y="555"/>
                    </a:cubicBezTo>
                    <a:cubicBezTo>
                      <a:pt x="86" y="555"/>
                      <a:pt x="86" y="555"/>
                      <a:pt x="86" y="555"/>
                    </a:cubicBezTo>
                    <a:cubicBezTo>
                      <a:pt x="83" y="558"/>
                      <a:pt x="83" y="558"/>
                      <a:pt x="83" y="558"/>
                    </a:cubicBezTo>
                    <a:cubicBezTo>
                      <a:pt x="82" y="561"/>
                      <a:pt x="82" y="561"/>
                      <a:pt x="82" y="561"/>
                    </a:cubicBezTo>
                    <a:cubicBezTo>
                      <a:pt x="73" y="561"/>
                      <a:pt x="73" y="561"/>
                      <a:pt x="73" y="561"/>
                    </a:cubicBezTo>
                    <a:cubicBezTo>
                      <a:pt x="71" y="562"/>
                      <a:pt x="71" y="562"/>
                      <a:pt x="71" y="562"/>
                    </a:cubicBezTo>
                    <a:cubicBezTo>
                      <a:pt x="71" y="562"/>
                      <a:pt x="71" y="567"/>
                      <a:pt x="73" y="567"/>
                    </a:cubicBezTo>
                    <a:cubicBezTo>
                      <a:pt x="76" y="567"/>
                      <a:pt x="80" y="566"/>
                      <a:pt x="80" y="566"/>
                    </a:cubicBezTo>
                    <a:cubicBezTo>
                      <a:pt x="80" y="566"/>
                      <a:pt x="83" y="567"/>
                      <a:pt x="84" y="566"/>
                    </a:cubicBezTo>
                    <a:cubicBezTo>
                      <a:pt x="86" y="565"/>
                      <a:pt x="88" y="563"/>
                      <a:pt x="88" y="563"/>
                    </a:cubicBezTo>
                    <a:cubicBezTo>
                      <a:pt x="96" y="563"/>
                      <a:pt x="96" y="563"/>
                      <a:pt x="96" y="563"/>
                    </a:cubicBezTo>
                    <a:cubicBezTo>
                      <a:pt x="96" y="563"/>
                      <a:pt x="100" y="560"/>
                      <a:pt x="102" y="561"/>
                    </a:cubicBezTo>
                    <a:cubicBezTo>
                      <a:pt x="104" y="562"/>
                      <a:pt x="99" y="565"/>
                      <a:pt x="101" y="566"/>
                    </a:cubicBezTo>
                    <a:cubicBezTo>
                      <a:pt x="103" y="567"/>
                      <a:pt x="109" y="569"/>
                      <a:pt x="109" y="569"/>
                    </a:cubicBezTo>
                    <a:cubicBezTo>
                      <a:pt x="115" y="568"/>
                      <a:pt x="115" y="568"/>
                      <a:pt x="115" y="568"/>
                    </a:cubicBezTo>
                    <a:cubicBezTo>
                      <a:pt x="114" y="570"/>
                      <a:pt x="114" y="570"/>
                      <a:pt x="114" y="570"/>
                    </a:cubicBezTo>
                    <a:cubicBezTo>
                      <a:pt x="109" y="571"/>
                      <a:pt x="109" y="571"/>
                      <a:pt x="109" y="571"/>
                    </a:cubicBezTo>
                    <a:cubicBezTo>
                      <a:pt x="109" y="571"/>
                      <a:pt x="103" y="570"/>
                      <a:pt x="103" y="573"/>
                    </a:cubicBezTo>
                    <a:cubicBezTo>
                      <a:pt x="102" y="575"/>
                      <a:pt x="102" y="577"/>
                      <a:pt x="104" y="577"/>
                    </a:cubicBezTo>
                    <a:cubicBezTo>
                      <a:pt x="107" y="577"/>
                      <a:pt x="112" y="578"/>
                      <a:pt x="112" y="578"/>
                    </a:cubicBezTo>
                    <a:cubicBezTo>
                      <a:pt x="112" y="578"/>
                      <a:pt x="115" y="574"/>
                      <a:pt x="118" y="575"/>
                    </a:cubicBezTo>
                    <a:cubicBezTo>
                      <a:pt x="122" y="576"/>
                      <a:pt x="126" y="587"/>
                      <a:pt x="126" y="587"/>
                    </a:cubicBezTo>
                    <a:cubicBezTo>
                      <a:pt x="126" y="587"/>
                      <a:pt x="131" y="593"/>
                      <a:pt x="137" y="594"/>
                    </a:cubicBezTo>
                    <a:cubicBezTo>
                      <a:pt x="143" y="594"/>
                      <a:pt x="152" y="589"/>
                      <a:pt x="152" y="589"/>
                    </a:cubicBezTo>
                    <a:cubicBezTo>
                      <a:pt x="163" y="586"/>
                      <a:pt x="163" y="586"/>
                      <a:pt x="163" y="586"/>
                    </a:cubicBezTo>
                    <a:cubicBezTo>
                      <a:pt x="170" y="580"/>
                      <a:pt x="170" y="580"/>
                      <a:pt x="170" y="580"/>
                    </a:cubicBezTo>
                    <a:cubicBezTo>
                      <a:pt x="180" y="575"/>
                      <a:pt x="180" y="575"/>
                      <a:pt x="180" y="575"/>
                    </a:cubicBezTo>
                    <a:cubicBezTo>
                      <a:pt x="181" y="576"/>
                      <a:pt x="181" y="576"/>
                      <a:pt x="181" y="576"/>
                    </a:cubicBezTo>
                    <a:cubicBezTo>
                      <a:pt x="171" y="582"/>
                      <a:pt x="171" y="582"/>
                      <a:pt x="171" y="582"/>
                    </a:cubicBezTo>
                    <a:cubicBezTo>
                      <a:pt x="166" y="589"/>
                      <a:pt x="166" y="589"/>
                      <a:pt x="166" y="589"/>
                    </a:cubicBezTo>
                    <a:cubicBezTo>
                      <a:pt x="161" y="590"/>
                      <a:pt x="161" y="590"/>
                      <a:pt x="161" y="590"/>
                    </a:cubicBezTo>
                    <a:cubicBezTo>
                      <a:pt x="161" y="590"/>
                      <a:pt x="151" y="597"/>
                      <a:pt x="151" y="599"/>
                    </a:cubicBezTo>
                    <a:cubicBezTo>
                      <a:pt x="150" y="602"/>
                      <a:pt x="152" y="605"/>
                      <a:pt x="148" y="606"/>
                    </a:cubicBezTo>
                    <a:cubicBezTo>
                      <a:pt x="144" y="607"/>
                      <a:pt x="132" y="608"/>
                      <a:pt x="130" y="605"/>
                    </a:cubicBezTo>
                    <a:cubicBezTo>
                      <a:pt x="128" y="602"/>
                      <a:pt x="121" y="600"/>
                      <a:pt x="118" y="599"/>
                    </a:cubicBezTo>
                    <a:cubicBezTo>
                      <a:pt x="115" y="599"/>
                      <a:pt x="102" y="597"/>
                      <a:pt x="99" y="600"/>
                    </a:cubicBezTo>
                    <a:cubicBezTo>
                      <a:pt x="97" y="602"/>
                      <a:pt x="100" y="608"/>
                      <a:pt x="100" y="608"/>
                    </a:cubicBezTo>
                    <a:cubicBezTo>
                      <a:pt x="100" y="608"/>
                      <a:pt x="98" y="609"/>
                      <a:pt x="94" y="610"/>
                    </a:cubicBezTo>
                    <a:cubicBezTo>
                      <a:pt x="90" y="611"/>
                      <a:pt x="88" y="607"/>
                      <a:pt x="86" y="608"/>
                    </a:cubicBezTo>
                    <a:cubicBezTo>
                      <a:pt x="83" y="609"/>
                      <a:pt x="81" y="623"/>
                      <a:pt x="81" y="623"/>
                    </a:cubicBezTo>
                    <a:cubicBezTo>
                      <a:pt x="70" y="628"/>
                      <a:pt x="70" y="628"/>
                      <a:pt x="70" y="628"/>
                    </a:cubicBezTo>
                    <a:cubicBezTo>
                      <a:pt x="69" y="631"/>
                      <a:pt x="69" y="631"/>
                      <a:pt x="69" y="631"/>
                    </a:cubicBezTo>
                    <a:cubicBezTo>
                      <a:pt x="56" y="636"/>
                      <a:pt x="56" y="636"/>
                      <a:pt x="56" y="636"/>
                    </a:cubicBezTo>
                    <a:cubicBezTo>
                      <a:pt x="55" y="640"/>
                      <a:pt x="55" y="640"/>
                      <a:pt x="55" y="640"/>
                    </a:cubicBezTo>
                    <a:cubicBezTo>
                      <a:pt x="55" y="640"/>
                      <a:pt x="51" y="641"/>
                      <a:pt x="50" y="643"/>
                    </a:cubicBezTo>
                    <a:cubicBezTo>
                      <a:pt x="48" y="644"/>
                      <a:pt x="47" y="647"/>
                      <a:pt x="47" y="647"/>
                    </a:cubicBezTo>
                    <a:cubicBezTo>
                      <a:pt x="38" y="652"/>
                      <a:pt x="38" y="652"/>
                      <a:pt x="38" y="652"/>
                    </a:cubicBezTo>
                    <a:cubicBezTo>
                      <a:pt x="34" y="653"/>
                      <a:pt x="34" y="653"/>
                      <a:pt x="34" y="653"/>
                    </a:cubicBezTo>
                    <a:cubicBezTo>
                      <a:pt x="34" y="653"/>
                      <a:pt x="25" y="652"/>
                      <a:pt x="23" y="654"/>
                    </a:cubicBezTo>
                    <a:cubicBezTo>
                      <a:pt x="20" y="656"/>
                      <a:pt x="21" y="662"/>
                      <a:pt x="21" y="662"/>
                    </a:cubicBezTo>
                    <a:cubicBezTo>
                      <a:pt x="30" y="661"/>
                      <a:pt x="30" y="661"/>
                      <a:pt x="30" y="661"/>
                    </a:cubicBezTo>
                    <a:cubicBezTo>
                      <a:pt x="30" y="658"/>
                      <a:pt x="30" y="658"/>
                      <a:pt x="30" y="658"/>
                    </a:cubicBezTo>
                    <a:cubicBezTo>
                      <a:pt x="30" y="658"/>
                      <a:pt x="35" y="660"/>
                      <a:pt x="36" y="661"/>
                    </a:cubicBezTo>
                    <a:cubicBezTo>
                      <a:pt x="37" y="662"/>
                      <a:pt x="41" y="670"/>
                      <a:pt x="41" y="670"/>
                    </a:cubicBezTo>
                    <a:cubicBezTo>
                      <a:pt x="48" y="665"/>
                      <a:pt x="48" y="665"/>
                      <a:pt x="48" y="665"/>
                    </a:cubicBezTo>
                    <a:cubicBezTo>
                      <a:pt x="47" y="662"/>
                      <a:pt x="47" y="662"/>
                      <a:pt x="47" y="662"/>
                    </a:cubicBezTo>
                    <a:cubicBezTo>
                      <a:pt x="47" y="662"/>
                      <a:pt x="52" y="655"/>
                      <a:pt x="52" y="656"/>
                    </a:cubicBezTo>
                    <a:cubicBezTo>
                      <a:pt x="52" y="657"/>
                      <a:pt x="53" y="660"/>
                      <a:pt x="53" y="660"/>
                    </a:cubicBezTo>
                    <a:cubicBezTo>
                      <a:pt x="53" y="660"/>
                      <a:pt x="61" y="657"/>
                      <a:pt x="62" y="657"/>
                    </a:cubicBezTo>
                    <a:cubicBezTo>
                      <a:pt x="63" y="656"/>
                      <a:pt x="66" y="652"/>
                      <a:pt x="66" y="652"/>
                    </a:cubicBezTo>
                    <a:cubicBezTo>
                      <a:pt x="66" y="652"/>
                      <a:pt x="72" y="654"/>
                      <a:pt x="74" y="653"/>
                    </a:cubicBezTo>
                    <a:cubicBezTo>
                      <a:pt x="78" y="653"/>
                      <a:pt x="84" y="652"/>
                      <a:pt x="85" y="653"/>
                    </a:cubicBezTo>
                    <a:cubicBezTo>
                      <a:pt x="85" y="654"/>
                      <a:pt x="86" y="658"/>
                      <a:pt x="86" y="658"/>
                    </a:cubicBezTo>
                    <a:cubicBezTo>
                      <a:pt x="89" y="656"/>
                      <a:pt x="89" y="656"/>
                      <a:pt x="89" y="656"/>
                    </a:cubicBezTo>
                    <a:cubicBezTo>
                      <a:pt x="90" y="650"/>
                      <a:pt x="90" y="650"/>
                      <a:pt x="90" y="650"/>
                    </a:cubicBezTo>
                    <a:cubicBezTo>
                      <a:pt x="93" y="659"/>
                      <a:pt x="93" y="659"/>
                      <a:pt x="93" y="659"/>
                    </a:cubicBezTo>
                    <a:cubicBezTo>
                      <a:pt x="100" y="659"/>
                      <a:pt x="100" y="659"/>
                      <a:pt x="100" y="659"/>
                    </a:cubicBezTo>
                    <a:cubicBezTo>
                      <a:pt x="100" y="659"/>
                      <a:pt x="101" y="666"/>
                      <a:pt x="104" y="666"/>
                    </a:cubicBezTo>
                    <a:cubicBezTo>
                      <a:pt x="109" y="668"/>
                      <a:pt x="112" y="662"/>
                      <a:pt x="112" y="662"/>
                    </a:cubicBezTo>
                    <a:cubicBezTo>
                      <a:pt x="115" y="660"/>
                      <a:pt x="115" y="660"/>
                      <a:pt x="115" y="660"/>
                    </a:cubicBezTo>
                    <a:cubicBezTo>
                      <a:pt x="114" y="656"/>
                      <a:pt x="114" y="656"/>
                      <a:pt x="114" y="656"/>
                    </a:cubicBezTo>
                    <a:cubicBezTo>
                      <a:pt x="118" y="653"/>
                      <a:pt x="118" y="653"/>
                      <a:pt x="118" y="653"/>
                    </a:cubicBezTo>
                    <a:cubicBezTo>
                      <a:pt x="119" y="647"/>
                      <a:pt x="119" y="647"/>
                      <a:pt x="119" y="647"/>
                    </a:cubicBezTo>
                    <a:cubicBezTo>
                      <a:pt x="122" y="645"/>
                      <a:pt x="122" y="645"/>
                      <a:pt x="122" y="645"/>
                    </a:cubicBezTo>
                    <a:cubicBezTo>
                      <a:pt x="122" y="639"/>
                      <a:pt x="122" y="639"/>
                      <a:pt x="122" y="639"/>
                    </a:cubicBezTo>
                    <a:cubicBezTo>
                      <a:pt x="123" y="644"/>
                      <a:pt x="123" y="644"/>
                      <a:pt x="123" y="644"/>
                    </a:cubicBezTo>
                    <a:cubicBezTo>
                      <a:pt x="123" y="644"/>
                      <a:pt x="129" y="641"/>
                      <a:pt x="141" y="641"/>
                    </a:cubicBezTo>
                    <a:cubicBezTo>
                      <a:pt x="153" y="642"/>
                      <a:pt x="160" y="653"/>
                      <a:pt x="160" y="653"/>
                    </a:cubicBezTo>
                    <a:cubicBezTo>
                      <a:pt x="162" y="657"/>
                      <a:pt x="162" y="657"/>
                      <a:pt x="162" y="657"/>
                    </a:cubicBezTo>
                    <a:cubicBezTo>
                      <a:pt x="164" y="655"/>
                      <a:pt x="164" y="655"/>
                      <a:pt x="164" y="655"/>
                    </a:cubicBezTo>
                    <a:cubicBezTo>
                      <a:pt x="164" y="655"/>
                      <a:pt x="161" y="654"/>
                      <a:pt x="163" y="652"/>
                    </a:cubicBezTo>
                    <a:cubicBezTo>
                      <a:pt x="165" y="648"/>
                      <a:pt x="171" y="652"/>
                      <a:pt x="171" y="652"/>
                    </a:cubicBezTo>
                    <a:cubicBezTo>
                      <a:pt x="177" y="652"/>
                      <a:pt x="177" y="652"/>
                      <a:pt x="177" y="652"/>
                    </a:cubicBezTo>
                    <a:cubicBezTo>
                      <a:pt x="178" y="653"/>
                      <a:pt x="182" y="657"/>
                      <a:pt x="184" y="655"/>
                    </a:cubicBezTo>
                    <a:cubicBezTo>
                      <a:pt x="187" y="654"/>
                      <a:pt x="185" y="650"/>
                      <a:pt x="185" y="650"/>
                    </a:cubicBezTo>
                    <a:cubicBezTo>
                      <a:pt x="185" y="650"/>
                      <a:pt x="178" y="647"/>
                      <a:pt x="180" y="646"/>
                    </a:cubicBezTo>
                    <a:cubicBezTo>
                      <a:pt x="182" y="645"/>
                      <a:pt x="185" y="649"/>
                      <a:pt x="186" y="648"/>
                    </a:cubicBezTo>
                    <a:cubicBezTo>
                      <a:pt x="188" y="648"/>
                      <a:pt x="195" y="646"/>
                      <a:pt x="195" y="646"/>
                    </a:cubicBezTo>
                    <a:cubicBezTo>
                      <a:pt x="195" y="646"/>
                      <a:pt x="199" y="649"/>
                      <a:pt x="201" y="649"/>
                    </a:cubicBezTo>
                    <a:cubicBezTo>
                      <a:pt x="202" y="649"/>
                      <a:pt x="203" y="646"/>
                      <a:pt x="203" y="646"/>
                    </a:cubicBezTo>
                    <a:cubicBezTo>
                      <a:pt x="203" y="646"/>
                      <a:pt x="209" y="648"/>
                      <a:pt x="211" y="647"/>
                    </a:cubicBezTo>
                    <a:cubicBezTo>
                      <a:pt x="213" y="646"/>
                      <a:pt x="212" y="642"/>
                      <a:pt x="212" y="642"/>
                    </a:cubicBezTo>
                    <a:cubicBezTo>
                      <a:pt x="212" y="642"/>
                      <a:pt x="216" y="648"/>
                      <a:pt x="218" y="648"/>
                    </a:cubicBezTo>
                    <a:cubicBezTo>
                      <a:pt x="220" y="648"/>
                      <a:pt x="220" y="643"/>
                      <a:pt x="220" y="644"/>
                    </a:cubicBezTo>
                    <a:cubicBezTo>
                      <a:pt x="221" y="646"/>
                      <a:pt x="224" y="649"/>
                      <a:pt x="224" y="649"/>
                    </a:cubicBezTo>
                    <a:cubicBezTo>
                      <a:pt x="224" y="649"/>
                      <a:pt x="226" y="643"/>
                      <a:pt x="229" y="646"/>
                    </a:cubicBezTo>
                    <a:cubicBezTo>
                      <a:pt x="232" y="649"/>
                      <a:pt x="231" y="654"/>
                      <a:pt x="232" y="654"/>
                    </a:cubicBezTo>
                    <a:cubicBezTo>
                      <a:pt x="234" y="654"/>
                      <a:pt x="237" y="653"/>
                      <a:pt x="237" y="653"/>
                    </a:cubicBezTo>
                    <a:cubicBezTo>
                      <a:pt x="237" y="653"/>
                      <a:pt x="248" y="650"/>
                      <a:pt x="257" y="652"/>
                    </a:cubicBezTo>
                    <a:cubicBezTo>
                      <a:pt x="264" y="654"/>
                      <a:pt x="270" y="659"/>
                      <a:pt x="276" y="659"/>
                    </a:cubicBezTo>
                    <a:cubicBezTo>
                      <a:pt x="281" y="659"/>
                      <a:pt x="283" y="657"/>
                      <a:pt x="283" y="657"/>
                    </a:cubicBezTo>
                    <a:cubicBezTo>
                      <a:pt x="295" y="656"/>
                      <a:pt x="295" y="656"/>
                      <a:pt x="295" y="656"/>
                    </a:cubicBezTo>
                    <a:cubicBezTo>
                      <a:pt x="301" y="649"/>
                      <a:pt x="301" y="649"/>
                      <a:pt x="301" y="649"/>
                    </a:cubicBezTo>
                    <a:cubicBezTo>
                      <a:pt x="310" y="653"/>
                      <a:pt x="310" y="653"/>
                      <a:pt x="310" y="653"/>
                    </a:cubicBezTo>
                    <a:cubicBezTo>
                      <a:pt x="310" y="653"/>
                      <a:pt x="309" y="643"/>
                      <a:pt x="312" y="643"/>
                    </a:cubicBezTo>
                    <a:cubicBezTo>
                      <a:pt x="315" y="643"/>
                      <a:pt x="318" y="644"/>
                      <a:pt x="318" y="644"/>
                    </a:cubicBezTo>
                    <a:cubicBezTo>
                      <a:pt x="328" y="641"/>
                      <a:pt x="328" y="641"/>
                      <a:pt x="328" y="641"/>
                    </a:cubicBezTo>
                    <a:cubicBezTo>
                      <a:pt x="329" y="631"/>
                      <a:pt x="329" y="631"/>
                      <a:pt x="329" y="631"/>
                    </a:cubicBezTo>
                    <a:cubicBezTo>
                      <a:pt x="332" y="627"/>
                      <a:pt x="332" y="627"/>
                      <a:pt x="332" y="627"/>
                    </a:cubicBezTo>
                    <a:cubicBezTo>
                      <a:pt x="331" y="625"/>
                      <a:pt x="331" y="625"/>
                      <a:pt x="331" y="625"/>
                    </a:cubicBezTo>
                    <a:cubicBezTo>
                      <a:pt x="310" y="626"/>
                      <a:pt x="310" y="626"/>
                      <a:pt x="310" y="626"/>
                    </a:cubicBezTo>
                    <a:cubicBezTo>
                      <a:pt x="307" y="625"/>
                      <a:pt x="307" y="625"/>
                      <a:pt x="307" y="625"/>
                    </a:cubicBezTo>
                    <a:cubicBezTo>
                      <a:pt x="311" y="623"/>
                      <a:pt x="311" y="623"/>
                      <a:pt x="311" y="623"/>
                    </a:cubicBezTo>
                    <a:cubicBezTo>
                      <a:pt x="311" y="623"/>
                      <a:pt x="312" y="621"/>
                      <a:pt x="309" y="620"/>
                    </a:cubicBezTo>
                    <a:cubicBezTo>
                      <a:pt x="306" y="618"/>
                      <a:pt x="302" y="621"/>
                      <a:pt x="302" y="621"/>
                    </a:cubicBezTo>
                    <a:cubicBezTo>
                      <a:pt x="296" y="621"/>
                      <a:pt x="296" y="621"/>
                      <a:pt x="296" y="621"/>
                    </a:cubicBezTo>
                    <a:cubicBezTo>
                      <a:pt x="303" y="617"/>
                      <a:pt x="303" y="617"/>
                      <a:pt x="303" y="617"/>
                    </a:cubicBezTo>
                    <a:cubicBezTo>
                      <a:pt x="298" y="614"/>
                      <a:pt x="298" y="614"/>
                      <a:pt x="298" y="614"/>
                    </a:cubicBezTo>
                    <a:cubicBezTo>
                      <a:pt x="295" y="614"/>
                      <a:pt x="295" y="614"/>
                      <a:pt x="295" y="614"/>
                    </a:cubicBezTo>
                    <a:cubicBezTo>
                      <a:pt x="293" y="615"/>
                      <a:pt x="293" y="615"/>
                      <a:pt x="293" y="615"/>
                    </a:cubicBezTo>
                    <a:cubicBezTo>
                      <a:pt x="290" y="615"/>
                      <a:pt x="290" y="615"/>
                      <a:pt x="290" y="615"/>
                    </a:cubicBezTo>
                    <a:cubicBezTo>
                      <a:pt x="292" y="614"/>
                      <a:pt x="292" y="614"/>
                      <a:pt x="292" y="614"/>
                    </a:cubicBezTo>
                    <a:cubicBezTo>
                      <a:pt x="294" y="612"/>
                      <a:pt x="294" y="612"/>
                      <a:pt x="294" y="612"/>
                    </a:cubicBezTo>
                    <a:cubicBezTo>
                      <a:pt x="298" y="612"/>
                      <a:pt x="298" y="612"/>
                      <a:pt x="298" y="612"/>
                    </a:cubicBezTo>
                    <a:cubicBezTo>
                      <a:pt x="307" y="613"/>
                      <a:pt x="307" y="613"/>
                      <a:pt x="307" y="613"/>
                    </a:cubicBezTo>
                    <a:cubicBezTo>
                      <a:pt x="312" y="609"/>
                      <a:pt x="312" y="609"/>
                      <a:pt x="312" y="609"/>
                    </a:cubicBezTo>
                    <a:cubicBezTo>
                      <a:pt x="309" y="607"/>
                      <a:pt x="309" y="607"/>
                      <a:pt x="309" y="607"/>
                    </a:cubicBezTo>
                    <a:cubicBezTo>
                      <a:pt x="313" y="606"/>
                      <a:pt x="313" y="606"/>
                      <a:pt x="313" y="606"/>
                    </a:cubicBezTo>
                    <a:cubicBezTo>
                      <a:pt x="314" y="599"/>
                      <a:pt x="314" y="599"/>
                      <a:pt x="314" y="599"/>
                    </a:cubicBezTo>
                    <a:cubicBezTo>
                      <a:pt x="308" y="601"/>
                      <a:pt x="308" y="601"/>
                      <a:pt x="308" y="601"/>
                    </a:cubicBezTo>
                    <a:cubicBezTo>
                      <a:pt x="306" y="599"/>
                      <a:pt x="306" y="599"/>
                      <a:pt x="306" y="599"/>
                    </a:cubicBezTo>
                    <a:cubicBezTo>
                      <a:pt x="315" y="596"/>
                      <a:pt x="315" y="596"/>
                      <a:pt x="315" y="596"/>
                    </a:cubicBezTo>
                    <a:cubicBezTo>
                      <a:pt x="316" y="594"/>
                      <a:pt x="316" y="594"/>
                      <a:pt x="316" y="594"/>
                    </a:cubicBezTo>
                    <a:cubicBezTo>
                      <a:pt x="319" y="598"/>
                      <a:pt x="319" y="598"/>
                      <a:pt x="319" y="598"/>
                    </a:cubicBezTo>
                    <a:cubicBezTo>
                      <a:pt x="319" y="598"/>
                      <a:pt x="324" y="598"/>
                      <a:pt x="327" y="596"/>
                    </a:cubicBezTo>
                    <a:cubicBezTo>
                      <a:pt x="330" y="595"/>
                      <a:pt x="327" y="592"/>
                      <a:pt x="327" y="592"/>
                    </a:cubicBezTo>
                    <a:cubicBezTo>
                      <a:pt x="329" y="590"/>
                      <a:pt x="329" y="590"/>
                      <a:pt x="329" y="590"/>
                    </a:cubicBezTo>
                    <a:cubicBezTo>
                      <a:pt x="323" y="587"/>
                      <a:pt x="323" y="587"/>
                      <a:pt x="323" y="587"/>
                    </a:cubicBezTo>
                    <a:cubicBezTo>
                      <a:pt x="328" y="585"/>
                      <a:pt x="328" y="585"/>
                      <a:pt x="328" y="585"/>
                    </a:cubicBezTo>
                    <a:cubicBezTo>
                      <a:pt x="328" y="582"/>
                      <a:pt x="328" y="582"/>
                      <a:pt x="328" y="582"/>
                    </a:cubicBezTo>
                    <a:cubicBezTo>
                      <a:pt x="330" y="582"/>
                      <a:pt x="330" y="582"/>
                      <a:pt x="330" y="582"/>
                    </a:cubicBezTo>
                    <a:cubicBezTo>
                      <a:pt x="331" y="587"/>
                      <a:pt x="331" y="587"/>
                      <a:pt x="331" y="587"/>
                    </a:cubicBezTo>
                    <a:cubicBezTo>
                      <a:pt x="331" y="587"/>
                      <a:pt x="343" y="583"/>
                      <a:pt x="345" y="580"/>
                    </a:cubicBezTo>
                    <a:cubicBezTo>
                      <a:pt x="348" y="577"/>
                      <a:pt x="345" y="569"/>
                      <a:pt x="348" y="567"/>
                    </a:cubicBezTo>
                    <a:cubicBezTo>
                      <a:pt x="351" y="564"/>
                      <a:pt x="357" y="553"/>
                      <a:pt x="355" y="545"/>
                    </a:cubicBezTo>
                    <a:cubicBezTo>
                      <a:pt x="354" y="535"/>
                      <a:pt x="342" y="526"/>
                      <a:pt x="342" y="526"/>
                    </a:cubicBezTo>
                    <a:close/>
                    <a:moveTo>
                      <a:pt x="217" y="652"/>
                    </a:moveTo>
                    <a:cubicBezTo>
                      <a:pt x="217" y="652"/>
                      <a:pt x="214" y="648"/>
                      <a:pt x="212" y="648"/>
                    </a:cubicBezTo>
                    <a:cubicBezTo>
                      <a:pt x="211" y="648"/>
                      <a:pt x="209" y="650"/>
                      <a:pt x="209" y="650"/>
                    </a:cubicBezTo>
                    <a:cubicBezTo>
                      <a:pt x="200" y="652"/>
                      <a:pt x="200" y="652"/>
                      <a:pt x="200" y="652"/>
                    </a:cubicBezTo>
                    <a:cubicBezTo>
                      <a:pt x="202" y="655"/>
                      <a:pt x="202" y="655"/>
                      <a:pt x="202" y="655"/>
                    </a:cubicBezTo>
                    <a:cubicBezTo>
                      <a:pt x="205" y="655"/>
                      <a:pt x="205" y="655"/>
                      <a:pt x="205" y="655"/>
                    </a:cubicBezTo>
                    <a:cubicBezTo>
                      <a:pt x="210" y="661"/>
                      <a:pt x="210" y="661"/>
                      <a:pt x="210" y="661"/>
                    </a:cubicBezTo>
                    <a:cubicBezTo>
                      <a:pt x="216" y="660"/>
                      <a:pt x="216" y="660"/>
                      <a:pt x="216" y="660"/>
                    </a:cubicBezTo>
                    <a:cubicBezTo>
                      <a:pt x="216" y="660"/>
                      <a:pt x="217" y="658"/>
                      <a:pt x="218" y="657"/>
                    </a:cubicBezTo>
                    <a:cubicBezTo>
                      <a:pt x="220" y="657"/>
                      <a:pt x="221" y="655"/>
                      <a:pt x="221" y="655"/>
                    </a:cubicBezTo>
                    <a:cubicBezTo>
                      <a:pt x="219" y="652"/>
                      <a:pt x="219" y="652"/>
                      <a:pt x="219" y="652"/>
                    </a:cubicBezTo>
                    <a:lnTo>
                      <a:pt x="217" y="652"/>
                    </a:lnTo>
                    <a:close/>
                    <a:moveTo>
                      <a:pt x="117" y="454"/>
                    </a:moveTo>
                    <a:cubicBezTo>
                      <a:pt x="115" y="458"/>
                      <a:pt x="115" y="458"/>
                      <a:pt x="115" y="458"/>
                    </a:cubicBezTo>
                    <a:cubicBezTo>
                      <a:pt x="112" y="456"/>
                      <a:pt x="112" y="456"/>
                      <a:pt x="112" y="456"/>
                    </a:cubicBezTo>
                    <a:cubicBezTo>
                      <a:pt x="111" y="459"/>
                      <a:pt x="111" y="459"/>
                      <a:pt x="111" y="459"/>
                    </a:cubicBezTo>
                    <a:cubicBezTo>
                      <a:pt x="115" y="465"/>
                      <a:pt x="115" y="465"/>
                      <a:pt x="115" y="465"/>
                    </a:cubicBezTo>
                    <a:cubicBezTo>
                      <a:pt x="115" y="465"/>
                      <a:pt x="115" y="470"/>
                      <a:pt x="121" y="471"/>
                    </a:cubicBezTo>
                    <a:cubicBezTo>
                      <a:pt x="128" y="472"/>
                      <a:pt x="129" y="466"/>
                      <a:pt x="129" y="466"/>
                    </a:cubicBezTo>
                    <a:cubicBezTo>
                      <a:pt x="135" y="465"/>
                      <a:pt x="135" y="465"/>
                      <a:pt x="135" y="465"/>
                    </a:cubicBezTo>
                    <a:cubicBezTo>
                      <a:pt x="136" y="463"/>
                      <a:pt x="136" y="463"/>
                      <a:pt x="136" y="463"/>
                    </a:cubicBezTo>
                    <a:cubicBezTo>
                      <a:pt x="130" y="460"/>
                      <a:pt x="130" y="460"/>
                      <a:pt x="130" y="460"/>
                    </a:cubicBezTo>
                    <a:cubicBezTo>
                      <a:pt x="128" y="453"/>
                      <a:pt x="128" y="453"/>
                      <a:pt x="128" y="453"/>
                    </a:cubicBezTo>
                    <a:cubicBezTo>
                      <a:pt x="121" y="452"/>
                      <a:pt x="121" y="452"/>
                      <a:pt x="121" y="452"/>
                    </a:cubicBezTo>
                    <a:lnTo>
                      <a:pt x="117" y="454"/>
                    </a:lnTo>
                    <a:close/>
                    <a:moveTo>
                      <a:pt x="134" y="391"/>
                    </a:moveTo>
                    <a:cubicBezTo>
                      <a:pt x="128" y="400"/>
                      <a:pt x="128" y="400"/>
                      <a:pt x="128" y="400"/>
                    </a:cubicBezTo>
                    <a:cubicBezTo>
                      <a:pt x="123" y="401"/>
                      <a:pt x="123" y="401"/>
                      <a:pt x="123" y="401"/>
                    </a:cubicBezTo>
                    <a:cubicBezTo>
                      <a:pt x="123" y="401"/>
                      <a:pt x="121" y="404"/>
                      <a:pt x="123" y="406"/>
                    </a:cubicBezTo>
                    <a:cubicBezTo>
                      <a:pt x="126" y="409"/>
                      <a:pt x="128" y="410"/>
                      <a:pt x="128" y="410"/>
                    </a:cubicBezTo>
                    <a:cubicBezTo>
                      <a:pt x="132" y="408"/>
                      <a:pt x="132" y="408"/>
                      <a:pt x="132" y="408"/>
                    </a:cubicBezTo>
                    <a:cubicBezTo>
                      <a:pt x="138" y="403"/>
                      <a:pt x="142" y="400"/>
                      <a:pt x="142" y="400"/>
                    </a:cubicBezTo>
                    <a:cubicBezTo>
                      <a:pt x="139" y="396"/>
                      <a:pt x="139" y="396"/>
                      <a:pt x="139" y="396"/>
                    </a:cubicBezTo>
                    <a:cubicBezTo>
                      <a:pt x="139" y="392"/>
                      <a:pt x="139" y="392"/>
                      <a:pt x="139" y="392"/>
                    </a:cubicBezTo>
                    <a:lnTo>
                      <a:pt x="134" y="391"/>
                    </a:lnTo>
                    <a:close/>
                    <a:moveTo>
                      <a:pt x="129" y="302"/>
                    </a:moveTo>
                    <a:cubicBezTo>
                      <a:pt x="126" y="301"/>
                      <a:pt x="126" y="301"/>
                      <a:pt x="126" y="301"/>
                    </a:cubicBezTo>
                    <a:cubicBezTo>
                      <a:pt x="122" y="305"/>
                      <a:pt x="122" y="305"/>
                      <a:pt x="122" y="305"/>
                    </a:cubicBezTo>
                    <a:cubicBezTo>
                      <a:pt x="121" y="317"/>
                      <a:pt x="121" y="317"/>
                      <a:pt x="121" y="317"/>
                    </a:cubicBezTo>
                    <a:cubicBezTo>
                      <a:pt x="121" y="317"/>
                      <a:pt x="125" y="322"/>
                      <a:pt x="128" y="319"/>
                    </a:cubicBezTo>
                    <a:cubicBezTo>
                      <a:pt x="130" y="317"/>
                      <a:pt x="129" y="313"/>
                      <a:pt x="129" y="313"/>
                    </a:cubicBezTo>
                    <a:cubicBezTo>
                      <a:pt x="131" y="309"/>
                      <a:pt x="131" y="309"/>
                      <a:pt x="131" y="309"/>
                    </a:cubicBezTo>
                    <a:lnTo>
                      <a:pt x="129" y="302"/>
                    </a:lnTo>
                    <a:close/>
                    <a:moveTo>
                      <a:pt x="135" y="292"/>
                    </a:moveTo>
                    <a:cubicBezTo>
                      <a:pt x="133" y="292"/>
                      <a:pt x="133" y="292"/>
                      <a:pt x="133" y="292"/>
                    </a:cubicBezTo>
                    <a:cubicBezTo>
                      <a:pt x="134" y="301"/>
                      <a:pt x="134" y="301"/>
                      <a:pt x="134" y="301"/>
                    </a:cubicBezTo>
                    <a:cubicBezTo>
                      <a:pt x="136" y="303"/>
                      <a:pt x="136" y="303"/>
                      <a:pt x="136" y="303"/>
                    </a:cubicBezTo>
                    <a:cubicBezTo>
                      <a:pt x="138" y="302"/>
                      <a:pt x="138" y="302"/>
                      <a:pt x="138" y="302"/>
                    </a:cubicBezTo>
                    <a:cubicBezTo>
                      <a:pt x="137" y="299"/>
                      <a:pt x="137" y="299"/>
                      <a:pt x="137" y="299"/>
                    </a:cubicBezTo>
                    <a:cubicBezTo>
                      <a:pt x="138" y="297"/>
                      <a:pt x="138" y="297"/>
                      <a:pt x="138" y="297"/>
                    </a:cubicBezTo>
                    <a:lnTo>
                      <a:pt x="135" y="292"/>
                    </a:lnTo>
                    <a:close/>
                    <a:moveTo>
                      <a:pt x="99" y="286"/>
                    </a:moveTo>
                    <a:cubicBezTo>
                      <a:pt x="99" y="283"/>
                      <a:pt x="100" y="280"/>
                      <a:pt x="100" y="280"/>
                    </a:cubicBezTo>
                    <a:cubicBezTo>
                      <a:pt x="92" y="283"/>
                      <a:pt x="92" y="283"/>
                      <a:pt x="92" y="283"/>
                    </a:cubicBezTo>
                    <a:cubicBezTo>
                      <a:pt x="92" y="284"/>
                      <a:pt x="92" y="284"/>
                      <a:pt x="92" y="284"/>
                    </a:cubicBezTo>
                    <a:cubicBezTo>
                      <a:pt x="87" y="282"/>
                      <a:pt x="87" y="282"/>
                      <a:pt x="87" y="282"/>
                    </a:cubicBezTo>
                    <a:cubicBezTo>
                      <a:pt x="87" y="282"/>
                      <a:pt x="84" y="283"/>
                      <a:pt x="83" y="287"/>
                    </a:cubicBezTo>
                    <a:cubicBezTo>
                      <a:pt x="83" y="291"/>
                      <a:pt x="82" y="293"/>
                      <a:pt x="82" y="293"/>
                    </a:cubicBezTo>
                    <a:cubicBezTo>
                      <a:pt x="84" y="293"/>
                      <a:pt x="84" y="293"/>
                      <a:pt x="84" y="293"/>
                    </a:cubicBezTo>
                    <a:cubicBezTo>
                      <a:pt x="88" y="286"/>
                      <a:pt x="88" y="286"/>
                      <a:pt x="88" y="286"/>
                    </a:cubicBezTo>
                    <a:cubicBezTo>
                      <a:pt x="93" y="287"/>
                      <a:pt x="93" y="287"/>
                      <a:pt x="93" y="287"/>
                    </a:cubicBezTo>
                    <a:cubicBezTo>
                      <a:pt x="93" y="291"/>
                      <a:pt x="93" y="291"/>
                      <a:pt x="93" y="291"/>
                    </a:cubicBezTo>
                    <a:cubicBezTo>
                      <a:pt x="93" y="291"/>
                      <a:pt x="89" y="290"/>
                      <a:pt x="89" y="291"/>
                    </a:cubicBezTo>
                    <a:cubicBezTo>
                      <a:pt x="89" y="292"/>
                      <a:pt x="90" y="296"/>
                      <a:pt x="90" y="296"/>
                    </a:cubicBezTo>
                    <a:cubicBezTo>
                      <a:pt x="90" y="296"/>
                      <a:pt x="86" y="297"/>
                      <a:pt x="86" y="299"/>
                    </a:cubicBezTo>
                    <a:cubicBezTo>
                      <a:pt x="87" y="301"/>
                      <a:pt x="92" y="299"/>
                      <a:pt x="92" y="299"/>
                    </a:cubicBezTo>
                    <a:cubicBezTo>
                      <a:pt x="92" y="299"/>
                      <a:pt x="97" y="299"/>
                      <a:pt x="99" y="295"/>
                    </a:cubicBezTo>
                    <a:cubicBezTo>
                      <a:pt x="100" y="292"/>
                      <a:pt x="97" y="291"/>
                      <a:pt x="97" y="291"/>
                    </a:cubicBezTo>
                    <a:cubicBezTo>
                      <a:pt x="99" y="289"/>
                      <a:pt x="99" y="289"/>
                      <a:pt x="99" y="289"/>
                    </a:cubicBezTo>
                    <a:lnTo>
                      <a:pt x="99" y="286"/>
                    </a:lnTo>
                    <a:close/>
                    <a:moveTo>
                      <a:pt x="111" y="283"/>
                    </a:moveTo>
                    <a:cubicBezTo>
                      <a:pt x="118" y="271"/>
                      <a:pt x="118" y="271"/>
                      <a:pt x="118" y="271"/>
                    </a:cubicBezTo>
                    <a:cubicBezTo>
                      <a:pt x="115" y="272"/>
                      <a:pt x="115" y="272"/>
                      <a:pt x="115" y="272"/>
                    </a:cubicBezTo>
                    <a:cubicBezTo>
                      <a:pt x="111" y="276"/>
                      <a:pt x="111" y="276"/>
                      <a:pt x="111" y="276"/>
                    </a:cubicBezTo>
                    <a:cubicBezTo>
                      <a:pt x="107" y="276"/>
                      <a:pt x="107" y="276"/>
                      <a:pt x="107" y="276"/>
                    </a:cubicBezTo>
                    <a:cubicBezTo>
                      <a:pt x="106" y="280"/>
                      <a:pt x="106" y="280"/>
                      <a:pt x="106" y="280"/>
                    </a:cubicBezTo>
                    <a:cubicBezTo>
                      <a:pt x="110" y="280"/>
                      <a:pt x="110" y="280"/>
                      <a:pt x="110" y="280"/>
                    </a:cubicBezTo>
                    <a:cubicBezTo>
                      <a:pt x="109" y="281"/>
                      <a:pt x="109" y="281"/>
                      <a:pt x="109" y="281"/>
                    </a:cubicBezTo>
                    <a:cubicBezTo>
                      <a:pt x="102" y="283"/>
                      <a:pt x="102" y="283"/>
                      <a:pt x="102" y="283"/>
                    </a:cubicBezTo>
                    <a:cubicBezTo>
                      <a:pt x="101" y="287"/>
                      <a:pt x="101" y="287"/>
                      <a:pt x="101" y="287"/>
                    </a:cubicBezTo>
                    <a:cubicBezTo>
                      <a:pt x="102" y="291"/>
                      <a:pt x="102" y="291"/>
                      <a:pt x="102" y="291"/>
                    </a:cubicBezTo>
                    <a:lnTo>
                      <a:pt x="111" y="283"/>
                    </a:lnTo>
                    <a:close/>
                    <a:moveTo>
                      <a:pt x="103" y="269"/>
                    </a:moveTo>
                    <a:cubicBezTo>
                      <a:pt x="103" y="269"/>
                      <a:pt x="102" y="267"/>
                      <a:pt x="99" y="268"/>
                    </a:cubicBezTo>
                    <a:cubicBezTo>
                      <a:pt x="97" y="269"/>
                      <a:pt x="97" y="272"/>
                      <a:pt x="97" y="272"/>
                    </a:cubicBezTo>
                    <a:cubicBezTo>
                      <a:pt x="100" y="274"/>
                      <a:pt x="100" y="274"/>
                      <a:pt x="100" y="274"/>
                    </a:cubicBezTo>
                    <a:cubicBezTo>
                      <a:pt x="100" y="271"/>
                      <a:pt x="100" y="271"/>
                      <a:pt x="100" y="271"/>
                    </a:cubicBezTo>
                    <a:lnTo>
                      <a:pt x="103" y="269"/>
                    </a:lnTo>
                    <a:close/>
                    <a:moveTo>
                      <a:pt x="81" y="236"/>
                    </a:moveTo>
                    <a:cubicBezTo>
                      <a:pt x="79" y="242"/>
                      <a:pt x="79" y="242"/>
                      <a:pt x="79" y="242"/>
                    </a:cubicBezTo>
                    <a:cubicBezTo>
                      <a:pt x="81" y="243"/>
                      <a:pt x="81" y="243"/>
                      <a:pt x="81" y="243"/>
                    </a:cubicBezTo>
                    <a:cubicBezTo>
                      <a:pt x="85" y="239"/>
                      <a:pt x="85" y="239"/>
                      <a:pt x="85" y="239"/>
                    </a:cubicBezTo>
                    <a:cubicBezTo>
                      <a:pt x="88" y="238"/>
                      <a:pt x="88" y="238"/>
                      <a:pt x="88" y="238"/>
                    </a:cubicBezTo>
                    <a:cubicBezTo>
                      <a:pt x="89" y="236"/>
                      <a:pt x="89" y="236"/>
                      <a:pt x="89" y="236"/>
                    </a:cubicBezTo>
                    <a:cubicBezTo>
                      <a:pt x="86" y="235"/>
                      <a:pt x="86" y="235"/>
                      <a:pt x="86" y="235"/>
                    </a:cubicBezTo>
                    <a:cubicBezTo>
                      <a:pt x="84" y="237"/>
                      <a:pt x="84" y="237"/>
                      <a:pt x="84" y="237"/>
                    </a:cubicBezTo>
                    <a:lnTo>
                      <a:pt x="81" y="236"/>
                    </a:lnTo>
                    <a:close/>
                    <a:moveTo>
                      <a:pt x="99" y="230"/>
                    </a:moveTo>
                    <a:cubicBezTo>
                      <a:pt x="92" y="234"/>
                      <a:pt x="92" y="234"/>
                      <a:pt x="92" y="234"/>
                    </a:cubicBezTo>
                    <a:cubicBezTo>
                      <a:pt x="96" y="236"/>
                      <a:pt x="96" y="236"/>
                      <a:pt x="96" y="236"/>
                    </a:cubicBezTo>
                    <a:cubicBezTo>
                      <a:pt x="101" y="232"/>
                      <a:pt x="101" y="232"/>
                      <a:pt x="101" y="232"/>
                    </a:cubicBezTo>
                    <a:lnTo>
                      <a:pt x="99" y="230"/>
                    </a:lnTo>
                    <a:close/>
                    <a:moveTo>
                      <a:pt x="125" y="255"/>
                    </a:moveTo>
                    <a:cubicBezTo>
                      <a:pt x="126" y="252"/>
                      <a:pt x="126" y="252"/>
                      <a:pt x="126" y="252"/>
                    </a:cubicBezTo>
                    <a:cubicBezTo>
                      <a:pt x="121" y="247"/>
                      <a:pt x="121" y="247"/>
                      <a:pt x="121" y="247"/>
                    </a:cubicBezTo>
                    <a:cubicBezTo>
                      <a:pt x="116" y="245"/>
                      <a:pt x="116" y="245"/>
                      <a:pt x="116" y="245"/>
                    </a:cubicBezTo>
                    <a:cubicBezTo>
                      <a:pt x="115" y="240"/>
                      <a:pt x="115" y="240"/>
                      <a:pt x="115" y="240"/>
                    </a:cubicBezTo>
                    <a:cubicBezTo>
                      <a:pt x="112" y="235"/>
                      <a:pt x="112" y="235"/>
                      <a:pt x="112" y="235"/>
                    </a:cubicBezTo>
                    <a:cubicBezTo>
                      <a:pt x="110" y="235"/>
                      <a:pt x="110" y="235"/>
                      <a:pt x="110" y="235"/>
                    </a:cubicBezTo>
                    <a:cubicBezTo>
                      <a:pt x="109" y="237"/>
                      <a:pt x="109" y="237"/>
                      <a:pt x="109" y="237"/>
                    </a:cubicBezTo>
                    <a:cubicBezTo>
                      <a:pt x="106" y="236"/>
                      <a:pt x="106" y="236"/>
                      <a:pt x="106" y="236"/>
                    </a:cubicBezTo>
                    <a:cubicBezTo>
                      <a:pt x="103" y="239"/>
                      <a:pt x="103" y="239"/>
                      <a:pt x="103" y="239"/>
                    </a:cubicBezTo>
                    <a:cubicBezTo>
                      <a:pt x="110" y="245"/>
                      <a:pt x="110" y="245"/>
                      <a:pt x="110" y="245"/>
                    </a:cubicBezTo>
                    <a:cubicBezTo>
                      <a:pt x="110" y="245"/>
                      <a:pt x="114" y="244"/>
                      <a:pt x="114" y="246"/>
                    </a:cubicBezTo>
                    <a:cubicBezTo>
                      <a:pt x="115" y="248"/>
                      <a:pt x="109" y="248"/>
                      <a:pt x="109" y="248"/>
                    </a:cubicBezTo>
                    <a:cubicBezTo>
                      <a:pt x="105" y="252"/>
                      <a:pt x="105" y="252"/>
                      <a:pt x="105" y="252"/>
                    </a:cubicBezTo>
                    <a:cubicBezTo>
                      <a:pt x="105" y="252"/>
                      <a:pt x="114" y="251"/>
                      <a:pt x="114" y="252"/>
                    </a:cubicBezTo>
                    <a:cubicBezTo>
                      <a:pt x="113" y="254"/>
                      <a:pt x="103" y="254"/>
                      <a:pt x="103" y="254"/>
                    </a:cubicBezTo>
                    <a:cubicBezTo>
                      <a:pt x="102" y="255"/>
                      <a:pt x="102" y="255"/>
                      <a:pt x="102" y="255"/>
                    </a:cubicBezTo>
                    <a:cubicBezTo>
                      <a:pt x="99" y="251"/>
                      <a:pt x="99" y="251"/>
                      <a:pt x="99" y="251"/>
                    </a:cubicBezTo>
                    <a:cubicBezTo>
                      <a:pt x="96" y="252"/>
                      <a:pt x="96" y="252"/>
                      <a:pt x="96" y="252"/>
                    </a:cubicBezTo>
                    <a:cubicBezTo>
                      <a:pt x="100" y="258"/>
                      <a:pt x="100" y="258"/>
                      <a:pt x="100" y="258"/>
                    </a:cubicBezTo>
                    <a:cubicBezTo>
                      <a:pt x="103" y="260"/>
                      <a:pt x="103" y="260"/>
                      <a:pt x="103" y="260"/>
                    </a:cubicBezTo>
                    <a:cubicBezTo>
                      <a:pt x="106" y="259"/>
                      <a:pt x="106" y="259"/>
                      <a:pt x="106" y="259"/>
                    </a:cubicBezTo>
                    <a:cubicBezTo>
                      <a:pt x="107" y="259"/>
                      <a:pt x="107" y="259"/>
                      <a:pt x="107" y="259"/>
                    </a:cubicBezTo>
                    <a:cubicBezTo>
                      <a:pt x="117" y="256"/>
                      <a:pt x="117" y="256"/>
                      <a:pt x="117" y="256"/>
                    </a:cubicBezTo>
                    <a:cubicBezTo>
                      <a:pt x="117" y="259"/>
                      <a:pt x="117" y="259"/>
                      <a:pt x="117" y="259"/>
                    </a:cubicBezTo>
                    <a:cubicBezTo>
                      <a:pt x="122" y="256"/>
                      <a:pt x="122" y="256"/>
                      <a:pt x="122" y="256"/>
                    </a:cubicBezTo>
                    <a:cubicBezTo>
                      <a:pt x="122" y="256"/>
                      <a:pt x="120" y="255"/>
                      <a:pt x="120" y="254"/>
                    </a:cubicBezTo>
                    <a:cubicBezTo>
                      <a:pt x="121" y="252"/>
                      <a:pt x="125" y="255"/>
                      <a:pt x="125" y="255"/>
                    </a:cubicBezTo>
                    <a:close/>
                    <a:moveTo>
                      <a:pt x="133" y="246"/>
                    </a:moveTo>
                    <a:cubicBezTo>
                      <a:pt x="130" y="250"/>
                      <a:pt x="130" y="250"/>
                      <a:pt x="130" y="250"/>
                    </a:cubicBezTo>
                    <a:cubicBezTo>
                      <a:pt x="135" y="248"/>
                      <a:pt x="135" y="248"/>
                      <a:pt x="135" y="248"/>
                    </a:cubicBezTo>
                    <a:lnTo>
                      <a:pt x="133" y="246"/>
                    </a:lnTo>
                    <a:close/>
                    <a:moveTo>
                      <a:pt x="117" y="217"/>
                    </a:moveTo>
                    <a:cubicBezTo>
                      <a:pt x="114" y="219"/>
                      <a:pt x="114" y="219"/>
                      <a:pt x="114" y="219"/>
                    </a:cubicBezTo>
                    <a:cubicBezTo>
                      <a:pt x="116" y="221"/>
                      <a:pt x="116" y="221"/>
                      <a:pt x="116" y="221"/>
                    </a:cubicBezTo>
                    <a:lnTo>
                      <a:pt x="117" y="217"/>
                    </a:lnTo>
                    <a:close/>
                    <a:moveTo>
                      <a:pt x="114" y="211"/>
                    </a:moveTo>
                    <a:cubicBezTo>
                      <a:pt x="112" y="208"/>
                      <a:pt x="112" y="208"/>
                      <a:pt x="112" y="208"/>
                    </a:cubicBezTo>
                    <a:cubicBezTo>
                      <a:pt x="107" y="211"/>
                      <a:pt x="107" y="211"/>
                      <a:pt x="107" y="211"/>
                    </a:cubicBezTo>
                    <a:cubicBezTo>
                      <a:pt x="110" y="216"/>
                      <a:pt x="110" y="216"/>
                      <a:pt x="110" y="216"/>
                    </a:cubicBezTo>
                    <a:cubicBezTo>
                      <a:pt x="113" y="214"/>
                      <a:pt x="113" y="214"/>
                      <a:pt x="113" y="214"/>
                    </a:cubicBezTo>
                    <a:lnTo>
                      <a:pt x="114" y="211"/>
                    </a:lnTo>
                    <a:close/>
                    <a:moveTo>
                      <a:pt x="106" y="204"/>
                    </a:moveTo>
                    <a:cubicBezTo>
                      <a:pt x="102" y="204"/>
                      <a:pt x="102" y="204"/>
                      <a:pt x="102" y="204"/>
                    </a:cubicBezTo>
                    <a:cubicBezTo>
                      <a:pt x="106" y="208"/>
                      <a:pt x="106" y="208"/>
                      <a:pt x="106" y="208"/>
                    </a:cubicBezTo>
                    <a:lnTo>
                      <a:pt x="106" y="204"/>
                    </a:lnTo>
                    <a:close/>
                    <a:moveTo>
                      <a:pt x="71" y="205"/>
                    </a:moveTo>
                    <a:cubicBezTo>
                      <a:pt x="80" y="201"/>
                      <a:pt x="78" y="197"/>
                      <a:pt x="70" y="200"/>
                    </a:cubicBezTo>
                    <a:cubicBezTo>
                      <a:pt x="62" y="204"/>
                      <a:pt x="71" y="205"/>
                      <a:pt x="71" y="205"/>
                    </a:cubicBezTo>
                    <a:close/>
                    <a:moveTo>
                      <a:pt x="80" y="198"/>
                    </a:moveTo>
                    <a:cubicBezTo>
                      <a:pt x="82" y="197"/>
                      <a:pt x="82" y="197"/>
                      <a:pt x="82" y="197"/>
                    </a:cubicBezTo>
                    <a:cubicBezTo>
                      <a:pt x="79" y="193"/>
                      <a:pt x="79" y="193"/>
                      <a:pt x="79" y="193"/>
                    </a:cubicBezTo>
                    <a:cubicBezTo>
                      <a:pt x="82" y="193"/>
                      <a:pt x="82" y="193"/>
                      <a:pt x="82" y="193"/>
                    </a:cubicBezTo>
                    <a:cubicBezTo>
                      <a:pt x="82" y="189"/>
                      <a:pt x="82" y="189"/>
                      <a:pt x="82" y="189"/>
                    </a:cubicBezTo>
                    <a:cubicBezTo>
                      <a:pt x="84" y="188"/>
                      <a:pt x="84" y="188"/>
                      <a:pt x="84" y="188"/>
                    </a:cubicBezTo>
                    <a:cubicBezTo>
                      <a:pt x="84" y="188"/>
                      <a:pt x="85" y="186"/>
                      <a:pt x="84" y="183"/>
                    </a:cubicBezTo>
                    <a:cubicBezTo>
                      <a:pt x="84" y="179"/>
                      <a:pt x="81" y="179"/>
                      <a:pt x="81" y="179"/>
                    </a:cubicBezTo>
                    <a:cubicBezTo>
                      <a:pt x="79" y="185"/>
                      <a:pt x="79" y="185"/>
                      <a:pt x="79" y="185"/>
                    </a:cubicBezTo>
                    <a:cubicBezTo>
                      <a:pt x="79" y="185"/>
                      <a:pt x="77" y="182"/>
                      <a:pt x="77" y="185"/>
                    </a:cubicBezTo>
                    <a:cubicBezTo>
                      <a:pt x="76" y="188"/>
                      <a:pt x="74" y="195"/>
                      <a:pt x="76" y="196"/>
                    </a:cubicBezTo>
                    <a:cubicBezTo>
                      <a:pt x="77" y="197"/>
                      <a:pt x="80" y="198"/>
                      <a:pt x="80" y="198"/>
                    </a:cubicBezTo>
                    <a:close/>
                    <a:moveTo>
                      <a:pt x="85" y="173"/>
                    </a:moveTo>
                    <a:cubicBezTo>
                      <a:pt x="84" y="171"/>
                      <a:pt x="84" y="171"/>
                      <a:pt x="84" y="171"/>
                    </a:cubicBezTo>
                    <a:cubicBezTo>
                      <a:pt x="81" y="171"/>
                      <a:pt x="81" y="171"/>
                      <a:pt x="81" y="171"/>
                    </a:cubicBezTo>
                    <a:cubicBezTo>
                      <a:pt x="82" y="176"/>
                      <a:pt x="82" y="176"/>
                      <a:pt x="82" y="176"/>
                    </a:cubicBezTo>
                    <a:cubicBezTo>
                      <a:pt x="88" y="177"/>
                      <a:pt x="88" y="177"/>
                      <a:pt x="88" y="177"/>
                    </a:cubicBezTo>
                    <a:cubicBezTo>
                      <a:pt x="88" y="173"/>
                      <a:pt x="88" y="173"/>
                      <a:pt x="88" y="173"/>
                    </a:cubicBezTo>
                    <a:lnTo>
                      <a:pt x="85" y="173"/>
                    </a:lnTo>
                    <a:close/>
                    <a:moveTo>
                      <a:pt x="123" y="212"/>
                    </a:moveTo>
                    <a:cubicBezTo>
                      <a:pt x="127" y="212"/>
                      <a:pt x="132" y="207"/>
                      <a:pt x="132" y="207"/>
                    </a:cubicBezTo>
                    <a:cubicBezTo>
                      <a:pt x="132" y="205"/>
                      <a:pt x="132" y="205"/>
                      <a:pt x="132" y="205"/>
                    </a:cubicBezTo>
                    <a:cubicBezTo>
                      <a:pt x="132" y="205"/>
                      <a:pt x="136" y="205"/>
                      <a:pt x="136" y="203"/>
                    </a:cubicBezTo>
                    <a:cubicBezTo>
                      <a:pt x="137" y="200"/>
                      <a:pt x="131" y="199"/>
                      <a:pt x="131" y="199"/>
                    </a:cubicBezTo>
                    <a:cubicBezTo>
                      <a:pt x="125" y="193"/>
                      <a:pt x="125" y="193"/>
                      <a:pt x="125" y="193"/>
                    </a:cubicBezTo>
                    <a:cubicBezTo>
                      <a:pt x="126" y="188"/>
                      <a:pt x="126" y="188"/>
                      <a:pt x="126" y="188"/>
                    </a:cubicBezTo>
                    <a:cubicBezTo>
                      <a:pt x="123" y="187"/>
                      <a:pt x="123" y="187"/>
                      <a:pt x="123" y="187"/>
                    </a:cubicBezTo>
                    <a:cubicBezTo>
                      <a:pt x="123" y="187"/>
                      <a:pt x="128" y="183"/>
                      <a:pt x="128" y="176"/>
                    </a:cubicBezTo>
                    <a:cubicBezTo>
                      <a:pt x="128" y="170"/>
                      <a:pt x="125" y="167"/>
                      <a:pt x="125" y="167"/>
                    </a:cubicBezTo>
                    <a:cubicBezTo>
                      <a:pt x="119" y="170"/>
                      <a:pt x="119" y="170"/>
                      <a:pt x="119" y="170"/>
                    </a:cubicBezTo>
                    <a:cubicBezTo>
                      <a:pt x="119" y="179"/>
                      <a:pt x="119" y="179"/>
                      <a:pt x="119" y="179"/>
                    </a:cubicBezTo>
                    <a:cubicBezTo>
                      <a:pt x="114" y="176"/>
                      <a:pt x="114" y="176"/>
                      <a:pt x="114" y="176"/>
                    </a:cubicBezTo>
                    <a:cubicBezTo>
                      <a:pt x="112" y="170"/>
                      <a:pt x="112" y="170"/>
                      <a:pt x="112" y="170"/>
                    </a:cubicBezTo>
                    <a:cubicBezTo>
                      <a:pt x="112" y="170"/>
                      <a:pt x="110" y="170"/>
                      <a:pt x="111" y="173"/>
                    </a:cubicBezTo>
                    <a:cubicBezTo>
                      <a:pt x="111" y="176"/>
                      <a:pt x="112" y="177"/>
                      <a:pt x="112" y="177"/>
                    </a:cubicBezTo>
                    <a:cubicBezTo>
                      <a:pt x="109" y="180"/>
                      <a:pt x="109" y="180"/>
                      <a:pt x="109" y="180"/>
                    </a:cubicBezTo>
                    <a:cubicBezTo>
                      <a:pt x="106" y="174"/>
                      <a:pt x="106" y="174"/>
                      <a:pt x="106" y="174"/>
                    </a:cubicBezTo>
                    <a:cubicBezTo>
                      <a:pt x="103" y="179"/>
                      <a:pt x="103" y="179"/>
                      <a:pt x="103" y="179"/>
                    </a:cubicBezTo>
                    <a:cubicBezTo>
                      <a:pt x="107" y="187"/>
                      <a:pt x="107" y="187"/>
                      <a:pt x="107" y="187"/>
                    </a:cubicBezTo>
                    <a:cubicBezTo>
                      <a:pt x="112" y="184"/>
                      <a:pt x="112" y="184"/>
                      <a:pt x="112" y="184"/>
                    </a:cubicBezTo>
                    <a:cubicBezTo>
                      <a:pt x="115" y="190"/>
                      <a:pt x="115" y="190"/>
                      <a:pt x="115" y="190"/>
                    </a:cubicBezTo>
                    <a:cubicBezTo>
                      <a:pt x="115" y="190"/>
                      <a:pt x="112" y="188"/>
                      <a:pt x="112" y="190"/>
                    </a:cubicBezTo>
                    <a:cubicBezTo>
                      <a:pt x="112" y="191"/>
                      <a:pt x="112" y="200"/>
                      <a:pt x="114" y="201"/>
                    </a:cubicBezTo>
                    <a:cubicBezTo>
                      <a:pt x="117" y="202"/>
                      <a:pt x="118" y="199"/>
                      <a:pt x="120" y="200"/>
                    </a:cubicBezTo>
                    <a:cubicBezTo>
                      <a:pt x="121" y="201"/>
                      <a:pt x="121" y="205"/>
                      <a:pt x="121" y="205"/>
                    </a:cubicBezTo>
                    <a:cubicBezTo>
                      <a:pt x="125" y="200"/>
                      <a:pt x="125" y="200"/>
                      <a:pt x="125" y="200"/>
                    </a:cubicBezTo>
                    <a:cubicBezTo>
                      <a:pt x="127" y="203"/>
                      <a:pt x="127" y="203"/>
                      <a:pt x="127" y="203"/>
                    </a:cubicBezTo>
                    <a:cubicBezTo>
                      <a:pt x="131" y="203"/>
                      <a:pt x="131" y="203"/>
                      <a:pt x="131" y="203"/>
                    </a:cubicBezTo>
                    <a:cubicBezTo>
                      <a:pt x="131" y="203"/>
                      <a:pt x="128" y="205"/>
                      <a:pt x="126" y="206"/>
                    </a:cubicBezTo>
                    <a:cubicBezTo>
                      <a:pt x="123" y="208"/>
                      <a:pt x="121" y="211"/>
                      <a:pt x="123" y="212"/>
                    </a:cubicBezTo>
                    <a:close/>
                    <a:moveTo>
                      <a:pt x="128" y="186"/>
                    </a:moveTo>
                    <a:cubicBezTo>
                      <a:pt x="128" y="190"/>
                      <a:pt x="128" y="190"/>
                      <a:pt x="128" y="190"/>
                    </a:cubicBezTo>
                    <a:cubicBezTo>
                      <a:pt x="128" y="192"/>
                      <a:pt x="128" y="192"/>
                      <a:pt x="128" y="192"/>
                    </a:cubicBezTo>
                    <a:cubicBezTo>
                      <a:pt x="130" y="190"/>
                      <a:pt x="130" y="190"/>
                      <a:pt x="130" y="190"/>
                    </a:cubicBezTo>
                    <a:cubicBezTo>
                      <a:pt x="129" y="187"/>
                      <a:pt x="129" y="187"/>
                      <a:pt x="129" y="187"/>
                    </a:cubicBezTo>
                    <a:cubicBezTo>
                      <a:pt x="131" y="183"/>
                      <a:pt x="131" y="183"/>
                      <a:pt x="131" y="183"/>
                    </a:cubicBezTo>
                    <a:cubicBezTo>
                      <a:pt x="131" y="183"/>
                      <a:pt x="128" y="185"/>
                      <a:pt x="128" y="186"/>
                    </a:cubicBezTo>
                    <a:close/>
                    <a:moveTo>
                      <a:pt x="132" y="196"/>
                    </a:moveTo>
                    <a:cubicBezTo>
                      <a:pt x="131" y="191"/>
                      <a:pt x="131" y="191"/>
                      <a:pt x="131" y="191"/>
                    </a:cubicBezTo>
                    <a:cubicBezTo>
                      <a:pt x="129" y="193"/>
                      <a:pt x="129" y="193"/>
                      <a:pt x="129" y="193"/>
                    </a:cubicBezTo>
                    <a:lnTo>
                      <a:pt x="132" y="196"/>
                    </a:lnTo>
                    <a:close/>
                    <a:moveTo>
                      <a:pt x="135" y="173"/>
                    </a:moveTo>
                    <a:cubicBezTo>
                      <a:pt x="134" y="174"/>
                      <a:pt x="134" y="174"/>
                      <a:pt x="134" y="174"/>
                    </a:cubicBezTo>
                    <a:cubicBezTo>
                      <a:pt x="133" y="180"/>
                      <a:pt x="133" y="180"/>
                      <a:pt x="133" y="180"/>
                    </a:cubicBezTo>
                    <a:cubicBezTo>
                      <a:pt x="133" y="180"/>
                      <a:pt x="135" y="181"/>
                      <a:pt x="135" y="179"/>
                    </a:cubicBezTo>
                    <a:lnTo>
                      <a:pt x="135" y="173"/>
                    </a:lnTo>
                    <a:close/>
                    <a:moveTo>
                      <a:pt x="87" y="170"/>
                    </a:moveTo>
                    <a:cubicBezTo>
                      <a:pt x="89" y="170"/>
                      <a:pt x="93" y="172"/>
                      <a:pt x="93" y="172"/>
                    </a:cubicBezTo>
                    <a:cubicBezTo>
                      <a:pt x="93" y="166"/>
                      <a:pt x="93" y="166"/>
                      <a:pt x="93" y="166"/>
                    </a:cubicBezTo>
                    <a:cubicBezTo>
                      <a:pt x="95" y="166"/>
                      <a:pt x="95" y="166"/>
                      <a:pt x="95" y="166"/>
                    </a:cubicBezTo>
                    <a:cubicBezTo>
                      <a:pt x="96" y="165"/>
                      <a:pt x="96" y="165"/>
                      <a:pt x="96" y="165"/>
                    </a:cubicBezTo>
                    <a:cubicBezTo>
                      <a:pt x="94" y="163"/>
                      <a:pt x="94" y="163"/>
                      <a:pt x="94" y="163"/>
                    </a:cubicBezTo>
                    <a:cubicBezTo>
                      <a:pt x="97" y="158"/>
                      <a:pt x="97" y="158"/>
                      <a:pt x="97" y="158"/>
                    </a:cubicBezTo>
                    <a:cubicBezTo>
                      <a:pt x="95" y="158"/>
                      <a:pt x="95" y="158"/>
                      <a:pt x="95" y="158"/>
                    </a:cubicBezTo>
                    <a:cubicBezTo>
                      <a:pt x="90" y="161"/>
                      <a:pt x="90" y="161"/>
                      <a:pt x="90" y="161"/>
                    </a:cubicBezTo>
                    <a:cubicBezTo>
                      <a:pt x="83" y="160"/>
                      <a:pt x="83" y="160"/>
                      <a:pt x="83" y="160"/>
                    </a:cubicBezTo>
                    <a:cubicBezTo>
                      <a:pt x="81" y="165"/>
                      <a:pt x="81" y="165"/>
                      <a:pt x="81" y="165"/>
                    </a:cubicBezTo>
                    <a:cubicBezTo>
                      <a:pt x="85" y="165"/>
                      <a:pt x="85" y="165"/>
                      <a:pt x="85" y="165"/>
                    </a:cubicBezTo>
                    <a:cubicBezTo>
                      <a:pt x="85" y="165"/>
                      <a:pt x="84" y="170"/>
                      <a:pt x="87" y="170"/>
                    </a:cubicBezTo>
                    <a:close/>
                    <a:moveTo>
                      <a:pt x="111" y="155"/>
                    </a:moveTo>
                    <a:cubicBezTo>
                      <a:pt x="112" y="152"/>
                      <a:pt x="112" y="152"/>
                      <a:pt x="112" y="152"/>
                    </a:cubicBezTo>
                    <a:cubicBezTo>
                      <a:pt x="114" y="152"/>
                      <a:pt x="114" y="152"/>
                      <a:pt x="114" y="152"/>
                    </a:cubicBezTo>
                    <a:cubicBezTo>
                      <a:pt x="114" y="145"/>
                      <a:pt x="114" y="145"/>
                      <a:pt x="114" y="145"/>
                    </a:cubicBezTo>
                    <a:cubicBezTo>
                      <a:pt x="116" y="145"/>
                      <a:pt x="116" y="145"/>
                      <a:pt x="116" y="145"/>
                    </a:cubicBezTo>
                    <a:cubicBezTo>
                      <a:pt x="116" y="145"/>
                      <a:pt x="115" y="150"/>
                      <a:pt x="118" y="151"/>
                    </a:cubicBezTo>
                    <a:cubicBezTo>
                      <a:pt x="121" y="153"/>
                      <a:pt x="122" y="148"/>
                      <a:pt x="122" y="148"/>
                    </a:cubicBezTo>
                    <a:cubicBezTo>
                      <a:pt x="122" y="148"/>
                      <a:pt x="126" y="149"/>
                      <a:pt x="127" y="146"/>
                    </a:cubicBezTo>
                    <a:cubicBezTo>
                      <a:pt x="129" y="144"/>
                      <a:pt x="123" y="141"/>
                      <a:pt x="123" y="141"/>
                    </a:cubicBezTo>
                    <a:cubicBezTo>
                      <a:pt x="128" y="139"/>
                      <a:pt x="128" y="139"/>
                      <a:pt x="128" y="139"/>
                    </a:cubicBezTo>
                    <a:cubicBezTo>
                      <a:pt x="130" y="136"/>
                      <a:pt x="130" y="136"/>
                      <a:pt x="130" y="136"/>
                    </a:cubicBezTo>
                    <a:cubicBezTo>
                      <a:pt x="130" y="136"/>
                      <a:pt x="133" y="138"/>
                      <a:pt x="136" y="137"/>
                    </a:cubicBezTo>
                    <a:cubicBezTo>
                      <a:pt x="141" y="136"/>
                      <a:pt x="141" y="134"/>
                      <a:pt x="141" y="134"/>
                    </a:cubicBezTo>
                    <a:cubicBezTo>
                      <a:pt x="139" y="132"/>
                      <a:pt x="139" y="132"/>
                      <a:pt x="139" y="132"/>
                    </a:cubicBezTo>
                    <a:cubicBezTo>
                      <a:pt x="134" y="135"/>
                      <a:pt x="134" y="135"/>
                      <a:pt x="134" y="135"/>
                    </a:cubicBezTo>
                    <a:cubicBezTo>
                      <a:pt x="134" y="135"/>
                      <a:pt x="133" y="135"/>
                      <a:pt x="133" y="133"/>
                    </a:cubicBezTo>
                    <a:cubicBezTo>
                      <a:pt x="133" y="130"/>
                      <a:pt x="139" y="126"/>
                      <a:pt x="139" y="126"/>
                    </a:cubicBezTo>
                    <a:cubicBezTo>
                      <a:pt x="139" y="125"/>
                      <a:pt x="139" y="125"/>
                      <a:pt x="139" y="125"/>
                    </a:cubicBezTo>
                    <a:cubicBezTo>
                      <a:pt x="141" y="123"/>
                      <a:pt x="141" y="123"/>
                      <a:pt x="141" y="123"/>
                    </a:cubicBezTo>
                    <a:cubicBezTo>
                      <a:pt x="139" y="118"/>
                      <a:pt x="139" y="118"/>
                      <a:pt x="139" y="118"/>
                    </a:cubicBezTo>
                    <a:cubicBezTo>
                      <a:pt x="139" y="118"/>
                      <a:pt x="135" y="118"/>
                      <a:pt x="133" y="120"/>
                    </a:cubicBezTo>
                    <a:cubicBezTo>
                      <a:pt x="131" y="121"/>
                      <a:pt x="129" y="124"/>
                      <a:pt x="129" y="124"/>
                    </a:cubicBezTo>
                    <a:cubicBezTo>
                      <a:pt x="129" y="124"/>
                      <a:pt x="119" y="124"/>
                      <a:pt x="117" y="126"/>
                    </a:cubicBezTo>
                    <a:cubicBezTo>
                      <a:pt x="115" y="128"/>
                      <a:pt x="118" y="134"/>
                      <a:pt x="118" y="134"/>
                    </a:cubicBezTo>
                    <a:cubicBezTo>
                      <a:pt x="112" y="132"/>
                      <a:pt x="112" y="132"/>
                      <a:pt x="112" y="132"/>
                    </a:cubicBezTo>
                    <a:cubicBezTo>
                      <a:pt x="113" y="129"/>
                      <a:pt x="113" y="129"/>
                      <a:pt x="113" y="129"/>
                    </a:cubicBezTo>
                    <a:cubicBezTo>
                      <a:pt x="109" y="127"/>
                      <a:pt x="109" y="127"/>
                      <a:pt x="109" y="127"/>
                    </a:cubicBezTo>
                    <a:cubicBezTo>
                      <a:pt x="109" y="127"/>
                      <a:pt x="106" y="128"/>
                      <a:pt x="104" y="132"/>
                    </a:cubicBezTo>
                    <a:cubicBezTo>
                      <a:pt x="101" y="136"/>
                      <a:pt x="104" y="142"/>
                      <a:pt x="104" y="142"/>
                    </a:cubicBezTo>
                    <a:cubicBezTo>
                      <a:pt x="101" y="143"/>
                      <a:pt x="101" y="143"/>
                      <a:pt x="101" y="143"/>
                    </a:cubicBezTo>
                    <a:cubicBezTo>
                      <a:pt x="101" y="143"/>
                      <a:pt x="105" y="145"/>
                      <a:pt x="107" y="148"/>
                    </a:cubicBezTo>
                    <a:cubicBezTo>
                      <a:pt x="110" y="149"/>
                      <a:pt x="109" y="150"/>
                      <a:pt x="109" y="150"/>
                    </a:cubicBezTo>
                    <a:cubicBezTo>
                      <a:pt x="106" y="149"/>
                      <a:pt x="106" y="149"/>
                      <a:pt x="106" y="149"/>
                    </a:cubicBezTo>
                    <a:cubicBezTo>
                      <a:pt x="105" y="150"/>
                      <a:pt x="105" y="150"/>
                      <a:pt x="105" y="150"/>
                    </a:cubicBezTo>
                    <a:cubicBezTo>
                      <a:pt x="105" y="153"/>
                      <a:pt x="105" y="153"/>
                      <a:pt x="105" y="153"/>
                    </a:cubicBezTo>
                    <a:cubicBezTo>
                      <a:pt x="101" y="154"/>
                      <a:pt x="101" y="154"/>
                      <a:pt x="101" y="154"/>
                    </a:cubicBezTo>
                    <a:cubicBezTo>
                      <a:pt x="99" y="153"/>
                      <a:pt x="99" y="153"/>
                      <a:pt x="99" y="153"/>
                    </a:cubicBezTo>
                    <a:cubicBezTo>
                      <a:pt x="98" y="153"/>
                      <a:pt x="98" y="153"/>
                      <a:pt x="98" y="153"/>
                    </a:cubicBezTo>
                    <a:cubicBezTo>
                      <a:pt x="103" y="159"/>
                      <a:pt x="103" y="159"/>
                      <a:pt x="103" y="159"/>
                    </a:cubicBezTo>
                    <a:lnTo>
                      <a:pt x="111" y="155"/>
                    </a:lnTo>
                    <a:close/>
                    <a:moveTo>
                      <a:pt x="249" y="123"/>
                    </a:moveTo>
                    <a:cubicBezTo>
                      <a:pt x="249" y="123"/>
                      <a:pt x="251" y="123"/>
                      <a:pt x="248" y="114"/>
                    </a:cubicBezTo>
                    <a:cubicBezTo>
                      <a:pt x="245" y="106"/>
                      <a:pt x="242" y="113"/>
                      <a:pt x="242" y="113"/>
                    </a:cubicBezTo>
                    <a:cubicBezTo>
                      <a:pt x="244" y="122"/>
                      <a:pt x="244" y="122"/>
                      <a:pt x="244" y="122"/>
                    </a:cubicBezTo>
                    <a:lnTo>
                      <a:pt x="249" y="123"/>
                    </a:lnTo>
                    <a:close/>
                    <a:moveTo>
                      <a:pt x="253" y="121"/>
                    </a:moveTo>
                    <a:cubicBezTo>
                      <a:pt x="256" y="126"/>
                      <a:pt x="256" y="126"/>
                      <a:pt x="256" y="126"/>
                    </a:cubicBezTo>
                    <a:cubicBezTo>
                      <a:pt x="258" y="120"/>
                      <a:pt x="258" y="120"/>
                      <a:pt x="258" y="120"/>
                    </a:cubicBezTo>
                    <a:cubicBezTo>
                      <a:pt x="256" y="119"/>
                      <a:pt x="256" y="119"/>
                      <a:pt x="256" y="119"/>
                    </a:cubicBezTo>
                    <a:cubicBezTo>
                      <a:pt x="256" y="119"/>
                      <a:pt x="253" y="118"/>
                      <a:pt x="253" y="121"/>
                    </a:cubicBezTo>
                    <a:close/>
                    <a:moveTo>
                      <a:pt x="251" y="111"/>
                    </a:moveTo>
                    <a:cubicBezTo>
                      <a:pt x="257" y="111"/>
                      <a:pt x="257" y="111"/>
                      <a:pt x="257" y="111"/>
                    </a:cubicBezTo>
                    <a:cubicBezTo>
                      <a:pt x="258" y="114"/>
                      <a:pt x="258" y="114"/>
                      <a:pt x="258" y="114"/>
                    </a:cubicBezTo>
                    <a:cubicBezTo>
                      <a:pt x="262" y="117"/>
                      <a:pt x="262" y="117"/>
                      <a:pt x="262" y="117"/>
                    </a:cubicBezTo>
                    <a:cubicBezTo>
                      <a:pt x="264" y="113"/>
                      <a:pt x="264" y="113"/>
                      <a:pt x="264" y="113"/>
                    </a:cubicBezTo>
                    <a:cubicBezTo>
                      <a:pt x="262" y="111"/>
                      <a:pt x="262" y="111"/>
                      <a:pt x="262" y="111"/>
                    </a:cubicBezTo>
                    <a:cubicBezTo>
                      <a:pt x="261" y="108"/>
                      <a:pt x="261" y="108"/>
                      <a:pt x="261" y="108"/>
                    </a:cubicBezTo>
                    <a:cubicBezTo>
                      <a:pt x="256" y="107"/>
                      <a:pt x="256" y="107"/>
                      <a:pt x="256" y="107"/>
                    </a:cubicBezTo>
                    <a:cubicBezTo>
                      <a:pt x="258" y="104"/>
                      <a:pt x="258" y="104"/>
                      <a:pt x="258" y="104"/>
                    </a:cubicBezTo>
                    <a:cubicBezTo>
                      <a:pt x="258" y="104"/>
                      <a:pt x="258" y="101"/>
                      <a:pt x="253" y="98"/>
                    </a:cubicBezTo>
                    <a:cubicBezTo>
                      <a:pt x="249" y="96"/>
                      <a:pt x="249" y="94"/>
                      <a:pt x="247" y="101"/>
                    </a:cubicBezTo>
                    <a:cubicBezTo>
                      <a:pt x="244" y="106"/>
                      <a:pt x="246" y="108"/>
                      <a:pt x="251" y="111"/>
                    </a:cubicBezTo>
                    <a:close/>
                    <a:moveTo>
                      <a:pt x="260" y="105"/>
                    </a:moveTo>
                    <a:cubicBezTo>
                      <a:pt x="264" y="108"/>
                      <a:pt x="264" y="108"/>
                      <a:pt x="264" y="108"/>
                    </a:cubicBezTo>
                    <a:cubicBezTo>
                      <a:pt x="265" y="106"/>
                      <a:pt x="265" y="106"/>
                      <a:pt x="265" y="106"/>
                    </a:cubicBezTo>
                    <a:cubicBezTo>
                      <a:pt x="261" y="104"/>
                      <a:pt x="261" y="104"/>
                      <a:pt x="261" y="104"/>
                    </a:cubicBezTo>
                    <a:lnTo>
                      <a:pt x="260" y="105"/>
                    </a:lnTo>
                    <a:close/>
                    <a:moveTo>
                      <a:pt x="275" y="106"/>
                    </a:moveTo>
                    <a:cubicBezTo>
                      <a:pt x="271" y="101"/>
                      <a:pt x="271" y="101"/>
                      <a:pt x="271" y="101"/>
                    </a:cubicBezTo>
                    <a:cubicBezTo>
                      <a:pt x="270" y="107"/>
                      <a:pt x="270" y="107"/>
                      <a:pt x="270" y="107"/>
                    </a:cubicBezTo>
                    <a:lnTo>
                      <a:pt x="275" y="106"/>
                    </a:lnTo>
                    <a:close/>
                    <a:moveTo>
                      <a:pt x="263" y="97"/>
                    </a:moveTo>
                    <a:cubicBezTo>
                      <a:pt x="259" y="94"/>
                      <a:pt x="259" y="94"/>
                      <a:pt x="259" y="94"/>
                    </a:cubicBezTo>
                    <a:cubicBezTo>
                      <a:pt x="258" y="98"/>
                      <a:pt x="258" y="98"/>
                      <a:pt x="258" y="98"/>
                    </a:cubicBezTo>
                    <a:cubicBezTo>
                      <a:pt x="262" y="101"/>
                      <a:pt x="262" y="101"/>
                      <a:pt x="262" y="101"/>
                    </a:cubicBezTo>
                    <a:lnTo>
                      <a:pt x="263" y="97"/>
                    </a:lnTo>
                    <a:close/>
                    <a:moveTo>
                      <a:pt x="265" y="89"/>
                    </a:moveTo>
                    <a:cubicBezTo>
                      <a:pt x="268" y="89"/>
                      <a:pt x="268" y="89"/>
                      <a:pt x="268" y="89"/>
                    </a:cubicBezTo>
                    <a:cubicBezTo>
                      <a:pt x="268" y="85"/>
                      <a:pt x="268" y="85"/>
                      <a:pt x="268" y="85"/>
                    </a:cubicBezTo>
                    <a:cubicBezTo>
                      <a:pt x="261" y="87"/>
                      <a:pt x="261" y="87"/>
                      <a:pt x="261" y="87"/>
                    </a:cubicBezTo>
                    <a:cubicBezTo>
                      <a:pt x="266" y="94"/>
                      <a:pt x="266" y="94"/>
                      <a:pt x="266" y="94"/>
                    </a:cubicBezTo>
                    <a:lnTo>
                      <a:pt x="265" y="89"/>
                    </a:lnTo>
                    <a:close/>
                    <a:moveTo>
                      <a:pt x="282" y="87"/>
                    </a:moveTo>
                    <a:cubicBezTo>
                      <a:pt x="281" y="89"/>
                      <a:pt x="281" y="89"/>
                      <a:pt x="281" y="89"/>
                    </a:cubicBezTo>
                    <a:cubicBezTo>
                      <a:pt x="284" y="88"/>
                      <a:pt x="284" y="88"/>
                      <a:pt x="284" y="88"/>
                    </a:cubicBezTo>
                    <a:lnTo>
                      <a:pt x="282" y="87"/>
                    </a:lnTo>
                    <a:close/>
                    <a:moveTo>
                      <a:pt x="311" y="82"/>
                    </a:moveTo>
                    <a:cubicBezTo>
                      <a:pt x="310" y="82"/>
                      <a:pt x="310" y="82"/>
                      <a:pt x="310" y="82"/>
                    </a:cubicBezTo>
                    <a:cubicBezTo>
                      <a:pt x="309" y="86"/>
                      <a:pt x="309" y="86"/>
                      <a:pt x="309" y="86"/>
                    </a:cubicBezTo>
                    <a:cubicBezTo>
                      <a:pt x="311" y="85"/>
                      <a:pt x="311" y="85"/>
                      <a:pt x="311" y="85"/>
                    </a:cubicBezTo>
                    <a:lnTo>
                      <a:pt x="311" y="82"/>
                    </a:lnTo>
                    <a:close/>
                    <a:moveTo>
                      <a:pt x="268" y="102"/>
                    </a:moveTo>
                    <a:cubicBezTo>
                      <a:pt x="269" y="95"/>
                      <a:pt x="269" y="95"/>
                      <a:pt x="269" y="95"/>
                    </a:cubicBezTo>
                    <a:cubicBezTo>
                      <a:pt x="269" y="94"/>
                      <a:pt x="269" y="94"/>
                      <a:pt x="269" y="94"/>
                    </a:cubicBezTo>
                    <a:cubicBezTo>
                      <a:pt x="265" y="100"/>
                      <a:pt x="265" y="100"/>
                      <a:pt x="265" y="100"/>
                    </a:cubicBezTo>
                    <a:lnTo>
                      <a:pt x="268" y="102"/>
                    </a:lnTo>
                    <a:close/>
                    <a:moveTo>
                      <a:pt x="282" y="93"/>
                    </a:moveTo>
                    <a:cubicBezTo>
                      <a:pt x="276" y="94"/>
                      <a:pt x="276" y="94"/>
                      <a:pt x="276" y="94"/>
                    </a:cubicBezTo>
                    <a:cubicBezTo>
                      <a:pt x="278" y="93"/>
                      <a:pt x="278" y="93"/>
                      <a:pt x="278" y="93"/>
                    </a:cubicBezTo>
                    <a:cubicBezTo>
                      <a:pt x="278" y="91"/>
                      <a:pt x="278" y="91"/>
                      <a:pt x="278" y="91"/>
                    </a:cubicBezTo>
                    <a:cubicBezTo>
                      <a:pt x="269" y="97"/>
                      <a:pt x="269" y="97"/>
                      <a:pt x="269" y="97"/>
                    </a:cubicBezTo>
                    <a:cubicBezTo>
                      <a:pt x="282" y="95"/>
                      <a:pt x="282" y="95"/>
                      <a:pt x="282" y="95"/>
                    </a:cubicBezTo>
                    <a:lnTo>
                      <a:pt x="282" y="93"/>
                    </a:lnTo>
                    <a:close/>
                    <a:moveTo>
                      <a:pt x="330" y="34"/>
                    </a:moveTo>
                    <a:cubicBezTo>
                      <a:pt x="318" y="34"/>
                      <a:pt x="318" y="34"/>
                      <a:pt x="318" y="34"/>
                    </a:cubicBezTo>
                    <a:cubicBezTo>
                      <a:pt x="320" y="38"/>
                      <a:pt x="320" y="38"/>
                      <a:pt x="320" y="38"/>
                    </a:cubicBezTo>
                    <a:cubicBezTo>
                      <a:pt x="324" y="39"/>
                      <a:pt x="324" y="39"/>
                      <a:pt x="324" y="39"/>
                    </a:cubicBezTo>
                    <a:cubicBezTo>
                      <a:pt x="323" y="44"/>
                      <a:pt x="323" y="44"/>
                      <a:pt x="323" y="44"/>
                    </a:cubicBezTo>
                    <a:cubicBezTo>
                      <a:pt x="331" y="40"/>
                      <a:pt x="331" y="40"/>
                      <a:pt x="331" y="40"/>
                    </a:cubicBezTo>
                    <a:cubicBezTo>
                      <a:pt x="323" y="61"/>
                      <a:pt x="323" y="61"/>
                      <a:pt x="323" y="61"/>
                    </a:cubicBezTo>
                    <a:cubicBezTo>
                      <a:pt x="326" y="65"/>
                      <a:pt x="326" y="65"/>
                      <a:pt x="326" y="65"/>
                    </a:cubicBezTo>
                    <a:cubicBezTo>
                      <a:pt x="333" y="48"/>
                      <a:pt x="333" y="48"/>
                      <a:pt x="333" y="48"/>
                    </a:cubicBezTo>
                    <a:cubicBezTo>
                      <a:pt x="333" y="48"/>
                      <a:pt x="334" y="53"/>
                      <a:pt x="336" y="49"/>
                    </a:cubicBezTo>
                    <a:cubicBezTo>
                      <a:pt x="339" y="47"/>
                      <a:pt x="336" y="45"/>
                      <a:pt x="335" y="43"/>
                    </a:cubicBezTo>
                    <a:cubicBezTo>
                      <a:pt x="334" y="40"/>
                      <a:pt x="336" y="42"/>
                      <a:pt x="338" y="39"/>
                    </a:cubicBezTo>
                    <a:cubicBezTo>
                      <a:pt x="339" y="37"/>
                      <a:pt x="342" y="28"/>
                      <a:pt x="342" y="28"/>
                    </a:cubicBezTo>
                    <a:cubicBezTo>
                      <a:pt x="338" y="28"/>
                      <a:pt x="338" y="28"/>
                      <a:pt x="338" y="28"/>
                    </a:cubicBezTo>
                    <a:cubicBezTo>
                      <a:pt x="339" y="23"/>
                      <a:pt x="339" y="23"/>
                      <a:pt x="339" y="23"/>
                    </a:cubicBezTo>
                    <a:cubicBezTo>
                      <a:pt x="336" y="23"/>
                      <a:pt x="336" y="23"/>
                      <a:pt x="336" y="23"/>
                    </a:cubicBezTo>
                    <a:cubicBezTo>
                      <a:pt x="336" y="23"/>
                      <a:pt x="334" y="30"/>
                      <a:pt x="333" y="27"/>
                    </a:cubicBezTo>
                    <a:cubicBezTo>
                      <a:pt x="332" y="24"/>
                      <a:pt x="336" y="17"/>
                      <a:pt x="335" y="15"/>
                    </a:cubicBezTo>
                    <a:cubicBezTo>
                      <a:pt x="334" y="13"/>
                      <a:pt x="327" y="19"/>
                      <a:pt x="327" y="19"/>
                    </a:cubicBezTo>
                    <a:cubicBezTo>
                      <a:pt x="325" y="19"/>
                      <a:pt x="325" y="19"/>
                      <a:pt x="325" y="19"/>
                    </a:cubicBezTo>
                    <a:cubicBezTo>
                      <a:pt x="325" y="23"/>
                      <a:pt x="325" y="23"/>
                      <a:pt x="325" y="23"/>
                    </a:cubicBezTo>
                    <a:cubicBezTo>
                      <a:pt x="327" y="24"/>
                      <a:pt x="327" y="24"/>
                      <a:pt x="327" y="24"/>
                    </a:cubicBezTo>
                    <a:cubicBezTo>
                      <a:pt x="327" y="31"/>
                      <a:pt x="327" y="31"/>
                      <a:pt x="327" y="31"/>
                    </a:cubicBezTo>
                    <a:cubicBezTo>
                      <a:pt x="327" y="31"/>
                      <a:pt x="336" y="34"/>
                      <a:pt x="330" y="34"/>
                    </a:cubicBezTo>
                    <a:close/>
                    <a:moveTo>
                      <a:pt x="342" y="25"/>
                    </a:moveTo>
                    <a:cubicBezTo>
                      <a:pt x="345" y="25"/>
                      <a:pt x="344" y="20"/>
                      <a:pt x="345" y="17"/>
                    </a:cubicBezTo>
                    <a:cubicBezTo>
                      <a:pt x="345" y="14"/>
                      <a:pt x="348" y="11"/>
                      <a:pt x="346" y="10"/>
                    </a:cubicBezTo>
                    <a:cubicBezTo>
                      <a:pt x="344" y="8"/>
                      <a:pt x="340" y="13"/>
                      <a:pt x="340" y="16"/>
                    </a:cubicBezTo>
                    <a:cubicBezTo>
                      <a:pt x="340" y="19"/>
                      <a:pt x="339" y="24"/>
                      <a:pt x="342" y="25"/>
                    </a:cubicBezTo>
                    <a:close/>
                    <a:moveTo>
                      <a:pt x="357" y="3"/>
                    </a:moveTo>
                    <a:cubicBezTo>
                      <a:pt x="357" y="3"/>
                      <a:pt x="354" y="0"/>
                      <a:pt x="351" y="4"/>
                    </a:cubicBezTo>
                    <a:cubicBezTo>
                      <a:pt x="349" y="8"/>
                      <a:pt x="349" y="12"/>
                      <a:pt x="349" y="12"/>
                    </a:cubicBezTo>
                    <a:cubicBezTo>
                      <a:pt x="352" y="12"/>
                      <a:pt x="352" y="12"/>
                      <a:pt x="352" y="12"/>
                    </a:cubicBezTo>
                    <a:lnTo>
                      <a:pt x="357" y="3"/>
                    </a:lnTo>
                    <a:close/>
                    <a:moveTo>
                      <a:pt x="349" y="16"/>
                    </a:moveTo>
                    <a:cubicBezTo>
                      <a:pt x="348" y="19"/>
                      <a:pt x="348" y="19"/>
                      <a:pt x="348" y="19"/>
                    </a:cubicBezTo>
                    <a:cubicBezTo>
                      <a:pt x="355" y="19"/>
                      <a:pt x="355" y="19"/>
                      <a:pt x="355" y="19"/>
                    </a:cubicBezTo>
                    <a:lnTo>
                      <a:pt x="349" y="16"/>
                    </a:lnTo>
                    <a:close/>
                    <a:moveTo>
                      <a:pt x="33" y="379"/>
                    </a:moveTo>
                    <a:cubicBezTo>
                      <a:pt x="32" y="375"/>
                      <a:pt x="32" y="375"/>
                      <a:pt x="32" y="375"/>
                    </a:cubicBezTo>
                    <a:cubicBezTo>
                      <a:pt x="32" y="375"/>
                      <a:pt x="35" y="368"/>
                      <a:pt x="40" y="369"/>
                    </a:cubicBezTo>
                    <a:cubicBezTo>
                      <a:pt x="45" y="370"/>
                      <a:pt x="46" y="378"/>
                      <a:pt x="46" y="378"/>
                    </a:cubicBezTo>
                    <a:cubicBezTo>
                      <a:pt x="46" y="386"/>
                      <a:pt x="46" y="386"/>
                      <a:pt x="46" y="386"/>
                    </a:cubicBezTo>
                    <a:cubicBezTo>
                      <a:pt x="51" y="387"/>
                      <a:pt x="51" y="387"/>
                      <a:pt x="51" y="387"/>
                    </a:cubicBezTo>
                    <a:cubicBezTo>
                      <a:pt x="51" y="387"/>
                      <a:pt x="44" y="396"/>
                      <a:pt x="49" y="396"/>
                    </a:cubicBezTo>
                    <a:cubicBezTo>
                      <a:pt x="55" y="396"/>
                      <a:pt x="60" y="397"/>
                      <a:pt x="60" y="397"/>
                    </a:cubicBezTo>
                    <a:cubicBezTo>
                      <a:pt x="62" y="393"/>
                      <a:pt x="62" y="393"/>
                      <a:pt x="62" y="393"/>
                    </a:cubicBezTo>
                    <a:cubicBezTo>
                      <a:pt x="64" y="397"/>
                      <a:pt x="64" y="397"/>
                      <a:pt x="64" y="397"/>
                    </a:cubicBezTo>
                    <a:cubicBezTo>
                      <a:pt x="64" y="396"/>
                      <a:pt x="64" y="396"/>
                      <a:pt x="64" y="396"/>
                    </a:cubicBezTo>
                    <a:cubicBezTo>
                      <a:pt x="65" y="396"/>
                      <a:pt x="70" y="405"/>
                      <a:pt x="74" y="401"/>
                    </a:cubicBezTo>
                    <a:cubicBezTo>
                      <a:pt x="80" y="396"/>
                      <a:pt x="78" y="392"/>
                      <a:pt x="81" y="390"/>
                    </a:cubicBezTo>
                    <a:cubicBezTo>
                      <a:pt x="84" y="389"/>
                      <a:pt x="85" y="394"/>
                      <a:pt x="90" y="392"/>
                    </a:cubicBezTo>
                    <a:cubicBezTo>
                      <a:pt x="95" y="389"/>
                      <a:pt x="93" y="386"/>
                      <a:pt x="93" y="386"/>
                    </a:cubicBezTo>
                    <a:cubicBezTo>
                      <a:pt x="90" y="384"/>
                      <a:pt x="90" y="384"/>
                      <a:pt x="90" y="384"/>
                    </a:cubicBezTo>
                    <a:cubicBezTo>
                      <a:pt x="94" y="376"/>
                      <a:pt x="94" y="376"/>
                      <a:pt x="94" y="376"/>
                    </a:cubicBezTo>
                    <a:cubicBezTo>
                      <a:pt x="93" y="373"/>
                      <a:pt x="93" y="373"/>
                      <a:pt x="93" y="373"/>
                    </a:cubicBezTo>
                    <a:cubicBezTo>
                      <a:pt x="96" y="371"/>
                      <a:pt x="96" y="371"/>
                      <a:pt x="96" y="371"/>
                    </a:cubicBezTo>
                    <a:cubicBezTo>
                      <a:pt x="97" y="379"/>
                      <a:pt x="97" y="379"/>
                      <a:pt x="97" y="379"/>
                    </a:cubicBezTo>
                    <a:cubicBezTo>
                      <a:pt x="95" y="382"/>
                      <a:pt x="95" y="382"/>
                      <a:pt x="95" y="382"/>
                    </a:cubicBezTo>
                    <a:cubicBezTo>
                      <a:pt x="96" y="386"/>
                      <a:pt x="96" y="386"/>
                      <a:pt x="96" y="386"/>
                    </a:cubicBezTo>
                    <a:cubicBezTo>
                      <a:pt x="96" y="386"/>
                      <a:pt x="99" y="386"/>
                      <a:pt x="100" y="380"/>
                    </a:cubicBezTo>
                    <a:cubicBezTo>
                      <a:pt x="100" y="376"/>
                      <a:pt x="104" y="368"/>
                      <a:pt x="99" y="365"/>
                    </a:cubicBezTo>
                    <a:cubicBezTo>
                      <a:pt x="93" y="363"/>
                      <a:pt x="83" y="368"/>
                      <a:pt x="85" y="364"/>
                    </a:cubicBezTo>
                    <a:cubicBezTo>
                      <a:pt x="87" y="361"/>
                      <a:pt x="96" y="362"/>
                      <a:pt x="96" y="356"/>
                    </a:cubicBezTo>
                    <a:cubicBezTo>
                      <a:pt x="96" y="349"/>
                      <a:pt x="94" y="350"/>
                      <a:pt x="94" y="350"/>
                    </a:cubicBezTo>
                    <a:cubicBezTo>
                      <a:pt x="89" y="340"/>
                      <a:pt x="89" y="340"/>
                      <a:pt x="89" y="340"/>
                    </a:cubicBezTo>
                    <a:cubicBezTo>
                      <a:pt x="89" y="330"/>
                      <a:pt x="89" y="330"/>
                      <a:pt x="89" y="330"/>
                    </a:cubicBezTo>
                    <a:cubicBezTo>
                      <a:pt x="89" y="330"/>
                      <a:pt x="90" y="325"/>
                      <a:pt x="82" y="323"/>
                    </a:cubicBezTo>
                    <a:cubicBezTo>
                      <a:pt x="73" y="321"/>
                      <a:pt x="64" y="324"/>
                      <a:pt x="64" y="324"/>
                    </a:cubicBezTo>
                    <a:cubicBezTo>
                      <a:pt x="57" y="319"/>
                      <a:pt x="57" y="319"/>
                      <a:pt x="57" y="319"/>
                    </a:cubicBezTo>
                    <a:cubicBezTo>
                      <a:pt x="51" y="327"/>
                      <a:pt x="51" y="327"/>
                      <a:pt x="51" y="327"/>
                    </a:cubicBezTo>
                    <a:cubicBezTo>
                      <a:pt x="45" y="326"/>
                      <a:pt x="45" y="326"/>
                      <a:pt x="45" y="326"/>
                    </a:cubicBezTo>
                    <a:cubicBezTo>
                      <a:pt x="39" y="325"/>
                      <a:pt x="39" y="325"/>
                      <a:pt x="39" y="325"/>
                    </a:cubicBezTo>
                    <a:cubicBezTo>
                      <a:pt x="36" y="332"/>
                      <a:pt x="36" y="332"/>
                      <a:pt x="36" y="332"/>
                    </a:cubicBezTo>
                    <a:cubicBezTo>
                      <a:pt x="34" y="332"/>
                      <a:pt x="34" y="332"/>
                      <a:pt x="34" y="332"/>
                    </a:cubicBezTo>
                    <a:cubicBezTo>
                      <a:pt x="33" y="338"/>
                      <a:pt x="33" y="338"/>
                      <a:pt x="33" y="338"/>
                    </a:cubicBezTo>
                    <a:cubicBezTo>
                      <a:pt x="27" y="345"/>
                      <a:pt x="27" y="345"/>
                      <a:pt x="27" y="345"/>
                    </a:cubicBezTo>
                    <a:cubicBezTo>
                      <a:pt x="27" y="345"/>
                      <a:pt x="28" y="343"/>
                      <a:pt x="24" y="343"/>
                    </a:cubicBezTo>
                    <a:cubicBezTo>
                      <a:pt x="22" y="343"/>
                      <a:pt x="20" y="345"/>
                      <a:pt x="20" y="345"/>
                    </a:cubicBezTo>
                    <a:cubicBezTo>
                      <a:pt x="20" y="345"/>
                      <a:pt x="19" y="341"/>
                      <a:pt x="17" y="341"/>
                    </a:cubicBezTo>
                    <a:cubicBezTo>
                      <a:pt x="16" y="341"/>
                      <a:pt x="12" y="342"/>
                      <a:pt x="12" y="345"/>
                    </a:cubicBezTo>
                    <a:cubicBezTo>
                      <a:pt x="12" y="347"/>
                      <a:pt x="20" y="349"/>
                      <a:pt x="20" y="349"/>
                    </a:cubicBezTo>
                    <a:cubicBezTo>
                      <a:pt x="17" y="350"/>
                      <a:pt x="17" y="350"/>
                      <a:pt x="17" y="350"/>
                    </a:cubicBezTo>
                    <a:cubicBezTo>
                      <a:pt x="13" y="353"/>
                      <a:pt x="13" y="353"/>
                      <a:pt x="13" y="353"/>
                    </a:cubicBezTo>
                    <a:cubicBezTo>
                      <a:pt x="7" y="350"/>
                      <a:pt x="7" y="350"/>
                      <a:pt x="7" y="350"/>
                    </a:cubicBezTo>
                    <a:cubicBezTo>
                      <a:pt x="5" y="355"/>
                      <a:pt x="5" y="355"/>
                      <a:pt x="5" y="355"/>
                    </a:cubicBezTo>
                    <a:cubicBezTo>
                      <a:pt x="5" y="355"/>
                      <a:pt x="0" y="353"/>
                      <a:pt x="0" y="356"/>
                    </a:cubicBezTo>
                    <a:cubicBezTo>
                      <a:pt x="0" y="359"/>
                      <a:pt x="7" y="370"/>
                      <a:pt x="7" y="370"/>
                    </a:cubicBezTo>
                    <a:cubicBezTo>
                      <a:pt x="6" y="376"/>
                      <a:pt x="6" y="376"/>
                      <a:pt x="6" y="376"/>
                    </a:cubicBezTo>
                    <a:cubicBezTo>
                      <a:pt x="13" y="377"/>
                      <a:pt x="13" y="377"/>
                      <a:pt x="13" y="377"/>
                    </a:cubicBezTo>
                    <a:cubicBezTo>
                      <a:pt x="13" y="377"/>
                      <a:pt x="15" y="384"/>
                      <a:pt x="22" y="384"/>
                    </a:cubicBezTo>
                    <a:cubicBezTo>
                      <a:pt x="30" y="385"/>
                      <a:pt x="33" y="379"/>
                      <a:pt x="33" y="379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52" name="Germany (example: colored)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4478338" y="3413125"/>
                <a:ext cx="812800" cy="1096962"/>
              </a:xfrm>
              <a:custGeom>
                <a:avLst/>
                <a:gdLst/>
                <a:ahLst/>
                <a:cxnLst>
                  <a:cxn ang="0">
                    <a:pos x="296" y="88"/>
                  </a:cxn>
                  <a:cxn ang="0">
                    <a:pos x="316" y="94"/>
                  </a:cxn>
                  <a:cxn ang="0">
                    <a:pos x="301" y="195"/>
                  </a:cxn>
                  <a:cxn ang="0">
                    <a:pos x="291" y="184"/>
                  </a:cxn>
                  <a:cxn ang="0">
                    <a:pos x="772" y="96"/>
                  </a:cxn>
                  <a:cxn ang="0">
                    <a:pos x="777" y="96"/>
                  </a:cxn>
                  <a:cxn ang="0">
                    <a:pos x="793" y="138"/>
                  </a:cxn>
                  <a:cxn ang="0">
                    <a:pos x="821" y="130"/>
                  </a:cxn>
                  <a:cxn ang="0">
                    <a:pos x="775" y="70"/>
                  </a:cxn>
                  <a:cxn ang="0">
                    <a:pos x="783" y="91"/>
                  </a:cxn>
                  <a:cxn ang="0">
                    <a:pos x="847" y="179"/>
                  </a:cxn>
                  <a:cxn ang="0">
                    <a:pos x="834" y="171"/>
                  </a:cxn>
                  <a:cxn ang="0">
                    <a:pos x="596" y="180"/>
                  </a:cxn>
                  <a:cxn ang="0">
                    <a:pos x="550" y="109"/>
                  </a:cxn>
                  <a:cxn ang="0">
                    <a:pos x="749" y="104"/>
                  </a:cxn>
                  <a:cxn ang="0">
                    <a:pos x="146" y="231"/>
                  </a:cxn>
                  <a:cxn ang="0">
                    <a:pos x="210" y="221"/>
                  </a:cxn>
                  <a:cxn ang="0">
                    <a:pos x="972" y="618"/>
                  </a:cxn>
                  <a:cxn ang="0">
                    <a:pos x="928" y="434"/>
                  </a:cxn>
                  <a:cxn ang="0">
                    <a:pos x="853" y="221"/>
                  </a:cxn>
                  <a:cxn ang="0">
                    <a:pos x="788" y="151"/>
                  </a:cxn>
                  <a:cxn ang="0">
                    <a:pos x="689" y="130"/>
                  </a:cxn>
                  <a:cxn ang="0">
                    <a:pos x="656" y="158"/>
                  </a:cxn>
                  <a:cxn ang="0">
                    <a:pos x="575" y="200"/>
                  </a:cxn>
                  <a:cxn ang="0">
                    <a:pos x="550" y="161"/>
                  </a:cxn>
                  <a:cxn ang="0">
                    <a:pos x="464" y="130"/>
                  </a:cxn>
                  <a:cxn ang="0">
                    <a:pos x="397" y="47"/>
                  </a:cxn>
                  <a:cxn ang="0">
                    <a:pos x="348" y="94"/>
                  </a:cxn>
                  <a:cxn ang="0">
                    <a:pos x="332" y="158"/>
                  </a:cxn>
                  <a:cxn ang="0">
                    <a:pos x="384" y="221"/>
                  </a:cxn>
                  <a:cxn ang="0">
                    <a:pos x="272" y="255"/>
                  </a:cxn>
                  <a:cxn ang="0">
                    <a:pos x="174" y="231"/>
                  </a:cxn>
                  <a:cxn ang="0">
                    <a:pos x="148" y="374"/>
                  </a:cxn>
                  <a:cxn ang="0">
                    <a:pos x="102" y="532"/>
                  </a:cxn>
                  <a:cxn ang="0">
                    <a:pos x="37" y="590"/>
                  </a:cxn>
                  <a:cxn ang="0">
                    <a:pos x="24" y="709"/>
                  </a:cxn>
                  <a:cxn ang="0">
                    <a:pos x="21" y="841"/>
                  </a:cxn>
                  <a:cxn ang="0">
                    <a:pos x="76" y="992"/>
                  </a:cxn>
                  <a:cxn ang="0">
                    <a:pos x="153" y="1005"/>
                  </a:cxn>
                  <a:cxn ang="0">
                    <a:pos x="195" y="1104"/>
                  </a:cxn>
                  <a:cxn ang="0">
                    <a:pos x="213" y="1285"/>
                  </a:cxn>
                  <a:cxn ang="0">
                    <a:pos x="283" y="1249"/>
                  </a:cxn>
                  <a:cxn ang="0">
                    <a:pos x="417" y="1285"/>
                  </a:cxn>
                  <a:cxn ang="0">
                    <a:pos x="503" y="1291"/>
                  </a:cxn>
                  <a:cxn ang="0">
                    <a:pos x="599" y="1306"/>
                  </a:cxn>
                  <a:cxn ang="0">
                    <a:pos x="762" y="1267"/>
                  </a:cxn>
                  <a:cxn ang="0">
                    <a:pos x="757" y="1189"/>
                  </a:cxn>
                  <a:cxn ang="0">
                    <a:pos x="824" y="1031"/>
                  </a:cxn>
                  <a:cxn ang="0">
                    <a:pos x="720" y="880"/>
                  </a:cxn>
                  <a:cxn ang="0">
                    <a:pos x="736" y="800"/>
                  </a:cxn>
                  <a:cxn ang="0">
                    <a:pos x="902" y="712"/>
                  </a:cxn>
                  <a:cxn ang="0">
                    <a:pos x="967" y="704"/>
                  </a:cxn>
                  <a:cxn ang="0">
                    <a:pos x="138" y="234"/>
                  </a:cxn>
                  <a:cxn ang="0">
                    <a:pos x="239" y="216"/>
                  </a:cxn>
                  <a:cxn ang="0">
                    <a:pos x="278" y="68"/>
                  </a:cxn>
                  <a:cxn ang="0">
                    <a:pos x="280" y="49"/>
                  </a:cxn>
                  <a:cxn ang="0">
                    <a:pos x="291" y="26"/>
                  </a:cxn>
                  <a:cxn ang="0">
                    <a:pos x="296" y="0"/>
                  </a:cxn>
                  <a:cxn ang="0">
                    <a:pos x="265" y="229"/>
                  </a:cxn>
                  <a:cxn ang="0">
                    <a:pos x="241" y="151"/>
                  </a:cxn>
                </a:cxnLst>
                <a:rect l="0" t="0" r="r" b="b"/>
                <a:pathLst>
                  <a:path w="987" h="1337">
                    <a:moveTo>
                      <a:pt x="285" y="1267"/>
                    </a:moveTo>
                    <a:cubicBezTo>
                      <a:pt x="293" y="1267"/>
                      <a:pt x="293" y="1267"/>
                      <a:pt x="293" y="1267"/>
                    </a:cubicBezTo>
                    <a:cubicBezTo>
                      <a:pt x="293" y="1262"/>
                      <a:pt x="293" y="1262"/>
                      <a:pt x="293" y="1262"/>
                    </a:cubicBezTo>
                    <a:cubicBezTo>
                      <a:pt x="288" y="1262"/>
                      <a:pt x="288" y="1262"/>
                      <a:pt x="288" y="1262"/>
                    </a:cubicBezTo>
                    <a:cubicBezTo>
                      <a:pt x="285" y="1267"/>
                      <a:pt x="285" y="1267"/>
                      <a:pt x="285" y="1267"/>
                    </a:cubicBezTo>
                    <a:close/>
                    <a:moveTo>
                      <a:pt x="296" y="94"/>
                    </a:moveTo>
                    <a:cubicBezTo>
                      <a:pt x="298" y="91"/>
                      <a:pt x="298" y="88"/>
                      <a:pt x="296" y="88"/>
                    </a:cubicBezTo>
                    <a:cubicBezTo>
                      <a:pt x="283" y="91"/>
                      <a:pt x="301" y="96"/>
                      <a:pt x="296" y="94"/>
                    </a:cubicBezTo>
                    <a:close/>
                    <a:moveTo>
                      <a:pt x="319" y="101"/>
                    </a:moveTo>
                    <a:cubicBezTo>
                      <a:pt x="322" y="101"/>
                      <a:pt x="322" y="99"/>
                      <a:pt x="322" y="99"/>
                    </a:cubicBezTo>
                    <a:cubicBezTo>
                      <a:pt x="319" y="99"/>
                      <a:pt x="316" y="101"/>
                      <a:pt x="319" y="101"/>
                    </a:cubicBezTo>
                    <a:close/>
                    <a:moveTo>
                      <a:pt x="316" y="94"/>
                    </a:moveTo>
                    <a:cubicBezTo>
                      <a:pt x="319" y="91"/>
                      <a:pt x="322" y="91"/>
                      <a:pt x="319" y="86"/>
                    </a:cubicBezTo>
                    <a:cubicBezTo>
                      <a:pt x="314" y="83"/>
                      <a:pt x="298" y="101"/>
                      <a:pt x="316" y="94"/>
                    </a:cubicBezTo>
                    <a:close/>
                    <a:moveTo>
                      <a:pt x="314" y="68"/>
                    </a:moveTo>
                    <a:cubicBezTo>
                      <a:pt x="311" y="70"/>
                      <a:pt x="309" y="70"/>
                      <a:pt x="306" y="70"/>
                    </a:cubicBezTo>
                    <a:cubicBezTo>
                      <a:pt x="311" y="78"/>
                      <a:pt x="311" y="70"/>
                      <a:pt x="314" y="68"/>
                    </a:cubicBezTo>
                    <a:close/>
                    <a:moveTo>
                      <a:pt x="296" y="83"/>
                    </a:moveTo>
                    <a:cubicBezTo>
                      <a:pt x="296" y="81"/>
                      <a:pt x="293" y="81"/>
                      <a:pt x="293" y="83"/>
                    </a:cubicBezTo>
                    <a:cubicBezTo>
                      <a:pt x="293" y="88"/>
                      <a:pt x="296" y="83"/>
                      <a:pt x="296" y="83"/>
                    </a:cubicBezTo>
                    <a:close/>
                    <a:moveTo>
                      <a:pt x="301" y="195"/>
                    </a:moveTo>
                    <a:cubicBezTo>
                      <a:pt x="306" y="195"/>
                      <a:pt x="301" y="192"/>
                      <a:pt x="301" y="192"/>
                    </a:cubicBezTo>
                    <a:cubicBezTo>
                      <a:pt x="296" y="192"/>
                      <a:pt x="296" y="195"/>
                      <a:pt x="301" y="195"/>
                    </a:cubicBezTo>
                    <a:close/>
                    <a:moveTo>
                      <a:pt x="301" y="101"/>
                    </a:moveTo>
                    <a:cubicBezTo>
                      <a:pt x="301" y="104"/>
                      <a:pt x="306" y="101"/>
                      <a:pt x="306" y="101"/>
                    </a:cubicBezTo>
                    <a:cubicBezTo>
                      <a:pt x="306" y="96"/>
                      <a:pt x="301" y="99"/>
                      <a:pt x="301" y="101"/>
                    </a:cubicBezTo>
                    <a:close/>
                    <a:moveTo>
                      <a:pt x="296" y="187"/>
                    </a:moveTo>
                    <a:cubicBezTo>
                      <a:pt x="298" y="184"/>
                      <a:pt x="291" y="184"/>
                      <a:pt x="291" y="184"/>
                    </a:cubicBezTo>
                    <a:cubicBezTo>
                      <a:pt x="288" y="182"/>
                      <a:pt x="293" y="200"/>
                      <a:pt x="296" y="187"/>
                    </a:cubicBezTo>
                    <a:close/>
                    <a:moveTo>
                      <a:pt x="298" y="107"/>
                    </a:moveTo>
                    <a:cubicBezTo>
                      <a:pt x="298" y="107"/>
                      <a:pt x="298" y="104"/>
                      <a:pt x="296" y="101"/>
                    </a:cubicBezTo>
                    <a:cubicBezTo>
                      <a:pt x="291" y="96"/>
                      <a:pt x="293" y="109"/>
                      <a:pt x="298" y="107"/>
                    </a:cubicBezTo>
                    <a:close/>
                    <a:moveTo>
                      <a:pt x="772" y="96"/>
                    </a:moveTo>
                    <a:cubicBezTo>
                      <a:pt x="765" y="91"/>
                      <a:pt x="765" y="99"/>
                      <a:pt x="759" y="101"/>
                    </a:cubicBezTo>
                    <a:cubicBezTo>
                      <a:pt x="762" y="101"/>
                      <a:pt x="767" y="99"/>
                      <a:pt x="772" y="96"/>
                    </a:cubicBezTo>
                    <a:close/>
                    <a:moveTo>
                      <a:pt x="845" y="135"/>
                    </a:moveTo>
                    <a:cubicBezTo>
                      <a:pt x="842" y="132"/>
                      <a:pt x="842" y="132"/>
                      <a:pt x="840" y="135"/>
                    </a:cubicBezTo>
                    <a:cubicBezTo>
                      <a:pt x="840" y="140"/>
                      <a:pt x="842" y="135"/>
                      <a:pt x="845" y="135"/>
                    </a:cubicBezTo>
                    <a:close/>
                    <a:moveTo>
                      <a:pt x="759" y="75"/>
                    </a:moveTo>
                    <a:cubicBezTo>
                      <a:pt x="752" y="68"/>
                      <a:pt x="754" y="96"/>
                      <a:pt x="754" y="99"/>
                    </a:cubicBezTo>
                    <a:cubicBezTo>
                      <a:pt x="757" y="94"/>
                      <a:pt x="759" y="75"/>
                      <a:pt x="759" y="75"/>
                    </a:cubicBezTo>
                    <a:close/>
                    <a:moveTo>
                      <a:pt x="777" y="96"/>
                    </a:moveTo>
                    <a:cubicBezTo>
                      <a:pt x="777" y="99"/>
                      <a:pt x="762" y="101"/>
                      <a:pt x="765" y="104"/>
                    </a:cubicBezTo>
                    <a:cubicBezTo>
                      <a:pt x="765" y="107"/>
                      <a:pt x="775" y="101"/>
                      <a:pt x="775" y="107"/>
                    </a:cubicBezTo>
                    <a:cubicBezTo>
                      <a:pt x="775" y="112"/>
                      <a:pt x="777" y="117"/>
                      <a:pt x="767" y="117"/>
                    </a:cubicBezTo>
                    <a:cubicBezTo>
                      <a:pt x="759" y="117"/>
                      <a:pt x="759" y="125"/>
                      <a:pt x="762" y="127"/>
                    </a:cubicBezTo>
                    <a:cubicBezTo>
                      <a:pt x="765" y="130"/>
                      <a:pt x="780" y="135"/>
                      <a:pt x="783" y="135"/>
                    </a:cubicBezTo>
                    <a:cubicBezTo>
                      <a:pt x="785" y="138"/>
                      <a:pt x="783" y="138"/>
                      <a:pt x="783" y="138"/>
                    </a:cubicBezTo>
                    <a:cubicBezTo>
                      <a:pt x="785" y="140"/>
                      <a:pt x="793" y="140"/>
                      <a:pt x="793" y="138"/>
                    </a:cubicBezTo>
                    <a:cubicBezTo>
                      <a:pt x="793" y="132"/>
                      <a:pt x="788" y="138"/>
                      <a:pt x="788" y="132"/>
                    </a:cubicBezTo>
                    <a:cubicBezTo>
                      <a:pt x="788" y="127"/>
                      <a:pt x="798" y="127"/>
                      <a:pt x="793" y="122"/>
                    </a:cubicBezTo>
                    <a:cubicBezTo>
                      <a:pt x="796" y="122"/>
                      <a:pt x="816" y="117"/>
                      <a:pt x="816" y="120"/>
                    </a:cubicBezTo>
                    <a:cubicBezTo>
                      <a:pt x="816" y="120"/>
                      <a:pt x="809" y="122"/>
                      <a:pt x="809" y="125"/>
                    </a:cubicBezTo>
                    <a:cubicBezTo>
                      <a:pt x="814" y="122"/>
                      <a:pt x="816" y="122"/>
                      <a:pt x="819" y="122"/>
                    </a:cubicBezTo>
                    <a:cubicBezTo>
                      <a:pt x="814" y="127"/>
                      <a:pt x="814" y="127"/>
                      <a:pt x="814" y="127"/>
                    </a:cubicBezTo>
                    <a:cubicBezTo>
                      <a:pt x="816" y="127"/>
                      <a:pt x="821" y="130"/>
                      <a:pt x="821" y="130"/>
                    </a:cubicBezTo>
                    <a:cubicBezTo>
                      <a:pt x="821" y="127"/>
                      <a:pt x="827" y="120"/>
                      <a:pt x="827" y="120"/>
                    </a:cubicBezTo>
                    <a:cubicBezTo>
                      <a:pt x="827" y="112"/>
                      <a:pt x="806" y="107"/>
                      <a:pt x="806" y="101"/>
                    </a:cubicBezTo>
                    <a:cubicBezTo>
                      <a:pt x="803" y="91"/>
                      <a:pt x="829" y="70"/>
                      <a:pt x="798" y="81"/>
                    </a:cubicBezTo>
                    <a:cubicBezTo>
                      <a:pt x="796" y="81"/>
                      <a:pt x="788" y="75"/>
                      <a:pt x="788" y="68"/>
                    </a:cubicBezTo>
                    <a:cubicBezTo>
                      <a:pt x="788" y="65"/>
                      <a:pt x="798" y="60"/>
                      <a:pt x="788" y="60"/>
                    </a:cubicBezTo>
                    <a:cubicBezTo>
                      <a:pt x="783" y="60"/>
                      <a:pt x="757" y="78"/>
                      <a:pt x="765" y="83"/>
                    </a:cubicBezTo>
                    <a:cubicBezTo>
                      <a:pt x="767" y="86"/>
                      <a:pt x="775" y="70"/>
                      <a:pt x="775" y="70"/>
                    </a:cubicBezTo>
                    <a:cubicBezTo>
                      <a:pt x="780" y="68"/>
                      <a:pt x="775" y="83"/>
                      <a:pt x="775" y="83"/>
                    </a:cubicBezTo>
                    <a:cubicBezTo>
                      <a:pt x="780" y="83"/>
                      <a:pt x="783" y="75"/>
                      <a:pt x="785" y="75"/>
                    </a:cubicBezTo>
                    <a:cubicBezTo>
                      <a:pt x="785" y="75"/>
                      <a:pt x="798" y="88"/>
                      <a:pt x="798" y="86"/>
                    </a:cubicBezTo>
                    <a:cubicBezTo>
                      <a:pt x="798" y="109"/>
                      <a:pt x="790" y="83"/>
                      <a:pt x="788" y="83"/>
                    </a:cubicBezTo>
                    <a:cubicBezTo>
                      <a:pt x="785" y="86"/>
                      <a:pt x="788" y="88"/>
                      <a:pt x="785" y="88"/>
                    </a:cubicBezTo>
                    <a:cubicBezTo>
                      <a:pt x="785" y="88"/>
                      <a:pt x="788" y="81"/>
                      <a:pt x="785" y="81"/>
                    </a:cubicBezTo>
                    <a:cubicBezTo>
                      <a:pt x="780" y="78"/>
                      <a:pt x="780" y="88"/>
                      <a:pt x="783" y="91"/>
                    </a:cubicBezTo>
                    <a:cubicBezTo>
                      <a:pt x="780" y="88"/>
                      <a:pt x="762" y="81"/>
                      <a:pt x="762" y="88"/>
                    </a:cubicBezTo>
                    <a:cubicBezTo>
                      <a:pt x="762" y="94"/>
                      <a:pt x="775" y="91"/>
                      <a:pt x="777" y="96"/>
                    </a:cubicBezTo>
                    <a:close/>
                    <a:moveTo>
                      <a:pt x="834" y="171"/>
                    </a:moveTo>
                    <a:cubicBezTo>
                      <a:pt x="837" y="174"/>
                      <a:pt x="840" y="174"/>
                      <a:pt x="840" y="177"/>
                    </a:cubicBezTo>
                    <a:cubicBezTo>
                      <a:pt x="842" y="169"/>
                      <a:pt x="860" y="171"/>
                      <a:pt x="858" y="187"/>
                    </a:cubicBezTo>
                    <a:cubicBezTo>
                      <a:pt x="850" y="184"/>
                      <a:pt x="853" y="187"/>
                      <a:pt x="847" y="187"/>
                    </a:cubicBezTo>
                    <a:cubicBezTo>
                      <a:pt x="847" y="179"/>
                      <a:pt x="847" y="179"/>
                      <a:pt x="847" y="179"/>
                    </a:cubicBezTo>
                    <a:cubicBezTo>
                      <a:pt x="842" y="187"/>
                      <a:pt x="850" y="195"/>
                      <a:pt x="837" y="203"/>
                    </a:cubicBezTo>
                    <a:cubicBezTo>
                      <a:pt x="847" y="203"/>
                      <a:pt x="847" y="203"/>
                      <a:pt x="847" y="203"/>
                    </a:cubicBezTo>
                    <a:cubicBezTo>
                      <a:pt x="850" y="203"/>
                      <a:pt x="878" y="192"/>
                      <a:pt x="881" y="203"/>
                    </a:cubicBezTo>
                    <a:cubicBezTo>
                      <a:pt x="878" y="192"/>
                      <a:pt x="873" y="179"/>
                      <a:pt x="863" y="174"/>
                    </a:cubicBezTo>
                    <a:cubicBezTo>
                      <a:pt x="850" y="171"/>
                      <a:pt x="840" y="151"/>
                      <a:pt x="829" y="148"/>
                    </a:cubicBezTo>
                    <a:cubicBezTo>
                      <a:pt x="829" y="148"/>
                      <a:pt x="832" y="169"/>
                      <a:pt x="830" y="173"/>
                    </a:cubicBezTo>
                    <a:cubicBezTo>
                      <a:pt x="831" y="173"/>
                      <a:pt x="834" y="176"/>
                      <a:pt x="834" y="171"/>
                    </a:cubicBezTo>
                    <a:close/>
                    <a:moveTo>
                      <a:pt x="829" y="174"/>
                    </a:moveTo>
                    <a:cubicBezTo>
                      <a:pt x="829" y="174"/>
                      <a:pt x="830" y="174"/>
                      <a:pt x="830" y="173"/>
                    </a:cubicBezTo>
                    <a:cubicBezTo>
                      <a:pt x="829" y="173"/>
                      <a:pt x="829" y="174"/>
                      <a:pt x="829" y="174"/>
                    </a:cubicBezTo>
                    <a:close/>
                    <a:moveTo>
                      <a:pt x="585" y="188"/>
                    </a:moveTo>
                    <a:cubicBezTo>
                      <a:pt x="588" y="193"/>
                      <a:pt x="590" y="188"/>
                      <a:pt x="593" y="188"/>
                    </a:cubicBezTo>
                    <a:cubicBezTo>
                      <a:pt x="590" y="190"/>
                      <a:pt x="590" y="190"/>
                      <a:pt x="593" y="190"/>
                    </a:cubicBezTo>
                    <a:cubicBezTo>
                      <a:pt x="593" y="190"/>
                      <a:pt x="598" y="180"/>
                      <a:pt x="596" y="180"/>
                    </a:cubicBezTo>
                    <a:cubicBezTo>
                      <a:pt x="596" y="180"/>
                      <a:pt x="580" y="185"/>
                      <a:pt x="585" y="188"/>
                    </a:cubicBezTo>
                    <a:close/>
                    <a:moveTo>
                      <a:pt x="322" y="70"/>
                    </a:moveTo>
                    <a:cubicBezTo>
                      <a:pt x="316" y="78"/>
                      <a:pt x="322" y="75"/>
                      <a:pt x="322" y="75"/>
                    </a:cubicBezTo>
                    <a:cubicBezTo>
                      <a:pt x="322" y="75"/>
                      <a:pt x="327" y="65"/>
                      <a:pt x="322" y="70"/>
                    </a:cubicBezTo>
                    <a:close/>
                    <a:moveTo>
                      <a:pt x="560" y="109"/>
                    </a:moveTo>
                    <a:cubicBezTo>
                      <a:pt x="568" y="117"/>
                      <a:pt x="573" y="120"/>
                      <a:pt x="581" y="120"/>
                    </a:cubicBezTo>
                    <a:cubicBezTo>
                      <a:pt x="581" y="101"/>
                      <a:pt x="547" y="86"/>
                      <a:pt x="550" y="109"/>
                    </a:cubicBezTo>
                    <a:cubicBezTo>
                      <a:pt x="552" y="112"/>
                      <a:pt x="555" y="112"/>
                      <a:pt x="560" y="109"/>
                    </a:cubicBezTo>
                    <a:close/>
                    <a:moveTo>
                      <a:pt x="301" y="86"/>
                    </a:moveTo>
                    <a:cubicBezTo>
                      <a:pt x="301" y="86"/>
                      <a:pt x="311" y="88"/>
                      <a:pt x="306" y="83"/>
                    </a:cubicBezTo>
                    <a:cubicBezTo>
                      <a:pt x="306" y="83"/>
                      <a:pt x="301" y="83"/>
                      <a:pt x="301" y="81"/>
                    </a:cubicBezTo>
                    <a:cubicBezTo>
                      <a:pt x="296" y="83"/>
                      <a:pt x="298" y="86"/>
                      <a:pt x="301" y="86"/>
                    </a:cubicBezTo>
                    <a:close/>
                    <a:moveTo>
                      <a:pt x="757" y="101"/>
                    </a:moveTo>
                    <a:cubicBezTo>
                      <a:pt x="749" y="104"/>
                      <a:pt x="749" y="104"/>
                      <a:pt x="749" y="104"/>
                    </a:cubicBezTo>
                    <a:cubicBezTo>
                      <a:pt x="749" y="104"/>
                      <a:pt x="754" y="107"/>
                      <a:pt x="757" y="101"/>
                    </a:cubicBezTo>
                    <a:close/>
                    <a:moveTo>
                      <a:pt x="190" y="221"/>
                    </a:moveTo>
                    <a:cubicBezTo>
                      <a:pt x="187" y="221"/>
                      <a:pt x="190" y="226"/>
                      <a:pt x="190" y="226"/>
                    </a:cubicBezTo>
                    <a:cubicBezTo>
                      <a:pt x="192" y="226"/>
                      <a:pt x="195" y="223"/>
                      <a:pt x="190" y="221"/>
                    </a:cubicBezTo>
                    <a:close/>
                    <a:moveTo>
                      <a:pt x="158" y="229"/>
                    </a:moveTo>
                    <a:cubicBezTo>
                      <a:pt x="156" y="223"/>
                      <a:pt x="143" y="231"/>
                      <a:pt x="138" y="231"/>
                    </a:cubicBezTo>
                    <a:cubicBezTo>
                      <a:pt x="146" y="231"/>
                      <a:pt x="146" y="231"/>
                      <a:pt x="146" y="231"/>
                    </a:cubicBezTo>
                    <a:cubicBezTo>
                      <a:pt x="148" y="231"/>
                      <a:pt x="153" y="231"/>
                      <a:pt x="158" y="229"/>
                    </a:cubicBezTo>
                    <a:close/>
                    <a:moveTo>
                      <a:pt x="174" y="226"/>
                    </a:moveTo>
                    <a:cubicBezTo>
                      <a:pt x="179" y="226"/>
                      <a:pt x="184" y="229"/>
                      <a:pt x="184" y="223"/>
                    </a:cubicBezTo>
                    <a:cubicBezTo>
                      <a:pt x="184" y="216"/>
                      <a:pt x="158" y="226"/>
                      <a:pt x="161" y="229"/>
                    </a:cubicBezTo>
                    <a:cubicBezTo>
                      <a:pt x="164" y="229"/>
                      <a:pt x="171" y="226"/>
                      <a:pt x="174" y="226"/>
                    </a:cubicBezTo>
                    <a:close/>
                    <a:moveTo>
                      <a:pt x="197" y="226"/>
                    </a:moveTo>
                    <a:cubicBezTo>
                      <a:pt x="200" y="226"/>
                      <a:pt x="208" y="221"/>
                      <a:pt x="210" y="221"/>
                    </a:cubicBezTo>
                    <a:cubicBezTo>
                      <a:pt x="210" y="218"/>
                      <a:pt x="208" y="216"/>
                      <a:pt x="200" y="218"/>
                    </a:cubicBezTo>
                    <a:cubicBezTo>
                      <a:pt x="202" y="218"/>
                      <a:pt x="190" y="226"/>
                      <a:pt x="197" y="226"/>
                    </a:cubicBezTo>
                    <a:close/>
                    <a:moveTo>
                      <a:pt x="234" y="218"/>
                    </a:moveTo>
                    <a:cubicBezTo>
                      <a:pt x="236" y="216"/>
                      <a:pt x="223" y="216"/>
                      <a:pt x="223" y="216"/>
                    </a:cubicBezTo>
                    <a:cubicBezTo>
                      <a:pt x="223" y="216"/>
                      <a:pt x="213" y="216"/>
                      <a:pt x="215" y="221"/>
                    </a:cubicBezTo>
                    <a:cubicBezTo>
                      <a:pt x="221" y="223"/>
                      <a:pt x="228" y="218"/>
                      <a:pt x="234" y="218"/>
                    </a:cubicBezTo>
                    <a:close/>
                    <a:moveTo>
                      <a:pt x="972" y="618"/>
                    </a:moveTo>
                    <a:cubicBezTo>
                      <a:pt x="972" y="600"/>
                      <a:pt x="959" y="603"/>
                      <a:pt x="948" y="597"/>
                    </a:cubicBezTo>
                    <a:cubicBezTo>
                      <a:pt x="938" y="592"/>
                      <a:pt x="954" y="582"/>
                      <a:pt x="948" y="577"/>
                    </a:cubicBezTo>
                    <a:cubicBezTo>
                      <a:pt x="943" y="561"/>
                      <a:pt x="923" y="551"/>
                      <a:pt x="933" y="538"/>
                    </a:cubicBezTo>
                    <a:cubicBezTo>
                      <a:pt x="938" y="530"/>
                      <a:pt x="951" y="504"/>
                      <a:pt x="935" y="501"/>
                    </a:cubicBezTo>
                    <a:cubicBezTo>
                      <a:pt x="933" y="501"/>
                      <a:pt x="943" y="475"/>
                      <a:pt x="933" y="473"/>
                    </a:cubicBezTo>
                    <a:cubicBezTo>
                      <a:pt x="923" y="467"/>
                      <a:pt x="923" y="465"/>
                      <a:pt x="920" y="455"/>
                    </a:cubicBezTo>
                    <a:cubicBezTo>
                      <a:pt x="917" y="439"/>
                      <a:pt x="928" y="444"/>
                      <a:pt x="928" y="434"/>
                    </a:cubicBezTo>
                    <a:cubicBezTo>
                      <a:pt x="928" y="416"/>
                      <a:pt x="894" y="379"/>
                      <a:pt x="871" y="377"/>
                    </a:cubicBezTo>
                    <a:cubicBezTo>
                      <a:pt x="873" y="371"/>
                      <a:pt x="873" y="356"/>
                      <a:pt x="876" y="353"/>
                    </a:cubicBezTo>
                    <a:cubicBezTo>
                      <a:pt x="881" y="345"/>
                      <a:pt x="891" y="345"/>
                      <a:pt x="894" y="335"/>
                    </a:cubicBezTo>
                    <a:cubicBezTo>
                      <a:pt x="899" y="317"/>
                      <a:pt x="904" y="301"/>
                      <a:pt x="894" y="286"/>
                    </a:cubicBezTo>
                    <a:cubicBezTo>
                      <a:pt x="884" y="268"/>
                      <a:pt x="891" y="239"/>
                      <a:pt x="873" y="229"/>
                    </a:cubicBezTo>
                    <a:cubicBezTo>
                      <a:pt x="873" y="226"/>
                      <a:pt x="881" y="223"/>
                      <a:pt x="878" y="221"/>
                    </a:cubicBezTo>
                    <a:cubicBezTo>
                      <a:pt x="876" y="218"/>
                      <a:pt x="863" y="223"/>
                      <a:pt x="853" y="221"/>
                    </a:cubicBezTo>
                    <a:cubicBezTo>
                      <a:pt x="850" y="221"/>
                      <a:pt x="842" y="216"/>
                      <a:pt x="840" y="213"/>
                    </a:cubicBezTo>
                    <a:cubicBezTo>
                      <a:pt x="837" y="210"/>
                      <a:pt x="829" y="208"/>
                      <a:pt x="834" y="200"/>
                    </a:cubicBezTo>
                    <a:cubicBezTo>
                      <a:pt x="845" y="190"/>
                      <a:pt x="834" y="195"/>
                      <a:pt x="834" y="184"/>
                    </a:cubicBezTo>
                    <a:cubicBezTo>
                      <a:pt x="834" y="174"/>
                      <a:pt x="824" y="182"/>
                      <a:pt x="827" y="166"/>
                    </a:cubicBezTo>
                    <a:cubicBezTo>
                      <a:pt x="829" y="161"/>
                      <a:pt x="821" y="161"/>
                      <a:pt x="821" y="153"/>
                    </a:cubicBezTo>
                    <a:cubicBezTo>
                      <a:pt x="821" y="148"/>
                      <a:pt x="796" y="166"/>
                      <a:pt x="796" y="166"/>
                    </a:cubicBezTo>
                    <a:cubicBezTo>
                      <a:pt x="796" y="166"/>
                      <a:pt x="788" y="153"/>
                      <a:pt x="788" y="151"/>
                    </a:cubicBezTo>
                    <a:cubicBezTo>
                      <a:pt x="788" y="151"/>
                      <a:pt x="759" y="138"/>
                      <a:pt x="757" y="132"/>
                    </a:cubicBezTo>
                    <a:cubicBezTo>
                      <a:pt x="757" y="127"/>
                      <a:pt x="749" y="109"/>
                      <a:pt x="749" y="107"/>
                    </a:cubicBezTo>
                    <a:cubicBezTo>
                      <a:pt x="746" y="112"/>
                      <a:pt x="736" y="112"/>
                      <a:pt x="736" y="120"/>
                    </a:cubicBezTo>
                    <a:cubicBezTo>
                      <a:pt x="739" y="130"/>
                      <a:pt x="723" y="120"/>
                      <a:pt x="726" y="120"/>
                    </a:cubicBezTo>
                    <a:cubicBezTo>
                      <a:pt x="720" y="122"/>
                      <a:pt x="713" y="117"/>
                      <a:pt x="708" y="125"/>
                    </a:cubicBezTo>
                    <a:cubicBezTo>
                      <a:pt x="697" y="120"/>
                      <a:pt x="692" y="143"/>
                      <a:pt x="695" y="143"/>
                    </a:cubicBezTo>
                    <a:cubicBezTo>
                      <a:pt x="676" y="143"/>
                      <a:pt x="695" y="130"/>
                      <a:pt x="689" y="130"/>
                    </a:cubicBezTo>
                    <a:cubicBezTo>
                      <a:pt x="687" y="127"/>
                      <a:pt x="702" y="120"/>
                      <a:pt x="708" y="120"/>
                    </a:cubicBezTo>
                    <a:cubicBezTo>
                      <a:pt x="705" y="120"/>
                      <a:pt x="718" y="112"/>
                      <a:pt x="718" y="112"/>
                    </a:cubicBezTo>
                    <a:cubicBezTo>
                      <a:pt x="726" y="112"/>
                      <a:pt x="741" y="117"/>
                      <a:pt x="744" y="107"/>
                    </a:cubicBezTo>
                    <a:cubicBezTo>
                      <a:pt x="741" y="112"/>
                      <a:pt x="726" y="109"/>
                      <a:pt x="715" y="107"/>
                    </a:cubicBezTo>
                    <a:cubicBezTo>
                      <a:pt x="708" y="107"/>
                      <a:pt x="697" y="96"/>
                      <a:pt x="697" y="112"/>
                    </a:cubicBezTo>
                    <a:cubicBezTo>
                      <a:pt x="697" y="120"/>
                      <a:pt x="682" y="122"/>
                      <a:pt x="676" y="127"/>
                    </a:cubicBezTo>
                    <a:cubicBezTo>
                      <a:pt x="669" y="140"/>
                      <a:pt x="664" y="158"/>
                      <a:pt x="656" y="158"/>
                    </a:cubicBezTo>
                    <a:cubicBezTo>
                      <a:pt x="648" y="158"/>
                      <a:pt x="640" y="164"/>
                      <a:pt x="632" y="164"/>
                    </a:cubicBezTo>
                    <a:cubicBezTo>
                      <a:pt x="625" y="164"/>
                      <a:pt x="622" y="158"/>
                      <a:pt x="617" y="161"/>
                    </a:cubicBezTo>
                    <a:cubicBezTo>
                      <a:pt x="614" y="161"/>
                      <a:pt x="594" y="177"/>
                      <a:pt x="596" y="179"/>
                    </a:cubicBezTo>
                    <a:cubicBezTo>
                      <a:pt x="604" y="182"/>
                      <a:pt x="607" y="171"/>
                      <a:pt x="612" y="171"/>
                    </a:cubicBezTo>
                    <a:cubicBezTo>
                      <a:pt x="609" y="171"/>
                      <a:pt x="596" y="190"/>
                      <a:pt x="596" y="192"/>
                    </a:cubicBezTo>
                    <a:cubicBezTo>
                      <a:pt x="594" y="208"/>
                      <a:pt x="594" y="200"/>
                      <a:pt x="586" y="200"/>
                    </a:cubicBezTo>
                    <a:cubicBezTo>
                      <a:pt x="575" y="200"/>
                      <a:pt x="575" y="200"/>
                      <a:pt x="575" y="200"/>
                    </a:cubicBezTo>
                    <a:cubicBezTo>
                      <a:pt x="578" y="200"/>
                      <a:pt x="570" y="187"/>
                      <a:pt x="568" y="184"/>
                    </a:cubicBezTo>
                    <a:cubicBezTo>
                      <a:pt x="565" y="184"/>
                      <a:pt x="550" y="184"/>
                      <a:pt x="547" y="187"/>
                    </a:cubicBezTo>
                    <a:cubicBezTo>
                      <a:pt x="537" y="195"/>
                      <a:pt x="531" y="192"/>
                      <a:pt x="547" y="203"/>
                    </a:cubicBezTo>
                    <a:cubicBezTo>
                      <a:pt x="534" y="195"/>
                      <a:pt x="521" y="221"/>
                      <a:pt x="511" y="221"/>
                    </a:cubicBezTo>
                    <a:cubicBezTo>
                      <a:pt x="506" y="221"/>
                      <a:pt x="534" y="200"/>
                      <a:pt x="534" y="200"/>
                    </a:cubicBezTo>
                    <a:cubicBezTo>
                      <a:pt x="534" y="187"/>
                      <a:pt x="531" y="190"/>
                      <a:pt x="524" y="179"/>
                    </a:cubicBezTo>
                    <a:cubicBezTo>
                      <a:pt x="524" y="179"/>
                      <a:pt x="547" y="161"/>
                      <a:pt x="550" y="161"/>
                    </a:cubicBezTo>
                    <a:cubicBezTo>
                      <a:pt x="563" y="153"/>
                      <a:pt x="555" y="148"/>
                      <a:pt x="555" y="140"/>
                    </a:cubicBezTo>
                    <a:cubicBezTo>
                      <a:pt x="555" y="122"/>
                      <a:pt x="560" y="132"/>
                      <a:pt x="563" y="122"/>
                    </a:cubicBezTo>
                    <a:cubicBezTo>
                      <a:pt x="565" y="117"/>
                      <a:pt x="550" y="125"/>
                      <a:pt x="547" y="125"/>
                    </a:cubicBezTo>
                    <a:cubicBezTo>
                      <a:pt x="547" y="125"/>
                      <a:pt x="542" y="120"/>
                      <a:pt x="531" y="130"/>
                    </a:cubicBezTo>
                    <a:cubicBezTo>
                      <a:pt x="521" y="138"/>
                      <a:pt x="521" y="130"/>
                      <a:pt x="508" y="125"/>
                    </a:cubicBezTo>
                    <a:cubicBezTo>
                      <a:pt x="503" y="120"/>
                      <a:pt x="493" y="117"/>
                      <a:pt x="485" y="112"/>
                    </a:cubicBezTo>
                    <a:cubicBezTo>
                      <a:pt x="469" y="107"/>
                      <a:pt x="474" y="130"/>
                      <a:pt x="464" y="130"/>
                    </a:cubicBezTo>
                    <a:cubicBezTo>
                      <a:pt x="467" y="109"/>
                      <a:pt x="467" y="109"/>
                      <a:pt x="467" y="109"/>
                    </a:cubicBezTo>
                    <a:cubicBezTo>
                      <a:pt x="467" y="99"/>
                      <a:pt x="443" y="109"/>
                      <a:pt x="438" y="107"/>
                    </a:cubicBezTo>
                    <a:cubicBezTo>
                      <a:pt x="446" y="109"/>
                      <a:pt x="459" y="78"/>
                      <a:pt x="449" y="68"/>
                    </a:cubicBezTo>
                    <a:cubicBezTo>
                      <a:pt x="456" y="75"/>
                      <a:pt x="449" y="57"/>
                      <a:pt x="449" y="57"/>
                    </a:cubicBezTo>
                    <a:cubicBezTo>
                      <a:pt x="449" y="44"/>
                      <a:pt x="441" y="55"/>
                      <a:pt x="438" y="55"/>
                    </a:cubicBezTo>
                    <a:cubicBezTo>
                      <a:pt x="428" y="57"/>
                      <a:pt x="415" y="39"/>
                      <a:pt x="410" y="39"/>
                    </a:cubicBezTo>
                    <a:cubicBezTo>
                      <a:pt x="410" y="36"/>
                      <a:pt x="397" y="47"/>
                      <a:pt x="397" y="47"/>
                    </a:cubicBezTo>
                    <a:cubicBezTo>
                      <a:pt x="394" y="31"/>
                      <a:pt x="392" y="42"/>
                      <a:pt x="384" y="47"/>
                    </a:cubicBezTo>
                    <a:cubicBezTo>
                      <a:pt x="373" y="49"/>
                      <a:pt x="376" y="36"/>
                      <a:pt x="371" y="36"/>
                    </a:cubicBezTo>
                    <a:cubicBezTo>
                      <a:pt x="355" y="31"/>
                      <a:pt x="342" y="26"/>
                      <a:pt x="327" y="29"/>
                    </a:cubicBezTo>
                    <a:cubicBezTo>
                      <a:pt x="319" y="29"/>
                      <a:pt x="319" y="21"/>
                      <a:pt x="314" y="31"/>
                    </a:cubicBezTo>
                    <a:cubicBezTo>
                      <a:pt x="311" y="39"/>
                      <a:pt x="324" y="55"/>
                      <a:pt x="322" y="57"/>
                    </a:cubicBezTo>
                    <a:cubicBezTo>
                      <a:pt x="322" y="55"/>
                      <a:pt x="332" y="83"/>
                      <a:pt x="332" y="83"/>
                    </a:cubicBezTo>
                    <a:cubicBezTo>
                      <a:pt x="332" y="83"/>
                      <a:pt x="350" y="88"/>
                      <a:pt x="348" y="94"/>
                    </a:cubicBezTo>
                    <a:cubicBezTo>
                      <a:pt x="342" y="99"/>
                      <a:pt x="329" y="91"/>
                      <a:pt x="329" y="101"/>
                    </a:cubicBezTo>
                    <a:cubicBezTo>
                      <a:pt x="332" y="112"/>
                      <a:pt x="348" y="99"/>
                      <a:pt x="348" y="99"/>
                    </a:cubicBezTo>
                    <a:cubicBezTo>
                      <a:pt x="348" y="99"/>
                      <a:pt x="342" y="109"/>
                      <a:pt x="337" y="117"/>
                    </a:cubicBezTo>
                    <a:cubicBezTo>
                      <a:pt x="337" y="117"/>
                      <a:pt x="309" y="112"/>
                      <a:pt x="314" y="120"/>
                    </a:cubicBezTo>
                    <a:cubicBezTo>
                      <a:pt x="316" y="120"/>
                      <a:pt x="316" y="122"/>
                      <a:pt x="316" y="122"/>
                    </a:cubicBezTo>
                    <a:cubicBezTo>
                      <a:pt x="283" y="135"/>
                      <a:pt x="342" y="143"/>
                      <a:pt x="342" y="132"/>
                    </a:cubicBezTo>
                    <a:cubicBezTo>
                      <a:pt x="342" y="143"/>
                      <a:pt x="324" y="140"/>
                      <a:pt x="332" y="158"/>
                    </a:cubicBezTo>
                    <a:cubicBezTo>
                      <a:pt x="332" y="161"/>
                      <a:pt x="340" y="164"/>
                      <a:pt x="342" y="169"/>
                    </a:cubicBezTo>
                    <a:cubicBezTo>
                      <a:pt x="353" y="182"/>
                      <a:pt x="337" y="174"/>
                      <a:pt x="332" y="179"/>
                    </a:cubicBezTo>
                    <a:cubicBezTo>
                      <a:pt x="329" y="182"/>
                      <a:pt x="335" y="187"/>
                      <a:pt x="337" y="190"/>
                    </a:cubicBezTo>
                    <a:cubicBezTo>
                      <a:pt x="340" y="210"/>
                      <a:pt x="358" y="200"/>
                      <a:pt x="371" y="203"/>
                    </a:cubicBezTo>
                    <a:cubicBezTo>
                      <a:pt x="381" y="205"/>
                      <a:pt x="386" y="213"/>
                      <a:pt x="392" y="223"/>
                    </a:cubicBezTo>
                    <a:cubicBezTo>
                      <a:pt x="397" y="234"/>
                      <a:pt x="412" y="265"/>
                      <a:pt x="428" y="262"/>
                    </a:cubicBezTo>
                    <a:cubicBezTo>
                      <a:pt x="405" y="265"/>
                      <a:pt x="392" y="242"/>
                      <a:pt x="384" y="221"/>
                    </a:cubicBezTo>
                    <a:cubicBezTo>
                      <a:pt x="376" y="192"/>
                      <a:pt x="350" y="221"/>
                      <a:pt x="332" y="213"/>
                    </a:cubicBezTo>
                    <a:cubicBezTo>
                      <a:pt x="309" y="203"/>
                      <a:pt x="314" y="200"/>
                      <a:pt x="298" y="226"/>
                    </a:cubicBezTo>
                    <a:cubicBezTo>
                      <a:pt x="291" y="242"/>
                      <a:pt x="311" y="255"/>
                      <a:pt x="306" y="262"/>
                    </a:cubicBezTo>
                    <a:cubicBezTo>
                      <a:pt x="306" y="265"/>
                      <a:pt x="293" y="286"/>
                      <a:pt x="296" y="286"/>
                    </a:cubicBezTo>
                    <a:cubicBezTo>
                      <a:pt x="291" y="286"/>
                      <a:pt x="296" y="268"/>
                      <a:pt x="296" y="268"/>
                    </a:cubicBezTo>
                    <a:cubicBezTo>
                      <a:pt x="298" y="257"/>
                      <a:pt x="296" y="260"/>
                      <a:pt x="285" y="257"/>
                    </a:cubicBezTo>
                    <a:cubicBezTo>
                      <a:pt x="280" y="255"/>
                      <a:pt x="278" y="239"/>
                      <a:pt x="272" y="255"/>
                    </a:cubicBezTo>
                    <a:cubicBezTo>
                      <a:pt x="267" y="265"/>
                      <a:pt x="272" y="262"/>
                      <a:pt x="278" y="262"/>
                    </a:cubicBezTo>
                    <a:cubicBezTo>
                      <a:pt x="280" y="262"/>
                      <a:pt x="275" y="281"/>
                      <a:pt x="275" y="281"/>
                    </a:cubicBezTo>
                    <a:cubicBezTo>
                      <a:pt x="270" y="291"/>
                      <a:pt x="265" y="275"/>
                      <a:pt x="257" y="273"/>
                    </a:cubicBezTo>
                    <a:cubicBezTo>
                      <a:pt x="254" y="273"/>
                      <a:pt x="244" y="270"/>
                      <a:pt x="257" y="265"/>
                    </a:cubicBezTo>
                    <a:cubicBezTo>
                      <a:pt x="272" y="257"/>
                      <a:pt x="247" y="229"/>
                      <a:pt x="239" y="229"/>
                    </a:cubicBezTo>
                    <a:cubicBezTo>
                      <a:pt x="226" y="226"/>
                      <a:pt x="210" y="234"/>
                      <a:pt x="197" y="234"/>
                    </a:cubicBezTo>
                    <a:cubicBezTo>
                      <a:pt x="192" y="234"/>
                      <a:pt x="184" y="231"/>
                      <a:pt x="174" y="231"/>
                    </a:cubicBezTo>
                    <a:cubicBezTo>
                      <a:pt x="164" y="231"/>
                      <a:pt x="151" y="249"/>
                      <a:pt x="156" y="257"/>
                    </a:cubicBezTo>
                    <a:cubicBezTo>
                      <a:pt x="153" y="257"/>
                      <a:pt x="156" y="260"/>
                      <a:pt x="153" y="262"/>
                    </a:cubicBezTo>
                    <a:cubicBezTo>
                      <a:pt x="148" y="257"/>
                      <a:pt x="151" y="260"/>
                      <a:pt x="146" y="257"/>
                    </a:cubicBezTo>
                    <a:cubicBezTo>
                      <a:pt x="148" y="268"/>
                      <a:pt x="146" y="281"/>
                      <a:pt x="143" y="291"/>
                    </a:cubicBezTo>
                    <a:cubicBezTo>
                      <a:pt x="169" y="294"/>
                      <a:pt x="161" y="296"/>
                      <a:pt x="164" y="314"/>
                    </a:cubicBezTo>
                    <a:cubicBezTo>
                      <a:pt x="164" y="322"/>
                      <a:pt x="158" y="335"/>
                      <a:pt x="158" y="343"/>
                    </a:cubicBezTo>
                    <a:cubicBezTo>
                      <a:pt x="161" y="353"/>
                      <a:pt x="153" y="366"/>
                      <a:pt x="148" y="374"/>
                    </a:cubicBezTo>
                    <a:cubicBezTo>
                      <a:pt x="140" y="384"/>
                      <a:pt x="148" y="405"/>
                      <a:pt x="135" y="410"/>
                    </a:cubicBezTo>
                    <a:cubicBezTo>
                      <a:pt x="127" y="413"/>
                      <a:pt x="96" y="395"/>
                      <a:pt x="109" y="418"/>
                    </a:cubicBezTo>
                    <a:cubicBezTo>
                      <a:pt x="86" y="429"/>
                      <a:pt x="122" y="455"/>
                      <a:pt x="130" y="436"/>
                    </a:cubicBezTo>
                    <a:cubicBezTo>
                      <a:pt x="146" y="452"/>
                      <a:pt x="127" y="467"/>
                      <a:pt x="140" y="475"/>
                    </a:cubicBezTo>
                    <a:cubicBezTo>
                      <a:pt x="135" y="478"/>
                      <a:pt x="117" y="496"/>
                      <a:pt x="117" y="496"/>
                    </a:cubicBezTo>
                    <a:cubicBezTo>
                      <a:pt x="107" y="496"/>
                      <a:pt x="102" y="501"/>
                      <a:pt x="96" y="509"/>
                    </a:cubicBezTo>
                    <a:cubicBezTo>
                      <a:pt x="117" y="509"/>
                      <a:pt x="107" y="535"/>
                      <a:pt x="102" y="532"/>
                    </a:cubicBezTo>
                    <a:cubicBezTo>
                      <a:pt x="89" y="522"/>
                      <a:pt x="78" y="540"/>
                      <a:pt x="68" y="538"/>
                    </a:cubicBezTo>
                    <a:cubicBezTo>
                      <a:pt x="68" y="543"/>
                      <a:pt x="68" y="543"/>
                      <a:pt x="68" y="543"/>
                    </a:cubicBezTo>
                    <a:cubicBezTo>
                      <a:pt x="60" y="538"/>
                      <a:pt x="45" y="532"/>
                      <a:pt x="34" y="532"/>
                    </a:cubicBezTo>
                    <a:cubicBezTo>
                      <a:pt x="37" y="535"/>
                      <a:pt x="37" y="540"/>
                      <a:pt x="39" y="543"/>
                    </a:cubicBezTo>
                    <a:cubicBezTo>
                      <a:pt x="32" y="538"/>
                      <a:pt x="26" y="540"/>
                      <a:pt x="19" y="540"/>
                    </a:cubicBezTo>
                    <a:cubicBezTo>
                      <a:pt x="19" y="540"/>
                      <a:pt x="26" y="566"/>
                      <a:pt x="26" y="561"/>
                    </a:cubicBezTo>
                    <a:cubicBezTo>
                      <a:pt x="26" y="571"/>
                      <a:pt x="32" y="582"/>
                      <a:pt x="37" y="590"/>
                    </a:cubicBezTo>
                    <a:cubicBezTo>
                      <a:pt x="42" y="597"/>
                      <a:pt x="42" y="610"/>
                      <a:pt x="42" y="621"/>
                    </a:cubicBezTo>
                    <a:cubicBezTo>
                      <a:pt x="42" y="634"/>
                      <a:pt x="21" y="636"/>
                      <a:pt x="26" y="657"/>
                    </a:cubicBezTo>
                    <a:cubicBezTo>
                      <a:pt x="34" y="655"/>
                      <a:pt x="34" y="655"/>
                      <a:pt x="34" y="655"/>
                    </a:cubicBezTo>
                    <a:cubicBezTo>
                      <a:pt x="32" y="667"/>
                      <a:pt x="16" y="665"/>
                      <a:pt x="13" y="678"/>
                    </a:cubicBezTo>
                    <a:cubicBezTo>
                      <a:pt x="11" y="675"/>
                      <a:pt x="11" y="673"/>
                      <a:pt x="8" y="670"/>
                    </a:cubicBezTo>
                    <a:cubicBezTo>
                      <a:pt x="0" y="673"/>
                      <a:pt x="0" y="680"/>
                      <a:pt x="3" y="686"/>
                    </a:cubicBezTo>
                    <a:cubicBezTo>
                      <a:pt x="21" y="680"/>
                      <a:pt x="21" y="699"/>
                      <a:pt x="24" y="709"/>
                    </a:cubicBezTo>
                    <a:cubicBezTo>
                      <a:pt x="19" y="709"/>
                      <a:pt x="16" y="712"/>
                      <a:pt x="11" y="717"/>
                    </a:cubicBezTo>
                    <a:cubicBezTo>
                      <a:pt x="13" y="727"/>
                      <a:pt x="29" y="748"/>
                      <a:pt x="39" y="751"/>
                    </a:cubicBezTo>
                    <a:cubicBezTo>
                      <a:pt x="37" y="753"/>
                      <a:pt x="29" y="758"/>
                      <a:pt x="29" y="761"/>
                    </a:cubicBezTo>
                    <a:cubicBezTo>
                      <a:pt x="29" y="777"/>
                      <a:pt x="39" y="766"/>
                      <a:pt x="45" y="774"/>
                    </a:cubicBezTo>
                    <a:cubicBezTo>
                      <a:pt x="47" y="777"/>
                      <a:pt x="55" y="797"/>
                      <a:pt x="52" y="802"/>
                    </a:cubicBezTo>
                    <a:cubicBezTo>
                      <a:pt x="47" y="805"/>
                      <a:pt x="34" y="808"/>
                      <a:pt x="29" y="815"/>
                    </a:cubicBezTo>
                    <a:cubicBezTo>
                      <a:pt x="24" y="821"/>
                      <a:pt x="21" y="834"/>
                      <a:pt x="21" y="841"/>
                    </a:cubicBezTo>
                    <a:cubicBezTo>
                      <a:pt x="21" y="860"/>
                      <a:pt x="32" y="886"/>
                      <a:pt x="45" y="883"/>
                    </a:cubicBezTo>
                    <a:cubicBezTo>
                      <a:pt x="47" y="896"/>
                      <a:pt x="63" y="886"/>
                      <a:pt x="60" y="906"/>
                    </a:cubicBezTo>
                    <a:cubicBezTo>
                      <a:pt x="57" y="909"/>
                      <a:pt x="45" y="922"/>
                      <a:pt x="42" y="925"/>
                    </a:cubicBezTo>
                    <a:cubicBezTo>
                      <a:pt x="37" y="927"/>
                      <a:pt x="39" y="935"/>
                      <a:pt x="39" y="940"/>
                    </a:cubicBezTo>
                    <a:cubicBezTo>
                      <a:pt x="37" y="953"/>
                      <a:pt x="47" y="945"/>
                      <a:pt x="60" y="956"/>
                    </a:cubicBezTo>
                    <a:cubicBezTo>
                      <a:pt x="63" y="958"/>
                      <a:pt x="63" y="966"/>
                      <a:pt x="57" y="969"/>
                    </a:cubicBezTo>
                    <a:cubicBezTo>
                      <a:pt x="60" y="966"/>
                      <a:pt x="76" y="995"/>
                      <a:pt x="76" y="992"/>
                    </a:cubicBezTo>
                    <a:cubicBezTo>
                      <a:pt x="78" y="997"/>
                      <a:pt x="73" y="1000"/>
                      <a:pt x="81" y="1002"/>
                    </a:cubicBezTo>
                    <a:cubicBezTo>
                      <a:pt x="89" y="1002"/>
                      <a:pt x="94" y="1002"/>
                      <a:pt x="89" y="995"/>
                    </a:cubicBezTo>
                    <a:cubicBezTo>
                      <a:pt x="96" y="995"/>
                      <a:pt x="109" y="997"/>
                      <a:pt x="109" y="1002"/>
                    </a:cubicBezTo>
                    <a:cubicBezTo>
                      <a:pt x="112" y="1021"/>
                      <a:pt x="114" y="1005"/>
                      <a:pt x="120" y="1005"/>
                    </a:cubicBezTo>
                    <a:cubicBezTo>
                      <a:pt x="120" y="1005"/>
                      <a:pt x="135" y="1013"/>
                      <a:pt x="140" y="1013"/>
                    </a:cubicBezTo>
                    <a:cubicBezTo>
                      <a:pt x="143" y="1013"/>
                      <a:pt x="143" y="1010"/>
                      <a:pt x="151" y="1008"/>
                    </a:cubicBezTo>
                    <a:cubicBezTo>
                      <a:pt x="151" y="1008"/>
                      <a:pt x="146" y="1005"/>
                      <a:pt x="153" y="1005"/>
                    </a:cubicBezTo>
                    <a:cubicBezTo>
                      <a:pt x="156" y="1005"/>
                      <a:pt x="158" y="1008"/>
                      <a:pt x="161" y="1008"/>
                    </a:cubicBezTo>
                    <a:cubicBezTo>
                      <a:pt x="156" y="1008"/>
                      <a:pt x="166" y="1021"/>
                      <a:pt x="169" y="1021"/>
                    </a:cubicBezTo>
                    <a:cubicBezTo>
                      <a:pt x="174" y="1023"/>
                      <a:pt x="200" y="1036"/>
                      <a:pt x="202" y="1031"/>
                    </a:cubicBezTo>
                    <a:cubicBezTo>
                      <a:pt x="210" y="1023"/>
                      <a:pt x="234" y="1041"/>
                      <a:pt x="241" y="1044"/>
                    </a:cubicBezTo>
                    <a:cubicBezTo>
                      <a:pt x="231" y="1049"/>
                      <a:pt x="234" y="1065"/>
                      <a:pt x="228" y="1073"/>
                    </a:cubicBezTo>
                    <a:cubicBezTo>
                      <a:pt x="223" y="1078"/>
                      <a:pt x="210" y="1075"/>
                      <a:pt x="208" y="1086"/>
                    </a:cubicBezTo>
                    <a:cubicBezTo>
                      <a:pt x="195" y="1104"/>
                      <a:pt x="195" y="1104"/>
                      <a:pt x="195" y="1104"/>
                    </a:cubicBezTo>
                    <a:cubicBezTo>
                      <a:pt x="182" y="1143"/>
                      <a:pt x="182" y="1143"/>
                      <a:pt x="182" y="1143"/>
                    </a:cubicBezTo>
                    <a:cubicBezTo>
                      <a:pt x="184" y="1150"/>
                      <a:pt x="179" y="1161"/>
                      <a:pt x="171" y="1169"/>
                    </a:cubicBezTo>
                    <a:cubicBezTo>
                      <a:pt x="166" y="1176"/>
                      <a:pt x="166" y="1208"/>
                      <a:pt x="164" y="1213"/>
                    </a:cubicBezTo>
                    <a:cubicBezTo>
                      <a:pt x="156" y="1234"/>
                      <a:pt x="151" y="1262"/>
                      <a:pt x="161" y="1278"/>
                    </a:cubicBezTo>
                    <a:cubicBezTo>
                      <a:pt x="164" y="1278"/>
                      <a:pt x="169" y="1280"/>
                      <a:pt x="171" y="1280"/>
                    </a:cubicBezTo>
                    <a:cubicBezTo>
                      <a:pt x="169" y="1280"/>
                      <a:pt x="166" y="1280"/>
                      <a:pt x="166" y="1283"/>
                    </a:cubicBezTo>
                    <a:cubicBezTo>
                      <a:pt x="174" y="1291"/>
                      <a:pt x="187" y="1275"/>
                      <a:pt x="213" y="1285"/>
                    </a:cubicBezTo>
                    <a:cubicBezTo>
                      <a:pt x="223" y="1291"/>
                      <a:pt x="228" y="1275"/>
                      <a:pt x="241" y="1278"/>
                    </a:cubicBezTo>
                    <a:cubicBezTo>
                      <a:pt x="249" y="1278"/>
                      <a:pt x="252" y="1288"/>
                      <a:pt x="267" y="1283"/>
                    </a:cubicBezTo>
                    <a:cubicBezTo>
                      <a:pt x="267" y="1275"/>
                      <a:pt x="272" y="1273"/>
                      <a:pt x="275" y="1280"/>
                    </a:cubicBezTo>
                    <a:cubicBezTo>
                      <a:pt x="293" y="1267"/>
                      <a:pt x="270" y="1273"/>
                      <a:pt x="267" y="1270"/>
                    </a:cubicBezTo>
                    <a:cubicBezTo>
                      <a:pt x="262" y="1267"/>
                      <a:pt x="257" y="1273"/>
                      <a:pt x="257" y="1265"/>
                    </a:cubicBezTo>
                    <a:cubicBezTo>
                      <a:pt x="254" y="1254"/>
                      <a:pt x="270" y="1249"/>
                      <a:pt x="275" y="1247"/>
                    </a:cubicBezTo>
                    <a:cubicBezTo>
                      <a:pt x="275" y="1247"/>
                      <a:pt x="280" y="1244"/>
                      <a:pt x="283" y="1249"/>
                    </a:cubicBezTo>
                    <a:cubicBezTo>
                      <a:pt x="291" y="1244"/>
                      <a:pt x="293" y="1257"/>
                      <a:pt x="298" y="1267"/>
                    </a:cubicBezTo>
                    <a:cubicBezTo>
                      <a:pt x="301" y="1265"/>
                      <a:pt x="301" y="1257"/>
                      <a:pt x="301" y="1254"/>
                    </a:cubicBezTo>
                    <a:cubicBezTo>
                      <a:pt x="306" y="1262"/>
                      <a:pt x="309" y="1270"/>
                      <a:pt x="314" y="1273"/>
                    </a:cubicBezTo>
                    <a:cubicBezTo>
                      <a:pt x="316" y="1273"/>
                      <a:pt x="327" y="1265"/>
                      <a:pt x="335" y="1267"/>
                    </a:cubicBezTo>
                    <a:cubicBezTo>
                      <a:pt x="342" y="1270"/>
                      <a:pt x="353" y="1273"/>
                      <a:pt x="360" y="1275"/>
                    </a:cubicBezTo>
                    <a:cubicBezTo>
                      <a:pt x="379" y="1280"/>
                      <a:pt x="381" y="1291"/>
                      <a:pt x="402" y="1293"/>
                    </a:cubicBezTo>
                    <a:cubicBezTo>
                      <a:pt x="412" y="1293"/>
                      <a:pt x="407" y="1280"/>
                      <a:pt x="417" y="1285"/>
                    </a:cubicBezTo>
                    <a:cubicBezTo>
                      <a:pt x="420" y="1285"/>
                      <a:pt x="433" y="1296"/>
                      <a:pt x="441" y="1304"/>
                    </a:cubicBezTo>
                    <a:cubicBezTo>
                      <a:pt x="449" y="1311"/>
                      <a:pt x="446" y="1311"/>
                      <a:pt x="451" y="1324"/>
                    </a:cubicBezTo>
                    <a:cubicBezTo>
                      <a:pt x="451" y="1322"/>
                      <a:pt x="459" y="1317"/>
                      <a:pt x="461" y="1319"/>
                    </a:cubicBezTo>
                    <a:cubicBezTo>
                      <a:pt x="469" y="1322"/>
                      <a:pt x="459" y="1335"/>
                      <a:pt x="459" y="1337"/>
                    </a:cubicBezTo>
                    <a:cubicBezTo>
                      <a:pt x="469" y="1335"/>
                      <a:pt x="493" y="1324"/>
                      <a:pt x="495" y="1311"/>
                    </a:cubicBezTo>
                    <a:cubicBezTo>
                      <a:pt x="495" y="1299"/>
                      <a:pt x="485" y="1291"/>
                      <a:pt x="495" y="1286"/>
                    </a:cubicBezTo>
                    <a:cubicBezTo>
                      <a:pt x="493" y="1288"/>
                      <a:pt x="498" y="1303"/>
                      <a:pt x="503" y="1291"/>
                    </a:cubicBezTo>
                    <a:cubicBezTo>
                      <a:pt x="508" y="1285"/>
                      <a:pt x="542" y="1293"/>
                      <a:pt x="539" y="1293"/>
                    </a:cubicBezTo>
                    <a:cubicBezTo>
                      <a:pt x="544" y="1296"/>
                      <a:pt x="542" y="1298"/>
                      <a:pt x="539" y="1304"/>
                    </a:cubicBezTo>
                    <a:cubicBezTo>
                      <a:pt x="544" y="1306"/>
                      <a:pt x="550" y="1311"/>
                      <a:pt x="550" y="1319"/>
                    </a:cubicBezTo>
                    <a:cubicBezTo>
                      <a:pt x="563" y="1319"/>
                      <a:pt x="573" y="1317"/>
                      <a:pt x="581" y="1311"/>
                    </a:cubicBezTo>
                    <a:cubicBezTo>
                      <a:pt x="578" y="1319"/>
                      <a:pt x="578" y="1319"/>
                      <a:pt x="578" y="1319"/>
                    </a:cubicBezTo>
                    <a:cubicBezTo>
                      <a:pt x="588" y="1317"/>
                      <a:pt x="591" y="1306"/>
                      <a:pt x="604" y="1311"/>
                    </a:cubicBezTo>
                    <a:cubicBezTo>
                      <a:pt x="604" y="1309"/>
                      <a:pt x="599" y="1306"/>
                      <a:pt x="599" y="1306"/>
                    </a:cubicBezTo>
                    <a:cubicBezTo>
                      <a:pt x="604" y="1298"/>
                      <a:pt x="619" y="1288"/>
                      <a:pt x="625" y="1285"/>
                    </a:cubicBezTo>
                    <a:cubicBezTo>
                      <a:pt x="635" y="1283"/>
                      <a:pt x="648" y="1283"/>
                      <a:pt x="656" y="1280"/>
                    </a:cubicBezTo>
                    <a:cubicBezTo>
                      <a:pt x="661" y="1280"/>
                      <a:pt x="689" y="1283"/>
                      <a:pt x="692" y="1280"/>
                    </a:cubicBezTo>
                    <a:cubicBezTo>
                      <a:pt x="700" y="1273"/>
                      <a:pt x="679" y="1267"/>
                      <a:pt x="697" y="1254"/>
                    </a:cubicBezTo>
                    <a:cubicBezTo>
                      <a:pt x="697" y="1270"/>
                      <a:pt x="697" y="1270"/>
                      <a:pt x="697" y="1270"/>
                    </a:cubicBezTo>
                    <a:cubicBezTo>
                      <a:pt x="710" y="1265"/>
                      <a:pt x="718" y="1270"/>
                      <a:pt x="731" y="1278"/>
                    </a:cubicBezTo>
                    <a:cubicBezTo>
                      <a:pt x="741" y="1285"/>
                      <a:pt x="744" y="1257"/>
                      <a:pt x="762" y="1267"/>
                    </a:cubicBezTo>
                    <a:cubicBezTo>
                      <a:pt x="759" y="1270"/>
                      <a:pt x="757" y="1285"/>
                      <a:pt x="759" y="1288"/>
                    </a:cubicBezTo>
                    <a:cubicBezTo>
                      <a:pt x="762" y="1293"/>
                      <a:pt x="785" y="1304"/>
                      <a:pt x="790" y="1298"/>
                    </a:cubicBezTo>
                    <a:cubicBezTo>
                      <a:pt x="793" y="1293"/>
                      <a:pt x="796" y="1273"/>
                      <a:pt x="796" y="1270"/>
                    </a:cubicBezTo>
                    <a:cubicBezTo>
                      <a:pt x="790" y="1262"/>
                      <a:pt x="788" y="1257"/>
                      <a:pt x="775" y="1262"/>
                    </a:cubicBezTo>
                    <a:cubicBezTo>
                      <a:pt x="777" y="1244"/>
                      <a:pt x="790" y="1241"/>
                      <a:pt x="780" y="1226"/>
                    </a:cubicBezTo>
                    <a:cubicBezTo>
                      <a:pt x="775" y="1215"/>
                      <a:pt x="767" y="1215"/>
                      <a:pt x="765" y="1208"/>
                    </a:cubicBezTo>
                    <a:cubicBezTo>
                      <a:pt x="762" y="1202"/>
                      <a:pt x="746" y="1195"/>
                      <a:pt x="757" y="1189"/>
                    </a:cubicBezTo>
                    <a:cubicBezTo>
                      <a:pt x="767" y="1187"/>
                      <a:pt x="780" y="1166"/>
                      <a:pt x="785" y="1163"/>
                    </a:cubicBezTo>
                    <a:cubicBezTo>
                      <a:pt x="793" y="1161"/>
                      <a:pt x="801" y="1158"/>
                      <a:pt x="809" y="1158"/>
                    </a:cubicBezTo>
                    <a:cubicBezTo>
                      <a:pt x="827" y="1158"/>
                      <a:pt x="834" y="1125"/>
                      <a:pt x="829" y="1114"/>
                    </a:cubicBezTo>
                    <a:cubicBezTo>
                      <a:pt x="840" y="1109"/>
                      <a:pt x="847" y="1109"/>
                      <a:pt x="863" y="1119"/>
                    </a:cubicBezTo>
                    <a:cubicBezTo>
                      <a:pt x="868" y="1112"/>
                      <a:pt x="873" y="1099"/>
                      <a:pt x="873" y="1086"/>
                    </a:cubicBezTo>
                    <a:cubicBezTo>
                      <a:pt x="871" y="1070"/>
                      <a:pt x="858" y="1060"/>
                      <a:pt x="850" y="1047"/>
                    </a:cubicBezTo>
                    <a:cubicBezTo>
                      <a:pt x="842" y="1034"/>
                      <a:pt x="827" y="1052"/>
                      <a:pt x="824" y="1031"/>
                    </a:cubicBezTo>
                    <a:cubicBezTo>
                      <a:pt x="824" y="1021"/>
                      <a:pt x="809" y="1018"/>
                      <a:pt x="801" y="1018"/>
                    </a:cubicBezTo>
                    <a:cubicBezTo>
                      <a:pt x="798" y="1018"/>
                      <a:pt x="775" y="984"/>
                      <a:pt x="757" y="982"/>
                    </a:cubicBezTo>
                    <a:cubicBezTo>
                      <a:pt x="746" y="979"/>
                      <a:pt x="733" y="956"/>
                      <a:pt x="731" y="948"/>
                    </a:cubicBezTo>
                    <a:cubicBezTo>
                      <a:pt x="726" y="940"/>
                      <a:pt x="726" y="930"/>
                      <a:pt x="720" y="922"/>
                    </a:cubicBezTo>
                    <a:cubicBezTo>
                      <a:pt x="718" y="919"/>
                      <a:pt x="708" y="919"/>
                      <a:pt x="708" y="909"/>
                    </a:cubicBezTo>
                    <a:cubicBezTo>
                      <a:pt x="715" y="899"/>
                      <a:pt x="715" y="899"/>
                      <a:pt x="715" y="899"/>
                    </a:cubicBezTo>
                    <a:cubicBezTo>
                      <a:pt x="718" y="899"/>
                      <a:pt x="720" y="886"/>
                      <a:pt x="720" y="880"/>
                    </a:cubicBezTo>
                    <a:cubicBezTo>
                      <a:pt x="718" y="880"/>
                      <a:pt x="715" y="878"/>
                      <a:pt x="713" y="878"/>
                    </a:cubicBezTo>
                    <a:cubicBezTo>
                      <a:pt x="718" y="867"/>
                      <a:pt x="695" y="862"/>
                      <a:pt x="689" y="854"/>
                    </a:cubicBezTo>
                    <a:cubicBezTo>
                      <a:pt x="682" y="844"/>
                      <a:pt x="671" y="828"/>
                      <a:pt x="671" y="815"/>
                    </a:cubicBezTo>
                    <a:cubicBezTo>
                      <a:pt x="676" y="815"/>
                      <a:pt x="676" y="815"/>
                      <a:pt x="676" y="815"/>
                    </a:cubicBezTo>
                    <a:cubicBezTo>
                      <a:pt x="679" y="821"/>
                      <a:pt x="695" y="841"/>
                      <a:pt x="697" y="841"/>
                    </a:cubicBezTo>
                    <a:cubicBezTo>
                      <a:pt x="700" y="839"/>
                      <a:pt x="708" y="815"/>
                      <a:pt x="713" y="808"/>
                    </a:cubicBezTo>
                    <a:cubicBezTo>
                      <a:pt x="718" y="805"/>
                      <a:pt x="720" y="792"/>
                      <a:pt x="736" y="800"/>
                    </a:cubicBezTo>
                    <a:cubicBezTo>
                      <a:pt x="736" y="800"/>
                      <a:pt x="746" y="795"/>
                      <a:pt x="749" y="795"/>
                    </a:cubicBezTo>
                    <a:cubicBezTo>
                      <a:pt x="757" y="790"/>
                      <a:pt x="775" y="805"/>
                      <a:pt x="777" y="782"/>
                    </a:cubicBezTo>
                    <a:cubicBezTo>
                      <a:pt x="783" y="784"/>
                      <a:pt x="788" y="782"/>
                      <a:pt x="793" y="777"/>
                    </a:cubicBezTo>
                    <a:cubicBezTo>
                      <a:pt x="801" y="764"/>
                      <a:pt x="809" y="758"/>
                      <a:pt x="809" y="758"/>
                    </a:cubicBezTo>
                    <a:cubicBezTo>
                      <a:pt x="821" y="771"/>
                      <a:pt x="827" y="745"/>
                      <a:pt x="837" y="740"/>
                    </a:cubicBezTo>
                    <a:cubicBezTo>
                      <a:pt x="842" y="738"/>
                      <a:pt x="863" y="727"/>
                      <a:pt x="871" y="727"/>
                    </a:cubicBezTo>
                    <a:cubicBezTo>
                      <a:pt x="878" y="727"/>
                      <a:pt x="889" y="717"/>
                      <a:pt x="902" y="712"/>
                    </a:cubicBezTo>
                    <a:cubicBezTo>
                      <a:pt x="910" y="706"/>
                      <a:pt x="917" y="712"/>
                      <a:pt x="917" y="701"/>
                    </a:cubicBezTo>
                    <a:cubicBezTo>
                      <a:pt x="917" y="699"/>
                      <a:pt x="904" y="693"/>
                      <a:pt x="902" y="693"/>
                    </a:cubicBezTo>
                    <a:cubicBezTo>
                      <a:pt x="902" y="691"/>
                      <a:pt x="904" y="683"/>
                      <a:pt x="907" y="680"/>
                    </a:cubicBezTo>
                    <a:cubicBezTo>
                      <a:pt x="915" y="686"/>
                      <a:pt x="948" y="683"/>
                      <a:pt x="933" y="704"/>
                    </a:cubicBezTo>
                    <a:cubicBezTo>
                      <a:pt x="935" y="704"/>
                      <a:pt x="943" y="704"/>
                      <a:pt x="946" y="701"/>
                    </a:cubicBezTo>
                    <a:cubicBezTo>
                      <a:pt x="933" y="717"/>
                      <a:pt x="948" y="712"/>
                      <a:pt x="956" y="717"/>
                    </a:cubicBezTo>
                    <a:cubicBezTo>
                      <a:pt x="964" y="722"/>
                      <a:pt x="964" y="706"/>
                      <a:pt x="967" y="704"/>
                    </a:cubicBezTo>
                    <a:cubicBezTo>
                      <a:pt x="974" y="699"/>
                      <a:pt x="979" y="670"/>
                      <a:pt x="979" y="660"/>
                    </a:cubicBezTo>
                    <a:cubicBezTo>
                      <a:pt x="987" y="642"/>
                      <a:pt x="972" y="634"/>
                      <a:pt x="972" y="618"/>
                    </a:cubicBezTo>
                    <a:close/>
                    <a:moveTo>
                      <a:pt x="322" y="174"/>
                    </a:moveTo>
                    <a:cubicBezTo>
                      <a:pt x="322" y="169"/>
                      <a:pt x="322" y="169"/>
                      <a:pt x="322" y="169"/>
                    </a:cubicBezTo>
                    <a:cubicBezTo>
                      <a:pt x="322" y="169"/>
                      <a:pt x="319" y="166"/>
                      <a:pt x="319" y="171"/>
                    </a:cubicBezTo>
                    <a:cubicBezTo>
                      <a:pt x="319" y="177"/>
                      <a:pt x="322" y="174"/>
                      <a:pt x="322" y="174"/>
                    </a:cubicBezTo>
                    <a:close/>
                    <a:moveTo>
                      <a:pt x="138" y="234"/>
                    </a:moveTo>
                    <a:cubicBezTo>
                      <a:pt x="135" y="231"/>
                      <a:pt x="130" y="234"/>
                      <a:pt x="135" y="239"/>
                    </a:cubicBezTo>
                    <a:cubicBezTo>
                      <a:pt x="138" y="242"/>
                      <a:pt x="138" y="234"/>
                      <a:pt x="138" y="234"/>
                    </a:cubicBezTo>
                    <a:close/>
                    <a:moveTo>
                      <a:pt x="329" y="86"/>
                    </a:moveTo>
                    <a:cubicBezTo>
                      <a:pt x="329" y="88"/>
                      <a:pt x="324" y="86"/>
                      <a:pt x="329" y="88"/>
                    </a:cubicBezTo>
                    <a:cubicBezTo>
                      <a:pt x="335" y="88"/>
                      <a:pt x="335" y="88"/>
                      <a:pt x="329" y="86"/>
                    </a:cubicBezTo>
                    <a:close/>
                    <a:moveTo>
                      <a:pt x="247" y="218"/>
                    </a:moveTo>
                    <a:cubicBezTo>
                      <a:pt x="252" y="213"/>
                      <a:pt x="228" y="216"/>
                      <a:pt x="239" y="216"/>
                    </a:cubicBezTo>
                    <a:cubicBezTo>
                      <a:pt x="241" y="218"/>
                      <a:pt x="244" y="218"/>
                      <a:pt x="247" y="218"/>
                    </a:cubicBezTo>
                    <a:close/>
                    <a:moveTo>
                      <a:pt x="244" y="148"/>
                    </a:moveTo>
                    <a:cubicBezTo>
                      <a:pt x="247" y="148"/>
                      <a:pt x="247" y="145"/>
                      <a:pt x="244" y="145"/>
                    </a:cubicBezTo>
                    <a:cubicBezTo>
                      <a:pt x="244" y="145"/>
                      <a:pt x="241" y="148"/>
                      <a:pt x="244" y="148"/>
                    </a:cubicBezTo>
                    <a:close/>
                    <a:moveTo>
                      <a:pt x="288" y="78"/>
                    </a:moveTo>
                    <a:cubicBezTo>
                      <a:pt x="288" y="75"/>
                      <a:pt x="283" y="57"/>
                      <a:pt x="285" y="57"/>
                    </a:cubicBezTo>
                    <a:cubicBezTo>
                      <a:pt x="283" y="57"/>
                      <a:pt x="280" y="65"/>
                      <a:pt x="278" y="68"/>
                    </a:cubicBezTo>
                    <a:cubicBezTo>
                      <a:pt x="278" y="68"/>
                      <a:pt x="285" y="83"/>
                      <a:pt x="288" y="78"/>
                    </a:cubicBezTo>
                    <a:close/>
                    <a:moveTo>
                      <a:pt x="288" y="213"/>
                    </a:moveTo>
                    <a:cubicBezTo>
                      <a:pt x="291" y="210"/>
                      <a:pt x="288" y="208"/>
                      <a:pt x="288" y="208"/>
                    </a:cubicBezTo>
                    <a:cubicBezTo>
                      <a:pt x="283" y="208"/>
                      <a:pt x="283" y="213"/>
                      <a:pt x="288" y="213"/>
                    </a:cubicBezTo>
                    <a:close/>
                    <a:moveTo>
                      <a:pt x="280" y="55"/>
                    </a:moveTo>
                    <a:cubicBezTo>
                      <a:pt x="280" y="52"/>
                      <a:pt x="280" y="52"/>
                      <a:pt x="280" y="52"/>
                    </a:cubicBezTo>
                    <a:cubicBezTo>
                      <a:pt x="280" y="49"/>
                      <a:pt x="280" y="49"/>
                      <a:pt x="280" y="49"/>
                    </a:cubicBezTo>
                    <a:cubicBezTo>
                      <a:pt x="280" y="42"/>
                      <a:pt x="280" y="42"/>
                      <a:pt x="280" y="42"/>
                    </a:cubicBezTo>
                    <a:cubicBezTo>
                      <a:pt x="280" y="42"/>
                      <a:pt x="280" y="36"/>
                      <a:pt x="283" y="36"/>
                    </a:cubicBezTo>
                    <a:cubicBezTo>
                      <a:pt x="283" y="31"/>
                      <a:pt x="283" y="31"/>
                      <a:pt x="283" y="31"/>
                    </a:cubicBezTo>
                    <a:cubicBezTo>
                      <a:pt x="285" y="31"/>
                      <a:pt x="285" y="29"/>
                      <a:pt x="285" y="29"/>
                    </a:cubicBezTo>
                    <a:cubicBezTo>
                      <a:pt x="285" y="31"/>
                      <a:pt x="285" y="36"/>
                      <a:pt x="288" y="36"/>
                    </a:cubicBezTo>
                    <a:cubicBezTo>
                      <a:pt x="291" y="36"/>
                      <a:pt x="296" y="36"/>
                      <a:pt x="298" y="31"/>
                    </a:cubicBezTo>
                    <a:cubicBezTo>
                      <a:pt x="298" y="29"/>
                      <a:pt x="293" y="29"/>
                      <a:pt x="291" y="26"/>
                    </a:cubicBezTo>
                    <a:cubicBezTo>
                      <a:pt x="288" y="26"/>
                      <a:pt x="288" y="21"/>
                      <a:pt x="288" y="21"/>
                    </a:cubicBezTo>
                    <a:cubicBezTo>
                      <a:pt x="288" y="16"/>
                      <a:pt x="288" y="16"/>
                      <a:pt x="288" y="16"/>
                    </a:cubicBezTo>
                    <a:cubicBezTo>
                      <a:pt x="288" y="16"/>
                      <a:pt x="288" y="13"/>
                      <a:pt x="291" y="10"/>
                    </a:cubicBezTo>
                    <a:cubicBezTo>
                      <a:pt x="291" y="10"/>
                      <a:pt x="293" y="8"/>
                      <a:pt x="296" y="8"/>
                    </a:cubicBezTo>
                    <a:cubicBezTo>
                      <a:pt x="296" y="5"/>
                      <a:pt x="293" y="3"/>
                      <a:pt x="293" y="3"/>
                    </a:cubicBezTo>
                    <a:cubicBezTo>
                      <a:pt x="298" y="3"/>
                      <a:pt x="298" y="3"/>
                      <a:pt x="298" y="3"/>
                    </a:cubicBezTo>
                    <a:cubicBezTo>
                      <a:pt x="298" y="3"/>
                      <a:pt x="298" y="0"/>
                      <a:pt x="296" y="0"/>
                    </a:cubicBezTo>
                    <a:cubicBezTo>
                      <a:pt x="291" y="0"/>
                      <a:pt x="291" y="3"/>
                      <a:pt x="291" y="3"/>
                    </a:cubicBezTo>
                    <a:cubicBezTo>
                      <a:pt x="288" y="5"/>
                      <a:pt x="285" y="13"/>
                      <a:pt x="283" y="18"/>
                    </a:cubicBezTo>
                    <a:cubicBezTo>
                      <a:pt x="280" y="23"/>
                      <a:pt x="278" y="36"/>
                      <a:pt x="278" y="36"/>
                    </a:cubicBezTo>
                    <a:cubicBezTo>
                      <a:pt x="278" y="44"/>
                      <a:pt x="278" y="44"/>
                      <a:pt x="278" y="44"/>
                    </a:cubicBezTo>
                    <a:cubicBezTo>
                      <a:pt x="278" y="52"/>
                      <a:pt x="278" y="52"/>
                      <a:pt x="278" y="52"/>
                    </a:cubicBezTo>
                    <a:cubicBezTo>
                      <a:pt x="278" y="55"/>
                      <a:pt x="280" y="55"/>
                      <a:pt x="280" y="55"/>
                    </a:cubicBezTo>
                    <a:close/>
                    <a:moveTo>
                      <a:pt x="265" y="229"/>
                    </a:moveTo>
                    <a:cubicBezTo>
                      <a:pt x="267" y="229"/>
                      <a:pt x="275" y="223"/>
                      <a:pt x="267" y="223"/>
                    </a:cubicBezTo>
                    <a:cubicBezTo>
                      <a:pt x="267" y="223"/>
                      <a:pt x="257" y="229"/>
                      <a:pt x="265" y="229"/>
                    </a:cubicBezTo>
                    <a:close/>
                    <a:moveTo>
                      <a:pt x="252" y="223"/>
                    </a:moveTo>
                    <a:cubicBezTo>
                      <a:pt x="254" y="223"/>
                      <a:pt x="254" y="221"/>
                      <a:pt x="252" y="221"/>
                    </a:cubicBezTo>
                    <a:cubicBezTo>
                      <a:pt x="252" y="221"/>
                      <a:pt x="249" y="223"/>
                      <a:pt x="252" y="223"/>
                    </a:cubicBezTo>
                    <a:close/>
                    <a:moveTo>
                      <a:pt x="241" y="143"/>
                    </a:moveTo>
                    <a:cubicBezTo>
                      <a:pt x="239" y="145"/>
                      <a:pt x="239" y="148"/>
                      <a:pt x="241" y="151"/>
                    </a:cubicBezTo>
                    <a:lnTo>
                      <a:pt x="241" y="143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53" name="France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3451225" y="3937000"/>
                <a:ext cx="1335087" cy="1387475"/>
              </a:xfrm>
              <a:custGeom>
                <a:avLst/>
                <a:gdLst/>
                <a:ahLst/>
                <a:cxnLst>
                  <a:cxn ang="0">
                    <a:pos x="540" y="142"/>
                  </a:cxn>
                  <a:cxn ang="0">
                    <a:pos x="511" y="136"/>
                  </a:cxn>
                  <a:cxn ang="0">
                    <a:pos x="481" y="122"/>
                  </a:cxn>
                  <a:cxn ang="0">
                    <a:pos x="450" y="105"/>
                  </a:cxn>
                  <a:cxn ang="0">
                    <a:pos x="432" y="71"/>
                  </a:cxn>
                  <a:cxn ang="0">
                    <a:pos x="405" y="74"/>
                  </a:cxn>
                  <a:cxn ang="0">
                    <a:pos x="378" y="42"/>
                  </a:cxn>
                  <a:cxn ang="0">
                    <a:pos x="355" y="28"/>
                  </a:cxn>
                  <a:cxn ang="0">
                    <a:pos x="345" y="8"/>
                  </a:cxn>
                  <a:cxn ang="0">
                    <a:pos x="295" y="48"/>
                  </a:cxn>
                  <a:cxn ang="0">
                    <a:pos x="236" y="78"/>
                  </a:cxn>
                  <a:cxn ang="0">
                    <a:pos x="211" y="105"/>
                  </a:cxn>
                  <a:cxn ang="0">
                    <a:pos x="167" y="79"/>
                  </a:cxn>
                  <a:cxn ang="0">
                    <a:pos x="144" y="74"/>
                  </a:cxn>
                  <a:cxn ang="0">
                    <a:pos x="149" y="114"/>
                  </a:cxn>
                  <a:cxn ang="0">
                    <a:pos x="130" y="130"/>
                  </a:cxn>
                  <a:cxn ang="0">
                    <a:pos x="112" y="127"/>
                  </a:cxn>
                  <a:cxn ang="0">
                    <a:pos x="50" y="114"/>
                  </a:cxn>
                  <a:cxn ang="0">
                    <a:pos x="4" y="130"/>
                  </a:cxn>
                  <a:cxn ang="0">
                    <a:pos x="8" y="138"/>
                  </a:cxn>
                  <a:cxn ang="0">
                    <a:pos x="1" y="153"/>
                  </a:cxn>
                  <a:cxn ang="0">
                    <a:pos x="35" y="169"/>
                  </a:cxn>
                  <a:cxn ang="0">
                    <a:pos x="66" y="181"/>
                  </a:cxn>
                  <a:cxn ang="0">
                    <a:pos x="73" y="194"/>
                  </a:cxn>
                  <a:cxn ang="0">
                    <a:pos x="97" y="220"/>
                  </a:cxn>
                  <a:cxn ang="0">
                    <a:pos x="97" y="226"/>
                  </a:cxn>
                  <a:cxn ang="0">
                    <a:pos x="109" y="273"/>
                  </a:cxn>
                  <a:cxn ang="0">
                    <a:pos x="138" y="306"/>
                  </a:cxn>
                  <a:cxn ang="0">
                    <a:pos x="151" y="375"/>
                  </a:cxn>
                  <a:cxn ang="0">
                    <a:pos x="129" y="338"/>
                  </a:cxn>
                  <a:cxn ang="0">
                    <a:pos x="113" y="406"/>
                  </a:cxn>
                  <a:cxn ang="0">
                    <a:pos x="83" y="479"/>
                  </a:cxn>
                  <a:cxn ang="0">
                    <a:pos x="94" y="501"/>
                  </a:cxn>
                  <a:cxn ang="0">
                    <a:pos x="125" y="515"/>
                  </a:cxn>
                  <a:cxn ang="0">
                    <a:pos x="167" y="530"/>
                  </a:cxn>
                  <a:cxn ang="0">
                    <a:pos x="207" y="532"/>
                  </a:cxn>
                  <a:cxn ang="0">
                    <a:pos x="237" y="545"/>
                  </a:cxn>
                  <a:cxn ang="0">
                    <a:pos x="254" y="567"/>
                  </a:cxn>
                  <a:cxn ang="0">
                    <a:pos x="309" y="567"/>
                  </a:cxn>
                  <a:cxn ang="0">
                    <a:pos x="307" y="530"/>
                  </a:cxn>
                  <a:cxn ang="0">
                    <a:pos x="332" y="506"/>
                  </a:cxn>
                  <a:cxn ang="0">
                    <a:pos x="355" y="498"/>
                  </a:cxn>
                  <a:cxn ang="0">
                    <a:pos x="406" y="517"/>
                  </a:cxn>
                  <a:cxn ang="0">
                    <a:pos x="448" y="534"/>
                  </a:cxn>
                  <a:cxn ang="0">
                    <a:pos x="469" y="533"/>
                  </a:cxn>
                  <a:cxn ang="0">
                    <a:pos x="497" y="509"/>
                  </a:cxn>
                  <a:cxn ang="0">
                    <a:pos x="528" y="496"/>
                  </a:cxn>
                  <a:cxn ang="0">
                    <a:pos x="502" y="437"/>
                  </a:cxn>
                  <a:cxn ang="0">
                    <a:pos x="494" y="403"/>
                  </a:cxn>
                  <a:cxn ang="0">
                    <a:pos x="499" y="362"/>
                  </a:cxn>
                  <a:cxn ang="0">
                    <a:pos x="502" y="325"/>
                  </a:cxn>
                  <a:cxn ang="0">
                    <a:pos x="464" y="336"/>
                  </a:cxn>
                  <a:cxn ang="0">
                    <a:pos x="488" y="284"/>
                  </a:cxn>
                  <a:cxn ang="0">
                    <a:pos x="536" y="252"/>
                  </a:cxn>
                  <a:cxn ang="0">
                    <a:pos x="557" y="179"/>
                  </a:cxn>
                  <a:cxn ang="0">
                    <a:pos x="619" y="558"/>
                  </a:cxn>
                  <a:cxn ang="0">
                    <a:pos x="583" y="572"/>
                  </a:cxn>
                  <a:cxn ang="0">
                    <a:pos x="573" y="596"/>
                  </a:cxn>
                  <a:cxn ang="0">
                    <a:pos x="577" y="627"/>
                  </a:cxn>
                  <a:cxn ang="0">
                    <a:pos x="597" y="646"/>
                  </a:cxn>
                  <a:cxn ang="0">
                    <a:pos x="621" y="571"/>
                  </a:cxn>
                  <a:cxn ang="0">
                    <a:pos x="126" y="100"/>
                  </a:cxn>
                  <a:cxn ang="0">
                    <a:pos x="113" y="75"/>
                  </a:cxn>
                </a:cxnLst>
                <a:rect l="0" t="0" r="r" b="b"/>
                <a:pathLst>
                  <a:path w="626" h="652">
                    <a:moveTo>
                      <a:pt x="575" y="156"/>
                    </a:moveTo>
                    <a:cubicBezTo>
                      <a:pt x="572" y="155"/>
                      <a:pt x="563" y="148"/>
                      <a:pt x="560" y="151"/>
                    </a:cubicBezTo>
                    <a:cubicBezTo>
                      <a:pt x="559" y="153"/>
                      <a:pt x="549" y="148"/>
                      <a:pt x="547" y="147"/>
                    </a:cubicBezTo>
                    <a:cubicBezTo>
                      <a:pt x="546" y="147"/>
                      <a:pt x="542" y="142"/>
                      <a:pt x="544" y="142"/>
                    </a:cubicBezTo>
                    <a:cubicBezTo>
                      <a:pt x="543" y="142"/>
                      <a:pt x="542" y="141"/>
                      <a:pt x="541" y="141"/>
                    </a:cubicBezTo>
                    <a:cubicBezTo>
                      <a:pt x="538" y="141"/>
                      <a:pt x="540" y="142"/>
                      <a:pt x="540" y="142"/>
                    </a:cubicBezTo>
                    <a:cubicBezTo>
                      <a:pt x="537" y="143"/>
                      <a:pt x="537" y="144"/>
                      <a:pt x="536" y="144"/>
                    </a:cubicBezTo>
                    <a:cubicBezTo>
                      <a:pt x="534" y="144"/>
                      <a:pt x="528" y="141"/>
                      <a:pt x="528" y="141"/>
                    </a:cubicBezTo>
                    <a:cubicBezTo>
                      <a:pt x="526" y="141"/>
                      <a:pt x="525" y="147"/>
                      <a:pt x="524" y="140"/>
                    </a:cubicBezTo>
                    <a:cubicBezTo>
                      <a:pt x="524" y="138"/>
                      <a:pt x="519" y="137"/>
                      <a:pt x="516" y="137"/>
                    </a:cubicBezTo>
                    <a:cubicBezTo>
                      <a:pt x="518" y="140"/>
                      <a:pt x="516" y="140"/>
                      <a:pt x="513" y="140"/>
                    </a:cubicBezTo>
                    <a:cubicBezTo>
                      <a:pt x="510" y="139"/>
                      <a:pt x="512" y="138"/>
                      <a:pt x="511" y="136"/>
                    </a:cubicBezTo>
                    <a:cubicBezTo>
                      <a:pt x="511" y="137"/>
                      <a:pt x="505" y="126"/>
                      <a:pt x="504" y="127"/>
                    </a:cubicBezTo>
                    <a:cubicBezTo>
                      <a:pt x="506" y="126"/>
                      <a:pt x="506" y="123"/>
                      <a:pt x="505" y="122"/>
                    </a:cubicBezTo>
                    <a:cubicBezTo>
                      <a:pt x="503" y="120"/>
                      <a:pt x="500" y="120"/>
                      <a:pt x="498" y="119"/>
                    </a:cubicBezTo>
                    <a:cubicBezTo>
                      <a:pt x="496" y="120"/>
                      <a:pt x="495" y="120"/>
                      <a:pt x="494" y="120"/>
                    </a:cubicBezTo>
                    <a:cubicBezTo>
                      <a:pt x="492" y="120"/>
                      <a:pt x="492" y="118"/>
                      <a:pt x="489" y="118"/>
                    </a:cubicBezTo>
                    <a:cubicBezTo>
                      <a:pt x="486" y="117"/>
                      <a:pt x="488" y="122"/>
                      <a:pt x="481" y="122"/>
                    </a:cubicBezTo>
                    <a:cubicBezTo>
                      <a:pt x="476" y="123"/>
                      <a:pt x="476" y="117"/>
                      <a:pt x="476" y="117"/>
                    </a:cubicBezTo>
                    <a:cubicBezTo>
                      <a:pt x="471" y="115"/>
                      <a:pt x="471" y="115"/>
                      <a:pt x="471" y="115"/>
                    </a:cubicBezTo>
                    <a:cubicBezTo>
                      <a:pt x="472" y="115"/>
                      <a:pt x="472" y="115"/>
                      <a:pt x="472" y="115"/>
                    </a:cubicBezTo>
                    <a:cubicBezTo>
                      <a:pt x="457" y="116"/>
                      <a:pt x="457" y="116"/>
                      <a:pt x="457" y="116"/>
                    </a:cubicBezTo>
                    <a:cubicBezTo>
                      <a:pt x="450" y="107"/>
                      <a:pt x="450" y="107"/>
                      <a:pt x="450" y="107"/>
                    </a:cubicBezTo>
                    <a:cubicBezTo>
                      <a:pt x="450" y="105"/>
                      <a:pt x="450" y="105"/>
                      <a:pt x="450" y="105"/>
                    </a:cubicBezTo>
                    <a:cubicBezTo>
                      <a:pt x="438" y="95"/>
                      <a:pt x="438" y="95"/>
                      <a:pt x="438" y="95"/>
                    </a:cubicBezTo>
                    <a:cubicBezTo>
                      <a:pt x="431" y="95"/>
                      <a:pt x="431" y="95"/>
                      <a:pt x="431" y="95"/>
                    </a:cubicBezTo>
                    <a:cubicBezTo>
                      <a:pt x="429" y="93"/>
                      <a:pt x="429" y="93"/>
                      <a:pt x="429" y="93"/>
                    </a:cubicBezTo>
                    <a:cubicBezTo>
                      <a:pt x="429" y="93"/>
                      <a:pt x="432" y="88"/>
                      <a:pt x="431" y="86"/>
                    </a:cubicBezTo>
                    <a:cubicBezTo>
                      <a:pt x="431" y="83"/>
                      <a:pt x="429" y="83"/>
                      <a:pt x="429" y="83"/>
                    </a:cubicBezTo>
                    <a:cubicBezTo>
                      <a:pt x="429" y="83"/>
                      <a:pt x="436" y="74"/>
                      <a:pt x="432" y="71"/>
                    </a:cubicBezTo>
                    <a:cubicBezTo>
                      <a:pt x="429" y="68"/>
                      <a:pt x="423" y="81"/>
                      <a:pt x="423" y="81"/>
                    </a:cubicBezTo>
                    <a:cubicBezTo>
                      <a:pt x="420" y="83"/>
                      <a:pt x="420" y="83"/>
                      <a:pt x="420" y="83"/>
                    </a:cubicBezTo>
                    <a:cubicBezTo>
                      <a:pt x="416" y="86"/>
                      <a:pt x="416" y="86"/>
                      <a:pt x="416" y="86"/>
                    </a:cubicBezTo>
                    <a:cubicBezTo>
                      <a:pt x="413" y="83"/>
                      <a:pt x="413" y="83"/>
                      <a:pt x="413" y="83"/>
                    </a:cubicBezTo>
                    <a:cubicBezTo>
                      <a:pt x="413" y="83"/>
                      <a:pt x="408" y="85"/>
                      <a:pt x="403" y="83"/>
                    </a:cubicBezTo>
                    <a:cubicBezTo>
                      <a:pt x="396" y="80"/>
                      <a:pt x="405" y="74"/>
                      <a:pt x="405" y="74"/>
                    </a:cubicBezTo>
                    <a:cubicBezTo>
                      <a:pt x="401" y="70"/>
                      <a:pt x="401" y="70"/>
                      <a:pt x="401" y="70"/>
                    </a:cubicBezTo>
                    <a:cubicBezTo>
                      <a:pt x="401" y="70"/>
                      <a:pt x="404" y="67"/>
                      <a:pt x="404" y="61"/>
                    </a:cubicBezTo>
                    <a:cubicBezTo>
                      <a:pt x="404" y="57"/>
                      <a:pt x="396" y="56"/>
                      <a:pt x="392" y="55"/>
                    </a:cubicBezTo>
                    <a:cubicBezTo>
                      <a:pt x="387" y="54"/>
                      <a:pt x="387" y="59"/>
                      <a:pt x="383" y="59"/>
                    </a:cubicBezTo>
                    <a:cubicBezTo>
                      <a:pt x="381" y="60"/>
                      <a:pt x="384" y="47"/>
                      <a:pt x="384" y="47"/>
                    </a:cubicBezTo>
                    <a:cubicBezTo>
                      <a:pt x="378" y="42"/>
                      <a:pt x="378" y="42"/>
                      <a:pt x="378" y="42"/>
                    </a:cubicBezTo>
                    <a:cubicBezTo>
                      <a:pt x="371" y="45"/>
                      <a:pt x="371" y="45"/>
                      <a:pt x="371" y="45"/>
                    </a:cubicBezTo>
                    <a:cubicBezTo>
                      <a:pt x="368" y="42"/>
                      <a:pt x="368" y="42"/>
                      <a:pt x="368" y="42"/>
                    </a:cubicBezTo>
                    <a:cubicBezTo>
                      <a:pt x="368" y="31"/>
                      <a:pt x="368" y="31"/>
                      <a:pt x="368" y="31"/>
                    </a:cubicBezTo>
                    <a:cubicBezTo>
                      <a:pt x="365" y="24"/>
                      <a:pt x="365" y="24"/>
                      <a:pt x="365" y="24"/>
                    </a:cubicBezTo>
                    <a:cubicBezTo>
                      <a:pt x="358" y="24"/>
                      <a:pt x="358" y="24"/>
                      <a:pt x="358" y="24"/>
                    </a:cubicBezTo>
                    <a:cubicBezTo>
                      <a:pt x="356" y="24"/>
                      <a:pt x="355" y="28"/>
                      <a:pt x="355" y="28"/>
                    </a:cubicBezTo>
                    <a:cubicBezTo>
                      <a:pt x="351" y="27"/>
                      <a:pt x="351" y="27"/>
                      <a:pt x="351" y="27"/>
                    </a:cubicBezTo>
                    <a:cubicBezTo>
                      <a:pt x="351" y="27"/>
                      <a:pt x="349" y="21"/>
                      <a:pt x="346" y="20"/>
                    </a:cubicBezTo>
                    <a:cubicBezTo>
                      <a:pt x="344" y="18"/>
                      <a:pt x="343" y="20"/>
                      <a:pt x="343" y="20"/>
                    </a:cubicBezTo>
                    <a:cubicBezTo>
                      <a:pt x="344" y="13"/>
                      <a:pt x="344" y="13"/>
                      <a:pt x="344" y="13"/>
                    </a:cubicBezTo>
                    <a:cubicBezTo>
                      <a:pt x="345" y="12"/>
                      <a:pt x="345" y="12"/>
                      <a:pt x="345" y="12"/>
                    </a:cubicBezTo>
                    <a:cubicBezTo>
                      <a:pt x="345" y="8"/>
                      <a:pt x="345" y="8"/>
                      <a:pt x="345" y="8"/>
                    </a:cubicBezTo>
                    <a:cubicBezTo>
                      <a:pt x="344" y="8"/>
                      <a:pt x="344" y="8"/>
                      <a:pt x="344" y="8"/>
                    </a:cubicBezTo>
                    <a:cubicBezTo>
                      <a:pt x="344" y="1"/>
                      <a:pt x="344" y="1"/>
                      <a:pt x="344" y="1"/>
                    </a:cubicBezTo>
                    <a:cubicBezTo>
                      <a:pt x="334" y="0"/>
                      <a:pt x="334" y="0"/>
                      <a:pt x="334" y="0"/>
                    </a:cubicBezTo>
                    <a:cubicBezTo>
                      <a:pt x="334" y="0"/>
                      <a:pt x="328" y="5"/>
                      <a:pt x="324" y="5"/>
                    </a:cubicBezTo>
                    <a:cubicBezTo>
                      <a:pt x="318" y="5"/>
                      <a:pt x="306" y="0"/>
                      <a:pt x="302" y="12"/>
                    </a:cubicBezTo>
                    <a:cubicBezTo>
                      <a:pt x="298" y="24"/>
                      <a:pt x="295" y="48"/>
                      <a:pt x="295" y="48"/>
                    </a:cubicBezTo>
                    <a:cubicBezTo>
                      <a:pt x="300" y="54"/>
                      <a:pt x="300" y="54"/>
                      <a:pt x="300" y="54"/>
                    </a:cubicBezTo>
                    <a:cubicBezTo>
                      <a:pt x="300" y="56"/>
                      <a:pt x="300" y="56"/>
                      <a:pt x="300" y="56"/>
                    </a:cubicBezTo>
                    <a:cubicBezTo>
                      <a:pt x="294" y="53"/>
                      <a:pt x="294" y="53"/>
                      <a:pt x="294" y="53"/>
                    </a:cubicBezTo>
                    <a:cubicBezTo>
                      <a:pt x="294" y="53"/>
                      <a:pt x="290" y="65"/>
                      <a:pt x="277" y="69"/>
                    </a:cubicBezTo>
                    <a:cubicBezTo>
                      <a:pt x="264" y="72"/>
                      <a:pt x="252" y="70"/>
                      <a:pt x="252" y="70"/>
                    </a:cubicBezTo>
                    <a:cubicBezTo>
                      <a:pt x="252" y="70"/>
                      <a:pt x="238" y="78"/>
                      <a:pt x="236" y="78"/>
                    </a:cubicBezTo>
                    <a:cubicBezTo>
                      <a:pt x="231" y="78"/>
                      <a:pt x="231" y="78"/>
                      <a:pt x="231" y="78"/>
                    </a:cubicBezTo>
                    <a:cubicBezTo>
                      <a:pt x="231" y="78"/>
                      <a:pt x="221" y="87"/>
                      <a:pt x="225" y="91"/>
                    </a:cubicBezTo>
                    <a:cubicBezTo>
                      <a:pt x="229" y="95"/>
                      <a:pt x="237" y="97"/>
                      <a:pt x="237" y="97"/>
                    </a:cubicBezTo>
                    <a:cubicBezTo>
                      <a:pt x="235" y="99"/>
                      <a:pt x="235" y="99"/>
                      <a:pt x="235" y="99"/>
                    </a:cubicBezTo>
                    <a:cubicBezTo>
                      <a:pt x="231" y="97"/>
                      <a:pt x="231" y="97"/>
                      <a:pt x="231" y="97"/>
                    </a:cubicBezTo>
                    <a:cubicBezTo>
                      <a:pt x="211" y="105"/>
                      <a:pt x="211" y="105"/>
                      <a:pt x="211" y="105"/>
                    </a:cubicBezTo>
                    <a:cubicBezTo>
                      <a:pt x="199" y="99"/>
                      <a:pt x="199" y="99"/>
                      <a:pt x="199" y="99"/>
                    </a:cubicBezTo>
                    <a:cubicBezTo>
                      <a:pt x="195" y="100"/>
                      <a:pt x="195" y="100"/>
                      <a:pt x="195" y="100"/>
                    </a:cubicBezTo>
                    <a:cubicBezTo>
                      <a:pt x="195" y="100"/>
                      <a:pt x="185" y="94"/>
                      <a:pt x="180" y="93"/>
                    </a:cubicBezTo>
                    <a:cubicBezTo>
                      <a:pt x="175" y="92"/>
                      <a:pt x="170" y="94"/>
                      <a:pt x="170" y="94"/>
                    </a:cubicBezTo>
                    <a:cubicBezTo>
                      <a:pt x="170" y="94"/>
                      <a:pt x="169" y="92"/>
                      <a:pt x="168" y="88"/>
                    </a:cubicBezTo>
                    <a:cubicBezTo>
                      <a:pt x="166" y="84"/>
                      <a:pt x="163" y="80"/>
                      <a:pt x="167" y="79"/>
                    </a:cubicBezTo>
                    <a:cubicBezTo>
                      <a:pt x="172" y="78"/>
                      <a:pt x="170" y="76"/>
                      <a:pt x="170" y="76"/>
                    </a:cubicBezTo>
                    <a:cubicBezTo>
                      <a:pt x="170" y="76"/>
                      <a:pt x="168" y="67"/>
                      <a:pt x="163" y="69"/>
                    </a:cubicBezTo>
                    <a:cubicBezTo>
                      <a:pt x="156" y="71"/>
                      <a:pt x="153" y="72"/>
                      <a:pt x="149" y="70"/>
                    </a:cubicBezTo>
                    <a:cubicBezTo>
                      <a:pt x="145" y="68"/>
                      <a:pt x="143" y="63"/>
                      <a:pt x="143" y="63"/>
                    </a:cubicBezTo>
                    <a:cubicBezTo>
                      <a:pt x="143" y="63"/>
                      <a:pt x="142" y="65"/>
                      <a:pt x="141" y="67"/>
                    </a:cubicBezTo>
                    <a:cubicBezTo>
                      <a:pt x="139" y="67"/>
                      <a:pt x="145" y="73"/>
                      <a:pt x="144" y="74"/>
                    </a:cubicBezTo>
                    <a:cubicBezTo>
                      <a:pt x="143" y="75"/>
                      <a:pt x="141" y="78"/>
                      <a:pt x="141" y="78"/>
                    </a:cubicBezTo>
                    <a:cubicBezTo>
                      <a:pt x="141" y="78"/>
                      <a:pt x="144" y="88"/>
                      <a:pt x="146" y="90"/>
                    </a:cubicBezTo>
                    <a:cubicBezTo>
                      <a:pt x="148" y="92"/>
                      <a:pt x="148" y="97"/>
                      <a:pt x="148" y="97"/>
                    </a:cubicBezTo>
                    <a:cubicBezTo>
                      <a:pt x="148" y="97"/>
                      <a:pt x="151" y="97"/>
                      <a:pt x="151" y="100"/>
                    </a:cubicBezTo>
                    <a:cubicBezTo>
                      <a:pt x="151" y="102"/>
                      <a:pt x="146" y="106"/>
                      <a:pt x="146" y="106"/>
                    </a:cubicBezTo>
                    <a:cubicBezTo>
                      <a:pt x="146" y="106"/>
                      <a:pt x="149" y="111"/>
                      <a:pt x="149" y="114"/>
                    </a:cubicBezTo>
                    <a:cubicBezTo>
                      <a:pt x="149" y="116"/>
                      <a:pt x="144" y="122"/>
                      <a:pt x="146" y="126"/>
                    </a:cubicBezTo>
                    <a:cubicBezTo>
                      <a:pt x="148" y="131"/>
                      <a:pt x="153" y="136"/>
                      <a:pt x="153" y="136"/>
                    </a:cubicBezTo>
                    <a:cubicBezTo>
                      <a:pt x="153" y="136"/>
                      <a:pt x="151" y="138"/>
                      <a:pt x="150" y="138"/>
                    </a:cubicBezTo>
                    <a:cubicBezTo>
                      <a:pt x="148" y="138"/>
                      <a:pt x="146" y="136"/>
                      <a:pt x="142" y="136"/>
                    </a:cubicBezTo>
                    <a:cubicBezTo>
                      <a:pt x="137" y="137"/>
                      <a:pt x="132" y="139"/>
                      <a:pt x="134" y="135"/>
                    </a:cubicBezTo>
                    <a:cubicBezTo>
                      <a:pt x="135" y="132"/>
                      <a:pt x="134" y="130"/>
                      <a:pt x="130" y="130"/>
                    </a:cubicBezTo>
                    <a:cubicBezTo>
                      <a:pt x="127" y="130"/>
                      <a:pt x="127" y="133"/>
                      <a:pt x="127" y="133"/>
                    </a:cubicBezTo>
                    <a:cubicBezTo>
                      <a:pt x="128" y="139"/>
                      <a:pt x="128" y="139"/>
                      <a:pt x="128" y="139"/>
                    </a:cubicBezTo>
                    <a:cubicBezTo>
                      <a:pt x="126" y="139"/>
                      <a:pt x="126" y="139"/>
                      <a:pt x="126" y="139"/>
                    </a:cubicBezTo>
                    <a:cubicBezTo>
                      <a:pt x="123" y="133"/>
                      <a:pt x="123" y="133"/>
                      <a:pt x="123" y="133"/>
                    </a:cubicBezTo>
                    <a:cubicBezTo>
                      <a:pt x="123" y="133"/>
                      <a:pt x="118" y="138"/>
                      <a:pt x="116" y="135"/>
                    </a:cubicBezTo>
                    <a:cubicBezTo>
                      <a:pt x="115" y="132"/>
                      <a:pt x="115" y="127"/>
                      <a:pt x="112" y="127"/>
                    </a:cubicBezTo>
                    <a:cubicBezTo>
                      <a:pt x="109" y="128"/>
                      <a:pt x="96" y="136"/>
                      <a:pt x="96" y="136"/>
                    </a:cubicBezTo>
                    <a:cubicBezTo>
                      <a:pt x="96" y="136"/>
                      <a:pt x="90" y="122"/>
                      <a:pt x="88" y="120"/>
                    </a:cubicBezTo>
                    <a:cubicBezTo>
                      <a:pt x="86" y="117"/>
                      <a:pt x="81" y="109"/>
                      <a:pt x="81" y="109"/>
                    </a:cubicBezTo>
                    <a:cubicBezTo>
                      <a:pt x="63" y="108"/>
                      <a:pt x="63" y="108"/>
                      <a:pt x="63" y="108"/>
                    </a:cubicBezTo>
                    <a:cubicBezTo>
                      <a:pt x="60" y="117"/>
                      <a:pt x="60" y="117"/>
                      <a:pt x="60" y="117"/>
                    </a:cubicBezTo>
                    <a:cubicBezTo>
                      <a:pt x="50" y="114"/>
                      <a:pt x="50" y="114"/>
                      <a:pt x="50" y="114"/>
                    </a:cubicBezTo>
                    <a:cubicBezTo>
                      <a:pt x="50" y="114"/>
                      <a:pt x="50" y="117"/>
                      <a:pt x="49" y="117"/>
                    </a:cubicBezTo>
                    <a:cubicBezTo>
                      <a:pt x="47" y="117"/>
                      <a:pt x="40" y="116"/>
                      <a:pt x="40" y="116"/>
                    </a:cubicBezTo>
                    <a:cubicBezTo>
                      <a:pt x="40" y="111"/>
                      <a:pt x="40" y="111"/>
                      <a:pt x="40" y="111"/>
                    </a:cubicBezTo>
                    <a:cubicBezTo>
                      <a:pt x="40" y="111"/>
                      <a:pt x="32" y="110"/>
                      <a:pt x="21" y="114"/>
                    </a:cubicBezTo>
                    <a:cubicBezTo>
                      <a:pt x="10" y="116"/>
                      <a:pt x="5" y="120"/>
                      <a:pt x="5" y="120"/>
                    </a:cubicBezTo>
                    <a:cubicBezTo>
                      <a:pt x="5" y="120"/>
                      <a:pt x="3" y="128"/>
                      <a:pt x="4" y="130"/>
                    </a:cubicBezTo>
                    <a:cubicBezTo>
                      <a:pt x="5" y="132"/>
                      <a:pt x="17" y="130"/>
                      <a:pt x="17" y="130"/>
                    </a:cubicBezTo>
                    <a:cubicBezTo>
                      <a:pt x="19" y="134"/>
                      <a:pt x="19" y="134"/>
                      <a:pt x="19" y="134"/>
                    </a:cubicBezTo>
                    <a:cubicBezTo>
                      <a:pt x="27" y="137"/>
                      <a:pt x="27" y="137"/>
                      <a:pt x="27" y="137"/>
                    </a:cubicBezTo>
                    <a:cubicBezTo>
                      <a:pt x="25" y="140"/>
                      <a:pt x="25" y="140"/>
                      <a:pt x="25" y="140"/>
                    </a:cubicBezTo>
                    <a:cubicBezTo>
                      <a:pt x="11" y="135"/>
                      <a:pt x="11" y="135"/>
                      <a:pt x="11" y="135"/>
                    </a:cubicBezTo>
                    <a:cubicBezTo>
                      <a:pt x="8" y="138"/>
                      <a:pt x="8" y="138"/>
                      <a:pt x="8" y="138"/>
                    </a:cubicBezTo>
                    <a:cubicBezTo>
                      <a:pt x="11" y="139"/>
                      <a:pt x="11" y="139"/>
                      <a:pt x="11" y="139"/>
                    </a:cubicBezTo>
                    <a:cubicBezTo>
                      <a:pt x="10" y="142"/>
                      <a:pt x="10" y="142"/>
                      <a:pt x="10" y="142"/>
                    </a:cubicBezTo>
                    <a:cubicBezTo>
                      <a:pt x="10" y="142"/>
                      <a:pt x="16" y="140"/>
                      <a:pt x="19" y="142"/>
                    </a:cubicBezTo>
                    <a:cubicBezTo>
                      <a:pt x="21" y="146"/>
                      <a:pt x="24" y="149"/>
                      <a:pt x="20" y="149"/>
                    </a:cubicBezTo>
                    <a:cubicBezTo>
                      <a:pt x="0" y="149"/>
                      <a:pt x="0" y="149"/>
                      <a:pt x="0" y="149"/>
                    </a:cubicBezTo>
                    <a:cubicBezTo>
                      <a:pt x="1" y="153"/>
                      <a:pt x="1" y="153"/>
                      <a:pt x="1" y="153"/>
                    </a:cubicBezTo>
                    <a:cubicBezTo>
                      <a:pt x="1" y="153"/>
                      <a:pt x="12" y="152"/>
                      <a:pt x="13" y="157"/>
                    </a:cubicBezTo>
                    <a:cubicBezTo>
                      <a:pt x="15" y="164"/>
                      <a:pt x="15" y="168"/>
                      <a:pt x="15" y="168"/>
                    </a:cubicBezTo>
                    <a:cubicBezTo>
                      <a:pt x="20" y="170"/>
                      <a:pt x="20" y="170"/>
                      <a:pt x="20" y="170"/>
                    </a:cubicBezTo>
                    <a:cubicBezTo>
                      <a:pt x="20" y="170"/>
                      <a:pt x="25" y="157"/>
                      <a:pt x="27" y="160"/>
                    </a:cubicBezTo>
                    <a:cubicBezTo>
                      <a:pt x="28" y="165"/>
                      <a:pt x="27" y="167"/>
                      <a:pt x="27" y="167"/>
                    </a:cubicBezTo>
                    <a:cubicBezTo>
                      <a:pt x="35" y="169"/>
                      <a:pt x="35" y="169"/>
                      <a:pt x="35" y="169"/>
                    </a:cubicBezTo>
                    <a:cubicBezTo>
                      <a:pt x="35" y="174"/>
                      <a:pt x="35" y="174"/>
                      <a:pt x="35" y="174"/>
                    </a:cubicBezTo>
                    <a:cubicBezTo>
                      <a:pt x="54" y="184"/>
                      <a:pt x="54" y="184"/>
                      <a:pt x="54" y="184"/>
                    </a:cubicBezTo>
                    <a:cubicBezTo>
                      <a:pt x="60" y="181"/>
                      <a:pt x="60" y="181"/>
                      <a:pt x="60" y="181"/>
                    </a:cubicBezTo>
                    <a:cubicBezTo>
                      <a:pt x="57" y="184"/>
                      <a:pt x="57" y="184"/>
                      <a:pt x="57" y="184"/>
                    </a:cubicBezTo>
                    <a:cubicBezTo>
                      <a:pt x="60" y="187"/>
                      <a:pt x="60" y="187"/>
                      <a:pt x="60" y="187"/>
                    </a:cubicBezTo>
                    <a:cubicBezTo>
                      <a:pt x="60" y="187"/>
                      <a:pt x="66" y="180"/>
                      <a:pt x="66" y="181"/>
                    </a:cubicBezTo>
                    <a:cubicBezTo>
                      <a:pt x="65" y="182"/>
                      <a:pt x="68" y="183"/>
                      <a:pt x="67" y="183"/>
                    </a:cubicBezTo>
                    <a:cubicBezTo>
                      <a:pt x="66" y="184"/>
                      <a:pt x="62" y="188"/>
                      <a:pt x="62" y="188"/>
                    </a:cubicBezTo>
                    <a:cubicBezTo>
                      <a:pt x="62" y="188"/>
                      <a:pt x="62" y="193"/>
                      <a:pt x="64" y="193"/>
                    </a:cubicBezTo>
                    <a:cubicBezTo>
                      <a:pt x="67" y="193"/>
                      <a:pt x="71" y="194"/>
                      <a:pt x="71" y="194"/>
                    </a:cubicBezTo>
                    <a:cubicBezTo>
                      <a:pt x="72" y="189"/>
                      <a:pt x="72" y="189"/>
                      <a:pt x="72" y="189"/>
                    </a:cubicBezTo>
                    <a:cubicBezTo>
                      <a:pt x="73" y="194"/>
                      <a:pt x="73" y="194"/>
                      <a:pt x="73" y="194"/>
                    </a:cubicBezTo>
                    <a:cubicBezTo>
                      <a:pt x="73" y="194"/>
                      <a:pt x="78" y="189"/>
                      <a:pt x="81" y="193"/>
                    </a:cubicBezTo>
                    <a:cubicBezTo>
                      <a:pt x="83" y="195"/>
                      <a:pt x="74" y="197"/>
                      <a:pt x="74" y="197"/>
                    </a:cubicBezTo>
                    <a:cubicBezTo>
                      <a:pt x="74" y="200"/>
                      <a:pt x="74" y="200"/>
                      <a:pt x="74" y="200"/>
                    </a:cubicBezTo>
                    <a:cubicBezTo>
                      <a:pt x="92" y="201"/>
                      <a:pt x="92" y="201"/>
                      <a:pt x="92" y="201"/>
                    </a:cubicBezTo>
                    <a:cubicBezTo>
                      <a:pt x="92" y="201"/>
                      <a:pt x="83" y="213"/>
                      <a:pt x="86" y="216"/>
                    </a:cubicBezTo>
                    <a:cubicBezTo>
                      <a:pt x="88" y="219"/>
                      <a:pt x="97" y="220"/>
                      <a:pt x="97" y="220"/>
                    </a:cubicBezTo>
                    <a:cubicBezTo>
                      <a:pt x="97" y="220"/>
                      <a:pt x="104" y="216"/>
                      <a:pt x="110" y="218"/>
                    </a:cubicBezTo>
                    <a:cubicBezTo>
                      <a:pt x="114" y="219"/>
                      <a:pt x="118" y="225"/>
                      <a:pt x="118" y="225"/>
                    </a:cubicBezTo>
                    <a:cubicBezTo>
                      <a:pt x="118" y="225"/>
                      <a:pt x="111" y="220"/>
                      <a:pt x="106" y="220"/>
                    </a:cubicBezTo>
                    <a:cubicBezTo>
                      <a:pt x="103" y="221"/>
                      <a:pt x="100" y="222"/>
                      <a:pt x="100" y="222"/>
                    </a:cubicBezTo>
                    <a:cubicBezTo>
                      <a:pt x="102" y="225"/>
                      <a:pt x="102" y="225"/>
                      <a:pt x="102" y="225"/>
                    </a:cubicBezTo>
                    <a:cubicBezTo>
                      <a:pt x="97" y="226"/>
                      <a:pt x="97" y="226"/>
                      <a:pt x="97" y="226"/>
                    </a:cubicBezTo>
                    <a:cubicBezTo>
                      <a:pt x="98" y="230"/>
                      <a:pt x="98" y="230"/>
                      <a:pt x="98" y="230"/>
                    </a:cubicBezTo>
                    <a:cubicBezTo>
                      <a:pt x="98" y="230"/>
                      <a:pt x="110" y="234"/>
                      <a:pt x="106" y="237"/>
                    </a:cubicBezTo>
                    <a:cubicBezTo>
                      <a:pt x="102" y="241"/>
                      <a:pt x="97" y="246"/>
                      <a:pt x="97" y="246"/>
                    </a:cubicBezTo>
                    <a:cubicBezTo>
                      <a:pt x="97" y="251"/>
                      <a:pt x="97" y="251"/>
                      <a:pt x="97" y="251"/>
                    </a:cubicBezTo>
                    <a:cubicBezTo>
                      <a:pt x="97" y="251"/>
                      <a:pt x="108" y="261"/>
                      <a:pt x="108" y="266"/>
                    </a:cubicBezTo>
                    <a:cubicBezTo>
                      <a:pt x="109" y="270"/>
                      <a:pt x="109" y="273"/>
                      <a:pt x="109" y="273"/>
                    </a:cubicBezTo>
                    <a:cubicBezTo>
                      <a:pt x="122" y="284"/>
                      <a:pt x="122" y="284"/>
                      <a:pt x="122" y="284"/>
                    </a:cubicBezTo>
                    <a:cubicBezTo>
                      <a:pt x="134" y="291"/>
                      <a:pt x="134" y="291"/>
                      <a:pt x="134" y="291"/>
                    </a:cubicBezTo>
                    <a:cubicBezTo>
                      <a:pt x="138" y="288"/>
                      <a:pt x="138" y="288"/>
                      <a:pt x="138" y="288"/>
                    </a:cubicBezTo>
                    <a:cubicBezTo>
                      <a:pt x="138" y="288"/>
                      <a:pt x="142" y="290"/>
                      <a:pt x="141" y="290"/>
                    </a:cubicBezTo>
                    <a:cubicBezTo>
                      <a:pt x="139" y="290"/>
                      <a:pt x="135" y="292"/>
                      <a:pt x="134" y="295"/>
                    </a:cubicBezTo>
                    <a:cubicBezTo>
                      <a:pt x="133" y="297"/>
                      <a:pt x="138" y="306"/>
                      <a:pt x="138" y="306"/>
                    </a:cubicBezTo>
                    <a:cubicBezTo>
                      <a:pt x="138" y="306"/>
                      <a:pt x="141" y="314"/>
                      <a:pt x="135" y="317"/>
                    </a:cubicBezTo>
                    <a:cubicBezTo>
                      <a:pt x="131" y="320"/>
                      <a:pt x="126" y="323"/>
                      <a:pt x="126" y="323"/>
                    </a:cubicBezTo>
                    <a:cubicBezTo>
                      <a:pt x="126" y="328"/>
                      <a:pt x="126" y="328"/>
                      <a:pt x="126" y="328"/>
                    </a:cubicBezTo>
                    <a:cubicBezTo>
                      <a:pt x="126" y="328"/>
                      <a:pt x="135" y="331"/>
                      <a:pt x="139" y="339"/>
                    </a:cubicBezTo>
                    <a:cubicBezTo>
                      <a:pt x="144" y="346"/>
                      <a:pt x="148" y="356"/>
                      <a:pt x="148" y="356"/>
                    </a:cubicBezTo>
                    <a:cubicBezTo>
                      <a:pt x="151" y="375"/>
                      <a:pt x="151" y="375"/>
                      <a:pt x="151" y="375"/>
                    </a:cubicBezTo>
                    <a:cubicBezTo>
                      <a:pt x="150" y="376"/>
                      <a:pt x="150" y="376"/>
                      <a:pt x="150" y="376"/>
                    </a:cubicBezTo>
                    <a:cubicBezTo>
                      <a:pt x="147" y="372"/>
                      <a:pt x="147" y="372"/>
                      <a:pt x="147" y="372"/>
                    </a:cubicBezTo>
                    <a:cubicBezTo>
                      <a:pt x="145" y="357"/>
                      <a:pt x="145" y="357"/>
                      <a:pt x="145" y="357"/>
                    </a:cubicBezTo>
                    <a:cubicBezTo>
                      <a:pt x="135" y="344"/>
                      <a:pt x="135" y="344"/>
                      <a:pt x="135" y="344"/>
                    </a:cubicBezTo>
                    <a:cubicBezTo>
                      <a:pt x="134" y="338"/>
                      <a:pt x="134" y="338"/>
                      <a:pt x="134" y="338"/>
                    </a:cubicBezTo>
                    <a:cubicBezTo>
                      <a:pt x="129" y="338"/>
                      <a:pt x="129" y="338"/>
                      <a:pt x="129" y="338"/>
                    </a:cubicBezTo>
                    <a:cubicBezTo>
                      <a:pt x="129" y="338"/>
                      <a:pt x="127" y="349"/>
                      <a:pt x="127" y="352"/>
                    </a:cubicBezTo>
                    <a:cubicBezTo>
                      <a:pt x="127" y="354"/>
                      <a:pt x="116" y="395"/>
                      <a:pt x="116" y="395"/>
                    </a:cubicBezTo>
                    <a:cubicBezTo>
                      <a:pt x="116" y="395"/>
                      <a:pt x="121" y="387"/>
                      <a:pt x="123" y="388"/>
                    </a:cubicBezTo>
                    <a:cubicBezTo>
                      <a:pt x="126" y="389"/>
                      <a:pt x="128" y="394"/>
                      <a:pt x="128" y="394"/>
                    </a:cubicBezTo>
                    <a:cubicBezTo>
                      <a:pt x="122" y="394"/>
                      <a:pt x="122" y="394"/>
                      <a:pt x="122" y="394"/>
                    </a:cubicBezTo>
                    <a:cubicBezTo>
                      <a:pt x="122" y="394"/>
                      <a:pt x="115" y="400"/>
                      <a:pt x="113" y="406"/>
                    </a:cubicBezTo>
                    <a:cubicBezTo>
                      <a:pt x="112" y="411"/>
                      <a:pt x="105" y="437"/>
                      <a:pt x="103" y="438"/>
                    </a:cubicBezTo>
                    <a:cubicBezTo>
                      <a:pt x="102" y="439"/>
                      <a:pt x="96" y="461"/>
                      <a:pt x="96" y="461"/>
                    </a:cubicBezTo>
                    <a:cubicBezTo>
                      <a:pt x="85" y="472"/>
                      <a:pt x="85" y="472"/>
                      <a:pt x="85" y="472"/>
                    </a:cubicBezTo>
                    <a:cubicBezTo>
                      <a:pt x="85" y="472"/>
                      <a:pt x="78" y="473"/>
                      <a:pt x="77" y="474"/>
                    </a:cubicBezTo>
                    <a:cubicBezTo>
                      <a:pt x="76" y="474"/>
                      <a:pt x="79" y="479"/>
                      <a:pt x="79" y="479"/>
                    </a:cubicBezTo>
                    <a:cubicBezTo>
                      <a:pt x="83" y="479"/>
                      <a:pt x="83" y="479"/>
                      <a:pt x="83" y="479"/>
                    </a:cubicBezTo>
                    <a:cubicBezTo>
                      <a:pt x="83" y="479"/>
                      <a:pt x="82" y="482"/>
                      <a:pt x="84" y="483"/>
                    </a:cubicBezTo>
                    <a:cubicBezTo>
                      <a:pt x="86" y="484"/>
                      <a:pt x="89" y="482"/>
                      <a:pt x="89" y="482"/>
                    </a:cubicBezTo>
                    <a:cubicBezTo>
                      <a:pt x="95" y="484"/>
                      <a:pt x="95" y="484"/>
                      <a:pt x="95" y="484"/>
                    </a:cubicBezTo>
                    <a:cubicBezTo>
                      <a:pt x="95" y="484"/>
                      <a:pt x="96" y="493"/>
                      <a:pt x="93" y="493"/>
                    </a:cubicBezTo>
                    <a:cubicBezTo>
                      <a:pt x="89" y="494"/>
                      <a:pt x="86" y="495"/>
                      <a:pt x="88" y="497"/>
                    </a:cubicBezTo>
                    <a:cubicBezTo>
                      <a:pt x="90" y="500"/>
                      <a:pt x="94" y="501"/>
                      <a:pt x="94" y="501"/>
                    </a:cubicBezTo>
                    <a:cubicBezTo>
                      <a:pt x="99" y="495"/>
                      <a:pt x="99" y="495"/>
                      <a:pt x="99" y="495"/>
                    </a:cubicBezTo>
                    <a:cubicBezTo>
                      <a:pt x="99" y="499"/>
                      <a:pt x="99" y="499"/>
                      <a:pt x="99" y="499"/>
                    </a:cubicBezTo>
                    <a:cubicBezTo>
                      <a:pt x="116" y="510"/>
                      <a:pt x="116" y="510"/>
                      <a:pt x="116" y="510"/>
                    </a:cubicBezTo>
                    <a:cubicBezTo>
                      <a:pt x="125" y="508"/>
                      <a:pt x="125" y="508"/>
                      <a:pt x="125" y="508"/>
                    </a:cubicBezTo>
                    <a:cubicBezTo>
                      <a:pt x="127" y="509"/>
                      <a:pt x="127" y="509"/>
                      <a:pt x="127" y="509"/>
                    </a:cubicBezTo>
                    <a:cubicBezTo>
                      <a:pt x="125" y="515"/>
                      <a:pt x="125" y="515"/>
                      <a:pt x="125" y="515"/>
                    </a:cubicBezTo>
                    <a:cubicBezTo>
                      <a:pt x="131" y="524"/>
                      <a:pt x="131" y="524"/>
                      <a:pt x="131" y="524"/>
                    </a:cubicBezTo>
                    <a:cubicBezTo>
                      <a:pt x="135" y="520"/>
                      <a:pt x="135" y="520"/>
                      <a:pt x="135" y="520"/>
                    </a:cubicBezTo>
                    <a:cubicBezTo>
                      <a:pt x="136" y="521"/>
                      <a:pt x="136" y="521"/>
                      <a:pt x="136" y="521"/>
                    </a:cubicBezTo>
                    <a:cubicBezTo>
                      <a:pt x="144" y="520"/>
                      <a:pt x="144" y="520"/>
                      <a:pt x="144" y="520"/>
                    </a:cubicBezTo>
                    <a:cubicBezTo>
                      <a:pt x="154" y="532"/>
                      <a:pt x="154" y="532"/>
                      <a:pt x="154" y="532"/>
                    </a:cubicBezTo>
                    <a:cubicBezTo>
                      <a:pt x="154" y="532"/>
                      <a:pt x="165" y="528"/>
                      <a:pt x="167" y="530"/>
                    </a:cubicBezTo>
                    <a:cubicBezTo>
                      <a:pt x="170" y="532"/>
                      <a:pt x="170" y="535"/>
                      <a:pt x="171" y="535"/>
                    </a:cubicBezTo>
                    <a:cubicBezTo>
                      <a:pt x="174" y="535"/>
                      <a:pt x="175" y="531"/>
                      <a:pt x="175" y="531"/>
                    </a:cubicBezTo>
                    <a:cubicBezTo>
                      <a:pt x="175" y="531"/>
                      <a:pt x="181" y="540"/>
                      <a:pt x="186" y="536"/>
                    </a:cubicBezTo>
                    <a:cubicBezTo>
                      <a:pt x="191" y="534"/>
                      <a:pt x="185" y="527"/>
                      <a:pt x="191" y="527"/>
                    </a:cubicBezTo>
                    <a:cubicBezTo>
                      <a:pt x="196" y="527"/>
                      <a:pt x="200" y="531"/>
                      <a:pt x="200" y="531"/>
                    </a:cubicBezTo>
                    <a:cubicBezTo>
                      <a:pt x="200" y="531"/>
                      <a:pt x="205" y="530"/>
                      <a:pt x="207" y="532"/>
                    </a:cubicBezTo>
                    <a:cubicBezTo>
                      <a:pt x="208" y="533"/>
                      <a:pt x="213" y="540"/>
                      <a:pt x="213" y="540"/>
                    </a:cubicBezTo>
                    <a:cubicBezTo>
                      <a:pt x="213" y="540"/>
                      <a:pt x="220" y="537"/>
                      <a:pt x="223" y="538"/>
                    </a:cubicBezTo>
                    <a:cubicBezTo>
                      <a:pt x="226" y="541"/>
                      <a:pt x="227" y="545"/>
                      <a:pt x="227" y="545"/>
                    </a:cubicBezTo>
                    <a:cubicBezTo>
                      <a:pt x="231" y="543"/>
                      <a:pt x="231" y="543"/>
                      <a:pt x="231" y="543"/>
                    </a:cubicBezTo>
                    <a:cubicBezTo>
                      <a:pt x="235" y="546"/>
                      <a:pt x="235" y="546"/>
                      <a:pt x="235" y="546"/>
                    </a:cubicBezTo>
                    <a:cubicBezTo>
                      <a:pt x="237" y="545"/>
                      <a:pt x="237" y="545"/>
                      <a:pt x="237" y="545"/>
                    </a:cubicBezTo>
                    <a:cubicBezTo>
                      <a:pt x="242" y="548"/>
                      <a:pt x="242" y="548"/>
                      <a:pt x="242" y="548"/>
                    </a:cubicBezTo>
                    <a:cubicBezTo>
                      <a:pt x="238" y="554"/>
                      <a:pt x="238" y="554"/>
                      <a:pt x="238" y="554"/>
                    </a:cubicBezTo>
                    <a:cubicBezTo>
                      <a:pt x="245" y="559"/>
                      <a:pt x="245" y="559"/>
                      <a:pt x="245" y="559"/>
                    </a:cubicBezTo>
                    <a:cubicBezTo>
                      <a:pt x="245" y="559"/>
                      <a:pt x="251" y="554"/>
                      <a:pt x="251" y="556"/>
                    </a:cubicBezTo>
                    <a:cubicBezTo>
                      <a:pt x="251" y="557"/>
                      <a:pt x="249" y="563"/>
                      <a:pt x="249" y="563"/>
                    </a:cubicBezTo>
                    <a:cubicBezTo>
                      <a:pt x="249" y="563"/>
                      <a:pt x="250" y="567"/>
                      <a:pt x="254" y="567"/>
                    </a:cubicBezTo>
                    <a:cubicBezTo>
                      <a:pt x="259" y="567"/>
                      <a:pt x="266" y="560"/>
                      <a:pt x="270" y="564"/>
                    </a:cubicBezTo>
                    <a:cubicBezTo>
                      <a:pt x="274" y="568"/>
                      <a:pt x="277" y="571"/>
                      <a:pt x="277" y="571"/>
                    </a:cubicBezTo>
                    <a:cubicBezTo>
                      <a:pt x="282" y="571"/>
                      <a:pt x="282" y="571"/>
                      <a:pt x="282" y="571"/>
                    </a:cubicBezTo>
                    <a:cubicBezTo>
                      <a:pt x="284" y="571"/>
                      <a:pt x="287" y="561"/>
                      <a:pt x="295" y="562"/>
                    </a:cubicBezTo>
                    <a:cubicBezTo>
                      <a:pt x="301" y="564"/>
                      <a:pt x="302" y="567"/>
                      <a:pt x="302" y="567"/>
                    </a:cubicBezTo>
                    <a:cubicBezTo>
                      <a:pt x="309" y="567"/>
                      <a:pt x="309" y="567"/>
                      <a:pt x="309" y="567"/>
                    </a:cubicBezTo>
                    <a:cubicBezTo>
                      <a:pt x="309" y="567"/>
                      <a:pt x="308" y="562"/>
                      <a:pt x="307" y="561"/>
                    </a:cubicBezTo>
                    <a:cubicBezTo>
                      <a:pt x="305" y="560"/>
                      <a:pt x="305" y="552"/>
                      <a:pt x="306" y="549"/>
                    </a:cubicBezTo>
                    <a:cubicBezTo>
                      <a:pt x="307" y="546"/>
                      <a:pt x="306" y="541"/>
                      <a:pt x="306" y="541"/>
                    </a:cubicBezTo>
                    <a:cubicBezTo>
                      <a:pt x="301" y="542"/>
                      <a:pt x="301" y="542"/>
                      <a:pt x="301" y="542"/>
                    </a:cubicBezTo>
                    <a:cubicBezTo>
                      <a:pt x="301" y="542"/>
                      <a:pt x="301" y="537"/>
                      <a:pt x="303" y="536"/>
                    </a:cubicBezTo>
                    <a:cubicBezTo>
                      <a:pt x="306" y="536"/>
                      <a:pt x="307" y="531"/>
                      <a:pt x="307" y="530"/>
                    </a:cubicBezTo>
                    <a:cubicBezTo>
                      <a:pt x="307" y="529"/>
                      <a:pt x="301" y="526"/>
                      <a:pt x="303" y="525"/>
                    </a:cubicBezTo>
                    <a:cubicBezTo>
                      <a:pt x="306" y="522"/>
                      <a:pt x="307" y="525"/>
                      <a:pt x="307" y="525"/>
                    </a:cubicBezTo>
                    <a:cubicBezTo>
                      <a:pt x="311" y="525"/>
                      <a:pt x="311" y="525"/>
                      <a:pt x="311" y="525"/>
                    </a:cubicBezTo>
                    <a:cubicBezTo>
                      <a:pt x="311" y="525"/>
                      <a:pt x="312" y="518"/>
                      <a:pt x="318" y="515"/>
                    </a:cubicBezTo>
                    <a:cubicBezTo>
                      <a:pt x="325" y="512"/>
                      <a:pt x="326" y="516"/>
                      <a:pt x="330" y="514"/>
                    </a:cubicBezTo>
                    <a:cubicBezTo>
                      <a:pt x="334" y="512"/>
                      <a:pt x="332" y="506"/>
                      <a:pt x="332" y="506"/>
                    </a:cubicBezTo>
                    <a:cubicBezTo>
                      <a:pt x="332" y="506"/>
                      <a:pt x="339" y="499"/>
                      <a:pt x="339" y="502"/>
                    </a:cubicBezTo>
                    <a:cubicBezTo>
                      <a:pt x="340" y="504"/>
                      <a:pt x="335" y="508"/>
                      <a:pt x="335" y="508"/>
                    </a:cubicBezTo>
                    <a:cubicBezTo>
                      <a:pt x="340" y="509"/>
                      <a:pt x="340" y="509"/>
                      <a:pt x="340" y="509"/>
                    </a:cubicBezTo>
                    <a:cubicBezTo>
                      <a:pt x="343" y="505"/>
                      <a:pt x="343" y="505"/>
                      <a:pt x="343" y="505"/>
                    </a:cubicBezTo>
                    <a:cubicBezTo>
                      <a:pt x="343" y="502"/>
                      <a:pt x="343" y="502"/>
                      <a:pt x="343" y="502"/>
                    </a:cubicBezTo>
                    <a:cubicBezTo>
                      <a:pt x="343" y="502"/>
                      <a:pt x="349" y="498"/>
                      <a:pt x="355" y="498"/>
                    </a:cubicBezTo>
                    <a:cubicBezTo>
                      <a:pt x="360" y="498"/>
                      <a:pt x="363" y="503"/>
                      <a:pt x="363" y="503"/>
                    </a:cubicBezTo>
                    <a:cubicBezTo>
                      <a:pt x="363" y="503"/>
                      <a:pt x="382" y="508"/>
                      <a:pt x="382" y="509"/>
                    </a:cubicBezTo>
                    <a:cubicBezTo>
                      <a:pt x="382" y="510"/>
                      <a:pt x="383" y="515"/>
                      <a:pt x="383" y="515"/>
                    </a:cubicBezTo>
                    <a:cubicBezTo>
                      <a:pt x="396" y="516"/>
                      <a:pt x="396" y="516"/>
                      <a:pt x="396" y="516"/>
                    </a:cubicBezTo>
                    <a:cubicBezTo>
                      <a:pt x="396" y="516"/>
                      <a:pt x="396" y="506"/>
                      <a:pt x="397" y="508"/>
                    </a:cubicBezTo>
                    <a:cubicBezTo>
                      <a:pt x="398" y="509"/>
                      <a:pt x="406" y="517"/>
                      <a:pt x="406" y="517"/>
                    </a:cubicBezTo>
                    <a:cubicBezTo>
                      <a:pt x="418" y="516"/>
                      <a:pt x="418" y="516"/>
                      <a:pt x="418" y="516"/>
                    </a:cubicBezTo>
                    <a:cubicBezTo>
                      <a:pt x="418" y="516"/>
                      <a:pt x="422" y="518"/>
                      <a:pt x="422" y="519"/>
                    </a:cubicBezTo>
                    <a:cubicBezTo>
                      <a:pt x="422" y="520"/>
                      <a:pt x="418" y="526"/>
                      <a:pt x="421" y="527"/>
                    </a:cubicBezTo>
                    <a:cubicBezTo>
                      <a:pt x="423" y="528"/>
                      <a:pt x="430" y="528"/>
                      <a:pt x="432" y="529"/>
                    </a:cubicBezTo>
                    <a:cubicBezTo>
                      <a:pt x="433" y="530"/>
                      <a:pt x="438" y="538"/>
                      <a:pt x="441" y="538"/>
                    </a:cubicBezTo>
                    <a:cubicBezTo>
                      <a:pt x="445" y="537"/>
                      <a:pt x="448" y="534"/>
                      <a:pt x="448" y="534"/>
                    </a:cubicBezTo>
                    <a:cubicBezTo>
                      <a:pt x="454" y="536"/>
                      <a:pt x="454" y="536"/>
                      <a:pt x="454" y="536"/>
                    </a:cubicBezTo>
                    <a:cubicBezTo>
                      <a:pt x="456" y="542"/>
                      <a:pt x="456" y="542"/>
                      <a:pt x="456" y="542"/>
                    </a:cubicBezTo>
                    <a:cubicBezTo>
                      <a:pt x="459" y="540"/>
                      <a:pt x="459" y="540"/>
                      <a:pt x="459" y="540"/>
                    </a:cubicBezTo>
                    <a:cubicBezTo>
                      <a:pt x="461" y="534"/>
                      <a:pt x="461" y="534"/>
                      <a:pt x="461" y="534"/>
                    </a:cubicBezTo>
                    <a:cubicBezTo>
                      <a:pt x="467" y="536"/>
                      <a:pt x="467" y="536"/>
                      <a:pt x="467" y="536"/>
                    </a:cubicBezTo>
                    <a:cubicBezTo>
                      <a:pt x="469" y="533"/>
                      <a:pt x="469" y="533"/>
                      <a:pt x="469" y="533"/>
                    </a:cubicBezTo>
                    <a:cubicBezTo>
                      <a:pt x="477" y="532"/>
                      <a:pt x="477" y="532"/>
                      <a:pt x="477" y="532"/>
                    </a:cubicBezTo>
                    <a:cubicBezTo>
                      <a:pt x="482" y="533"/>
                      <a:pt x="482" y="533"/>
                      <a:pt x="482" y="533"/>
                    </a:cubicBezTo>
                    <a:cubicBezTo>
                      <a:pt x="482" y="529"/>
                      <a:pt x="482" y="529"/>
                      <a:pt x="482" y="529"/>
                    </a:cubicBezTo>
                    <a:cubicBezTo>
                      <a:pt x="482" y="529"/>
                      <a:pt x="479" y="520"/>
                      <a:pt x="483" y="519"/>
                    </a:cubicBezTo>
                    <a:cubicBezTo>
                      <a:pt x="488" y="517"/>
                      <a:pt x="491" y="519"/>
                      <a:pt x="493" y="518"/>
                    </a:cubicBezTo>
                    <a:cubicBezTo>
                      <a:pt x="495" y="517"/>
                      <a:pt x="493" y="508"/>
                      <a:pt x="497" y="509"/>
                    </a:cubicBezTo>
                    <a:cubicBezTo>
                      <a:pt x="500" y="509"/>
                      <a:pt x="505" y="513"/>
                      <a:pt x="507" y="509"/>
                    </a:cubicBezTo>
                    <a:cubicBezTo>
                      <a:pt x="509" y="504"/>
                      <a:pt x="503" y="501"/>
                      <a:pt x="512" y="501"/>
                    </a:cubicBezTo>
                    <a:cubicBezTo>
                      <a:pt x="521" y="501"/>
                      <a:pt x="520" y="499"/>
                      <a:pt x="520" y="499"/>
                    </a:cubicBezTo>
                    <a:cubicBezTo>
                      <a:pt x="520" y="499"/>
                      <a:pt x="516" y="495"/>
                      <a:pt x="520" y="495"/>
                    </a:cubicBezTo>
                    <a:cubicBezTo>
                      <a:pt x="522" y="494"/>
                      <a:pt x="525" y="497"/>
                      <a:pt x="525" y="497"/>
                    </a:cubicBezTo>
                    <a:cubicBezTo>
                      <a:pt x="528" y="496"/>
                      <a:pt x="528" y="496"/>
                      <a:pt x="528" y="496"/>
                    </a:cubicBezTo>
                    <a:cubicBezTo>
                      <a:pt x="524" y="487"/>
                      <a:pt x="524" y="487"/>
                      <a:pt x="524" y="487"/>
                    </a:cubicBezTo>
                    <a:cubicBezTo>
                      <a:pt x="524" y="487"/>
                      <a:pt x="531" y="486"/>
                      <a:pt x="535" y="478"/>
                    </a:cubicBezTo>
                    <a:cubicBezTo>
                      <a:pt x="537" y="470"/>
                      <a:pt x="535" y="468"/>
                      <a:pt x="534" y="468"/>
                    </a:cubicBezTo>
                    <a:cubicBezTo>
                      <a:pt x="531" y="468"/>
                      <a:pt x="523" y="472"/>
                      <a:pt x="518" y="470"/>
                    </a:cubicBezTo>
                    <a:cubicBezTo>
                      <a:pt x="511" y="468"/>
                      <a:pt x="506" y="465"/>
                      <a:pt x="502" y="456"/>
                    </a:cubicBezTo>
                    <a:cubicBezTo>
                      <a:pt x="496" y="448"/>
                      <a:pt x="499" y="439"/>
                      <a:pt x="502" y="437"/>
                    </a:cubicBezTo>
                    <a:cubicBezTo>
                      <a:pt x="505" y="436"/>
                      <a:pt x="506" y="433"/>
                      <a:pt x="506" y="433"/>
                    </a:cubicBezTo>
                    <a:cubicBezTo>
                      <a:pt x="505" y="421"/>
                      <a:pt x="505" y="421"/>
                      <a:pt x="505" y="421"/>
                    </a:cubicBezTo>
                    <a:cubicBezTo>
                      <a:pt x="505" y="421"/>
                      <a:pt x="498" y="425"/>
                      <a:pt x="496" y="419"/>
                    </a:cubicBezTo>
                    <a:cubicBezTo>
                      <a:pt x="493" y="411"/>
                      <a:pt x="493" y="410"/>
                      <a:pt x="493" y="410"/>
                    </a:cubicBezTo>
                    <a:cubicBezTo>
                      <a:pt x="493" y="410"/>
                      <a:pt x="488" y="416"/>
                      <a:pt x="489" y="409"/>
                    </a:cubicBezTo>
                    <a:cubicBezTo>
                      <a:pt x="489" y="404"/>
                      <a:pt x="494" y="403"/>
                      <a:pt x="494" y="403"/>
                    </a:cubicBezTo>
                    <a:cubicBezTo>
                      <a:pt x="498" y="404"/>
                      <a:pt x="498" y="404"/>
                      <a:pt x="498" y="404"/>
                    </a:cubicBezTo>
                    <a:cubicBezTo>
                      <a:pt x="498" y="404"/>
                      <a:pt x="511" y="401"/>
                      <a:pt x="512" y="394"/>
                    </a:cubicBezTo>
                    <a:cubicBezTo>
                      <a:pt x="514" y="387"/>
                      <a:pt x="514" y="386"/>
                      <a:pt x="512" y="384"/>
                    </a:cubicBezTo>
                    <a:cubicBezTo>
                      <a:pt x="509" y="382"/>
                      <a:pt x="507" y="384"/>
                      <a:pt x="507" y="382"/>
                    </a:cubicBezTo>
                    <a:cubicBezTo>
                      <a:pt x="507" y="370"/>
                      <a:pt x="507" y="370"/>
                      <a:pt x="507" y="370"/>
                    </a:cubicBezTo>
                    <a:cubicBezTo>
                      <a:pt x="507" y="370"/>
                      <a:pt x="496" y="369"/>
                      <a:pt x="499" y="362"/>
                    </a:cubicBezTo>
                    <a:cubicBezTo>
                      <a:pt x="503" y="356"/>
                      <a:pt x="511" y="359"/>
                      <a:pt x="511" y="353"/>
                    </a:cubicBezTo>
                    <a:cubicBezTo>
                      <a:pt x="511" y="345"/>
                      <a:pt x="505" y="343"/>
                      <a:pt x="505" y="343"/>
                    </a:cubicBezTo>
                    <a:cubicBezTo>
                      <a:pt x="504" y="340"/>
                      <a:pt x="504" y="340"/>
                      <a:pt x="504" y="340"/>
                    </a:cubicBezTo>
                    <a:cubicBezTo>
                      <a:pt x="500" y="340"/>
                      <a:pt x="500" y="340"/>
                      <a:pt x="500" y="340"/>
                    </a:cubicBezTo>
                    <a:cubicBezTo>
                      <a:pt x="500" y="340"/>
                      <a:pt x="503" y="336"/>
                      <a:pt x="504" y="331"/>
                    </a:cubicBezTo>
                    <a:cubicBezTo>
                      <a:pt x="505" y="327"/>
                      <a:pt x="502" y="325"/>
                      <a:pt x="502" y="325"/>
                    </a:cubicBezTo>
                    <a:cubicBezTo>
                      <a:pt x="503" y="320"/>
                      <a:pt x="503" y="320"/>
                      <a:pt x="503" y="320"/>
                    </a:cubicBezTo>
                    <a:cubicBezTo>
                      <a:pt x="503" y="320"/>
                      <a:pt x="497" y="315"/>
                      <a:pt x="489" y="316"/>
                    </a:cubicBezTo>
                    <a:cubicBezTo>
                      <a:pt x="480" y="317"/>
                      <a:pt x="475" y="323"/>
                      <a:pt x="475" y="326"/>
                    </a:cubicBezTo>
                    <a:cubicBezTo>
                      <a:pt x="475" y="328"/>
                      <a:pt x="477" y="329"/>
                      <a:pt x="477" y="329"/>
                    </a:cubicBezTo>
                    <a:cubicBezTo>
                      <a:pt x="471" y="336"/>
                      <a:pt x="471" y="336"/>
                      <a:pt x="471" y="336"/>
                    </a:cubicBezTo>
                    <a:cubicBezTo>
                      <a:pt x="464" y="336"/>
                      <a:pt x="464" y="336"/>
                      <a:pt x="464" y="336"/>
                    </a:cubicBezTo>
                    <a:cubicBezTo>
                      <a:pt x="463" y="330"/>
                      <a:pt x="463" y="330"/>
                      <a:pt x="463" y="330"/>
                    </a:cubicBezTo>
                    <a:cubicBezTo>
                      <a:pt x="467" y="330"/>
                      <a:pt x="467" y="330"/>
                      <a:pt x="467" y="330"/>
                    </a:cubicBezTo>
                    <a:cubicBezTo>
                      <a:pt x="472" y="323"/>
                      <a:pt x="472" y="323"/>
                      <a:pt x="472" y="323"/>
                    </a:cubicBezTo>
                    <a:cubicBezTo>
                      <a:pt x="472" y="323"/>
                      <a:pt x="465" y="320"/>
                      <a:pt x="470" y="312"/>
                    </a:cubicBezTo>
                    <a:cubicBezTo>
                      <a:pt x="474" y="306"/>
                      <a:pt x="485" y="303"/>
                      <a:pt x="487" y="297"/>
                    </a:cubicBezTo>
                    <a:cubicBezTo>
                      <a:pt x="489" y="291"/>
                      <a:pt x="486" y="285"/>
                      <a:pt x="488" y="284"/>
                    </a:cubicBezTo>
                    <a:cubicBezTo>
                      <a:pt x="491" y="282"/>
                      <a:pt x="495" y="283"/>
                      <a:pt x="498" y="280"/>
                    </a:cubicBezTo>
                    <a:cubicBezTo>
                      <a:pt x="502" y="277"/>
                      <a:pt x="514" y="261"/>
                      <a:pt x="514" y="261"/>
                    </a:cubicBezTo>
                    <a:cubicBezTo>
                      <a:pt x="509" y="260"/>
                      <a:pt x="509" y="260"/>
                      <a:pt x="509" y="260"/>
                    </a:cubicBezTo>
                    <a:cubicBezTo>
                      <a:pt x="509" y="260"/>
                      <a:pt x="511" y="248"/>
                      <a:pt x="515" y="249"/>
                    </a:cubicBezTo>
                    <a:cubicBezTo>
                      <a:pt x="521" y="249"/>
                      <a:pt x="520" y="256"/>
                      <a:pt x="524" y="257"/>
                    </a:cubicBezTo>
                    <a:cubicBezTo>
                      <a:pt x="528" y="257"/>
                      <a:pt x="536" y="252"/>
                      <a:pt x="536" y="252"/>
                    </a:cubicBezTo>
                    <a:cubicBezTo>
                      <a:pt x="536" y="249"/>
                      <a:pt x="536" y="249"/>
                      <a:pt x="536" y="249"/>
                    </a:cubicBezTo>
                    <a:cubicBezTo>
                      <a:pt x="543" y="244"/>
                      <a:pt x="543" y="244"/>
                      <a:pt x="543" y="244"/>
                    </a:cubicBezTo>
                    <a:cubicBezTo>
                      <a:pt x="540" y="237"/>
                      <a:pt x="542" y="228"/>
                      <a:pt x="545" y="221"/>
                    </a:cubicBezTo>
                    <a:cubicBezTo>
                      <a:pt x="546" y="219"/>
                      <a:pt x="546" y="207"/>
                      <a:pt x="548" y="204"/>
                    </a:cubicBezTo>
                    <a:cubicBezTo>
                      <a:pt x="551" y="201"/>
                      <a:pt x="553" y="197"/>
                      <a:pt x="552" y="194"/>
                    </a:cubicBezTo>
                    <a:cubicBezTo>
                      <a:pt x="557" y="179"/>
                      <a:pt x="557" y="179"/>
                      <a:pt x="557" y="179"/>
                    </a:cubicBezTo>
                    <a:cubicBezTo>
                      <a:pt x="562" y="172"/>
                      <a:pt x="562" y="172"/>
                      <a:pt x="562" y="172"/>
                    </a:cubicBezTo>
                    <a:cubicBezTo>
                      <a:pt x="563" y="168"/>
                      <a:pt x="568" y="169"/>
                      <a:pt x="570" y="167"/>
                    </a:cubicBezTo>
                    <a:cubicBezTo>
                      <a:pt x="572" y="164"/>
                      <a:pt x="571" y="158"/>
                      <a:pt x="575" y="156"/>
                    </a:cubicBezTo>
                    <a:close/>
                    <a:moveTo>
                      <a:pt x="621" y="571"/>
                    </a:moveTo>
                    <a:cubicBezTo>
                      <a:pt x="617" y="569"/>
                      <a:pt x="617" y="569"/>
                      <a:pt x="617" y="569"/>
                    </a:cubicBezTo>
                    <a:cubicBezTo>
                      <a:pt x="617" y="569"/>
                      <a:pt x="618" y="561"/>
                      <a:pt x="619" y="558"/>
                    </a:cubicBezTo>
                    <a:cubicBezTo>
                      <a:pt x="620" y="553"/>
                      <a:pt x="618" y="545"/>
                      <a:pt x="618" y="545"/>
                    </a:cubicBezTo>
                    <a:cubicBezTo>
                      <a:pt x="612" y="544"/>
                      <a:pt x="612" y="544"/>
                      <a:pt x="612" y="544"/>
                    </a:cubicBezTo>
                    <a:cubicBezTo>
                      <a:pt x="612" y="544"/>
                      <a:pt x="614" y="565"/>
                      <a:pt x="610" y="565"/>
                    </a:cubicBezTo>
                    <a:cubicBezTo>
                      <a:pt x="606" y="566"/>
                      <a:pt x="606" y="563"/>
                      <a:pt x="601" y="563"/>
                    </a:cubicBezTo>
                    <a:cubicBezTo>
                      <a:pt x="595" y="563"/>
                      <a:pt x="596" y="568"/>
                      <a:pt x="596" y="568"/>
                    </a:cubicBezTo>
                    <a:cubicBezTo>
                      <a:pt x="596" y="568"/>
                      <a:pt x="588" y="569"/>
                      <a:pt x="583" y="572"/>
                    </a:cubicBezTo>
                    <a:cubicBezTo>
                      <a:pt x="577" y="575"/>
                      <a:pt x="578" y="579"/>
                      <a:pt x="578" y="579"/>
                    </a:cubicBezTo>
                    <a:cubicBezTo>
                      <a:pt x="577" y="583"/>
                      <a:pt x="577" y="583"/>
                      <a:pt x="577" y="583"/>
                    </a:cubicBezTo>
                    <a:cubicBezTo>
                      <a:pt x="573" y="585"/>
                      <a:pt x="573" y="585"/>
                      <a:pt x="573" y="585"/>
                    </a:cubicBezTo>
                    <a:cubicBezTo>
                      <a:pt x="573" y="590"/>
                      <a:pt x="573" y="590"/>
                      <a:pt x="573" y="590"/>
                    </a:cubicBezTo>
                    <a:cubicBezTo>
                      <a:pt x="577" y="592"/>
                      <a:pt x="577" y="592"/>
                      <a:pt x="577" y="592"/>
                    </a:cubicBezTo>
                    <a:cubicBezTo>
                      <a:pt x="573" y="596"/>
                      <a:pt x="573" y="596"/>
                      <a:pt x="573" y="596"/>
                    </a:cubicBezTo>
                    <a:cubicBezTo>
                      <a:pt x="574" y="601"/>
                      <a:pt x="574" y="601"/>
                      <a:pt x="574" y="601"/>
                    </a:cubicBezTo>
                    <a:cubicBezTo>
                      <a:pt x="574" y="601"/>
                      <a:pt x="576" y="604"/>
                      <a:pt x="578" y="604"/>
                    </a:cubicBezTo>
                    <a:cubicBezTo>
                      <a:pt x="581" y="605"/>
                      <a:pt x="578" y="609"/>
                      <a:pt x="578" y="609"/>
                    </a:cubicBezTo>
                    <a:cubicBezTo>
                      <a:pt x="574" y="616"/>
                      <a:pt x="574" y="616"/>
                      <a:pt x="574" y="616"/>
                    </a:cubicBezTo>
                    <a:cubicBezTo>
                      <a:pt x="574" y="616"/>
                      <a:pt x="584" y="615"/>
                      <a:pt x="584" y="619"/>
                    </a:cubicBezTo>
                    <a:cubicBezTo>
                      <a:pt x="585" y="622"/>
                      <a:pt x="577" y="627"/>
                      <a:pt x="577" y="627"/>
                    </a:cubicBezTo>
                    <a:cubicBezTo>
                      <a:pt x="577" y="629"/>
                      <a:pt x="577" y="629"/>
                      <a:pt x="577" y="629"/>
                    </a:cubicBezTo>
                    <a:cubicBezTo>
                      <a:pt x="577" y="629"/>
                      <a:pt x="584" y="627"/>
                      <a:pt x="586" y="628"/>
                    </a:cubicBezTo>
                    <a:cubicBezTo>
                      <a:pt x="588" y="630"/>
                      <a:pt x="590" y="632"/>
                      <a:pt x="590" y="632"/>
                    </a:cubicBezTo>
                    <a:cubicBezTo>
                      <a:pt x="583" y="636"/>
                      <a:pt x="583" y="636"/>
                      <a:pt x="583" y="636"/>
                    </a:cubicBezTo>
                    <a:cubicBezTo>
                      <a:pt x="585" y="643"/>
                      <a:pt x="585" y="643"/>
                      <a:pt x="585" y="643"/>
                    </a:cubicBezTo>
                    <a:cubicBezTo>
                      <a:pt x="585" y="643"/>
                      <a:pt x="594" y="646"/>
                      <a:pt x="597" y="646"/>
                    </a:cubicBezTo>
                    <a:cubicBezTo>
                      <a:pt x="601" y="647"/>
                      <a:pt x="598" y="652"/>
                      <a:pt x="598" y="652"/>
                    </a:cubicBezTo>
                    <a:cubicBezTo>
                      <a:pt x="603" y="651"/>
                      <a:pt x="603" y="651"/>
                      <a:pt x="603" y="651"/>
                    </a:cubicBezTo>
                    <a:cubicBezTo>
                      <a:pt x="603" y="651"/>
                      <a:pt x="609" y="636"/>
                      <a:pt x="611" y="631"/>
                    </a:cubicBezTo>
                    <a:cubicBezTo>
                      <a:pt x="612" y="626"/>
                      <a:pt x="614" y="615"/>
                      <a:pt x="614" y="614"/>
                    </a:cubicBezTo>
                    <a:cubicBezTo>
                      <a:pt x="614" y="612"/>
                      <a:pt x="622" y="607"/>
                      <a:pt x="624" y="600"/>
                    </a:cubicBezTo>
                    <a:cubicBezTo>
                      <a:pt x="626" y="595"/>
                      <a:pt x="621" y="571"/>
                      <a:pt x="621" y="571"/>
                    </a:cubicBezTo>
                    <a:close/>
                    <a:moveTo>
                      <a:pt x="56" y="207"/>
                    </a:moveTo>
                    <a:cubicBezTo>
                      <a:pt x="56" y="212"/>
                      <a:pt x="56" y="212"/>
                      <a:pt x="56" y="212"/>
                    </a:cubicBezTo>
                    <a:cubicBezTo>
                      <a:pt x="61" y="215"/>
                      <a:pt x="64" y="213"/>
                      <a:pt x="64" y="213"/>
                    </a:cubicBezTo>
                    <a:cubicBezTo>
                      <a:pt x="57" y="204"/>
                      <a:pt x="57" y="204"/>
                      <a:pt x="57" y="204"/>
                    </a:cubicBezTo>
                    <a:lnTo>
                      <a:pt x="56" y="207"/>
                    </a:lnTo>
                    <a:close/>
                    <a:moveTo>
                      <a:pt x="126" y="100"/>
                    </a:moveTo>
                    <a:cubicBezTo>
                      <a:pt x="130" y="103"/>
                      <a:pt x="135" y="100"/>
                      <a:pt x="129" y="94"/>
                    </a:cubicBezTo>
                    <a:cubicBezTo>
                      <a:pt x="122" y="90"/>
                      <a:pt x="120" y="93"/>
                      <a:pt x="120" y="93"/>
                    </a:cubicBezTo>
                    <a:cubicBezTo>
                      <a:pt x="121" y="99"/>
                      <a:pt x="121" y="99"/>
                      <a:pt x="121" y="99"/>
                    </a:cubicBezTo>
                    <a:lnTo>
                      <a:pt x="126" y="100"/>
                    </a:lnTo>
                    <a:close/>
                    <a:moveTo>
                      <a:pt x="112" y="79"/>
                    </a:moveTo>
                    <a:cubicBezTo>
                      <a:pt x="116" y="79"/>
                      <a:pt x="121" y="74"/>
                      <a:pt x="113" y="75"/>
                    </a:cubicBezTo>
                    <a:cubicBezTo>
                      <a:pt x="104" y="76"/>
                      <a:pt x="112" y="79"/>
                      <a:pt x="112" y="79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54" name="Finland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5473700" y="1279525"/>
                <a:ext cx="814387" cy="1435100"/>
              </a:xfrm>
              <a:custGeom>
                <a:avLst/>
                <a:gdLst/>
                <a:ahLst/>
                <a:cxnLst>
                  <a:cxn ang="0">
                    <a:pos x="318" y="380"/>
                  </a:cxn>
                  <a:cxn ang="0">
                    <a:pos x="302" y="312"/>
                  </a:cxn>
                  <a:cxn ang="0">
                    <a:pos x="283" y="281"/>
                  </a:cxn>
                  <a:cxn ang="0">
                    <a:pos x="264" y="225"/>
                  </a:cxn>
                  <a:cxn ang="0">
                    <a:pos x="205" y="113"/>
                  </a:cxn>
                  <a:cxn ang="0">
                    <a:pos x="202" y="27"/>
                  </a:cxn>
                  <a:cxn ang="0">
                    <a:pos x="124" y="29"/>
                  </a:cxn>
                  <a:cxn ang="0">
                    <a:pos x="105" y="103"/>
                  </a:cxn>
                  <a:cxn ang="0">
                    <a:pos x="51" y="107"/>
                  </a:cxn>
                  <a:cxn ang="0">
                    <a:pos x="2" y="90"/>
                  </a:cxn>
                  <a:cxn ang="0">
                    <a:pos x="23" y="108"/>
                  </a:cxn>
                  <a:cxn ang="0">
                    <a:pos x="63" y="131"/>
                  </a:cxn>
                  <a:cxn ang="0">
                    <a:pos x="86" y="186"/>
                  </a:cxn>
                  <a:cxn ang="0">
                    <a:pos x="106" y="229"/>
                  </a:cxn>
                  <a:cxn ang="0">
                    <a:pos x="116" y="275"/>
                  </a:cxn>
                  <a:cxn ang="0">
                    <a:pos x="147" y="294"/>
                  </a:cxn>
                  <a:cxn ang="0">
                    <a:pos x="163" y="331"/>
                  </a:cxn>
                  <a:cxn ang="0">
                    <a:pos x="147" y="355"/>
                  </a:cxn>
                  <a:cxn ang="0">
                    <a:pos x="131" y="401"/>
                  </a:cxn>
                  <a:cxn ang="0">
                    <a:pos x="108" y="414"/>
                  </a:cxn>
                  <a:cxn ang="0">
                    <a:pos x="111" y="430"/>
                  </a:cxn>
                  <a:cxn ang="0">
                    <a:pos x="96" y="438"/>
                  </a:cxn>
                  <a:cxn ang="0">
                    <a:pos x="80" y="462"/>
                  </a:cxn>
                  <a:cxn ang="0">
                    <a:pos x="77" y="486"/>
                  </a:cxn>
                  <a:cxn ang="0">
                    <a:pos x="80" y="523"/>
                  </a:cxn>
                  <a:cxn ang="0">
                    <a:pos x="91" y="559"/>
                  </a:cxn>
                  <a:cxn ang="0">
                    <a:pos x="93" y="572"/>
                  </a:cxn>
                  <a:cxn ang="0">
                    <a:pos x="95" y="598"/>
                  </a:cxn>
                  <a:cxn ang="0">
                    <a:pos x="95" y="613"/>
                  </a:cxn>
                  <a:cxn ang="0">
                    <a:pos x="104" y="635"/>
                  </a:cxn>
                  <a:cxn ang="0">
                    <a:pos x="118" y="635"/>
                  </a:cxn>
                  <a:cxn ang="0">
                    <a:pos x="144" y="645"/>
                  </a:cxn>
                  <a:cxn ang="0">
                    <a:pos x="157" y="656"/>
                  </a:cxn>
                  <a:cxn ang="0">
                    <a:pos x="161" y="666"/>
                  </a:cxn>
                  <a:cxn ang="0">
                    <a:pos x="189" y="654"/>
                  </a:cxn>
                  <a:cxn ang="0">
                    <a:pos x="206" y="645"/>
                  </a:cxn>
                  <a:cxn ang="0">
                    <a:pos x="248" y="626"/>
                  </a:cxn>
                  <a:cxn ang="0">
                    <a:pos x="260" y="617"/>
                  </a:cxn>
                  <a:cxn ang="0">
                    <a:pos x="293" y="603"/>
                  </a:cxn>
                  <a:cxn ang="0">
                    <a:pos x="328" y="554"/>
                  </a:cxn>
                  <a:cxn ang="0">
                    <a:pos x="382" y="418"/>
                  </a:cxn>
                  <a:cxn ang="0">
                    <a:pos x="60" y="653"/>
                  </a:cxn>
                  <a:cxn ang="0">
                    <a:pos x="45" y="651"/>
                  </a:cxn>
                  <a:cxn ang="0">
                    <a:pos x="50" y="670"/>
                  </a:cxn>
                  <a:cxn ang="0">
                    <a:pos x="39" y="658"/>
                  </a:cxn>
                  <a:cxn ang="0">
                    <a:pos x="55" y="670"/>
                  </a:cxn>
                  <a:cxn ang="0">
                    <a:pos x="107" y="657"/>
                  </a:cxn>
                  <a:cxn ang="0">
                    <a:pos x="113" y="654"/>
                  </a:cxn>
                  <a:cxn ang="0">
                    <a:pos x="148" y="643"/>
                  </a:cxn>
                  <a:cxn ang="0">
                    <a:pos x="136" y="655"/>
                  </a:cxn>
                  <a:cxn ang="0">
                    <a:pos x="147" y="649"/>
                  </a:cxn>
                  <a:cxn ang="0">
                    <a:pos x="112" y="643"/>
                  </a:cxn>
                  <a:cxn ang="0">
                    <a:pos x="99" y="634"/>
                  </a:cxn>
                  <a:cxn ang="0">
                    <a:pos x="94" y="628"/>
                  </a:cxn>
                  <a:cxn ang="0">
                    <a:pos x="175" y="667"/>
                  </a:cxn>
                  <a:cxn ang="0">
                    <a:pos x="62" y="461"/>
                  </a:cxn>
                  <a:cxn ang="0">
                    <a:pos x="72" y="456"/>
                  </a:cxn>
                  <a:cxn ang="0">
                    <a:pos x="157" y="329"/>
                  </a:cxn>
                  <a:cxn ang="0">
                    <a:pos x="153" y="336"/>
                  </a:cxn>
                  <a:cxn ang="0">
                    <a:pos x="243" y="631"/>
                  </a:cxn>
                  <a:cxn ang="0">
                    <a:pos x="265" y="614"/>
                  </a:cxn>
                </a:cxnLst>
                <a:rect l="0" t="0" r="r" b="b"/>
                <a:pathLst>
                  <a:path w="382" h="674">
                    <a:moveTo>
                      <a:pt x="382" y="418"/>
                    </a:moveTo>
                    <a:cubicBezTo>
                      <a:pt x="381" y="412"/>
                      <a:pt x="369" y="412"/>
                      <a:pt x="369" y="412"/>
                    </a:cubicBezTo>
                    <a:cubicBezTo>
                      <a:pt x="366" y="404"/>
                      <a:pt x="366" y="404"/>
                      <a:pt x="366" y="404"/>
                    </a:cubicBezTo>
                    <a:cubicBezTo>
                      <a:pt x="350" y="396"/>
                      <a:pt x="350" y="396"/>
                      <a:pt x="350" y="396"/>
                    </a:cubicBezTo>
                    <a:cubicBezTo>
                      <a:pt x="339" y="394"/>
                      <a:pt x="339" y="394"/>
                      <a:pt x="339" y="394"/>
                    </a:cubicBezTo>
                    <a:cubicBezTo>
                      <a:pt x="318" y="380"/>
                      <a:pt x="318" y="380"/>
                      <a:pt x="318" y="380"/>
                    </a:cubicBezTo>
                    <a:cubicBezTo>
                      <a:pt x="327" y="374"/>
                      <a:pt x="327" y="374"/>
                      <a:pt x="327" y="374"/>
                    </a:cubicBezTo>
                    <a:cubicBezTo>
                      <a:pt x="326" y="370"/>
                      <a:pt x="326" y="370"/>
                      <a:pt x="326" y="370"/>
                    </a:cubicBezTo>
                    <a:cubicBezTo>
                      <a:pt x="326" y="370"/>
                      <a:pt x="331" y="355"/>
                      <a:pt x="327" y="346"/>
                    </a:cubicBezTo>
                    <a:cubicBezTo>
                      <a:pt x="323" y="338"/>
                      <a:pt x="313" y="344"/>
                      <a:pt x="308" y="335"/>
                    </a:cubicBezTo>
                    <a:cubicBezTo>
                      <a:pt x="301" y="326"/>
                      <a:pt x="307" y="320"/>
                      <a:pt x="307" y="320"/>
                    </a:cubicBezTo>
                    <a:cubicBezTo>
                      <a:pt x="302" y="312"/>
                      <a:pt x="302" y="312"/>
                      <a:pt x="302" y="312"/>
                    </a:cubicBezTo>
                    <a:cubicBezTo>
                      <a:pt x="292" y="317"/>
                      <a:pt x="292" y="317"/>
                      <a:pt x="292" y="317"/>
                    </a:cubicBezTo>
                    <a:cubicBezTo>
                      <a:pt x="285" y="301"/>
                      <a:pt x="285" y="301"/>
                      <a:pt x="285" y="301"/>
                    </a:cubicBezTo>
                    <a:cubicBezTo>
                      <a:pt x="292" y="296"/>
                      <a:pt x="292" y="296"/>
                      <a:pt x="292" y="296"/>
                    </a:cubicBezTo>
                    <a:cubicBezTo>
                      <a:pt x="291" y="291"/>
                      <a:pt x="291" y="291"/>
                      <a:pt x="291" y="291"/>
                    </a:cubicBezTo>
                    <a:cubicBezTo>
                      <a:pt x="280" y="293"/>
                      <a:pt x="280" y="293"/>
                      <a:pt x="280" y="293"/>
                    </a:cubicBezTo>
                    <a:cubicBezTo>
                      <a:pt x="283" y="281"/>
                      <a:pt x="283" y="281"/>
                      <a:pt x="283" y="281"/>
                    </a:cubicBezTo>
                    <a:cubicBezTo>
                      <a:pt x="280" y="272"/>
                      <a:pt x="280" y="272"/>
                      <a:pt x="280" y="272"/>
                    </a:cubicBezTo>
                    <a:cubicBezTo>
                      <a:pt x="284" y="267"/>
                      <a:pt x="284" y="267"/>
                      <a:pt x="284" y="267"/>
                    </a:cubicBezTo>
                    <a:cubicBezTo>
                      <a:pt x="277" y="265"/>
                      <a:pt x="277" y="265"/>
                      <a:pt x="277" y="265"/>
                    </a:cubicBezTo>
                    <a:cubicBezTo>
                      <a:pt x="288" y="259"/>
                      <a:pt x="288" y="259"/>
                      <a:pt x="288" y="259"/>
                    </a:cubicBezTo>
                    <a:cubicBezTo>
                      <a:pt x="288" y="259"/>
                      <a:pt x="286" y="249"/>
                      <a:pt x="281" y="240"/>
                    </a:cubicBezTo>
                    <a:cubicBezTo>
                      <a:pt x="277" y="232"/>
                      <a:pt x="264" y="225"/>
                      <a:pt x="264" y="225"/>
                    </a:cubicBezTo>
                    <a:cubicBezTo>
                      <a:pt x="261" y="223"/>
                      <a:pt x="262" y="214"/>
                      <a:pt x="254" y="208"/>
                    </a:cubicBezTo>
                    <a:cubicBezTo>
                      <a:pt x="248" y="204"/>
                      <a:pt x="237" y="187"/>
                      <a:pt x="237" y="187"/>
                    </a:cubicBezTo>
                    <a:cubicBezTo>
                      <a:pt x="237" y="187"/>
                      <a:pt x="252" y="152"/>
                      <a:pt x="251" y="142"/>
                    </a:cubicBezTo>
                    <a:cubicBezTo>
                      <a:pt x="250" y="133"/>
                      <a:pt x="238" y="133"/>
                      <a:pt x="238" y="133"/>
                    </a:cubicBezTo>
                    <a:cubicBezTo>
                      <a:pt x="226" y="117"/>
                      <a:pt x="226" y="117"/>
                      <a:pt x="226" y="117"/>
                    </a:cubicBezTo>
                    <a:cubicBezTo>
                      <a:pt x="205" y="113"/>
                      <a:pt x="205" y="113"/>
                      <a:pt x="205" y="113"/>
                    </a:cubicBezTo>
                    <a:cubicBezTo>
                      <a:pt x="196" y="90"/>
                      <a:pt x="196" y="90"/>
                      <a:pt x="196" y="90"/>
                    </a:cubicBezTo>
                    <a:cubicBezTo>
                      <a:pt x="199" y="70"/>
                      <a:pt x="199" y="70"/>
                      <a:pt x="199" y="70"/>
                    </a:cubicBezTo>
                    <a:cubicBezTo>
                      <a:pt x="188" y="68"/>
                      <a:pt x="188" y="68"/>
                      <a:pt x="188" y="68"/>
                    </a:cubicBezTo>
                    <a:cubicBezTo>
                      <a:pt x="197" y="57"/>
                      <a:pt x="197" y="57"/>
                      <a:pt x="197" y="57"/>
                    </a:cubicBezTo>
                    <a:cubicBezTo>
                      <a:pt x="197" y="57"/>
                      <a:pt x="194" y="52"/>
                      <a:pt x="194" y="46"/>
                    </a:cubicBezTo>
                    <a:cubicBezTo>
                      <a:pt x="194" y="41"/>
                      <a:pt x="202" y="27"/>
                      <a:pt x="202" y="27"/>
                    </a:cubicBezTo>
                    <a:cubicBezTo>
                      <a:pt x="195" y="16"/>
                      <a:pt x="195" y="16"/>
                      <a:pt x="195" y="16"/>
                    </a:cubicBezTo>
                    <a:cubicBezTo>
                      <a:pt x="172" y="13"/>
                      <a:pt x="172" y="13"/>
                      <a:pt x="172" y="13"/>
                    </a:cubicBezTo>
                    <a:cubicBezTo>
                      <a:pt x="172" y="13"/>
                      <a:pt x="163" y="0"/>
                      <a:pt x="157" y="1"/>
                    </a:cubicBezTo>
                    <a:cubicBezTo>
                      <a:pt x="151" y="2"/>
                      <a:pt x="142" y="14"/>
                      <a:pt x="142" y="14"/>
                    </a:cubicBezTo>
                    <a:cubicBezTo>
                      <a:pt x="142" y="14"/>
                      <a:pt x="135" y="12"/>
                      <a:pt x="129" y="15"/>
                    </a:cubicBezTo>
                    <a:cubicBezTo>
                      <a:pt x="123" y="17"/>
                      <a:pt x="124" y="29"/>
                      <a:pt x="124" y="29"/>
                    </a:cubicBezTo>
                    <a:cubicBezTo>
                      <a:pt x="121" y="33"/>
                      <a:pt x="121" y="33"/>
                      <a:pt x="121" y="33"/>
                    </a:cubicBezTo>
                    <a:cubicBezTo>
                      <a:pt x="119" y="66"/>
                      <a:pt x="119" y="66"/>
                      <a:pt x="119" y="66"/>
                    </a:cubicBezTo>
                    <a:cubicBezTo>
                      <a:pt x="119" y="66"/>
                      <a:pt x="121" y="75"/>
                      <a:pt x="122" y="80"/>
                    </a:cubicBezTo>
                    <a:cubicBezTo>
                      <a:pt x="122" y="86"/>
                      <a:pt x="119" y="90"/>
                      <a:pt x="117" y="93"/>
                    </a:cubicBezTo>
                    <a:cubicBezTo>
                      <a:pt x="114" y="97"/>
                      <a:pt x="112" y="110"/>
                      <a:pt x="112" y="110"/>
                    </a:cubicBezTo>
                    <a:cubicBezTo>
                      <a:pt x="105" y="103"/>
                      <a:pt x="105" y="103"/>
                      <a:pt x="105" y="103"/>
                    </a:cubicBezTo>
                    <a:cubicBezTo>
                      <a:pt x="93" y="102"/>
                      <a:pt x="93" y="102"/>
                      <a:pt x="93" y="102"/>
                    </a:cubicBezTo>
                    <a:cubicBezTo>
                      <a:pt x="93" y="102"/>
                      <a:pt x="91" y="97"/>
                      <a:pt x="86" y="97"/>
                    </a:cubicBezTo>
                    <a:cubicBezTo>
                      <a:pt x="80" y="97"/>
                      <a:pt x="78" y="105"/>
                      <a:pt x="78" y="105"/>
                    </a:cubicBezTo>
                    <a:cubicBezTo>
                      <a:pt x="69" y="111"/>
                      <a:pt x="69" y="111"/>
                      <a:pt x="69" y="111"/>
                    </a:cubicBezTo>
                    <a:cubicBezTo>
                      <a:pt x="62" y="107"/>
                      <a:pt x="62" y="107"/>
                      <a:pt x="62" y="107"/>
                    </a:cubicBezTo>
                    <a:cubicBezTo>
                      <a:pt x="51" y="107"/>
                      <a:pt x="51" y="107"/>
                      <a:pt x="51" y="107"/>
                    </a:cubicBezTo>
                    <a:cubicBezTo>
                      <a:pt x="46" y="108"/>
                      <a:pt x="46" y="108"/>
                      <a:pt x="46" y="108"/>
                    </a:cubicBezTo>
                    <a:cubicBezTo>
                      <a:pt x="46" y="108"/>
                      <a:pt x="44" y="99"/>
                      <a:pt x="37" y="93"/>
                    </a:cubicBezTo>
                    <a:cubicBezTo>
                      <a:pt x="32" y="88"/>
                      <a:pt x="25" y="78"/>
                      <a:pt x="25" y="78"/>
                    </a:cubicBezTo>
                    <a:cubicBezTo>
                      <a:pt x="25" y="78"/>
                      <a:pt x="16" y="75"/>
                      <a:pt x="12" y="80"/>
                    </a:cubicBezTo>
                    <a:cubicBezTo>
                      <a:pt x="6" y="84"/>
                      <a:pt x="14" y="91"/>
                      <a:pt x="13" y="93"/>
                    </a:cubicBezTo>
                    <a:cubicBezTo>
                      <a:pt x="11" y="95"/>
                      <a:pt x="2" y="90"/>
                      <a:pt x="2" y="90"/>
                    </a:cubicBezTo>
                    <a:cubicBezTo>
                      <a:pt x="0" y="95"/>
                      <a:pt x="0" y="95"/>
                      <a:pt x="0" y="95"/>
                    </a:cubicBezTo>
                    <a:cubicBezTo>
                      <a:pt x="5" y="95"/>
                      <a:pt x="5" y="95"/>
                      <a:pt x="5" y="95"/>
                    </a:cubicBezTo>
                    <a:cubicBezTo>
                      <a:pt x="8" y="98"/>
                      <a:pt x="8" y="98"/>
                      <a:pt x="8" y="98"/>
                    </a:cubicBezTo>
                    <a:cubicBezTo>
                      <a:pt x="9" y="104"/>
                      <a:pt x="9" y="104"/>
                      <a:pt x="9" y="104"/>
                    </a:cubicBezTo>
                    <a:cubicBezTo>
                      <a:pt x="19" y="108"/>
                      <a:pt x="19" y="108"/>
                      <a:pt x="19" y="108"/>
                    </a:cubicBezTo>
                    <a:cubicBezTo>
                      <a:pt x="23" y="108"/>
                      <a:pt x="23" y="108"/>
                      <a:pt x="23" y="108"/>
                    </a:cubicBezTo>
                    <a:cubicBezTo>
                      <a:pt x="25" y="115"/>
                      <a:pt x="25" y="115"/>
                      <a:pt x="25" y="115"/>
                    </a:cubicBezTo>
                    <a:cubicBezTo>
                      <a:pt x="30" y="117"/>
                      <a:pt x="30" y="117"/>
                      <a:pt x="30" y="117"/>
                    </a:cubicBezTo>
                    <a:cubicBezTo>
                      <a:pt x="32" y="120"/>
                      <a:pt x="32" y="120"/>
                      <a:pt x="32" y="120"/>
                    </a:cubicBezTo>
                    <a:cubicBezTo>
                      <a:pt x="36" y="120"/>
                      <a:pt x="36" y="120"/>
                      <a:pt x="36" y="120"/>
                    </a:cubicBezTo>
                    <a:cubicBezTo>
                      <a:pt x="40" y="124"/>
                      <a:pt x="40" y="124"/>
                      <a:pt x="40" y="124"/>
                    </a:cubicBezTo>
                    <a:cubicBezTo>
                      <a:pt x="40" y="124"/>
                      <a:pt x="53" y="126"/>
                      <a:pt x="63" y="131"/>
                    </a:cubicBezTo>
                    <a:cubicBezTo>
                      <a:pt x="72" y="136"/>
                      <a:pt x="73" y="146"/>
                      <a:pt x="73" y="146"/>
                    </a:cubicBezTo>
                    <a:cubicBezTo>
                      <a:pt x="77" y="143"/>
                      <a:pt x="77" y="143"/>
                      <a:pt x="77" y="143"/>
                    </a:cubicBezTo>
                    <a:cubicBezTo>
                      <a:pt x="77" y="143"/>
                      <a:pt x="86" y="152"/>
                      <a:pt x="88" y="155"/>
                    </a:cubicBezTo>
                    <a:cubicBezTo>
                      <a:pt x="90" y="158"/>
                      <a:pt x="85" y="158"/>
                      <a:pt x="84" y="162"/>
                    </a:cubicBezTo>
                    <a:cubicBezTo>
                      <a:pt x="83" y="167"/>
                      <a:pt x="85" y="170"/>
                      <a:pt x="86" y="174"/>
                    </a:cubicBezTo>
                    <a:cubicBezTo>
                      <a:pt x="88" y="180"/>
                      <a:pt x="86" y="186"/>
                      <a:pt x="86" y="186"/>
                    </a:cubicBezTo>
                    <a:cubicBezTo>
                      <a:pt x="97" y="188"/>
                      <a:pt x="97" y="188"/>
                      <a:pt x="97" y="188"/>
                    </a:cubicBezTo>
                    <a:cubicBezTo>
                      <a:pt x="98" y="194"/>
                      <a:pt x="98" y="194"/>
                      <a:pt x="98" y="194"/>
                    </a:cubicBezTo>
                    <a:cubicBezTo>
                      <a:pt x="95" y="197"/>
                      <a:pt x="95" y="197"/>
                      <a:pt x="95" y="197"/>
                    </a:cubicBezTo>
                    <a:cubicBezTo>
                      <a:pt x="95" y="197"/>
                      <a:pt x="94" y="199"/>
                      <a:pt x="94" y="204"/>
                    </a:cubicBezTo>
                    <a:cubicBezTo>
                      <a:pt x="94" y="210"/>
                      <a:pt x="103" y="215"/>
                      <a:pt x="105" y="218"/>
                    </a:cubicBezTo>
                    <a:cubicBezTo>
                      <a:pt x="107" y="222"/>
                      <a:pt x="106" y="229"/>
                      <a:pt x="106" y="229"/>
                    </a:cubicBezTo>
                    <a:cubicBezTo>
                      <a:pt x="106" y="229"/>
                      <a:pt x="108" y="233"/>
                      <a:pt x="110" y="237"/>
                    </a:cubicBezTo>
                    <a:cubicBezTo>
                      <a:pt x="111" y="240"/>
                      <a:pt x="106" y="243"/>
                      <a:pt x="103" y="248"/>
                    </a:cubicBezTo>
                    <a:cubicBezTo>
                      <a:pt x="101" y="252"/>
                      <a:pt x="106" y="253"/>
                      <a:pt x="106" y="253"/>
                    </a:cubicBezTo>
                    <a:cubicBezTo>
                      <a:pt x="106" y="253"/>
                      <a:pt x="106" y="254"/>
                      <a:pt x="105" y="260"/>
                    </a:cubicBezTo>
                    <a:cubicBezTo>
                      <a:pt x="105" y="264"/>
                      <a:pt x="112" y="265"/>
                      <a:pt x="114" y="266"/>
                    </a:cubicBezTo>
                    <a:cubicBezTo>
                      <a:pt x="116" y="268"/>
                      <a:pt x="115" y="271"/>
                      <a:pt x="116" y="275"/>
                    </a:cubicBezTo>
                    <a:cubicBezTo>
                      <a:pt x="117" y="279"/>
                      <a:pt x="122" y="281"/>
                      <a:pt x="122" y="281"/>
                    </a:cubicBezTo>
                    <a:cubicBezTo>
                      <a:pt x="123" y="288"/>
                      <a:pt x="123" y="288"/>
                      <a:pt x="123" y="288"/>
                    </a:cubicBezTo>
                    <a:cubicBezTo>
                      <a:pt x="128" y="286"/>
                      <a:pt x="128" y="286"/>
                      <a:pt x="128" y="286"/>
                    </a:cubicBezTo>
                    <a:cubicBezTo>
                      <a:pt x="139" y="293"/>
                      <a:pt x="139" y="293"/>
                      <a:pt x="139" y="293"/>
                    </a:cubicBezTo>
                    <a:cubicBezTo>
                      <a:pt x="139" y="295"/>
                      <a:pt x="139" y="295"/>
                      <a:pt x="139" y="295"/>
                    </a:cubicBezTo>
                    <a:cubicBezTo>
                      <a:pt x="147" y="294"/>
                      <a:pt x="147" y="294"/>
                      <a:pt x="147" y="294"/>
                    </a:cubicBezTo>
                    <a:cubicBezTo>
                      <a:pt x="154" y="297"/>
                      <a:pt x="154" y="297"/>
                      <a:pt x="154" y="297"/>
                    </a:cubicBezTo>
                    <a:cubicBezTo>
                      <a:pt x="154" y="297"/>
                      <a:pt x="159" y="301"/>
                      <a:pt x="162" y="308"/>
                    </a:cubicBezTo>
                    <a:cubicBezTo>
                      <a:pt x="166" y="314"/>
                      <a:pt x="162" y="324"/>
                      <a:pt x="162" y="324"/>
                    </a:cubicBezTo>
                    <a:cubicBezTo>
                      <a:pt x="166" y="325"/>
                      <a:pt x="166" y="325"/>
                      <a:pt x="166" y="325"/>
                    </a:cubicBezTo>
                    <a:cubicBezTo>
                      <a:pt x="169" y="334"/>
                      <a:pt x="169" y="334"/>
                      <a:pt x="169" y="334"/>
                    </a:cubicBezTo>
                    <a:cubicBezTo>
                      <a:pt x="163" y="331"/>
                      <a:pt x="163" y="331"/>
                      <a:pt x="163" y="331"/>
                    </a:cubicBezTo>
                    <a:cubicBezTo>
                      <a:pt x="162" y="334"/>
                      <a:pt x="162" y="334"/>
                      <a:pt x="162" y="334"/>
                    </a:cubicBezTo>
                    <a:cubicBezTo>
                      <a:pt x="170" y="339"/>
                      <a:pt x="170" y="339"/>
                      <a:pt x="170" y="339"/>
                    </a:cubicBezTo>
                    <a:cubicBezTo>
                      <a:pt x="167" y="342"/>
                      <a:pt x="167" y="342"/>
                      <a:pt x="167" y="342"/>
                    </a:cubicBezTo>
                    <a:cubicBezTo>
                      <a:pt x="167" y="342"/>
                      <a:pt x="160" y="340"/>
                      <a:pt x="154" y="341"/>
                    </a:cubicBezTo>
                    <a:cubicBezTo>
                      <a:pt x="150" y="342"/>
                      <a:pt x="147" y="346"/>
                      <a:pt x="147" y="346"/>
                    </a:cubicBezTo>
                    <a:cubicBezTo>
                      <a:pt x="147" y="355"/>
                      <a:pt x="147" y="355"/>
                      <a:pt x="147" y="355"/>
                    </a:cubicBezTo>
                    <a:cubicBezTo>
                      <a:pt x="145" y="357"/>
                      <a:pt x="145" y="357"/>
                      <a:pt x="145" y="357"/>
                    </a:cubicBezTo>
                    <a:cubicBezTo>
                      <a:pt x="145" y="366"/>
                      <a:pt x="145" y="366"/>
                      <a:pt x="145" y="366"/>
                    </a:cubicBezTo>
                    <a:cubicBezTo>
                      <a:pt x="142" y="367"/>
                      <a:pt x="142" y="367"/>
                      <a:pt x="142" y="367"/>
                    </a:cubicBezTo>
                    <a:cubicBezTo>
                      <a:pt x="137" y="376"/>
                      <a:pt x="137" y="376"/>
                      <a:pt x="137" y="376"/>
                    </a:cubicBezTo>
                    <a:cubicBezTo>
                      <a:pt x="129" y="395"/>
                      <a:pt x="129" y="395"/>
                      <a:pt x="129" y="395"/>
                    </a:cubicBezTo>
                    <a:cubicBezTo>
                      <a:pt x="131" y="401"/>
                      <a:pt x="131" y="401"/>
                      <a:pt x="131" y="401"/>
                    </a:cubicBezTo>
                    <a:cubicBezTo>
                      <a:pt x="123" y="399"/>
                      <a:pt x="123" y="399"/>
                      <a:pt x="123" y="399"/>
                    </a:cubicBezTo>
                    <a:cubicBezTo>
                      <a:pt x="124" y="409"/>
                      <a:pt x="124" y="409"/>
                      <a:pt x="124" y="409"/>
                    </a:cubicBezTo>
                    <a:cubicBezTo>
                      <a:pt x="117" y="413"/>
                      <a:pt x="117" y="413"/>
                      <a:pt x="117" y="413"/>
                    </a:cubicBezTo>
                    <a:cubicBezTo>
                      <a:pt x="114" y="418"/>
                      <a:pt x="114" y="418"/>
                      <a:pt x="114" y="418"/>
                    </a:cubicBezTo>
                    <a:cubicBezTo>
                      <a:pt x="112" y="413"/>
                      <a:pt x="112" y="413"/>
                      <a:pt x="112" y="413"/>
                    </a:cubicBezTo>
                    <a:cubicBezTo>
                      <a:pt x="108" y="414"/>
                      <a:pt x="108" y="414"/>
                      <a:pt x="108" y="414"/>
                    </a:cubicBezTo>
                    <a:cubicBezTo>
                      <a:pt x="108" y="417"/>
                      <a:pt x="108" y="417"/>
                      <a:pt x="108" y="417"/>
                    </a:cubicBezTo>
                    <a:cubicBezTo>
                      <a:pt x="106" y="418"/>
                      <a:pt x="106" y="418"/>
                      <a:pt x="106" y="418"/>
                    </a:cubicBezTo>
                    <a:cubicBezTo>
                      <a:pt x="105" y="421"/>
                      <a:pt x="105" y="421"/>
                      <a:pt x="105" y="421"/>
                    </a:cubicBezTo>
                    <a:cubicBezTo>
                      <a:pt x="111" y="421"/>
                      <a:pt x="111" y="421"/>
                      <a:pt x="111" y="421"/>
                    </a:cubicBezTo>
                    <a:cubicBezTo>
                      <a:pt x="113" y="422"/>
                      <a:pt x="113" y="422"/>
                      <a:pt x="113" y="422"/>
                    </a:cubicBezTo>
                    <a:cubicBezTo>
                      <a:pt x="111" y="430"/>
                      <a:pt x="111" y="430"/>
                      <a:pt x="111" y="430"/>
                    </a:cubicBezTo>
                    <a:cubicBezTo>
                      <a:pt x="111" y="430"/>
                      <a:pt x="107" y="426"/>
                      <a:pt x="104" y="428"/>
                    </a:cubicBezTo>
                    <a:cubicBezTo>
                      <a:pt x="100" y="430"/>
                      <a:pt x="102" y="436"/>
                      <a:pt x="102" y="436"/>
                    </a:cubicBezTo>
                    <a:cubicBezTo>
                      <a:pt x="102" y="439"/>
                      <a:pt x="102" y="439"/>
                      <a:pt x="102" y="439"/>
                    </a:cubicBezTo>
                    <a:cubicBezTo>
                      <a:pt x="101" y="441"/>
                      <a:pt x="100" y="442"/>
                      <a:pt x="100" y="442"/>
                    </a:cubicBezTo>
                    <a:cubicBezTo>
                      <a:pt x="97" y="437"/>
                      <a:pt x="97" y="437"/>
                      <a:pt x="97" y="437"/>
                    </a:cubicBezTo>
                    <a:cubicBezTo>
                      <a:pt x="96" y="438"/>
                      <a:pt x="96" y="438"/>
                      <a:pt x="96" y="438"/>
                    </a:cubicBezTo>
                    <a:cubicBezTo>
                      <a:pt x="98" y="444"/>
                      <a:pt x="98" y="444"/>
                      <a:pt x="98" y="444"/>
                    </a:cubicBezTo>
                    <a:cubicBezTo>
                      <a:pt x="95" y="444"/>
                      <a:pt x="95" y="444"/>
                      <a:pt x="95" y="444"/>
                    </a:cubicBezTo>
                    <a:cubicBezTo>
                      <a:pt x="95" y="444"/>
                      <a:pt x="99" y="455"/>
                      <a:pt x="98" y="457"/>
                    </a:cubicBezTo>
                    <a:cubicBezTo>
                      <a:pt x="97" y="460"/>
                      <a:pt x="91" y="458"/>
                      <a:pt x="89" y="458"/>
                    </a:cubicBezTo>
                    <a:cubicBezTo>
                      <a:pt x="82" y="458"/>
                      <a:pt x="82" y="458"/>
                      <a:pt x="82" y="458"/>
                    </a:cubicBezTo>
                    <a:cubicBezTo>
                      <a:pt x="82" y="458"/>
                      <a:pt x="82" y="462"/>
                      <a:pt x="80" y="462"/>
                    </a:cubicBezTo>
                    <a:cubicBezTo>
                      <a:pt x="79" y="462"/>
                      <a:pt x="77" y="459"/>
                      <a:pt x="77" y="459"/>
                    </a:cubicBezTo>
                    <a:cubicBezTo>
                      <a:pt x="75" y="467"/>
                      <a:pt x="75" y="467"/>
                      <a:pt x="75" y="467"/>
                    </a:cubicBezTo>
                    <a:cubicBezTo>
                      <a:pt x="83" y="475"/>
                      <a:pt x="83" y="475"/>
                      <a:pt x="83" y="475"/>
                    </a:cubicBezTo>
                    <a:cubicBezTo>
                      <a:pt x="77" y="474"/>
                      <a:pt x="77" y="474"/>
                      <a:pt x="77" y="474"/>
                    </a:cubicBezTo>
                    <a:cubicBezTo>
                      <a:pt x="75" y="482"/>
                      <a:pt x="75" y="482"/>
                      <a:pt x="75" y="482"/>
                    </a:cubicBezTo>
                    <a:cubicBezTo>
                      <a:pt x="75" y="482"/>
                      <a:pt x="77" y="484"/>
                      <a:pt x="77" y="486"/>
                    </a:cubicBezTo>
                    <a:cubicBezTo>
                      <a:pt x="77" y="487"/>
                      <a:pt x="72" y="487"/>
                      <a:pt x="72" y="487"/>
                    </a:cubicBezTo>
                    <a:cubicBezTo>
                      <a:pt x="69" y="492"/>
                      <a:pt x="69" y="492"/>
                      <a:pt x="69" y="492"/>
                    </a:cubicBezTo>
                    <a:cubicBezTo>
                      <a:pt x="68" y="504"/>
                      <a:pt x="68" y="504"/>
                      <a:pt x="68" y="504"/>
                    </a:cubicBezTo>
                    <a:cubicBezTo>
                      <a:pt x="72" y="504"/>
                      <a:pt x="72" y="504"/>
                      <a:pt x="72" y="504"/>
                    </a:cubicBezTo>
                    <a:cubicBezTo>
                      <a:pt x="72" y="504"/>
                      <a:pt x="69" y="508"/>
                      <a:pt x="70" y="513"/>
                    </a:cubicBezTo>
                    <a:cubicBezTo>
                      <a:pt x="70" y="517"/>
                      <a:pt x="78" y="519"/>
                      <a:pt x="80" y="523"/>
                    </a:cubicBezTo>
                    <a:cubicBezTo>
                      <a:pt x="83" y="528"/>
                      <a:pt x="80" y="534"/>
                      <a:pt x="80" y="534"/>
                    </a:cubicBezTo>
                    <a:cubicBezTo>
                      <a:pt x="80" y="543"/>
                      <a:pt x="80" y="543"/>
                      <a:pt x="80" y="543"/>
                    </a:cubicBezTo>
                    <a:cubicBezTo>
                      <a:pt x="83" y="546"/>
                      <a:pt x="83" y="546"/>
                      <a:pt x="83" y="546"/>
                    </a:cubicBezTo>
                    <a:cubicBezTo>
                      <a:pt x="86" y="544"/>
                      <a:pt x="86" y="544"/>
                      <a:pt x="86" y="544"/>
                    </a:cubicBezTo>
                    <a:cubicBezTo>
                      <a:pt x="86" y="544"/>
                      <a:pt x="86" y="550"/>
                      <a:pt x="87" y="552"/>
                    </a:cubicBezTo>
                    <a:cubicBezTo>
                      <a:pt x="88" y="555"/>
                      <a:pt x="91" y="559"/>
                      <a:pt x="91" y="559"/>
                    </a:cubicBezTo>
                    <a:cubicBezTo>
                      <a:pt x="90" y="561"/>
                      <a:pt x="90" y="561"/>
                      <a:pt x="90" y="561"/>
                    </a:cubicBezTo>
                    <a:cubicBezTo>
                      <a:pt x="94" y="562"/>
                      <a:pt x="94" y="562"/>
                      <a:pt x="94" y="562"/>
                    </a:cubicBezTo>
                    <a:cubicBezTo>
                      <a:pt x="95" y="567"/>
                      <a:pt x="95" y="567"/>
                      <a:pt x="95" y="567"/>
                    </a:cubicBezTo>
                    <a:cubicBezTo>
                      <a:pt x="90" y="566"/>
                      <a:pt x="90" y="566"/>
                      <a:pt x="90" y="566"/>
                    </a:cubicBezTo>
                    <a:cubicBezTo>
                      <a:pt x="90" y="569"/>
                      <a:pt x="90" y="569"/>
                      <a:pt x="90" y="569"/>
                    </a:cubicBezTo>
                    <a:cubicBezTo>
                      <a:pt x="93" y="572"/>
                      <a:pt x="93" y="572"/>
                      <a:pt x="93" y="572"/>
                    </a:cubicBezTo>
                    <a:cubicBezTo>
                      <a:pt x="89" y="572"/>
                      <a:pt x="89" y="572"/>
                      <a:pt x="89" y="572"/>
                    </a:cubicBezTo>
                    <a:cubicBezTo>
                      <a:pt x="93" y="577"/>
                      <a:pt x="93" y="577"/>
                      <a:pt x="93" y="577"/>
                    </a:cubicBezTo>
                    <a:cubicBezTo>
                      <a:pt x="90" y="578"/>
                      <a:pt x="90" y="578"/>
                      <a:pt x="90" y="578"/>
                    </a:cubicBezTo>
                    <a:cubicBezTo>
                      <a:pt x="95" y="584"/>
                      <a:pt x="95" y="584"/>
                      <a:pt x="95" y="584"/>
                    </a:cubicBezTo>
                    <a:cubicBezTo>
                      <a:pt x="95" y="584"/>
                      <a:pt x="96" y="588"/>
                      <a:pt x="94" y="591"/>
                    </a:cubicBezTo>
                    <a:cubicBezTo>
                      <a:pt x="91" y="593"/>
                      <a:pt x="95" y="598"/>
                      <a:pt x="95" y="598"/>
                    </a:cubicBezTo>
                    <a:cubicBezTo>
                      <a:pt x="95" y="598"/>
                      <a:pt x="90" y="599"/>
                      <a:pt x="90" y="603"/>
                    </a:cubicBezTo>
                    <a:cubicBezTo>
                      <a:pt x="91" y="607"/>
                      <a:pt x="94" y="610"/>
                      <a:pt x="94" y="610"/>
                    </a:cubicBezTo>
                    <a:cubicBezTo>
                      <a:pt x="91" y="610"/>
                      <a:pt x="91" y="610"/>
                      <a:pt x="91" y="610"/>
                    </a:cubicBezTo>
                    <a:cubicBezTo>
                      <a:pt x="88" y="607"/>
                      <a:pt x="88" y="607"/>
                      <a:pt x="88" y="607"/>
                    </a:cubicBezTo>
                    <a:cubicBezTo>
                      <a:pt x="87" y="613"/>
                      <a:pt x="87" y="613"/>
                      <a:pt x="87" y="613"/>
                    </a:cubicBezTo>
                    <a:cubicBezTo>
                      <a:pt x="95" y="613"/>
                      <a:pt x="95" y="613"/>
                      <a:pt x="95" y="613"/>
                    </a:cubicBezTo>
                    <a:cubicBezTo>
                      <a:pt x="93" y="614"/>
                      <a:pt x="93" y="614"/>
                      <a:pt x="93" y="614"/>
                    </a:cubicBezTo>
                    <a:cubicBezTo>
                      <a:pt x="94" y="619"/>
                      <a:pt x="94" y="619"/>
                      <a:pt x="94" y="619"/>
                    </a:cubicBezTo>
                    <a:cubicBezTo>
                      <a:pt x="97" y="622"/>
                      <a:pt x="97" y="622"/>
                      <a:pt x="97" y="622"/>
                    </a:cubicBezTo>
                    <a:cubicBezTo>
                      <a:pt x="97" y="622"/>
                      <a:pt x="95" y="624"/>
                      <a:pt x="97" y="628"/>
                    </a:cubicBezTo>
                    <a:cubicBezTo>
                      <a:pt x="99" y="632"/>
                      <a:pt x="101" y="632"/>
                      <a:pt x="101" y="632"/>
                    </a:cubicBezTo>
                    <a:cubicBezTo>
                      <a:pt x="104" y="635"/>
                      <a:pt x="104" y="635"/>
                      <a:pt x="104" y="635"/>
                    </a:cubicBezTo>
                    <a:cubicBezTo>
                      <a:pt x="104" y="630"/>
                      <a:pt x="104" y="630"/>
                      <a:pt x="104" y="630"/>
                    </a:cubicBezTo>
                    <a:cubicBezTo>
                      <a:pt x="110" y="626"/>
                      <a:pt x="110" y="626"/>
                      <a:pt x="110" y="626"/>
                    </a:cubicBezTo>
                    <a:cubicBezTo>
                      <a:pt x="110" y="635"/>
                      <a:pt x="110" y="635"/>
                      <a:pt x="110" y="635"/>
                    </a:cubicBezTo>
                    <a:cubicBezTo>
                      <a:pt x="112" y="635"/>
                      <a:pt x="112" y="635"/>
                      <a:pt x="112" y="635"/>
                    </a:cubicBezTo>
                    <a:cubicBezTo>
                      <a:pt x="113" y="631"/>
                      <a:pt x="113" y="631"/>
                      <a:pt x="113" y="631"/>
                    </a:cubicBezTo>
                    <a:cubicBezTo>
                      <a:pt x="118" y="635"/>
                      <a:pt x="118" y="635"/>
                      <a:pt x="118" y="635"/>
                    </a:cubicBezTo>
                    <a:cubicBezTo>
                      <a:pt x="124" y="635"/>
                      <a:pt x="124" y="635"/>
                      <a:pt x="124" y="635"/>
                    </a:cubicBezTo>
                    <a:cubicBezTo>
                      <a:pt x="131" y="638"/>
                      <a:pt x="131" y="638"/>
                      <a:pt x="131" y="638"/>
                    </a:cubicBezTo>
                    <a:cubicBezTo>
                      <a:pt x="137" y="638"/>
                      <a:pt x="137" y="638"/>
                      <a:pt x="137" y="638"/>
                    </a:cubicBezTo>
                    <a:cubicBezTo>
                      <a:pt x="135" y="646"/>
                      <a:pt x="135" y="646"/>
                      <a:pt x="135" y="646"/>
                    </a:cubicBezTo>
                    <a:cubicBezTo>
                      <a:pt x="137" y="648"/>
                      <a:pt x="137" y="648"/>
                      <a:pt x="137" y="648"/>
                    </a:cubicBezTo>
                    <a:cubicBezTo>
                      <a:pt x="144" y="645"/>
                      <a:pt x="144" y="645"/>
                      <a:pt x="144" y="645"/>
                    </a:cubicBezTo>
                    <a:cubicBezTo>
                      <a:pt x="151" y="639"/>
                      <a:pt x="151" y="639"/>
                      <a:pt x="151" y="639"/>
                    </a:cubicBezTo>
                    <a:cubicBezTo>
                      <a:pt x="152" y="640"/>
                      <a:pt x="152" y="640"/>
                      <a:pt x="152" y="640"/>
                    </a:cubicBezTo>
                    <a:cubicBezTo>
                      <a:pt x="149" y="649"/>
                      <a:pt x="149" y="649"/>
                      <a:pt x="149" y="649"/>
                    </a:cubicBezTo>
                    <a:cubicBezTo>
                      <a:pt x="154" y="653"/>
                      <a:pt x="154" y="653"/>
                      <a:pt x="154" y="653"/>
                    </a:cubicBezTo>
                    <a:cubicBezTo>
                      <a:pt x="153" y="657"/>
                      <a:pt x="153" y="657"/>
                      <a:pt x="153" y="657"/>
                    </a:cubicBezTo>
                    <a:cubicBezTo>
                      <a:pt x="157" y="656"/>
                      <a:pt x="157" y="656"/>
                      <a:pt x="157" y="656"/>
                    </a:cubicBezTo>
                    <a:cubicBezTo>
                      <a:pt x="157" y="658"/>
                      <a:pt x="157" y="658"/>
                      <a:pt x="157" y="658"/>
                    </a:cubicBezTo>
                    <a:cubicBezTo>
                      <a:pt x="150" y="664"/>
                      <a:pt x="150" y="664"/>
                      <a:pt x="150" y="664"/>
                    </a:cubicBezTo>
                    <a:cubicBezTo>
                      <a:pt x="151" y="666"/>
                      <a:pt x="151" y="666"/>
                      <a:pt x="151" y="666"/>
                    </a:cubicBezTo>
                    <a:cubicBezTo>
                      <a:pt x="156" y="666"/>
                      <a:pt x="156" y="666"/>
                      <a:pt x="156" y="666"/>
                    </a:cubicBezTo>
                    <a:cubicBezTo>
                      <a:pt x="159" y="662"/>
                      <a:pt x="159" y="662"/>
                      <a:pt x="159" y="662"/>
                    </a:cubicBezTo>
                    <a:cubicBezTo>
                      <a:pt x="159" y="662"/>
                      <a:pt x="161" y="664"/>
                      <a:pt x="161" y="666"/>
                    </a:cubicBezTo>
                    <a:cubicBezTo>
                      <a:pt x="162" y="669"/>
                      <a:pt x="152" y="674"/>
                      <a:pt x="152" y="674"/>
                    </a:cubicBezTo>
                    <a:cubicBezTo>
                      <a:pt x="163" y="671"/>
                      <a:pt x="163" y="671"/>
                      <a:pt x="163" y="671"/>
                    </a:cubicBezTo>
                    <a:cubicBezTo>
                      <a:pt x="171" y="655"/>
                      <a:pt x="171" y="655"/>
                      <a:pt x="171" y="655"/>
                    </a:cubicBezTo>
                    <a:cubicBezTo>
                      <a:pt x="169" y="663"/>
                      <a:pt x="169" y="663"/>
                      <a:pt x="169" y="663"/>
                    </a:cubicBezTo>
                    <a:cubicBezTo>
                      <a:pt x="181" y="660"/>
                      <a:pt x="181" y="660"/>
                      <a:pt x="181" y="660"/>
                    </a:cubicBezTo>
                    <a:cubicBezTo>
                      <a:pt x="189" y="654"/>
                      <a:pt x="189" y="654"/>
                      <a:pt x="189" y="654"/>
                    </a:cubicBezTo>
                    <a:cubicBezTo>
                      <a:pt x="192" y="654"/>
                      <a:pt x="192" y="654"/>
                      <a:pt x="192" y="654"/>
                    </a:cubicBezTo>
                    <a:cubicBezTo>
                      <a:pt x="198" y="649"/>
                      <a:pt x="198" y="649"/>
                      <a:pt x="198" y="649"/>
                    </a:cubicBezTo>
                    <a:cubicBezTo>
                      <a:pt x="201" y="650"/>
                      <a:pt x="201" y="650"/>
                      <a:pt x="201" y="650"/>
                    </a:cubicBezTo>
                    <a:cubicBezTo>
                      <a:pt x="203" y="655"/>
                      <a:pt x="203" y="655"/>
                      <a:pt x="203" y="655"/>
                    </a:cubicBezTo>
                    <a:cubicBezTo>
                      <a:pt x="206" y="653"/>
                      <a:pt x="206" y="653"/>
                      <a:pt x="206" y="653"/>
                    </a:cubicBezTo>
                    <a:cubicBezTo>
                      <a:pt x="206" y="645"/>
                      <a:pt x="206" y="645"/>
                      <a:pt x="206" y="645"/>
                    </a:cubicBezTo>
                    <a:cubicBezTo>
                      <a:pt x="221" y="638"/>
                      <a:pt x="221" y="638"/>
                      <a:pt x="221" y="638"/>
                    </a:cubicBezTo>
                    <a:cubicBezTo>
                      <a:pt x="222" y="635"/>
                      <a:pt x="222" y="635"/>
                      <a:pt x="222" y="635"/>
                    </a:cubicBezTo>
                    <a:cubicBezTo>
                      <a:pt x="235" y="629"/>
                      <a:pt x="235" y="629"/>
                      <a:pt x="235" y="629"/>
                    </a:cubicBezTo>
                    <a:cubicBezTo>
                      <a:pt x="235" y="622"/>
                      <a:pt x="235" y="622"/>
                      <a:pt x="235" y="622"/>
                    </a:cubicBezTo>
                    <a:cubicBezTo>
                      <a:pt x="235" y="622"/>
                      <a:pt x="237" y="628"/>
                      <a:pt x="241" y="628"/>
                    </a:cubicBezTo>
                    <a:cubicBezTo>
                      <a:pt x="244" y="628"/>
                      <a:pt x="248" y="626"/>
                      <a:pt x="248" y="626"/>
                    </a:cubicBezTo>
                    <a:cubicBezTo>
                      <a:pt x="245" y="624"/>
                      <a:pt x="245" y="624"/>
                      <a:pt x="245" y="624"/>
                    </a:cubicBezTo>
                    <a:cubicBezTo>
                      <a:pt x="246" y="620"/>
                      <a:pt x="246" y="620"/>
                      <a:pt x="246" y="620"/>
                    </a:cubicBezTo>
                    <a:cubicBezTo>
                      <a:pt x="251" y="624"/>
                      <a:pt x="251" y="624"/>
                      <a:pt x="251" y="624"/>
                    </a:cubicBezTo>
                    <a:cubicBezTo>
                      <a:pt x="251" y="622"/>
                      <a:pt x="251" y="622"/>
                      <a:pt x="251" y="622"/>
                    </a:cubicBezTo>
                    <a:cubicBezTo>
                      <a:pt x="245" y="613"/>
                      <a:pt x="245" y="613"/>
                      <a:pt x="245" y="613"/>
                    </a:cubicBezTo>
                    <a:cubicBezTo>
                      <a:pt x="245" y="613"/>
                      <a:pt x="254" y="619"/>
                      <a:pt x="260" y="617"/>
                    </a:cubicBezTo>
                    <a:cubicBezTo>
                      <a:pt x="264" y="614"/>
                      <a:pt x="262" y="611"/>
                      <a:pt x="262" y="611"/>
                    </a:cubicBezTo>
                    <a:cubicBezTo>
                      <a:pt x="268" y="610"/>
                      <a:pt x="268" y="610"/>
                      <a:pt x="268" y="610"/>
                    </a:cubicBezTo>
                    <a:cubicBezTo>
                      <a:pt x="273" y="608"/>
                      <a:pt x="273" y="608"/>
                      <a:pt x="273" y="608"/>
                    </a:cubicBezTo>
                    <a:cubicBezTo>
                      <a:pt x="279" y="608"/>
                      <a:pt x="279" y="608"/>
                      <a:pt x="279" y="608"/>
                    </a:cubicBezTo>
                    <a:cubicBezTo>
                      <a:pt x="283" y="602"/>
                      <a:pt x="283" y="602"/>
                      <a:pt x="283" y="602"/>
                    </a:cubicBezTo>
                    <a:cubicBezTo>
                      <a:pt x="293" y="603"/>
                      <a:pt x="293" y="603"/>
                      <a:pt x="293" y="603"/>
                    </a:cubicBezTo>
                    <a:cubicBezTo>
                      <a:pt x="304" y="598"/>
                      <a:pt x="304" y="598"/>
                      <a:pt x="304" y="598"/>
                    </a:cubicBezTo>
                    <a:cubicBezTo>
                      <a:pt x="304" y="597"/>
                      <a:pt x="304" y="597"/>
                      <a:pt x="304" y="597"/>
                    </a:cubicBezTo>
                    <a:cubicBezTo>
                      <a:pt x="312" y="581"/>
                      <a:pt x="312" y="581"/>
                      <a:pt x="312" y="581"/>
                    </a:cubicBezTo>
                    <a:cubicBezTo>
                      <a:pt x="323" y="566"/>
                      <a:pt x="323" y="566"/>
                      <a:pt x="323" y="566"/>
                    </a:cubicBezTo>
                    <a:cubicBezTo>
                      <a:pt x="327" y="563"/>
                      <a:pt x="327" y="563"/>
                      <a:pt x="327" y="563"/>
                    </a:cubicBezTo>
                    <a:cubicBezTo>
                      <a:pt x="328" y="554"/>
                      <a:pt x="328" y="554"/>
                      <a:pt x="328" y="554"/>
                    </a:cubicBezTo>
                    <a:cubicBezTo>
                      <a:pt x="341" y="540"/>
                      <a:pt x="341" y="540"/>
                      <a:pt x="341" y="540"/>
                    </a:cubicBezTo>
                    <a:cubicBezTo>
                      <a:pt x="341" y="540"/>
                      <a:pt x="346" y="527"/>
                      <a:pt x="349" y="521"/>
                    </a:cubicBezTo>
                    <a:cubicBezTo>
                      <a:pt x="352" y="516"/>
                      <a:pt x="360" y="496"/>
                      <a:pt x="363" y="485"/>
                    </a:cubicBezTo>
                    <a:cubicBezTo>
                      <a:pt x="366" y="473"/>
                      <a:pt x="375" y="460"/>
                      <a:pt x="375" y="460"/>
                    </a:cubicBezTo>
                    <a:cubicBezTo>
                      <a:pt x="375" y="460"/>
                      <a:pt x="377" y="456"/>
                      <a:pt x="378" y="452"/>
                    </a:cubicBezTo>
                    <a:cubicBezTo>
                      <a:pt x="380" y="448"/>
                      <a:pt x="382" y="424"/>
                      <a:pt x="382" y="418"/>
                    </a:cubicBezTo>
                    <a:close/>
                    <a:moveTo>
                      <a:pt x="52" y="662"/>
                    </a:moveTo>
                    <a:cubicBezTo>
                      <a:pt x="52" y="658"/>
                      <a:pt x="52" y="658"/>
                      <a:pt x="52" y="658"/>
                    </a:cubicBezTo>
                    <a:cubicBezTo>
                      <a:pt x="54" y="657"/>
                      <a:pt x="54" y="657"/>
                      <a:pt x="54" y="657"/>
                    </a:cubicBezTo>
                    <a:cubicBezTo>
                      <a:pt x="54" y="657"/>
                      <a:pt x="54" y="659"/>
                      <a:pt x="55" y="661"/>
                    </a:cubicBezTo>
                    <a:cubicBezTo>
                      <a:pt x="56" y="662"/>
                      <a:pt x="61" y="660"/>
                      <a:pt x="61" y="660"/>
                    </a:cubicBezTo>
                    <a:cubicBezTo>
                      <a:pt x="60" y="653"/>
                      <a:pt x="60" y="653"/>
                      <a:pt x="60" y="653"/>
                    </a:cubicBezTo>
                    <a:cubicBezTo>
                      <a:pt x="55" y="653"/>
                      <a:pt x="55" y="653"/>
                      <a:pt x="55" y="653"/>
                    </a:cubicBezTo>
                    <a:cubicBezTo>
                      <a:pt x="55" y="650"/>
                      <a:pt x="55" y="650"/>
                      <a:pt x="55" y="650"/>
                    </a:cubicBezTo>
                    <a:cubicBezTo>
                      <a:pt x="51" y="651"/>
                      <a:pt x="51" y="651"/>
                      <a:pt x="51" y="651"/>
                    </a:cubicBezTo>
                    <a:cubicBezTo>
                      <a:pt x="51" y="651"/>
                      <a:pt x="50" y="649"/>
                      <a:pt x="50" y="647"/>
                    </a:cubicBezTo>
                    <a:cubicBezTo>
                      <a:pt x="50" y="646"/>
                      <a:pt x="47" y="644"/>
                      <a:pt x="45" y="648"/>
                    </a:cubicBezTo>
                    <a:cubicBezTo>
                      <a:pt x="45" y="651"/>
                      <a:pt x="45" y="651"/>
                      <a:pt x="45" y="651"/>
                    </a:cubicBezTo>
                    <a:cubicBezTo>
                      <a:pt x="48" y="657"/>
                      <a:pt x="48" y="657"/>
                      <a:pt x="48" y="657"/>
                    </a:cubicBezTo>
                    <a:cubicBezTo>
                      <a:pt x="45" y="659"/>
                      <a:pt x="45" y="659"/>
                      <a:pt x="45" y="659"/>
                    </a:cubicBezTo>
                    <a:cubicBezTo>
                      <a:pt x="44" y="655"/>
                      <a:pt x="44" y="655"/>
                      <a:pt x="44" y="655"/>
                    </a:cubicBezTo>
                    <a:cubicBezTo>
                      <a:pt x="41" y="658"/>
                      <a:pt x="41" y="658"/>
                      <a:pt x="41" y="658"/>
                    </a:cubicBezTo>
                    <a:cubicBezTo>
                      <a:pt x="46" y="669"/>
                      <a:pt x="46" y="669"/>
                      <a:pt x="46" y="669"/>
                    </a:cubicBezTo>
                    <a:cubicBezTo>
                      <a:pt x="50" y="670"/>
                      <a:pt x="50" y="670"/>
                      <a:pt x="50" y="670"/>
                    </a:cubicBezTo>
                    <a:cubicBezTo>
                      <a:pt x="54" y="666"/>
                      <a:pt x="54" y="666"/>
                      <a:pt x="54" y="666"/>
                    </a:cubicBezTo>
                    <a:cubicBezTo>
                      <a:pt x="54" y="662"/>
                      <a:pt x="54" y="662"/>
                      <a:pt x="54" y="662"/>
                    </a:cubicBezTo>
                    <a:lnTo>
                      <a:pt x="52" y="662"/>
                    </a:lnTo>
                    <a:close/>
                    <a:moveTo>
                      <a:pt x="37" y="666"/>
                    </a:moveTo>
                    <a:cubicBezTo>
                      <a:pt x="41" y="664"/>
                      <a:pt x="41" y="664"/>
                      <a:pt x="41" y="664"/>
                    </a:cubicBezTo>
                    <a:cubicBezTo>
                      <a:pt x="39" y="658"/>
                      <a:pt x="39" y="658"/>
                      <a:pt x="39" y="658"/>
                    </a:cubicBezTo>
                    <a:lnTo>
                      <a:pt x="37" y="666"/>
                    </a:lnTo>
                    <a:close/>
                    <a:moveTo>
                      <a:pt x="55" y="670"/>
                    </a:moveTo>
                    <a:cubicBezTo>
                      <a:pt x="61" y="674"/>
                      <a:pt x="61" y="674"/>
                      <a:pt x="61" y="674"/>
                    </a:cubicBezTo>
                    <a:cubicBezTo>
                      <a:pt x="63" y="671"/>
                      <a:pt x="63" y="671"/>
                      <a:pt x="63" y="671"/>
                    </a:cubicBezTo>
                    <a:cubicBezTo>
                      <a:pt x="56" y="667"/>
                      <a:pt x="56" y="667"/>
                      <a:pt x="56" y="667"/>
                    </a:cubicBezTo>
                    <a:lnTo>
                      <a:pt x="55" y="670"/>
                    </a:lnTo>
                    <a:close/>
                    <a:moveTo>
                      <a:pt x="63" y="663"/>
                    </a:moveTo>
                    <a:cubicBezTo>
                      <a:pt x="61" y="664"/>
                      <a:pt x="61" y="667"/>
                      <a:pt x="64" y="667"/>
                    </a:cubicBezTo>
                    <a:cubicBezTo>
                      <a:pt x="66" y="666"/>
                      <a:pt x="66" y="662"/>
                      <a:pt x="63" y="663"/>
                    </a:cubicBezTo>
                    <a:close/>
                    <a:moveTo>
                      <a:pt x="107" y="657"/>
                    </a:moveTo>
                    <a:cubicBezTo>
                      <a:pt x="104" y="657"/>
                      <a:pt x="100" y="662"/>
                      <a:pt x="106" y="661"/>
                    </a:cubicBezTo>
                    <a:cubicBezTo>
                      <a:pt x="106" y="661"/>
                      <a:pt x="111" y="657"/>
                      <a:pt x="107" y="657"/>
                    </a:cubicBezTo>
                    <a:close/>
                    <a:moveTo>
                      <a:pt x="113" y="654"/>
                    </a:moveTo>
                    <a:cubicBezTo>
                      <a:pt x="111" y="655"/>
                      <a:pt x="112" y="657"/>
                      <a:pt x="112" y="657"/>
                    </a:cubicBezTo>
                    <a:cubicBezTo>
                      <a:pt x="110" y="659"/>
                      <a:pt x="110" y="659"/>
                      <a:pt x="110" y="659"/>
                    </a:cubicBezTo>
                    <a:cubicBezTo>
                      <a:pt x="111" y="660"/>
                      <a:pt x="111" y="660"/>
                      <a:pt x="111" y="660"/>
                    </a:cubicBezTo>
                    <a:cubicBezTo>
                      <a:pt x="117" y="655"/>
                      <a:pt x="117" y="655"/>
                      <a:pt x="117" y="655"/>
                    </a:cubicBezTo>
                    <a:cubicBezTo>
                      <a:pt x="117" y="655"/>
                      <a:pt x="115" y="653"/>
                      <a:pt x="113" y="654"/>
                    </a:cubicBezTo>
                    <a:close/>
                    <a:moveTo>
                      <a:pt x="119" y="654"/>
                    </a:moveTo>
                    <a:cubicBezTo>
                      <a:pt x="120" y="657"/>
                      <a:pt x="120" y="657"/>
                      <a:pt x="120" y="657"/>
                    </a:cubicBezTo>
                    <a:cubicBezTo>
                      <a:pt x="122" y="656"/>
                      <a:pt x="122" y="656"/>
                      <a:pt x="122" y="656"/>
                    </a:cubicBezTo>
                    <a:cubicBezTo>
                      <a:pt x="122" y="654"/>
                      <a:pt x="122" y="654"/>
                      <a:pt x="122" y="654"/>
                    </a:cubicBezTo>
                    <a:lnTo>
                      <a:pt x="119" y="654"/>
                    </a:lnTo>
                    <a:close/>
                    <a:moveTo>
                      <a:pt x="148" y="643"/>
                    </a:moveTo>
                    <a:cubicBezTo>
                      <a:pt x="146" y="647"/>
                      <a:pt x="146" y="647"/>
                      <a:pt x="146" y="647"/>
                    </a:cubicBezTo>
                    <a:cubicBezTo>
                      <a:pt x="142" y="648"/>
                      <a:pt x="142" y="648"/>
                      <a:pt x="142" y="648"/>
                    </a:cubicBezTo>
                    <a:cubicBezTo>
                      <a:pt x="139" y="650"/>
                      <a:pt x="139" y="650"/>
                      <a:pt x="139" y="650"/>
                    </a:cubicBezTo>
                    <a:cubicBezTo>
                      <a:pt x="134" y="651"/>
                      <a:pt x="134" y="651"/>
                      <a:pt x="134" y="651"/>
                    </a:cubicBezTo>
                    <a:cubicBezTo>
                      <a:pt x="133" y="655"/>
                      <a:pt x="133" y="655"/>
                      <a:pt x="133" y="655"/>
                    </a:cubicBezTo>
                    <a:cubicBezTo>
                      <a:pt x="136" y="655"/>
                      <a:pt x="136" y="655"/>
                      <a:pt x="136" y="655"/>
                    </a:cubicBezTo>
                    <a:cubicBezTo>
                      <a:pt x="133" y="659"/>
                      <a:pt x="133" y="659"/>
                      <a:pt x="133" y="659"/>
                    </a:cubicBezTo>
                    <a:cubicBezTo>
                      <a:pt x="133" y="664"/>
                      <a:pt x="133" y="664"/>
                      <a:pt x="133" y="664"/>
                    </a:cubicBezTo>
                    <a:cubicBezTo>
                      <a:pt x="139" y="661"/>
                      <a:pt x="139" y="661"/>
                      <a:pt x="139" y="661"/>
                    </a:cubicBezTo>
                    <a:cubicBezTo>
                      <a:pt x="145" y="661"/>
                      <a:pt x="145" y="661"/>
                      <a:pt x="145" y="661"/>
                    </a:cubicBezTo>
                    <a:cubicBezTo>
                      <a:pt x="149" y="654"/>
                      <a:pt x="149" y="654"/>
                      <a:pt x="149" y="654"/>
                    </a:cubicBezTo>
                    <a:cubicBezTo>
                      <a:pt x="147" y="649"/>
                      <a:pt x="147" y="649"/>
                      <a:pt x="147" y="649"/>
                    </a:cubicBezTo>
                    <a:cubicBezTo>
                      <a:pt x="149" y="644"/>
                      <a:pt x="149" y="644"/>
                      <a:pt x="149" y="644"/>
                    </a:cubicBezTo>
                    <a:lnTo>
                      <a:pt x="148" y="643"/>
                    </a:lnTo>
                    <a:close/>
                    <a:moveTo>
                      <a:pt x="111" y="639"/>
                    </a:moveTo>
                    <a:cubicBezTo>
                      <a:pt x="112" y="640"/>
                      <a:pt x="112" y="640"/>
                      <a:pt x="112" y="640"/>
                    </a:cubicBezTo>
                    <a:cubicBezTo>
                      <a:pt x="110" y="643"/>
                      <a:pt x="110" y="643"/>
                      <a:pt x="110" y="643"/>
                    </a:cubicBezTo>
                    <a:cubicBezTo>
                      <a:pt x="112" y="643"/>
                      <a:pt x="112" y="643"/>
                      <a:pt x="112" y="643"/>
                    </a:cubicBezTo>
                    <a:cubicBezTo>
                      <a:pt x="114" y="642"/>
                      <a:pt x="114" y="642"/>
                      <a:pt x="114" y="642"/>
                    </a:cubicBezTo>
                    <a:cubicBezTo>
                      <a:pt x="117" y="644"/>
                      <a:pt x="117" y="644"/>
                      <a:pt x="117" y="644"/>
                    </a:cubicBezTo>
                    <a:cubicBezTo>
                      <a:pt x="118" y="641"/>
                      <a:pt x="118" y="641"/>
                      <a:pt x="118" y="641"/>
                    </a:cubicBezTo>
                    <a:cubicBezTo>
                      <a:pt x="113" y="638"/>
                      <a:pt x="113" y="638"/>
                      <a:pt x="113" y="638"/>
                    </a:cubicBezTo>
                    <a:lnTo>
                      <a:pt x="111" y="639"/>
                    </a:lnTo>
                    <a:close/>
                    <a:moveTo>
                      <a:pt x="99" y="634"/>
                    </a:moveTo>
                    <a:cubicBezTo>
                      <a:pt x="95" y="631"/>
                      <a:pt x="94" y="630"/>
                      <a:pt x="95" y="632"/>
                    </a:cubicBezTo>
                    <a:cubicBezTo>
                      <a:pt x="97" y="637"/>
                      <a:pt x="97" y="637"/>
                      <a:pt x="97" y="637"/>
                    </a:cubicBezTo>
                    <a:cubicBezTo>
                      <a:pt x="102" y="637"/>
                      <a:pt x="102" y="637"/>
                      <a:pt x="99" y="634"/>
                    </a:cubicBezTo>
                    <a:close/>
                    <a:moveTo>
                      <a:pt x="90" y="628"/>
                    </a:moveTo>
                    <a:cubicBezTo>
                      <a:pt x="93" y="631"/>
                      <a:pt x="93" y="631"/>
                      <a:pt x="93" y="631"/>
                    </a:cubicBezTo>
                    <a:cubicBezTo>
                      <a:pt x="94" y="628"/>
                      <a:pt x="94" y="628"/>
                      <a:pt x="94" y="628"/>
                    </a:cubicBezTo>
                    <a:cubicBezTo>
                      <a:pt x="91" y="627"/>
                      <a:pt x="91" y="627"/>
                      <a:pt x="91" y="627"/>
                    </a:cubicBezTo>
                    <a:lnTo>
                      <a:pt x="90" y="628"/>
                    </a:lnTo>
                    <a:close/>
                    <a:moveTo>
                      <a:pt x="175" y="667"/>
                    </a:moveTo>
                    <a:cubicBezTo>
                      <a:pt x="175" y="664"/>
                      <a:pt x="175" y="664"/>
                      <a:pt x="175" y="664"/>
                    </a:cubicBezTo>
                    <a:cubicBezTo>
                      <a:pt x="170" y="666"/>
                      <a:pt x="170" y="666"/>
                      <a:pt x="170" y="666"/>
                    </a:cubicBezTo>
                    <a:lnTo>
                      <a:pt x="175" y="667"/>
                    </a:lnTo>
                    <a:close/>
                    <a:moveTo>
                      <a:pt x="74" y="466"/>
                    </a:moveTo>
                    <a:cubicBezTo>
                      <a:pt x="72" y="462"/>
                      <a:pt x="72" y="462"/>
                      <a:pt x="72" y="462"/>
                    </a:cubicBezTo>
                    <a:cubicBezTo>
                      <a:pt x="72" y="462"/>
                      <a:pt x="69" y="464"/>
                      <a:pt x="68" y="464"/>
                    </a:cubicBezTo>
                    <a:cubicBezTo>
                      <a:pt x="66" y="464"/>
                      <a:pt x="67" y="461"/>
                      <a:pt x="67" y="461"/>
                    </a:cubicBezTo>
                    <a:cubicBezTo>
                      <a:pt x="66" y="459"/>
                      <a:pt x="66" y="459"/>
                      <a:pt x="66" y="459"/>
                    </a:cubicBezTo>
                    <a:cubicBezTo>
                      <a:pt x="62" y="461"/>
                      <a:pt x="62" y="461"/>
                      <a:pt x="62" y="461"/>
                    </a:cubicBezTo>
                    <a:cubicBezTo>
                      <a:pt x="66" y="468"/>
                      <a:pt x="66" y="468"/>
                      <a:pt x="66" y="468"/>
                    </a:cubicBezTo>
                    <a:cubicBezTo>
                      <a:pt x="71" y="469"/>
                      <a:pt x="74" y="466"/>
                      <a:pt x="74" y="466"/>
                    </a:cubicBezTo>
                    <a:close/>
                    <a:moveTo>
                      <a:pt x="72" y="456"/>
                    </a:moveTo>
                    <a:cubicBezTo>
                      <a:pt x="67" y="457"/>
                      <a:pt x="67" y="457"/>
                      <a:pt x="67" y="457"/>
                    </a:cubicBezTo>
                    <a:cubicBezTo>
                      <a:pt x="70" y="460"/>
                      <a:pt x="70" y="460"/>
                      <a:pt x="70" y="460"/>
                    </a:cubicBezTo>
                    <a:lnTo>
                      <a:pt x="72" y="456"/>
                    </a:lnTo>
                    <a:close/>
                    <a:moveTo>
                      <a:pt x="93" y="452"/>
                    </a:moveTo>
                    <a:cubicBezTo>
                      <a:pt x="90" y="456"/>
                      <a:pt x="90" y="456"/>
                      <a:pt x="90" y="456"/>
                    </a:cubicBezTo>
                    <a:cubicBezTo>
                      <a:pt x="94" y="456"/>
                      <a:pt x="94" y="456"/>
                      <a:pt x="94" y="456"/>
                    </a:cubicBezTo>
                    <a:cubicBezTo>
                      <a:pt x="97" y="454"/>
                      <a:pt x="97" y="454"/>
                      <a:pt x="97" y="454"/>
                    </a:cubicBezTo>
                    <a:lnTo>
                      <a:pt x="93" y="452"/>
                    </a:lnTo>
                    <a:close/>
                    <a:moveTo>
                      <a:pt x="157" y="329"/>
                    </a:moveTo>
                    <a:cubicBezTo>
                      <a:pt x="153" y="331"/>
                      <a:pt x="153" y="331"/>
                      <a:pt x="153" y="331"/>
                    </a:cubicBezTo>
                    <a:cubicBezTo>
                      <a:pt x="152" y="328"/>
                      <a:pt x="152" y="328"/>
                      <a:pt x="152" y="328"/>
                    </a:cubicBezTo>
                    <a:cubicBezTo>
                      <a:pt x="145" y="331"/>
                      <a:pt x="145" y="331"/>
                      <a:pt x="145" y="331"/>
                    </a:cubicBezTo>
                    <a:cubicBezTo>
                      <a:pt x="145" y="335"/>
                      <a:pt x="145" y="335"/>
                      <a:pt x="145" y="335"/>
                    </a:cubicBezTo>
                    <a:cubicBezTo>
                      <a:pt x="145" y="336"/>
                      <a:pt x="147" y="338"/>
                      <a:pt x="147" y="338"/>
                    </a:cubicBezTo>
                    <a:cubicBezTo>
                      <a:pt x="153" y="336"/>
                      <a:pt x="153" y="336"/>
                      <a:pt x="153" y="336"/>
                    </a:cubicBezTo>
                    <a:cubicBezTo>
                      <a:pt x="152" y="332"/>
                      <a:pt x="152" y="332"/>
                      <a:pt x="152" y="332"/>
                    </a:cubicBezTo>
                    <a:cubicBezTo>
                      <a:pt x="157" y="331"/>
                      <a:pt x="157" y="331"/>
                      <a:pt x="157" y="331"/>
                    </a:cubicBezTo>
                    <a:lnTo>
                      <a:pt x="157" y="329"/>
                    </a:lnTo>
                    <a:close/>
                    <a:moveTo>
                      <a:pt x="244" y="634"/>
                    </a:moveTo>
                    <a:cubicBezTo>
                      <a:pt x="247" y="630"/>
                      <a:pt x="247" y="630"/>
                      <a:pt x="247" y="630"/>
                    </a:cubicBezTo>
                    <a:cubicBezTo>
                      <a:pt x="243" y="631"/>
                      <a:pt x="243" y="631"/>
                      <a:pt x="243" y="631"/>
                    </a:cubicBezTo>
                    <a:lnTo>
                      <a:pt x="244" y="634"/>
                    </a:lnTo>
                    <a:close/>
                    <a:moveTo>
                      <a:pt x="260" y="618"/>
                    </a:moveTo>
                    <a:cubicBezTo>
                      <a:pt x="265" y="619"/>
                      <a:pt x="265" y="619"/>
                      <a:pt x="265" y="619"/>
                    </a:cubicBezTo>
                    <a:cubicBezTo>
                      <a:pt x="263" y="616"/>
                      <a:pt x="263" y="616"/>
                      <a:pt x="263" y="616"/>
                    </a:cubicBezTo>
                    <a:lnTo>
                      <a:pt x="260" y="618"/>
                    </a:lnTo>
                    <a:close/>
                    <a:moveTo>
                      <a:pt x="265" y="614"/>
                    </a:moveTo>
                    <a:cubicBezTo>
                      <a:pt x="267" y="617"/>
                      <a:pt x="267" y="617"/>
                      <a:pt x="267" y="617"/>
                    </a:cubicBezTo>
                    <a:cubicBezTo>
                      <a:pt x="271" y="615"/>
                      <a:pt x="271" y="615"/>
                      <a:pt x="271" y="615"/>
                    </a:cubicBezTo>
                    <a:cubicBezTo>
                      <a:pt x="270" y="613"/>
                      <a:pt x="270" y="613"/>
                      <a:pt x="270" y="613"/>
                    </a:cubicBezTo>
                    <a:lnTo>
                      <a:pt x="265" y="614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55" name="Faroe Islands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3732213" y="2273300"/>
                <a:ext cx="109537" cy="131762"/>
              </a:xfrm>
              <a:custGeom>
                <a:avLst/>
                <a:gdLst/>
                <a:ahLst/>
                <a:cxnLst>
                  <a:cxn ang="0">
                    <a:pos x="7" y="13"/>
                  </a:cxn>
                  <a:cxn ang="0">
                    <a:pos x="0" y="11"/>
                  </a:cxn>
                  <a:cxn ang="0">
                    <a:pos x="32" y="30"/>
                  </a:cxn>
                  <a:cxn ang="0">
                    <a:pos x="29" y="30"/>
                  </a:cxn>
                  <a:cxn ang="0">
                    <a:pos x="21" y="22"/>
                  </a:cxn>
                  <a:cxn ang="0">
                    <a:pos x="21" y="26"/>
                  </a:cxn>
                  <a:cxn ang="0">
                    <a:pos x="19" y="40"/>
                  </a:cxn>
                  <a:cxn ang="0">
                    <a:pos x="21" y="37"/>
                  </a:cxn>
                  <a:cxn ang="0">
                    <a:pos x="20" y="30"/>
                  </a:cxn>
                  <a:cxn ang="0">
                    <a:pos x="23" y="34"/>
                  </a:cxn>
                  <a:cxn ang="0">
                    <a:pos x="28" y="36"/>
                  </a:cxn>
                  <a:cxn ang="0">
                    <a:pos x="20" y="30"/>
                  </a:cxn>
                  <a:cxn ang="0">
                    <a:pos x="19" y="16"/>
                  </a:cxn>
                  <a:cxn ang="0">
                    <a:pos x="14" y="13"/>
                  </a:cxn>
                  <a:cxn ang="0">
                    <a:pos x="10" y="11"/>
                  </a:cxn>
                  <a:cxn ang="0">
                    <a:pos x="11" y="17"/>
                  </a:cxn>
                  <a:cxn ang="0">
                    <a:pos x="27" y="21"/>
                  </a:cxn>
                  <a:cxn ang="0">
                    <a:pos x="23" y="11"/>
                  </a:cxn>
                  <a:cxn ang="0">
                    <a:pos x="19" y="6"/>
                  </a:cxn>
                  <a:cxn ang="0">
                    <a:pos x="22" y="16"/>
                  </a:cxn>
                  <a:cxn ang="0">
                    <a:pos x="27" y="30"/>
                  </a:cxn>
                  <a:cxn ang="0">
                    <a:pos x="27" y="21"/>
                  </a:cxn>
                  <a:cxn ang="0">
                    <a:pos x="28" y="15"/>
                  </a:cxn>
                  <a:cxn ang="0">
                    <a:pos x="30" y="16"/>
                  </a:cxn>
                  <a:cxn ang="0">
                    <a:pos x="34" y="14"/>
                  </a:cxn>
                  <a:cxn ang="0">
                    <a:pos x="32" y="9"/>
                  </a:cxn>
                  <a:cxn ang="0">
                    <a:pos x="28" y="6"/>
                  </a:cxn>
                  <a:cxn ang="0">
                    <a:pos x="29" y="2"/>
                  </a:cxn>
                  <a:cxn ang="0">
                    <a:pos x="24" y="10"/>
                  </a:cxn>
                  <a:cxn ang="0">
                    <a:pos x="31" y="14"/>
                  </a:cxn>
                  <a:cxn ang="0">
                    <a:pos x="30" y="20"/>
                  </a:cxn>
                  <a:cxn ang="0">
                    <a:pos x="35" y="18"/>
                  </a:cxn>
                  <a:cxn ang="0">
                    <a:pos x="31" y="14"/>
                  </a:cxn>
                  <a:cxn ang="0">
                    <a:pos x="38" y="10"/>
                  </a:cxn>
                  <a:cxn ang="0">
                    <a:pos x="37" y="14"/>
                  </a:cxn>
                  <a:cxn ang="0">
                    <a:pos x="42" y="13"/>
                  </a:cxn>
                  <a:cxn ang="0">
                    <a:pos x="38" y="5"/>
                  </a:cxn>
                  <a:cxn ang="0">
                    <a:pos x="44" y="9"/>
                  </a:cxn>
                  <a:cxn ang="0">
                    <a:pos x="42" y="1"/>
                  </a:cxn>
                  <a:cxn ang="0">
                    <a:pos x="38" y="1"/>
                  </a:cxn>
                  <a:cxn ang="0">
                    <a:pos x="36" y="8"/>
                  </a:cxn>
                  <a:cxn ang="0">
                    <a:pos x="38" y="1"/>
                  </a:cxn>
                  <a:cxn ang="0">
                    <a:pos x="32" y="2"/>
                  </a:cxn>
                  <a:cxn ang="0">
                    <a:pos x="34" y="2"/>
                  </a:cxn>
                  <a:cxn ang="0">
                    <a:pos x="45" y="14"/>
                  </a:cxn>
                  <a:cxn ang="0">
                    <a:pos x="47" y="11"/>
                  </a:cxn>
                  <a:cxn ang="0">
                    <a:pos x="48" y="9"/>
                  </a:cxn>
                  <a:cxn ang="0">
                    <a:pos x="48" y="5"/>
                  </a:cxn>
                  <a:cxn ang="0">
                    <a:pos x="48" y="5"/>
                  </a:cxn>
                  <a:cxn ang="0">
                    <a:pos x="16" y="49"/>
                  </a:cxn>
                  <a:cxn ang="0">
                    <a:pos x="14" y="45"/>
                  </a:cxn>
                  <a:cxn ang="0">
                    <a:pos x="13" y="55"/>
                  </a:cxn>
                  <a:cxn ang="0">
                    <a:pos x="18" y="62"/>
                  </a:cxn>
                  <a:cxn ang="0">
                    <a:pos x="17" y="57"/>
                  </a:cxn>
                  <a:cxn ang="0">
                    <a:pos x="19" y="53"/>
                  </a:cxn>
                </a:cxnLst>
                <a:rect l="0" t="0" r="r" b="b"/>
                <a:pathLst>
                  <a:path w="51" h="62">
                    <a:moveTo>
                      <a:pt x="0" y="11"/>
                    </a:moveTo>
                    <a:cubicBezTo>
                      <a:pt x="7" y="13"/>
                      <a:pt x="7" y="13"/>
                      <a:pt x="7" y="13"/>
                    </a:cubicBezTo>
                    <a:cubicBezTo>
                      <a:pt x="6" y="10"/>
                      <a:pt x="6" y="10"/>
                      <a:pt x="6" y="10"/>
                    </a:cubicBezTo>
                    <a:lnTo>
                      <a:pt x="0" y="11"/>
                    </a:lnTo>
                    <a:close/>
                    <a:moveTo>
                      <a:pt x="29" y="30"/>
                    </a:moveTo>
                    <a:cubicBezTo>
                      <a:pt x="32" y="30"/>
                      <a:pt x="32" y="30"/>
                      <a:pt x="32" y="30"/>
                    </a:cubicBezTo>
                    <a:cubicBezTo>
                      <a:pt x="30" y="24"/>
                      <a:pt x="30" y="24"/>
                      <a:pt x="30" y="24"/>
                    </a:cubicBezTo>
                    <a:lnTo>
                      <a:pt x="29" y="30"/>
                    </a:lnTo>
                    <a:close/>
                    <a:moveTo>
                      <a:pt x="22" y="27"/>
                    </a:moveTo>
                    <a:cubicBezTo>
                      <a:pt x="21" y="22"/>
                      <a:pt x="21" y="22"/>
                      <a:pt x="21" y="22"/>
                    </a:cubicBezTo>
                    <a:cubicBezTo>
                      <a:pt x="19" y="23"/>
                      <a:pt x="19" y="23"/>
                      <a:pt x="19" y="23"/>
                    </a:cubicBezTo>
                    <a:cubicBezTo>
                      <a:pt x="21" y="26"/>
                      <a:pt x="21" y="26"/>
                      <a:pt x="21" y="26"/>
                    </a:cubicBezTo>
                    <a:lnTo>
                      <a:pt x="22" y="27"/>
                    </a:lnTo>
                    <a:close/>
                    <a:moveTo>
                      <a:pt x="19" y="40"/>
                    </a:moveTo>
                    <a:cubicBezTo>
                      <a:pt x="21" y="39"/>
                      <a:pt x="21" y="39"/>
                      <a:pt x="21" y="39"/>
                    </a:cubicBezTo>
                    <a:cubicBezTo>
                      <a:pt x="21" y="37"/>
                      <a:pt x="21" y="37"/>
                      <a:pt x="21" y="37"/>
                    </a:cubicBezTo>
                    <a:lnTo>
                      <a:pt x="19" y="40"/>
                    </a:lnTo>
                    <a:close/>
                    <a:moveTo>
                      <a:pt x="20" y="30"/>
                    </a:moveTo>
                    <a:cubicBezTo>
                      <a:pt x="20" y="34"/>
                      <a:pt x="20" y="34"/>
                      <a:pt x="20" y="34"/>
                    </a:cubicBezTo>
                    <a:cubicBezTo>
                      <a:pt x="23" y="34"/>
                      <a:pt x="23" y="34"/>
                      <a:pt x="23" y="34"/>
                    </a:cubicBezTo>
                    <a:cubicBezTo>
                      <a:pt x="24" y="40"/>
                      <a:pt x="24" y="40"/>
                      <a:pt x="24" y="40"/>
                    </a:cubicBezTo>
                    <a:cubicBezTo>
                      <a:pt x="28" y="36"/>
                      <a:pt x="28" y="36"/>
                      <a:pt x="28" y="36"/>
                    </a:cubicBezTo>
                    <a:cubicBezTo>
                      <a:pt x="28" y="36"/>
                      <a:pt x="27" y="34"/>
                      <a:pt x="24" y="32"/>
                    </a:cubicBezTo>
                    <a:cubicBezTo>
                      <a:pt x="23" y="31"/>
                      <a:pt x="20" y="30"/>
                      <a:pt x="20" y="30"/>
                    </a:cubicBezTo>
                    <a:close/>
                    <a:moveTo>
                      <a:pt x="15" y="20"/>
                    </a:moveTo>
                    <a:cubicBezTo>
                      <a:pt x="18" y="19"/>
                      <a:pt x="19" y="16"/>
                      <a:pt x="19" y="16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4" y="13"/>
                      <a:pt x="14" y="13"/>
                      <a:pt x="14" y="13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10" y="11"/>
                      <a:pt x="10" y="11"/>
                      <a:pt x="10" y="11"/>
                    </a:cubicBezTo>
                    <a:cubicBezTo>
                      <a:pt x="10" y="11"/>
                      <a:pt x="12" y="13"/>
                      <a:pt x="11" y="14"/>
                    </a:cubicBezTo>
                    <a:cubicBezTo>
                      <a:pt x="11" y="17"/>
                      <a:pt x="11" y="17"/>
                      <a:pt x="11" y="17"/>
                    </a:cubicBezTo>
                    <a:cubicBezTo>
                      <a:pt x="11" y="17"/>
                      <a:pt x="12" y="20"/>
                      <a:pt x="15" y="20"/>
                    </a:cubicBezTo>
                    <a:close/>
                    <a:moveTo>
                      <a:pt x="27" y="21"/>
                    </a:moveTo>
                    <a:cubicBezTo>
                      <a:pt x="27" y="21"/>
                      <a:pt x="28" y="19"/>
                      <a:pt x="27" y="18"/>
                    </a:cubicBezTo>
                    <a:cubicBezTo>
                      <a:pt x="26" y="17"/>
                      <a:pt x="23" y="11"/>
                      <a:pt x="23" y="11"/>
                    </a:cubicBezTo>
                    <a:cubicBezTo>
                      <a:pt x="23" y="11"/>
                      <a:pt x="23" y="3"/>
                      <a:pt x="21" y="3"/>
                    </a:cubicBezTo>
                    <a:cubicBezTo>
                      <a:pt x="20" y="3"/>
                      <a:pt x="19" y="6"/>
                      <a:pt x="19" y="6"/>
                    </a:cubicBezTo>
                    <a:cubicBezTo>
                      <a:pt x="18" y="10"/>
                      <a:pt x="18" y="10"/>
                      <a:pt x="18" y="10"/>
                    </a:cubicBezTo>
                    <a:cubicBezTo>
                      <a:pt x="19" y="14"/>
                      <a:pt x="22" y="13"/>
                      <a:pt x="22" y="16"/>
                    </a:cubicBezTo>
                    <a:cubicBezTo>
                      <a:pt x="22" y="19"/>
                      <a:pt x="23" y="25"/>
                      <a:pt x="24" y="26"/>
                    </a:cubicBezTo>
                    <a:cubicBezTo>
                      <a:pt x="26" y="26"/>
                      <a:pt x="27" y="30"/>
                      <a:pt x="27" y="30"/>
                    </a:cubicBezTo>
                    <a:cubicBezTo>
                      <a:pt x="27" y="30"/>
                      <a:pt x="29" y="26"/>
                      <a:pt x="29" y="24"/>
                    </a:cubicBezTo>
                    <a:cubicBezTo>
                      <a:pt x="28" y="22"/>
                      <a:pt x="27" y="21"/>
                      <a:pt x="27" y="21"/>
                    </a:cubicBezTo>
                    <a:close/>
                    <a:moveTo>
                      <a:pt x="28" y="13"/>
                    </a:moveTo>
                    <a:cubicBezTo>
                      <a:pt x="28" y="15"/>
                      <a:pt x="28" y="15"/>
                      <a:pt x="28" y="15"/>
                    </a:cubicBezTo>
                    <a:cubicBezTo>
                      <a:pt x="30" y="18"/>
                      <a:pt x="30" y="18"/>
                      <a:pt x="30" y="18"/>
                    </a:cubicBezTo>
                    <a:cubicBezTo>
                      <a:pt x="30" y="16"/>
                      <a:pt x="30" y="16"/>
                      <a:pt x="30" y="16"/>
                    </a:cubicBezTo>
                    <a:cubicBezTo>
                      <a:pt x="30" y="14"/>
                      <a:pt x="30" y="14"/>
                      <a:pt x="30" y="14"/>
                    </a:cubicBezTo>
                    <a:cubicBezTo>
                      <a:pt x="34" y="14"/>
                      <a:pt x="34" y="14"/>
                      <a:pt x="34" y="14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32" y="9"/>
                      <a:pt x="32" y="9"/>
                      <a:pt x="32" y="9"/>
                    </a:cubicBezTo>
                    <a:cubicBezTo>
                      <a:pt x="30" y="6"/>
                      <a:pt x="30" y="6"/>
                      <a:pt x="30" y="6"/>
                    </a:cubicBezTo>
                    <a:cubicBezTo>
                      <a:pt x="28" y="6"/>
                      <a:pt x="28" y="6"/>
                      <a:pt x="28" y="6"/>
                    </a:cubicBezTo>
                    <a:cubicBezTo>
                      <a:pt x="29" y="4"/>
                      <a:pt x="29" y="4"/>
                      <a:pt x="29" y="4"/>
                    </a:cubicBezTo>
                    <a:cubicBezTo>
                      <a:pt x="29" y="2"/>
                      <a:pt x="29" y="2"/>
                      <a:pt x="29" y="2"/>
                    </a:cubicBezTo>
                    <a:cubicBezTo>
                      <a:pt x="24" y="2"/>
                      <a:pt x="24" y="2"/>
                      <a:pt x="24" y="2"/>
                    </a:cubicBezTo>
                    <a:cubicBezTo>
                      <a:pt x="24" y="10"/>
                      <a:pt x="24" y="10"/>
                      <a:pt x="24" y="10"/>
                    </a:cubicBezTo>
                    <a:lnTo>
                      <a:pt x="28" y="13"/>
                    </a:lnTo>
                    <a:close/>
                    <a:moveTo>
                      <a:pt x="31" y="14"/>
                    </a:moveTo>
                    <a:cubicBezTo>
                      <a:pt x="32" y="17"/>
                      <a:pt x="32" y="17"/>
                      <a:pt x="32" y="17"/>
                    </a:cubicBezTo>
                    <a:cubicBezTo>
                      <a:pt x="30" y="20"/>
                      <a:pt x="30" y="20"/>
                      <a:pt x="30" y="20"/>
                    </a:cubicBezTo>
                    <a:cubicBezTo>
                      <a:pt x="32" y="21"/>
                      <a:pt x="32" y="21"/>
                      <a:pt x="32" y="21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3" y="15"/>
                      <a:pt x="33" y="15"/>
                      <a:pt x="33" y="15"/>
                    </a:cubicBezTo>
                    <a:lnTo>
                      <a:pt x="31" y="14"/>
                    </a:lnTo>
                    <a:close/>
                    <a:moveTo>
                      <a:pt x="38" y="5"/>
                    </a:moveTo>
                    <a:cubicBezTo>
                      <a:pt x="38" y="10"/>
                      <a:pt x="38" y="10"/>
                      <a:pt x="38" y="10"/>
                    </a:cubicBezTo>
                    <a:cubicBezTo>
                      <a:pt x="37" y="11"/>
                      <a:pt x="37" y="11"/>
                      <a:pt x="37" y="11"/>
                    </a:cubicBezTo>
                    <a:cubicBezTo>
                      <a:pt x="37" y="14"/>
                      <a:pt x="37" y="14"/>
                      <a:pt x="37" y="14"/>
                    </a:cubicBezTo>
                    <a:cubicBezTo>
                      <a:pt x="40" y="16"/>
                      <a:pt x="40" y="16"/>
                      <a:pt x="40" y="16"/>
                    </a:cubicBezTo>
                    <a:cubicBezTo>
                      <a:pt x="42" y="13"/>
                      <a:pt x="42" y="13"/>
                      <a:pt x="42" y="13"/>
                    </a:cubicBezTo>
                    <a:cubicBezTo>
                      <a:pt x="39" y="5"/>
                      <a:pt x="39" y="5"/>
                      <a:pt x="39" y="5"/>
                    </a:cubicBezTo>
                    <a:lnTo>
                      <a:pt x="38" y="5"/>
                    </a:lnTo>
                    <a:close/>
                    <a:moveTo>
                      <a:pt x="43" y="8"/>
                    </a:moveTo>
                    <a:cubicBezTo>
                      <a:pt x="44" y="9"/>
                      <a:pt x="44" y="9"/>
                      <a:pt x="44" y="9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42" y="1"/>
                      <a:pt x="42" y="1"/>
                      <a:pt x="42" y="1"/>
                    </a:cubicBezTo>
                    <a:lnTo>
                      <a:pt x="43" y="8"/>
                    </a:lnTo>
                    <a:close/>
                    <a:moveTo>
                      <a:pt x="38" y="1"/>
                    </a:moveTo>
                    <a:cubicBezTo>
                      <a:pt x="36" y="2"/>
                      <a:pt x="36" y="2"/>
                      <a:pt x="36" y="2"/>
                    </a:cubicBezTo>
                    <a:cubicBezTo>
                      <a:pt x="36" y="8"/>
                      <a:pt x="36" y="8"/>
                      <a:pt x="36" y="8"/>
                    </a:cubicBezTo>
                    <a:cubicBezTo>
                      <a:pt x="37" y="8"/>
                      <a:pt x="37" y="8"/>
                      <a:pt x="37" y="8"/>
                    </a:cubicBezTo>
                    <a:lnTo>
                      <a:pt x="38" y="1"/>
                    </a:lnTo>
                    <a:close/>
                    <a:moveTo>
                      <a:pt x="34" y="2"/>
                    </a:moveTo>
                    <a:cubicBezTo>
                      <a:pt x="32" y="2"/>
                      <a:pt x="32" y="2"/>
                      <a:pt x="32" y="2"/>
                    </a:cubicBezTo>
                    <a:cubicBezTo>
                      <a:pt x="34" y="9"/>
                      <a:pt x="34" y="9"/>
                      <a:pt x="34" y="9"/>
                    </a:cubicBezTo>
                    <a:lnTo>
                      <a:pt x="34" y="2"/>
                    </a:lnTo>
                    <a:close/>
                    <a:moveTo>
                      <a:pt x="45" y="11"/>
                    </a:moveTo>
                    <a:cubicBezTo>
                      <a:pt x="45" y="14"/>
                      <a:pt x="45" y="14"/>
                      <a:pt x="45" y="14"/>
                    </a:cubicBezTo>
                    <a:cubicBezTo>
                      <a:pt x="47" y="15"/>
                      <a:pt x="47" y="15"/>
                      <a:pt x="47" y="15"/>
                    </a:cubicBezTo>
                    <a:cubicBezTo>
                      <a:pt x="47" y="11"/>
                      <a:pt x="47" y="11"/>
                      <a:pt x="47" y="11"/>
                    </a:cubicBezTo>
                    <a:cubicBezTo>
                      <a:pt x="49" y="10"/>
                      <a:pt x="49" y="10"/>
                      <a:pt x="49" y="10"/>
                    </a:cubicBezTo>
                    <a:cubicBezTo>
                      <a:pt x="48" y="9"/>
                      <a:pt x="48" y="9"/>
                      <a:pt x="48" y="9"/>
                    </a:cubicBezTo>
                    <a:lnTo>
                      <a:pt x="45" y="11"/>
                    </a:lnTo>
                    <a:close/>
                    <a:moveTo>
                      <a:pt x="48" y="5"/>
                    </a:moveTo>
                    <a:cubicBezTo>
                      <a:pt x="45" y="6"/>
                      <a:pt x="48" y="7"/>
                      <a:pt x="48" y="7"/>
                    </a:cubicBezTo>
                    <a:cubicBezTo>
                      <a:pt x="50" y="7"/>
                      <a:pt x="51" y="4"/>
                      <a:pt x="48" y="5"/>
                    </a:cubicBezTo>
                    <a:close/>
                    <a:moveTo>
                      <a:pt x="20" y="51"/>
                    </a:moveTo>
                    <a:cubicBezTo>
                      <a:pt x="18" y="50"/>
                      <a:pt x="16" y="50"/>
                      <a:pt x="16" y="49"/>
                    </a:cubicBezTo>
                    <a:cubicBezTo>
                      <a:pt x="16" y="48"/>
                      <a:pt x="17" y="47"/>
                      <a:pt x="17" y="46"/>
                    </a:cubicBezTo>
                    <a:cubicBezTo>
                      <a:pt x="17" y="45"/>
                      <a:pt x="15" y="42"/>
                      <a:pt x="14" y="45"/>
                    </a:cubicBezTo>
                    <a:cubicBezTo>
                      <a:pt x="13" y="47"/>
                      <a:pt x="14" y="53"/>
                      <a:pt x="14" y="53"/>
                    </a:cubicBezTo>
                    <a:cubicBezTo>
                      <a:pt x="13" y="55"/>
                      <a:pt x="13" y="55"/>
                      <a:pt x="13" y="55"/>
                    </a:cubicBezTo>
                    <a:cubicBezTo>
                      <a:pt x="17" y="62"/>
                      <a:pt x="17" y="62"/>
                      <a:pt x="17" y="62"/>
                    </a:cubicBezTo>
                    <a:cubicBezTo>
                      <a:pt x="18" y="62"/>
                      <a:pt x="18" y="62"/>
                      <a:pt x="18" y="62"/>
                    </a:cubicBezTo>
                    <a:cubicBezTo>
                      <a:pt x="19" y="58"/>
                      <a:pt x="19" y="58"/>
                      <a:pt x="19" y="58"/>
                    </a:cubicBezTo>
                    <a:cubicBezTo>
                      <a:pt x="17" y="57"/>
                      <a:pt x="17" y="57"/>
                      <a:pt x="17" y="57"/>
                    </a:cubicBezTo>
                    <a:cubicBezTo>
                      <a:pt x="19" y="57"/>
                      <a:pt x="19" y="57"/>
                      <a:pt x="19" y="57"/>
                    </a:cubicBezTo>
                    <a:cubicBezTo>
                      <a:pt x="19" y="53"/>
                      <a:pt x="19" y="53"/>
                      <a:pt x="19" y="53"/>
                    </a:cubicBezTo>
                    <a:cubicBezTo>
                      <a:pt x="19" y="53"/>
                      <a:pt x="21" y="53"/>
                      <a:pt x="20" y="51"/>
                    </a:cubicBez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56" name="Estonia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5753100" y="2689225"/>
                <a:ext cx="458787" cy="290512"/>
              </a:xfrm>
              <a:custGeom>
                <a:avLst/>
                <a:gdLst/>
                <a:ahLst/>
                <a:cxnLst>
                  <a:cxn ang="0">
                    <a:pos x="199" y="82"/>
                  </a:cxn>
                  <a:cxn ang="0">
                    <a:pos x="192" y="42"/>
                  </a:cxn>
                  <a:cxn ang="0">
                    <a:pos x="198" y="11"/>
                  </a:cxn>
                  <a:cxn ang="0">
                    <a:pos x="194" y="5"/>
                  </a:cxn>
                  <a:cxn ang="0">
                    <a:pos x="150" y="5"/>
                  </a:cxn>
                  <a:cxn ang="0">
                    <a:pos x="133" y="7"/>
                  </a:cxn>
                  <a:cxn ang="0">
                    <a:pos x="129" y="8"/>
                  </a:cxn>
                  <a:cxn ang="0">
                    <a:pos x="124" y="7"/>
                  </a:cxn>
                  <a:cxn ang="0">
                    <a:pos x="118" y="3"/>
                  </a:cxn>
                  <a:cxn ang="0">
                    <a:pos x="114" y="8"/>
                  </a:cxn>
                  <a:cxn ang="0">
                    <a:pos x="103" y="17"/>
                  </a:cxn>
                  <a:cxn ang="0">
                    <a:pos x="91" y="24"/>
                  </a:cxn>
                  <a:cxn ang="0">
                    <a:pos x="75" y="30"/>
                  </a:cxn>
                  <a:cxn ang="0">
                    <a:pos x="66" y="31"/>
                  </a:cxn>
                  <a:cxn ang="0">
                    <a:pos x="67" y="39"/>
                  </a:cxn>
                  <a:cxn ang="0">
                    <a:pos x="56" y="44"/>
                  </a:cxn>
                  <a:cxn ang="0">
                    <a:pos x="51" y="45"/>
                  </a:cxn>
                  <a:cxn ang="0">
                    <a:pos x="52" y="50"/>
                  </a:cxn>
                  <a:cxn ang="0">
                    <a:pos x="52" y="61"/>
                  </a:cxn>
                  <a:cxn ang="0">
                    <a:pos x="51" y="65"/>
                  </a:cxn>
                  <a:cxn ang="0">
                    <a:pos x="58" y="72"/>
                  </a:cxn>
                  <a:cxn ang="0">
                    <a:pos x="56" y="77"/>
                  </a:cxn>
                  <a:cxn ang="0">
                    <a:pos x="57" y="88"/>
                  </a:cxn>
                  <a:cxn ang="0">
                    <a:pos x="69" y="101"/>
                  </a:cxn>
                  <a:cxn ang="0">
                    <a:pos x="78" y="99"/>
                  </a:cxn>
                  <a:cxn ang="0">
                    <a:pos x="87" y="94"/>
                  </a:cxn>
                  <a:cxn ang="0">
                    <a:pos x="97" y="112"/>
                  </a:cxn>
                  <a:cxn ang="0">
                    <a:pos x="98" y="126"/>
                  </a:cxn>
                  <a:cxn ang="0">
                    <a:pos x="105" y="122"/>
                  </a:cxn>
                  <a:cxn ang="0">
                    <a:pos x="119" y="108"/>
                  </a:cxn>
                  <a:cxn ang="0">
                    <a:pos x="127" y="108"/>
                  </a:cxn>
                  <a:cxn ang="0">
                    <a:pos x="140" y="117"/>
                  </a:cxn>
                  <a:cxn ang="0">
                    <a:pos x="154" y="117"/>
                  </a:cxn>
                  <a:cxn ang="0">
                    <a:pos x="164" y="131"/>
                  </a:cxn>
                  <a:cxn ang="0">
                    <a:pos x="188" y="126"/>
                  </a:cxn>
                  <a:cxn ang="0">
                    <a:pos x="202" y="123"/>
                  </a:cxn>
                  <a:cxn ang="0">
                    <a:pos x="205" y="108"/>
                  </a:cxn>
                  <a:cxn ang="0">
                    <a:pos x="28" y="91"/>
                  </a:cxn>
                  <a:cxn ang="0">
                    <a:pos x="15" y="93"/>
                  </a:cxn>
                  <a:cxn ang="0">
                    <a:pos x="11" y="104"/>
                  </a:cxn>
                  <a:cxn ang="0">
                    <a:pos x="0" y="99"/>
                  </a:cxn>
                  <a:cxn ang="0">
                    <a:pos x="6" y="108"/>
                  </a:cxn>
                  <a:cxn ang="0">
                    <a:pos x="16" y="119"/>
                  </a:cxn>
                  <a:cxn ang="0">
                    <a:pos x="13" y="125"/>
                  </a:cxn>
                  <a:cxn ang="0">
                    <a:pos x="13" y="137"/>
                  </a:cxn>
                  <a:cxn ang="0">
                    <a:pos x="24" y="114"/>
                  </a:cxn>
                  <a:cxn ang="0">
                    <a:pos x="44" y="99"/>
                  </a:cxn>
                  <a:cxn ang="0">
                    <a:pos x="28" y="91"/>
                  </a:cxn>
                  <a:cxn ang="0">
                    <a:pos x="18" y="77"/>
                  </a:cxn>
                  <a:cxn ang="0">
                    <a:pos x="26" y="80"/>
                  </a:cxn>
                  <a:cxn ang="0">
                    <a:pos x="32" y="76"/>
                  </a:cxn>
                  <a:cxn ang="0">
                    <a:pos x="32" y="65"/>
                  </a:cxn>
                  <a:cxn ang="0">
                    <a:pos x="19" y="57"/>
                  </a:cxn>
                  <a:cxn ang="0">
                    <a:pos x="8" y="71"/>
                  </a:cxn>
                  <a:cxn ang="0">
                    <a:pos x="9" y="75"/>
                  </a:cxn>
                  <a:cxn ang="0">
                    <a:pos x="45" y="83"/>
                  </a:cxn>
                  <a:cxn ang="0">
                    <a:pos x="45" y="88"/>
                  </a:cxn>
                  <a:cxn ang="0">
                    <a:pos x="51" y="83"/>
                  </a:cxn>
                  <a:cxn ang="0">
                    <a:pos x="45" y="58"/>
                  </a:cxn>
                </a:cxnLst>
                <a:rect l="0" t="0" r="r" b="b"/>
                <a:pathLst>
                  <a:path w="215" h="137">
                    <a:moveTo>
                      <a:pt x="205" y="96"/>
                    </a:moveTo>
                    <a:cubicBezTo>
                      <a:pt x="205" y="96"/>
                      <a:pt x="205" y="93"/>
                      <a:pt x="204" y="89"/>
                    </a:cubicBezTo>
                    <a:cubicBezTo>
                      <a:pt x="204" y="86"/>
                      <a:pt x="199" y="82"/>
                      <a:pt x="199" y="82"/>
                    </a:cubicBezTo>
                    <a:cubicBezTo>
                      <a:pt x="199" y="82"/>
                      <a:pt x="198" y="72"/>
                      <a:pt x="195" y="65"/>
                    </a:cubicBezTo>
                    <a:cubicBezTo>
                      <a:pt x="192" y="59"/>
                      <a:pt x="186" y="47"/>
                      <a:pt x="186" y="47"/>
                    </a:cubicBezTo>
                    <a:cubicBezTo>
                      <a:pt x="186" y="47"/>
                      <a:pt x="189" y="44"/>
                      <a:pt x="192" y="42"/>
                    </a:cubicBezTo>
                    <a:cubicBezTo>
                      <a:pt x="193" y="40"/>
                      <a:pt x="197" y="30"/>
                      <a:pt x="197" y="30"/>
                    </a:cubicBezTo>
                    <a:cubicBezTo>
                      <a:pt x="200" y="14"/>
                      <a:pt x="200" y="14"/>
                      <a:pt x="200" y="14"/>
                    </a:cubicBezTo>
                    <a:cubicBezTo>
                      <a:pt x="200" y="14"/>
                      <a:pt x="198" y="12"/>
                      <a:pt x="198" y="11"/>
                    </a:cubicBezTo>
                    <a:cubicBezTo>
                      <a:pt x="198" y="9"/>
                      <a:pt x="204" y="5"/>
                      <a:pt x="204" y="5"/>
                    </a:cubicBez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0"/>
                      <a:pt x="197" y="4"/>
                      <a:pt x="194" y="5"/>
                    </a:cubicBezTo>
                    <a:cubicBezTo>
                      <a:pt x="191" y="8"/>
                      <a:pt x="184" y="4"/>
                      <a:pt x="178" y="5"/>
                    </a:cubicBezTo>
                    <a:cubicBezTo>
                      <a:pt x="171" y="7"/>
                      <a:pt x="175" y="10"/>
                      <a:pt x="167" y="10"/>
                    </a:cubicBezTo>
                    <a:cubicBezTo>
                      <a:pt x="159" y="10"/>
                      <a:pt x="150" y="5"/>
                      <a:pt x="150" y="5"/>
                    </a:cubicBezTo>
                    <a:cubicBezTo>
                      <a:pt x="147" y="8"/>
                      <a:pt x="147" y="8"/>
                      <a:pt x="147" y="8"/>
                    </a:cubicBezTo>
                    <a:cubicBezTo>
                      <a:pt x="139" y="5"/>
                      <a:pt x="139" y="5"/>
                      <a:pt x="139" y="5"/>
                    </a:cubicBezTo>
                    <a:cubicBezTo>
                      <a:pt x="133" y="7"/>
                      <a:pt x="133" y="7"/>
                      <a:pt x="133" y="7"/>
                    </a:cubicBezTo>
                    <a:cubicBezTo>
                      <a:pt x="131" y="3"/>
                      <a:pt x="131" y="3"/>
                      <a:pt x="131" y="3"/>
                    </a:cubicBezTo>
                    <a:cubicBezTo>
                      <a:pt x="128" y="4"/>
                      <a:pt x="128" y="4"/>
                      <a:pt x="128" y="4"/>
                    </a:cubicBezTo>
                    <a:cubicBezTo>
                      <a:pt x="129" y="8"/>
                      <a:pt x="129" y="8"/>
                      <a:pt x="129" y="8"/>
                    </a:cubicBezTo>
                    <a:cubicBezTo>
                      <a:pt x="126" y="8"/>
                      <a:pt x="126" y="8"/>
                      <a:pt x="126" y="8"/>
                    </a:cubicBezTo>
                    <a:cubicBezTo>
                      <a:pt x="126" y="7"/>
                      <a:pt x="126" y="7"/>
                      <a:pt x="126" y="7"/>
                    </a:cubicBezTo>
                    <a:cubicBezTo>
                      <a:pt x="124" y="7"/>
                      <a:pt x="124" y="7"/>
                      <a:pt x="124" y="7"/>
                    </a:cubicBezTo>
                    <a:cubicBezTo>
                      <a:pt x="124" y="10"/>
                      <a:pt x="124" y="10"/>
                      <a:pt x="124" y="10"/>
                    </a:cubicBezTo>
                    <a:cubicBezTo>
                      <a:pt x="122" y="10"/>
                      <a:pt x="122" y="10"/>
                      <a:pt x="122" y="10"/>
                    </a:cubicBezTo>
                    <a:cubicBezTo>
                      <a:pt x="118" y="3"/>
                      <a:pt x="118" y="3"/>
                      <a:pt x="118" y="3"/>
                    </a:cubicBezTo>
                    <a:cubicBezTo>
                      <a:pt x="117" y="4"/>
                      <a:pt x="117" y="4"/>
                      <a:pt x="117" y="4"/>
                    </a:cubicBezTo>
                    <a:cubicBezTo>
                      <a:pt x="117" y="4"/>
                      <a:pt x="119" y="10"/>
                      <a:pt x="118" y="11"/>
                    </a:cubicBezTo>
                    <a:cubicBezTo>
                      <a:pt x="117" y="11"/>
                      <a:pt x="114" y="8"/>
                      <a:pt x="114" y="8"/>
                    </a:cubicBezTo>
                    <a:cubicBezTo>
                      <a:pt x="114" y="14"/>
                      <a:pt x="114" y="14"/>
                      <a:pt x="114" y="14"/>
                    </a:cubicBezTo>
                    <a:cubicBezTo>
                      <a:pt x="114" y="14"/>
                      <a:pt x="114" y="15"/>
                      <a:pt x="112" y="16"/>
                    </a:cubicBezTo>
                    <a:cubicBezTo>
                      <a:pt x="110" y="17"/>
                      <a:pt x="103" y="17"/>
                      <a:pt x="103" y="17"/>
                    </a:cubicBezTo>
                    <a:cubicBezTo>
                      <a:pt x="103" y="17"/>
                      <a:pt x="98" y="20"/>
                      <a:pt x="97" y="20"/>
                    </a:cubicBezTo>
                    <a:cubicBezTo>
                      <a:pt x="96" y="20"/>
                      <a:pt x="90" y="15"/>
                      <a:pt x="89" y="16"/>
                    </a:cubicBezTo>
                    <a:cubicBezTo>
                      <a:pt x="88" y="17"/>
                      <a:pt x="91" y="24"/>
                      <a:pt x="91" y="24"/>
                    </a:cubicBezTo>
                    <a:cubicBezTo>
                      <a:pt x="87" y="26"/>
                      <a:pt x="87" y="26"/>
                      <a:pt x="87" y="26"/>
                    </a:cubicBezTo>
                    <a:cubicBezTo>
                      <a:pt x="87" y="26"/>
                      <a:pt x="80" y="24"/>
                      <a:pt x="78" y="25"/>
                    </a:cubicBezTo>
                    <a:cubicBezTo>
                      <a:pt x="75" y="26"/>
                      <a:pt x="75" y="30"/>
                      <a:pt x="75" y="30"/>
                    </a:cubicBezTo>
                    <a:cubicBezTo>
                      <a:pt x="72" y="30"/>
                      <a:pt x="72" y="30"/>
                      <a:pt x="72" y="30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66" y="31"/>
                      <a:pt x="66" y="31"/>
                      <a:pt x="66" y="31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6" y="33"/>
                      <a:pt x="70" y="39"/>
                      <a:pt x="69" y="40"/>
                    </a:cubicBezTo>
                    <a:cubicBezTo>
                      <a:pt x="68" y="41"/>
                      <a:pt x="67" y="39"/>
                      <a:pt x="67" y="39"/>
                    </a:cubicBezTo>
                    <a:cubicBezTo>
                      <a:pt x="60" y="40"/>
                      <a:pt x="60" y="40"/>
                      <a:pt x="60" y="40"/>
                    </a:cubicBezTo>
                    <a:cubicBezTo>
                      <a:pt x="57" y="41"/>
                      <a:pt x="57" y="41"/>
                      <a:pt x="57" y="41"/>
                    </a:cubicBezTo>
                    <a:cubicBezTo>
                      <a:pt x="56" y="44"/>
                      <a:pt x="56" y="44"/>
                      <a:pt x="56" y="44"/>
                    </a:cubicBezTo>
                    <a:cubicBezTo>
                      <a:pt x="55" y="44"/>
                      <a:pt x="55" y="44"/>
                      <a:pt x="55" y="44"/>
                    </a:cubicBezTo>
                    <a:cubicBezTo>
                      <a:pt x="51" y="46"/>
                      <a:pt x="51" y="46"/>
                      <a:pt x="51" y="46"/>
                    </a:cubicBezTo>
                    <a:cubicBezTo>
                      <a:pt x="51" y="45"/>
                      <a:pt x="51" y="45"/>
                      <a:pt x="51" y="45"/>
                    </a:cubicBezTo>
                    <a:cubicBezTo>
                      <a:pt x="50" y="45"/>
                      <a:pt x="50" y="45"/>
                      <a:pt x="50" y="45"/>
                    </a:cubicBezTo>
                    <a:cubicBezTo>
                      <a:pt x="50" y="48"/>
                      <a:pt x="50" y="48"/>
                      <a:pt x="50" y="48"/>
                    </a:cubicBezTo>
                    <a:cubicBezTo>
                      <a:pt x="52" y="50"/>
                      <a:pt x="52" y="50"/>
                      <a:pt x="52" y="50"/>
                    </a:cubicBezTo>
                    <a:cubicBezTo>
                      <a:pt x="51" y="55"/>
                      <a:pt x="51" y="55"/>
                      <a:pt x="51" y="55"/>
                    </a:cubicBezTo>
                    <a:cubicBezTo>
                      <a:pt x="51" y="55"/>
                      <a:pt x="49" y="55"/>
                      <a:pt x="49" y="57"/>
                    </a:cubicBezTo>
                    <a:cubicBezTo>
                      <a:pt x="49" y="59"/>
                      <a:pt x="51" y="61"/>
                      <a:pt x="52" y="61"/>
                    </a:cubicBezTo>
                    <a:cubicBezTo>
                      <a:pt x="54" y="61"/>
                      <a:pt x="55" y="59"/>
                      <a:pt x="55" y="59"/>
                    </a:cubicBezTo>
                    <a:cubicBezTo>
                      <a:pt x="56" y="60"/>
                      <a:pt x="56" y="60"/>
                      <a:pt x="56" y="60"/>
                    </a:cubicBezTo>
                    <a:cubicBezTo>
                      <a:pt x="56" y="60"/>
                      <a:pt x="51" y="63"/>
                      <a:pt x="51" y="65"/>
                    </a:cubicBezTo>
                    <a:cubicBezTo>
                      <a:pt x="50" y="67"/>
                      <a:pt x="54" y="71"/>
                      <a:pt x="54" y="71"/>
                    </a:cubicBezTo>
                    <a:cubicBezTo>
                      <a:pt x="53" y="75"/>
                      <a:pt x="53" y="75"/>
                      <a:pt x="53" y="75"/>
                    </a:cubicBezTo>
                    <a:cubicBezTo>
                      <a:pt x="58" y="72"/>
                      <a:pt x="58" y="72"/>
                      <a:pt x="58" y="72"/>
                    </a:cubicBezTo>
                    <a:cubicBezTo>
                      <a:pt x="64" y="73"/>
                      <a:pt x="64" y="73"/>
                      <a:pt x="64" y="73"/>
                    </a:cubicBezTo>
                    <a:cubicBezTo>
                      <a:pt x="63" y="76"/>
                      <a:pt x="63" y="76"/>
                      <a:pt x="63" y="76"/>
                    </a:cubicBezTo>
                    <a:cubicBezTo>
                      <a:pt x="56" y="77"/>
                      <a:pt x="56" y="77"/>
                      <a:pt x="56" y="77"/>
                    </a:cubicBezTo>
                    <a:cubicBezTo>
                      <a:pt x="57" y="78"/>
                      <a:pt x="57" y="78"/>
                      <a:pt x="57" y="78"/>
                    </a:cubicBezTo>
                    <a:cubicBezTo>
                      <a:pt x="55" y="79"/>
                      <a:pt x="55" y="79"/>
                      <a:pt x="55" y="79"/>
                    </a:cubicBezTo>
                    <a:cubicBezTo>
                      <a:pt x="57" y="88"/>
                      <a:pt x="57" y="88"/>
                      <a:pt x="57" y="88"/>
                    </a:cubicBezTo>
                    <a:cubicBezTo>
                      <a:pt x="57" y="88"/>
                      <a:pt x="61" y="87"/>
                      <a:pt x="63" y="89"/>
                    </a:cubicBezTo>
                    <a:cubicBezTo>
                      <a:pt x="65" y="91"/>
                      <a:pt x="66" y="94"/>
                      <a:pt x="67" y="96"/>
                    </a:cubicBezTo>
                    <a:cubicBezTo>
                      <a:pt x="68" y="98"/>
                      <a:pt x="69" y="101"/>
                      <a:pt x="69" y="101"/>
                    </a:cubicBezTo>
                    <a:cubicBezTo>
                      <a:pt x="71" y="99"/>
                      <a:pt x="71" y="99"/>
                      <a:pt x="71" y="99"/>
                    </a:cubicBezTo>
                    <a:cubicBezTo>
                      <a:pt x="73" y="102"/>
                      <a:pt x="73" y="102"/>
                      <a:pt x="73" y="102"/>
                    </a:cubicBezTo>
                    <a:cubicBezTo>
                      <a:pt x="78" y="99"/>
                      <a:pt x="78" y="99"/>
                      <a:pt x="78" y="99"/>
                    </a:cubicBezTo>
                    <a:cubicBezTo>
                      <a:pt x="83" y="104"/>
                      <a:pt x="83" y="104"/>
                      <a:pt x="83" y="104"/>
                    </a:cubicBezTo>
                    <a:cubicBezTo>
                      <a:pt x="86" y="101"/>
                      <a:pt x="86" y="101"/>
                      <a:pt x="86" y="101"/>
                    </a:cubicBezTo>
                    <a:cubicBezTo>
                      <a:pt x="86" y="101"/>
                      <a:pt x="86" y="95"/>
                      <a:pt x="87" y="94"/>
                    </a:cubicBezTo>
                    <a:cubicBezTo>
                      <a:pt x="89" y="93"/>
                      <a:pt x="95" y="94"/>
                      <a:pt x="96" y="96"/>
                    </a:cubicBezTo>
                    <a:cubicBezTo>
                      <a:pt x="98" y="97"/>
                      <a:pt x="94" y="103"/>
                      <a:pt x="94" y="103"/>
                    </a:cubicBezTo>
                    <a:cubicBezTo>
                      <a:pt x="97" y="112"/>
                      <a:pt x="97" y="112"/>
                      <a:pt x="97" y="112"/>
                    </a:cubicBezTo>
                    <a:cubicBezTo>
                      <a:pt x="95" y="120"/>
                      <a:pt x="95" y="120"/>
                      <a:pt x="95" y="120"/>
                    </a:cubicBezTo>
                    <a:cubicBezTo>
                      <a:pt x="96" y="126"/>
                      <a:pt x="96" y="126"/>
                      <a:pt x="96" y="126"/>
                    </a:cubicBezTo>
                    <a:cubicBezTo>
                      <a:pt x="98" y="126"/>
                      <a:pt x="98" y="126"/>
                      <a:pt x="98" y="126"/>
                    </a:cubicBezTo>
                    <a:cubicBezTo>
                      <a:pt x="99" y="122"/>
                      <a:pt x="99" y="122"/>
                      <a:pt x="99" y="122"/>
                    </a:cubicBezTo>
                    <a:cubicBezTo>
                      <a:pt x="102" y="119"/>
                      <a:pt x="102" y="119"/>
                      <a:pt x="102" y="119"/>
                    </a:cubicBezTo>
                    <a:cubicBezTo>
                      <a:pt x="105" y="122"/>
                      <a:pt x="105" y="122"/>
                      <a:pt x="105" y="122"/>
                    </a:cubicBezTo>
                    <a:cubicBezTo>
                      <a:pt x="108" y="115"/>
                      <a:pt x="108" y="115"/>
                      <a:pt x="108" y="115"/>
                    </a:cubicBezTo>
                    <a:cubicBezTo>
                      <a:pt x="114" y="117"/>
                      <a:pt x="114" y="117"/>
                      <a:pt x="114" y="117"/>
                    </a:cubicBezTo>
                    <a:cubicBezTo>
                      <a:pt x="119" y="108"/>
                      <a:pt x="119" y="108"/>
                      <a:pt x="119" y="108"/>
                    </a:cubicBezTo>
                    <a:cubicBezTo>
                      <a:pt x="122" y="108"/>
                      <a:pt x="122" y="108"/>
                      <a:pt x="122" y="108"/>
                    </a:cubicBezTo>
                    <a:cubicBezTo>
                      <a:pt x="126" y="113"/>
                      <a:pt x="126" y="113"/>
                      <a:pt x="126" y="113"/>
                    </a:cubicBezTo>
                    <a:cubicBezTo>
                      <a:pt x="127" y="108"/>
                      <a:pt x="127" y="108"/>
                      <a:pt x="127" y="108"/>
                    </a:cubicBezTo>
                    <a:cubicBezTo>
                      <a:pt x="133" y="112"/>
                      <a:pt x="133" y="112"/>
                      <a:pt x="133" y="112"/>
                    </a:cubicBezTo>
                    <a:cubicBezTo>
                      <a:pt x="137" y="112"/>
                      <a:pt x="137" y="112"/>
                      <a:pt x="137" y="112"/>
                    </a:cubicBezTo>
                    <a:cubicBezTo>
                      <a:pt x="140" y="117"/>
                      <a:pt x="140" y="117"/>
                      <a:pt x="140" y="117"/>
                    </a:cubicBezTo>
                    <a:cubicBezTo>
                      <a:pt x="144" y="114"/>
                      <a:pt x="144" y="114"/>
                      <a:pt x="144" y="114"/>
                    </a:cubicBezTo>
                    <a:cubicBezTo>
                      <a:pt x="144" y="114"/>
                      <a:pt x="146" y="119"/>
                      <a:pt x="148" y="119"/>
                    </a:cubicBezTo>
                    <a:cubicBezTo>
                      <a:pt x="150" y="119"/>
                      <a:pt x="154" y="117"/>
                      <a:pt x="154" y="117"/>
                    </a:cubicBezTo>
                    <a:cubicBezTo>
                      <a:pt x="154" y="121"/>
                      <a:pt x="154" y="121"/>
                      <a:pt x="154" y="121"/>
                    </a:cubicBezTo>
                    <a:cubicBezTo>
                      <a:pt x="154" y="121"/>
                      <a:pt x="159" y="123"/>
                      <a:pt x="161" y="124"/>
                    </a:cubicBezTo>
                    <a:cubicBezTo>
                      <a:pt x="163" y="126"/>
                      <a:pt x="162" y="131"/>
                      <a:pt x="164" y="131"/>
                    </a:cubicBezTo>
                    <a:cubicBezTo>
                      <a:pt x="173" y="131"/>
                      <a:pt x="173" y="131"/>
                      <a:pt x="173" y="131"/>
                    </a:cubicBezTo>
                    <a:cubicBezTo>
                      <a:pt x="177" y="134"/>
                      <a:pt x="177" y="134"/>
                      <a:pt x="177" y="134"/>
                    </a:cubicBezTo>
                    <a:cubicBezTo>
                      <a:pt x="188" y="126"/>
                      <a:pt x="188" y="126"/>
                      <a:pt x="188" y="126"/>
                    </a:cubicBezTo>
                    <a:cubicBezTo>
                      <a:pt x="188" y="126"/>
                      <a:pt x="196" y="129"/>
                      <a:pt x="199" y="128"/>
                    </a:cubicBezTo>
                    <a:cubicBezTo>
                      <a:pt x="200" y="128"/>
                      <a:pt x="202" y="128"/>
                      <a:pt x="203" y="127"/>
                    </a:cubicBezTo>
                    <a:cubicBezTo>
                      <a:pt x="202" y="123"/>
                      <a:pt x="202" y="123"/>
                      <a:pt x="202" y="123"/>
                    </a:cubicBezTo>
                    <a:cubicBezTo>
                      <a:pt x="203" y="117"/>
                      <a:pt x="203" y="117"/>
                      <a:pt x="203" y="117"/>
                    </a:cubicBezTo>
                    <a:cubicBezTo>
                      <a:pt x="203" y="117"/>
                      <a:pt x="206" y="117"/>
                      <a:pt x="208" y="114"/>
                    </a:cubicBezTo>
                    <a:cubicBezTo>
                      <a:pt x="208" y="112"/>
                      <a:pt x="205" y="108"/>
                      <a:pt x="205" y="108"/>
                    </a:cubicBezTo>
                    <a:cubicBezTo>
                      <a:pt x="205" y="108"/>
                      <a:pt x="214" y="106"/>
                      <a:pt x="215" y="104"/>
                    </a:cubicBezTo>
                    <a:cubicBezTo>
                      <a:pt x="215" y="102"/>
                      <a:pt x="205" y="96"/>
                      <a:pt x="205" y="96"/>
                    </a:cubicBezTo>
                    <a:close/>
                    <a:moveTo>
                      <a:pt x="28" y="91"/>
                    </a:moveTo>
                    <a:cubicBezTo>
                      <a:pt x="24" y="88"/>
                      <a:pt x="24" y="88"/>
                      <a:pt x="24" y="88"/>
                    </a:cubicBezTo>
                    <a:cubicBezTo>
                      <a:pt x="24" y="88"/>
                      <a:pt x="22" y="90"/>
                      <a:pt x="21" y="91"/>
                    </a:cubicBezTo>
                    <a:cubicBezTo>
                      <a:pt x="20" y="92"/>
                      <a:pt x="15" y="93"/>
                      <a:pt x="15" y="93"/>
                    </a:cubicBezTo>
                    <a:cubicBezTo>
                      <a:pt x="15" y="93"/>
                      <a:pt x="18" y="98"/>
                      <a:pt x="16" y="99"/>
                    </a:cubicBezTo>
                    <a:cubicBezTo>
                      <a:pt x="14" y="99"/>
                      <a:pt x="12" y="94"/>
                      <a:pt x="12" y="94"/>
                    </a:cubicBezTo>
                    <a:cubicBezTo>
                      <a:pt x="11" y="104"/>
                      <a:pt x="11" y="104"/>
                      <a:pt x="11" y="104"/>
                    </a:cubicBezTo>
                    <a:cubicBezTo>
                      <a:pt x="6" y="102"/>
                      <a:pt x="6" y="102"/>
                      <a:pt x="6" y="102"/>
                    </a:cubicBezTo>
                    <a:cubicBezTo>
                      <a:pt x="6" y="99"/>
                      <a:pt x="6" y="99"/>
                      <a:pt x="6" y="99"/>
                    </a:cubicBezTo>
                    <a:cubicBezTo>
                      <a:pt x="0" y="99"/>
                      <a:pt x="0" y="99"/>
                      <a:pt x="0" y="99"/>
                    </a:cubicBezTo>
                    <a:cubicBezTo>
                      <a:pt x="0" y="102"/>
                      <a:pt x="0" y="102"/>
                      <a:pt x="0" y="102"/>
                    </a:cubicBezTo>
                    <a:cubicBezTo>
                      <a:pt x="4" y="105"/>
                      <a:pt x="4" y="105"/>
                      <a:pt x="4" y="105"/>
                    </a:cubicBezTo>
                    <a:cubicBezTo>
                      <a:pt x="6" y="108"/>
                      <a:pt x="6" y="108"/>
                      <a:pt x="6" y="108"/>
                    </a:cubicBezTo>
                    <a:cubicBezTo>
                      <a:pt x="2" y="114"/>
                      <a:pt x="2" y="114"/>
                      <a:pt x="2" y="114"/>
                    </a:cubicBezTo>
                    <a:cubicBezTo>
                      <a:pt x="2" y="114"/>
                      <a:pt x="7" y="117"/>
                      <a:pt x="9" y="118"/>
                    </a:cubicBezTo>
                    <a:cubicBezTo>
                      <a:pt x="12" y="120"/>
                      <a:pt x="16" y="119"/>
                      <a:pt x="16" y="119"/>
                    </a:cubicBezTo>
                    <a:cubicBezTo>
                      <a:pt x="16" y="119"/>
                      <a:pt x="17" y="120"/>
                      <a:pt x="17" y="123"/>
                    </a:cubicBezTo>
                    <a:cubicBezTo>
                      <a:pt x="17" y="125"/>
                      <a:pt x="16" y="126"/>
                      <a:pt x="16" y="126"/>
                    </a:cubicBezTo>
                    <a:cubicBezTo>
                      <a:pt x="13" y="125"/>
                      <a:pt x="13" y="125"/>
                      <a:pt x="13" y="125"/>
                    </a:cubicBezTo>
                    <a:cubicBezTo>
                      <a:pt x="13" y="129"/>
                      <a:pt x="13" y="129"/>
                      <a:pt x="13" y="129"/>
                    </a:cubicBezTo>
                    <a:cubicBezTo>
                      <a:pt x="13" y="131"/>
                      <a:pt x="9" y="134"/>
                      <a:pt x="9" y="134"/>
                    </a:cubicBezTo>
                    <a:cubicBezTo>
                      <a:pt x="13" y="137"/>
                      <a:pt x="13" y="137"/>
                      <a:pt x="13" y="137"/>
                    </a:cubicBezTo>
                    <a:cubicBezTo>
                      <a:pt x="13" y="137"/>
                      <a:pt x="16" y="134"/>
                      <a:pt x="18" y="130"/>
                    </a:cubicBezTo>
                    <a:cubicBezTo>
                      <a:pt x="20" y="126"/>
                      <a:pt x="20" y="118"/>
                      <a:pt x="20" y="118"/>
                    </a:cubicBezTo>
                    <a:cubicBezTo>
                      <a:pt x="20" y="118"/>
                      <a:pt x="23" y="115"/>
                      <a:pt x="24" y="114"/>
                    </a:cubicBezTo>
                    <a:cubicBezTo>
                      <a:pt x="25" y="114"/>
                      <a:pt x="32" y="112"/>
                      <a:pt x="32" y="112"/>
                    </a:cubicBezTo>
                    <a:cubicBezTo>
                      <a:pt x="41" y="103"/>
                      <a:pt x="41" y="103"/>
                      <a:pt x="41" y="103"/>
                    </a:cubicBezTo>
                    <a:cubicBezTo>
                      <a:pt x="44" y="99"/>
                      <a:pt x="44" y="99"/>
                      <a:pt x="44" y="99"/>
                    </a:cubicBezTo>
                    <a:cubicBezTo>
                      <a:pt x="48" y="93"/>
                      <a:pt x="48" y="93"/>
                      <a:pt x="48" y="93"/>
                    </a:cubicBezTo>
                    <a:cubicBezTo>
                      <a:pt x="48" y="93"/>
                      <a:pt x="39" y="87"/>
                      <a:pt x="34" y="87"/>
                    </a:cubicBezTo>
                    <a:cubicBezTo>
                      <a:pt x="30" y="87"/>
                      <a:pt x="28" y="91"/>
                      <a:pt x="28" y="91"/>
                    </a:cubicBezTo>
                    <a:close/>
                    <a:moveTo>
                      <a:pt x="14" y="72"/>
                    </a:moveTo>
                    <a:cubicBezTo>
                      <a:pt x="19" y="75"/>
                      <a:pt x="19" y="75"/>
                      <a:pt x="19" y="75"/>
                    </a:cubicBezTo>
                    <a:cubicBezTo>
                      <a:pt x="18" y="77"/>
                      <a:pt x="18" y="77"/>
                      <a:pt x="18" y="77"/>
                    </a:cubicBezTo>
                    <a:cubicBezTo>
                      <a:pt x="21" y="83"/>
                      <a:pt x="21" y="83"/>
                      <a:pt x="21" y="83"/>
                    </a:cubicBezTo>
                    <a:cubicBezTo>
                      <a:pt x="24" y="83"/>
                      <a:pt x="24" y="83"/>
                      <a:pt x="24" y="83"/>
                    </a:cubicBezTo>
                    <a:cubicBezTo>
                      <a:pt x="26" y="80"/>
                      <a:pt x="26" y="80"/>
                      <a:pt x="26" y="80"/>
                    </a:cubicBezTo>
                    <a:cubicBezTo>
                      <a:pt x="28" y="78"/>
                      <a:pt x="28" y="78"/>
                      <a:pt x="28" y="78"/>
                    </a:cubicBezTo>
                    <a:cubicBezTo>
                      <a:pt x="30" y="78"/>
                      <a:pt x="30" y="78"/>
                      <a:pt x="30" y="78"/>
                    </a:cubicBezTo>
                    <a:cubicBezTo>
                      <a:pt x="32" y="76"/>
                      <a:pt x="32" y="76"/>
                      <a:pt x="32" y="76"/>
                    </a:cubicBezTo>
                    <a:cubicBezTo>
                      <a:pt x="31" y="73"/>
                      <a:pt x="31" y="73"/>
                      <a:pt x="31" y="73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38" y="72"/>
                      <a:pt x="34" y="67"/>
                      <a:pt x="32" y="65"/>
                    </a:cubicBezTo>
                    <a:cubicBezTo>
                      <a:pt x="29" y="63"/>
                      <a:pt x="26" y="63"/>
                      <a:pt x="26" y="63"/>
                    </a:cubicBezTo>
                    <a:cubicBezTo>
                      <a:pt x="22" y="59"/>
                      <a:pt x="22" y="59"/>
                      <a:pt x="22" y="59"/>
                    </a:cubicBezTo>
                    <a:cubicBezTo>
                      <a:pt x="19" y="57"/>
                      <a:pt x="19" y="57"/>
                      <a:pt x="19" y="57"/>
                    </a:cubicBezTo>
                    <a:cubicBezTo>
                      <a:pt x="20" y="62"/>
                      <a:pt x="20" y="62"/>
                      <a:pt x="20" y="62"/>
                    </a:cubicBezTo>
                    <a:cubicBezTo>
                      <a:pt x="16" y="68"/>
                      <a:pt x="16" y="68"/>
                      <a:pt x="16" y="68"/>
                    </a:cubicBezTo>
                    <a:cubicBezTo>
                      <a:pt x="8" y="71"/>
                      <a:pt x="8" y="71"/>
                      <a:pt x="8" y="71"/>
                    </a:cubicBezTo>
                    <a:cubicBezTo>
                      <a:pt x="6" y="70"/>
                      <a:pt x="6" y="70"/>
                      <a:pt x="6" y="70"/>
                    </a:cubicBezTo>
                    <a:cubicBezTo>
                      <a:pt x="2" y="72"/>
                      <a:pt x="2" y="72"/>
                      <a:pt x="2" y="72"/>
                    </a:cubicBezTo>
                    <a:cubicBezTo>
                      <a:pt x="9" y="75"/>
                      <a:pt x="9" y="75"/>
                      <a:pt x="9" y="75"/>
                    </a:cubicBezTo>
                    <a:lnTo>
                      <a:pt x="14" y="72"/>
                    </a:lnTo>
                    <a:close/>
                    <a:moveTo>
                      <a:pt x="45" y="80"/>
                    </a:moveTo>
                    <a:cubicBezTo>
                      <a:pt x="45" y="83"/>
                      <a:pt x="45" y="83"/>
                      <a:pt x="45" y="83"/>
                    </a:cubicBezTo>
                    <a:cubicBezTo>
                      <a:pt x="41" y="86"/>
                      <a:pt x="41" y="86"/>
                      <a:pt x="41" y="86"/>
                    </a:cubicBezTo>
                    <a:cubicBezTo>
                      <a:pt x="44" y="88"/>
                      <a:pt x="44" y="88"/>
                      <a:pt x="44" y="88"/>
                    </a:cubicBezTo>
                    <a:cubicBezTo>
                      <a:pt x="45" y="88"/>
                      <a:pt x="45" y="88"/>
                      <a:pt x="45" y="88"/>
                    </a:cubicBezTo>
                    <a:cubicBezTo>
                      <a:pt x="48" y="91"/>
                      <a:pt x="48" y="91"/>
                      <a:pt x="48" y="91"/>
                    </a:cubicBezTo>
                    <a:cubicBezTo>
                      <a:pt x="53" y="89"/>
                      <a:pt x="53" y="89"/>
                      <a:pt x="53" y="89"/>
                    </a:cubicBezTo>
                    <a:cubicBezTo>
                      <a:pt x="51" y="83"/>
                      <a:pt x="51" y="83"/>
                      <a:pt x="51" y="83"/>
                    </a:cubicBezTo>
                    <a:lnTo>
                      <a:pt x="45" y="80"/>
                    </a:lnTo>
                    <a:close/>
                    <a:moveTo>
                      <a:pt x="42" y="62"/>
                    </a:moveTo>
                    <a:cubicBezTo>
                      <a:pt x="53" y="65"/>
                      <a:pt x="48" y="58"/>
                      <a:pt x="45" y="58"/>
                    </a:cubicBezTo>
                    <a:cubicBezTo>
                      <a:pt x="41" y="58"/>
                      <a:pt x="35" y="60"/>
                      <a:pt x="42" y="62"/>
                    </a:cubicBezTo>
                    <a:close/>
                  </a:path>
                </a:pathLst>
              </a:custGeom>
              <a:solidFill>
                <a:srgbClr val="FDC795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57" name="Denmark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4700588" y="3048000"/>
                <a:ext cx="571500" cy="436562"/>
              </a:xfrm>
              <a:custGeom>
                <a:avLst/>
                <a:gdLst/>
                <a:ahLst/>
                <a:cxnLst>
                  <a:cxn ang="0">
                    <a:pos x="148" y="197"/>
                  </a:cxn>
                  <a:cxn ang="0">
                    <a:pos x="162" y="174"/>
                  </a:cxn>
                  <a:cxn ang="0">
                    <a:pos x="155" y="185"/>
                  </a:cxn>
                  <a:cxn ang="0">
                    <a:pos x="81" y="186"/>
                  </a:cxn>
                  <a:cxn ang="0">
                    <a:pos x="98" y="185"/>
                  </a:cxn>
                  <a:cxn ang="0">
                    <a:pos x="97" y="176"/>
                  </a:cxn>
                  <a:cxn ang="0">
                    <a:pos x="84" y="179"/>
                  </a:cxn>
                  <a:cxn ang="0">
                    <a:pos x="65" y="179"/>
                  </a:cxn>
                  <a:cxn ang="0">
                    <a:pos x="68" y="176"/>
                  </a:cxn>
                  <a:cxn ang="0">
                    <a:pos x="99" y="173"/>
                  </a:cxn>
                  <a:cxn ang="0">
                    <a:pos x="94" y="137"/>
                  </a:cxn>
                  <a:cxn ang="0">
                    <a:pos x="84" y="138"/>
                  </a:cxn>
                  <a:cxn ang="0">
                    <a:pos x="63" y="150"/>
                  </a:cxn>
                  <a:cxn ang="0">
                    <a:pos x="75" y="165"/>
                  </a:cxn>
                  <a:cxn ang="0">
                    <a:pos x="93" y="113"/>
                  </a:cxn>
                  <a:cxn ang="0">
                    <a:pos x="127" y="188"/>
                  </a:cxn>
                  <a:cxn ang="0">
                    <a:pos x="108" y="187"/>
                  </a:cxn>
                  <a:cxn ang="0">
                    <a:pos x="132" y="200"/>
                  </a:cxn>
                  <a:cxn ang="0">
                    <a:pos x="17" y="66"/>
                  </a:cxn>
                  <a:cxn ang="0">
                    <a:pos x="35" y="48"/>
                  </a:cxn>
                  <a:cxn ang="0">
                    <a:pos x="66" y="43"/>
                  </a:cxn>
                  <a:cxn ang="0">
                    <a:pos x="89" y="13"/>
                  </a:cxn>
                  <a:cxn ang="0">
                    <a:pos x="63" y="28"/>
                  </a:cxn>
                  <a:cxn ang="0">
                    <a:pos x="10" y="63"/>
                  </a:cxn>
                  <a:cxn ang="0">
                    <a:pos x="20" y="67"/>
                  </a:cxn>
                  <a:cxn ang="0">
                    <a:pos x="20" y="64"/>
                  </a:cxn>
                  <a:cxn ang="0">
                    <a:pos x="120" y="123"/>
                  </a:cxn>
                  <a:cxn ang="0">
                    <a:pos x="107" y="29"/>
                  </a:cxn>
                  <a:cxn ang="0">
                    <a:pos x="15" y="163"/>
                  </a:cxn>
                  <a:cxn ang="0">
                    <a:pos x="50" y="175"/>
                  </a:cxn>
                  <a:cxn ang="0">
                    <a:pos x="59" y="159"/>
                  </a:cxn>
                  <a:cxn ang="0">
                    <a:pos x="59" y="133"/>
                  </a:cxn>
                  <a:cxn ang="0">
                    <a:pos x="73" y="120"/>
                  </a:cxn>
                  <a:cxn ang="0">
                    <a:pos x="89" y="95"/>
                  </a:cxn>
                  <a:cxn ang="0">
                    <a:pos x="96" y="99"/>
                  </a:cxn>
                  <a:cxn ang="0">
                    <a:pos x="106" y="86"/>
                  </a:cxn>
                  <a:cxn ang="0">
                    <a:pos x="82" y="78"/>
                  </a:cxn>
                  <a:cxn ang="0">
                    <a:pos x="84" y="54"/>
                  </a:cxn>
                  <a:cxn ang="0">
                    <a:pos x="57" y="48"/>
                  </a:cxn>
                  <a:cxn ang="0">
                    <a:pos x="48" y="76"/>
                  </a:cxn>
                  <a:cxn ang="0">
                    <a:pos x="39" y="76"/>
                  </a:cxn>
                  <a:cxn ang="0">
                    <a:pos x="24" y="75"/>
                  </a:cxn>
                  <a:cxn ang="0">
                    <a:pos x="5" y="70"/>
                  </a:cxn>
                  <a:cxn ang="0">
                    <a:pos x="5" y="95"/>
                  </a:cxn>
                  <a:cxn ang="0">
                    <a:pos x="8" y="107"/>
                  </a:cxn>
                  <a:cxn ang="0">
                    <a:pos x="2" y="132"/>
                  </a:cxn>
                  <a:cxn ang="0">
                    <a:pos x="17" y="147"/>
                  </a:cxn>
                  <a:cxn ang="0">
                    <a:pos x="39" y="185"/>
                  </a:cxn>
                  <a:cxn ang="0">
                    <a:pos x="61" y="188"/>
                  </a:cxn>
                  <a:cxn ang="0">
                    <a:pos x="157" y="104"/>
                  </a:cxn>
                  <a:cxn ang="0">
                    <a:pos x="151" y="133"/>
                  </a:cxn>
                  <a:cxn ang="0">
                    <a:pos x="145" y="122"/>
                  </a:cxn>
                  <a:cxn ang="0">
                    <a:pos x="133" y="125"/>
                  </a:cxn>
                  <a:cxn ang="0">
                    <a:pos x="130" y="117"/>
                  </a:cxn>
                  <a:cxn ang="0">
                    <a:pos x="108" y="131"/>
                  </a:cxn>
                  <a:cxn ang="0">
                    <a:pos x="114" y="144"/>
                  </a:cxn>
                  <a:cxn ang="0">
                    <a:pos x="137" y="166"/>
                  </a:cxn>
                  <a:cxn ang="0">
                    <a:pos x="142" y="177"/>
                  </a:cxn>
                  <a:cxn ang="0">
                    <a:pos x="165" y="158"/>
                  </a:cxn>
                  <a:cxn ang="0">
                    <a:pos x="169" y="142"/>
                  </a:cxn>
                  <a:cxn ang="0">
                    <a:pos x="12" y="151"/>
                  </a:cxn>
                  <a:cxn ang="0">
                    <a:pos x="249" y="169"/>
                  </a:cxn>
                  <a:cxn ang="0">
                    <a:pos x="174" y="134"/>
                  </a:cxn>
                </a:cxnLst>
                <a:rect l="0" t="0" r="r" b="b"/>
                <a:pathLst>
                  <a:path w="268" h="205">
                    <a:moveTo>
                      <a:pt x="143" y="181"/>
                    </a:moveTo>
                    <a:cubicBezTo>
                      <a:pt x="142" y="179"/>
                      <a:pt x="142" y="179"/>
                      <a:pt x="142" y="179"/>
                    </a:cubicBezTo>
                    <a:cubicBezTo>
                      <a:pt x="142" y="179"/>
                      <a:pt x="138" y="178"/>
                      <a:pt x="137" y="179"/>
                    </a:cubicBezTo>
                    <a:cubicBezTo>
                      <a:pt x="137" y="179"/>
                      <a:pt x="138" y="185"/>
                      <a:pt x="140" y="187"/>
                    </a:cubicBezTo>
                    <a:cubicBezTo>
                      <a:pt x="142" y="190"/>
                      <a:pt x="143" y="192"/>
                      <a:pt x="143" y="192"/>
                    </a:cubicBezTo>
                    <a:cubicBezTo>
                      <a:pt x="143" y="205"/>
                      <a:pt x="143" y="205"/>
                      <a:pt x="143" y="205"/>
                    </a:cubicBezTo>
                    <a:cubicBezTo>
                      <a:pt x="147" y="205"/>
                      <a:pt x="147" y="205"/>
                      <a:pt x="147" y="205"/>
                    </a:cubicBezTo>
                    <a:cubicBezTo>
                      <a:pt x="148" y="197"/>
                      <a:pt x="148" y="197"/>
                      <a:pt x="148" y="197"/>
                    </a:cubicBezTo>
                    <a:cubicBezTo>
                      <a:pt x="154" y="186"/>
                      <a:pt x="154" y="186"/>
                      <a:pt x="154" y="186"/>
                    </a:cubicBezTo>
                    <a:cubicBezTo>
                      <a:pt x="147" y="180"/>
                      <a:pt x="147" y="180"/>
                      <a:pt x="147" y="180"/>
                    </a:cubicBezTo>
                    <a:lnTo>
                      <a:pt x="143" y="181"/>
                    </a:lnTo>
                    <a:close/>
                    <a:moveTo>
                      <a:pt x="131" y="178"/>
                    </a:moveTo>
                    <a:cubicBezTo>
                      <a:pt x="131" y="176"/>
                      <a:pt x="129" y="177"/>
                      <a:pt x="129" y="178"/>
                    </a:cubicBezTo>
                    <a:cubicBezTo>
                      <a:pt x="130" y="180"/>
                      <a:pt x="131" y="178"/>
                      <a:pt x="131" y="178"/>
                    </a:cubicBezTo>
                    <a:close/>
                    <a:moveTo>
                      <a:pt x="166" y="175"/>
                    </a:moveTo>
                    <a:cubicBezTo>
                      <a:pt x="165" y="175"/>
                      <a:pt x="162" y="175"/>
                      <a:pt x="162" y="174"/>
                    </a:cubicBezTo>
                    <a:cubicBezTo>
                      <a:pt x="161" y="174"/>
                      <a:pt x="157" y="173"/>
                      <a:pt x="157" y="173"/>
                    </a:cubicBezTo>
                    <a:cubicBezTo>
                      <a:pt x="156" y="173"/>
                      <a:pt x="156" y="173"/>
                      <a:pt x="156" y="173"/>
                    </a:cubicBezTo>
                    <a:cubicBezTo>
                      <a:pt x="158" y="175"/>
                      <a:pt x="158" y="175"/>
                      <a:pt x="158" y="175"/>
                    </a:cubicBezTo>
                    <a:cubicBezTo>
                      <a:pt x="158" y="175"/>
                      <a:pt x="161" y="177"/>
                      <a:pt x="158" y="177"/>
                    </a:cubicBezTo>
                    <a:cubicBezTo>
                      <a:pt x="157" y="178"/>
                      <a:pt x="154" y="178"/>
                      <a:pt x="154" y="178"/>
                    </a:cubicBezTo>
                    <a:cubicBezTo>
                      <a:pt x="152" y="179"/>
                      <a:pt x="152" y="179"/>
                      <a:pt x="152" y="179"/>
                    </a:cubicBezTo>
                    <a:cubicBezTo>
                      <a:pt x="153" y="182"/>
                      <a:pt x="153" y="182"/>
                      <a:pt x="153" y="182"/>
                    </a:cubicBezTo>
                    <a:cubicBezTo>
                      <a:pt x="154" y="185"/>
                      <a:pt x="155" y="185"/>
                      <a:pt x="155" y="185"/>
                    </a:cubicBezTo>
                    <a:cubicBezTo>
                      <a:pt x="157" y="181"/>
                      <a:pt x="157" y="181"/>
                      <a:pt x="157" y="181"/>
                    </a:cubicBezTo>
                    <a:cubicBezTo>
                      <a:pt x="157" y="181"/>
                      <a:pt x="161" y="179"/>
                      <a:pt x="162" y="179"/>
                    </a:cubicBezTo>
                    <a:cubicBezTo>
                      <a:pt x="163" y="179"/>
                      <a:pt x="165" y="181"/>
                      <a:pt x="168" y="180"/>
                    </a:cubicBezTo>
                    <a:cubicBezTo>
                      <a:pt x="170" y="179"/>
                      <a:pt x="168" y="175"/>
                      <a:pt x="166" y="175"/>
                    </a:cubicBezTo>
                    <a:close/>
                    <a:moveTo>
                      <a:pt x="84" y="185"/>
                    </a:moveTo>
                    <a:cubicBezTo>
                      <a:pt x="84" y="185"/>
                      <a:pt x="84" y="183"/>
                      <a:pt x="82" y="181"/>
                    </a:cubicBezTo>
                    <a:cubicBezTo>
                      <a:pt x="81" y="180"/>
                      <a:pt x="79" y="179"/>
                      <a:pt x="79" y="179"/>
                    </a:cubicBezTo>
                    <a:cubicBezTo>
                      <a:pt x="79" y="179"/>
                      <a:pt x="80" y="185"/>
                      <a:pt x="81" y="186"/>
                    </a:cubicBezTo>
                    <a:cubicBezTo>
                      <a:pt x="83" y="187"/>
                      <a:pt x="84" y="189"/>
                      <a:pt x="84" y="189"/>
                    </a:cubicBezTo>
                    <a:cubicBezTo>
                      <a:pt x="90" y="188"/>
                      <a:pt x="90" y="188"/>
                      <a:pt x="90" y="188"/>
                    </a:cubicBezTo>
                    <a:cubicBezTo>
                      <a:pt x="86" y="185"/>
                      <a:pt x="86" y="185"/>
                      <a:pt x="86" y="185"/>
                    </a:cubicBezTo>
                    <a:lnTo>
                      <a:pt x="84" y="185"/>
                    </a:lnTo>
                    <a:close/>
                    <a:moveTo>
                      <a:pt x="106" y="167"/>
                    </a:moveTo>
                    <a:cubicBezTo>
                      <a:pt x="103" y="175"/>
                      <a:pt x="103" y="175"/>
                      <a:pt x="103" y="175"/>
                    </a:cubicBezTo>
                    <a:cubicBezTo>
                      <a:pt x="96" y="183"/>
                      <a:pt x="96" y="183"/>
                      <a:pt x="96" y="183"/>
                    </a:cubicBezTo>
                    <a:cubicBezTo>
                      <a:pt x="98" y="185"/>
                      <a:pt x="98" y="185"/>
                      <a:pt x="98" y="185"/>
                    </a:cubicBezTo>
                    <a:cubicBezTo>
                      <a:pt x="93" y="188"/>
                      <a:pt x="93" y="188"/>
                      <a:pt x="93" y="188"/>
                    </a:cubicBezTo>
                    <a:cubicBezTo>
                      <a:pt x="98" y="196"/>
                      <a:pt x="98" y="196"/>
                      <a:pt x="98" y="196"/>
                    </a:cubicBezTo>
                    <a:cubicBezTo>
                      <a:pt x="106" y="175"/>
                      <a:pt x="106" y="175"/>
                      <a:pt x="106" y="175"/>
                    </a:cubicBezTo>
                    <a:cubicBezTo>
                      <a:pt x="107" y="174"/>
                      <a:pt x="107" y="167"/>
                      <a:pt x="107" y="167"/>
                    </a:cubicBezTo>
                    <a:lnTo>
                      <a:pt x="106" y="167"/>
                    </a:lnTo>
                    <a:close/>
                    <a:moveTo>
                      <a:pt x="97" y="177"/>
                    </a:moveTo>
                    <a:cubicBezTo>
                      <a:pt x="94" y="177"/>
                      <a:pt x="94" y="177"/>
                      <a:pt x="94" y="177"/>
                    </a:cubicBezTo>
                    <a:cubicBezTo>
                      <a:pt x="97" y="176"/>
                      <a:pt x="97" y="176"/>
                      <a:pt x="97" y="176"/>
                    </a:cubicBezTo>
                    <a:cubicBezTo>
                      <a:pt x="97" y="176"/>
                      <a:pt x="96" y="175"/>
                      <a:pt x="94" y="175"/>
                    </a:cubicBezTo>
                    <a:cubicBezTo>
                      <a:pt x="90" y="177"/>
                      <a:pt x="90" y="177"/>
                      <a:pt x="90" y="177"/>
                    </a:cubicBezTo>
                    <a:cubicBezTo>
                      <a:pt x="91" y="181"/>
                      <a:pt x="91" y="181"/>
                      <a:pt x="91" y="181"/>
                    </a:cubicBezTo>
                    <a:cubicBezTo>
                      <a:pt x="91" y="181"/>
                      <a:pt x="96" y="180"/>
                      <a:pt x="97" y="180"/>
                    </a:cubicBezTo>
                    <a:cubicBezTo>
                      <a:pt x="98" y="179"/>
                      <a:pt x="97" y="177"/>
                      <a:pt x="97" y="177"/>
                    </a:cubicBezTo>
                    <a:close/>
                    <a:moveTo>
                      <a:pt x="87" y="180"/>
                    </a:moveTo>
                    <a:cubicBezTo>
                      <a:pt x="88" y="180"/>
                      <a:pt x="88" y="179"/>
                      <a:pt x="88" y="179"/>
                    </a:cubicBezTo>
                    <a:cubicBezTo>
                      <a:pt x="84" y="179"/>
                      <a:pt x="84" y="179"/>
                      <a:pt x="84" y="179"/>
                    </a:cubicBezTo>
                    <a:lnTo>
                      <a:pt x="87" y="180"/>
                    </a:lnTo>
                    <a:close/>
                    <a:moveTo>
                      <a:pt x="126" y="181"/>
                    </a:moveTo>
                    <a:cubicBezTo>
                      <a:pt x="129" y="180"/>
                      <a:pt x="129" y="179"/>
                      <a:pt x="125" y="179"/>
                    </a:cubicBezTo>
                    <a:cubicBezTo>
                      <a:pt x="125" y="179"/>
                      <a:pt x="123" y="179"/>
                      <a:pt x="123" y="180"/>
                    </a:cubicBezTo>
                    <a:cubicBezTo>
                      <a:pt x="123" y="181"/>
                      <a:pt x="124" y="182"/>
                      <a:pt x="126" y="181"/>
                    </a:cubicBezTo>
                    <a:close/>
                    <a:moveTo>
                      <a:pt x="61" y="172"/>
                    </a:moveTo>
                    <a:cubicBezTo>
                      <a:pt x="60" y="172"/>
                      <a:pt x="58" y="173"/>
                      <a:pt x="58" y="175"/>
                    </a:cubicBezTo>
                    <a:cubicBezTo>
                      <a:pt x="58" y="176"/>
                      <a:pt x="64" y="178"/>
                      <a:pt x="65" y="179"/>
                    </a:cubicBezTo>
                    <a:cubicBezTo>
                      <a:pt x="67" y="180"/>
                      <a:pt x="65" y="181"/>
                      <a:pt x="65" y="181"/>
                    </a:cubicBezTo>
                    <a:cubicBezTo>
                      <a:pt x="64" y="180"/>
                      <a:pt x="64" y="180"/>
                      <a:pt x="64" y="180"/>
                    </a:cubicBezTo>
                    <a:cubicBezTo>
                      <a:pt x="63" y="180"/>
                      <a:pt x="63" y="180"/>
                      <a:pt x="63" y="180"/>
                    </a:cubicBezTo>
                    <a:cubicBezTo>
                      <a:pt x="64" y="183"/>
                      <a:pt x="64" y="183"/>
                      <a:pt x="64" y="183"/>
                    </a:cubicBezTo>
                    <a:cubicBezTo>
                      <a:pt x="66" y="183"/>
                      <a:pt x="66" y="183"/>
                      <a:pt x="66" y="183"/>
                    </a:cubicBezTo>
                    <a:cubicBezTo>
                      <a:pt x="69" y="187"/>
                      <a:pt x="69" y="187"/>
                      <a:pt x="69" y="187"/>
                    </a:cubicBezTo>
                    <a:cubicBezTo>
                      <a:pt x="73" y="186"/>
                      <a:pt x="73" y="186"/>
                      <a:pt x="73" y="186"/>
                    </a:cubicBezTo>
                    <a:cubicBezTo>
                      <a:pt x="73" y="186"/>
                      <a:pt x="71" y="180"/>
                      <a:pt x="68" y="176"/>
                    </a:cubicBezTo>
                    <a:cubicBezTo>
                      <a:pt x="68" y="176"/>
                      <a:pt x="64" y="172"/>
                      <a:pt x="61" y="172"/>
                    </a:cubicBezTo>
                    <a:close/>
                    <a:moveTo>
                      <a:pt x="77" y="169"/>
                    </a:moveTo>
                    <a:cubicBezTo>
                      <a:pt x="74" y="171"/>
                      <a:pt x="74" y="171"/>
                      <a:pt x="74" y="171"/>
                    </a:cubicBezTo>
                    <a:cubicBezTo>
                      <a:pt x="79" y="173"/>
                      <a:pt x="79" y="173"/>
                      <a:pt x="79" y="173"/>
                    </a:cubicBezTo>
                    <a:cubicBezTo>
                      <a:pt x="80" y="172"/>
                      <a:pt x="80" y="172"/>
                      <a:pt x="80" y="172"/>
                    </a:cubicBezTo>
                    <a:cubicBezTo>
                      <a:pt x="80" y="172"/>
                      <a:pt x="81" y="174"/>
                      <a:pt x="86" y="175"/>
                    </a:cubicBezTo>
                    <a:cubicBezTo>
                      <a:pt x="91" y="176"/>
                      <a:pt x="92" y="172"/>
                      <a:pt x="92" y="172"/>
                    </a:cubicBezTo>
                    <a:cubicBezTo>
                      <a:pt x="92" y="172"/>
                      <a:pt x="98" y="175"/>
                      <a:pt x="99" y="173"/>
                    </a:cubicBezTo>
                    <a:cubicBezTo>
                      <a:pt x="101" y="170"/>
                      <a:pt x="103" y="163"/>
                      <a:pt x="103" y="163"/>
                    </a:cubicBezTo>
                    <a:cubicBezTo>
                      <a:pt x="103" y="163"/>
                      <a:pt x="100" y="161"/>
                      <a:pt x="101" y="159"/>
                    </a:cubicBezTo>
                    <a:cubicBezTo>
                      <a:pt x="101" y="158"/>
                      <a:pt x="102" y="158"/>
                      <a:pt x="102" y="158"/>
                    </a:cubicBezTo>
                    <a:cubicBezTo>
                      <a:pt x="99" y="149"/>
                      <a:pt x="99" y="149"/>
                      <a:pt x="99" y="149"/>
                    </a:cubicBezTo>
                    <a:cubicBezTo>
                      <a:pt x="92" y="149"/>
                      <a:pt x="92" y="149"/>
                      <a:pt x="92" y="149"/>
                    </a:cubicBezTo>
                    <a:cubicBezTo>
                      <a:pt x="94" y="148"/>
                      <a:pt x="97" y="148"/>
                      <a:pt x="98" y="147"/>
                    </a:cubicBezTo>
                    <a:cubicBezTo>
                      <a:pt x="99" y="145"/>
                      <a:pt x="100" y="145"/>
                      <a:pt x="99" y="143"/>
                    </a:cubicBezTo>
                    <a:cubicBezTo>
                      <a:pt x="97" y="141"/>
                      <a:pt x="94" y="137"/>
                      <a:pt x="94" y="137"/>
                    </a:cubicBezTo>
                    <a:cubicBezTo>
                      <a:pt x="93" y="138"/>
                      <a:pt x="93" y="138"/>
                      <a:pt x="93" y="138"/>
                    </a:cubicBezTo>
                    <a:cubicBezTo>
                      <a:pt x="94" y="142"/>
                      <a:pt x="94" y="142"/>
                      <a:pt x="94" y="142"/>
                    </a:cubicBezTo>
                    <a:cubicBezTo>
                      <a:pt x="93" y="143"/>
                      <a:pt x="93" y="143"/>
                      <a:pt x="93" y="143"/>
                    </a:cubicBezTo>
                    <a:cubicBezTo>
                      <a:pt x="94" y="145"/>
                      <a:pt x="94" y="145"/>
                      <a:pt x="94" y="145"/>
                    </a:cubicBezTo>
                    <a:cubicBezTo>
                      <a:pt x="89" y="149"/>
                      <a:pt x="89" y="149"/>
                      <a:pt x="89" y="149"/>
                    </a:cubicBezTo>
                    <a:cubicBezTo>
                      <a:pt x="88" y="147"/>
                      <a:pt x="88" y="147"/>
                      <a:pt x="88" y="147"/>
                    </a:cubicBezTo>
                    <a:cubicBezTo>
                      <a:pt x="91" y="144"/>
                      <a:pt x="91" y="144"/>
                      <a:pt x="91" y="144"/>
                    </a:cubicBezTo>
                    <a:cubicBezTo>
                      <a:pt x="84" y="138"/>
                      <a:pt x="84" y="138"/>
                      <a:pt x="84" y="138"/>
                    </a:cubicBezTo>
                    <a:cubicBezTo>
                      <a:pt x="83" y="140"/>
                      <a:pt x="83" y="140"/>
                      <a:pt x="83" y="140"/>
                    </a:cubicBezTo>
                    <a:cubicBezTo>
                      <a:pt x="81" y="138"/>
                      <a:pt x="81" y="138"/>
                      <a:pt x="81" y="138"/>
                    </a:cubicBezTo>
                    <a:cubicBezTo>
                      <a:pt x="67" y="144"/>
                      <a:pt x="67" y="144"/>
                      <a:pt x="67" y="144"/>
                    </a:cubicBezTo>
                    <a:cubicBezTo>
                      <a:pt x="65" y="142"/>
                      <a:pt x="65" y="142"/>
                      <a:pt x="65" y="142"/>
                    </a:cubicBezTo>
                    <a:cubicBezTo>
                      <a:pt x="61" y="145"/>
                      <a:pt x="61" y="145"/>
                      <a:pt x="61" y="145"/>
                    </a:cubicBezTo>
                    <a:cubicBezTo>
                      <a:pt x="64" y="147"/>
                      <a:pt x="64" y="147"/>
                      <a:pt x="64" y="147"/>
                    </a:cubicBezTo>
                    <a:cubicBezTo>
                      <a:pt x="61" y="147"/>
                      <a:pt x="61" y="147"/>
                      <a:pt x="61" y="147"/>
                    </a:cubicBezTo>
                    <a:cubicBezTo>
                      <a:pt x="63" y="150"/>
                      <a:pt x="63" y="150"/>
                      <a:pt x="63" y="150"/>
                    </a:cubicBezTo>
                    <a:cubicBezTo>
                      <a:pt x="65" y="150"/>
                      <a:pt x="65" y="150"/>
                      <a:pt x="65" y="150"/>
                    </a:cubicBezTo>
                    <a:cubicBezTo>
                      <a:pt x="64" y="154"/>
                      <a:pt x="64" y="154"/>
                      <a:pt x="64" y="154"/>
                    </a:cubicBezTo>
                    <a:cubicBezTo>
                      <a:pt x="67" y="155"/>
                      <a:pt x="67" y="155"/>
                      <a:pt x="67" y="155"/>
                    </a:cubicBezTo>
                    <a:cubicBezTo>
                      <a:pt x="67" y="155"/>
                      <a:pt x="66" y="161"/>
                      <a:pt x="68" y="162"/>
                    </a:cubicBezTo>
                    <a:cubicBezTo>
                      <a:pt x="70" y="163"/>
                      <a:pt x="71" y="170"/>
                      <a:pt x="71" y="170"/>
                    </a:cubicBezTo>
                    <a:cubicBezTo>
                      <a:pt x="72" y="170"/>
                      <a:pt x="72" y="170"/>
                      <a:pt x="72" y="170"/>
                    </a:cubicBezTo>
                    <a:cubicBezTo>
                      <a:pt x="72" y="165"/>
                      <a:pt x="72" y="165"/>
                      <a:pt x="72" y="165"/>
                    </a:cubicBezTo>
                    <a:cubicBezTo>
                      <a:pt x="75" y="165"/>
                      <a:pt x="75" y="165"/>
                      <a:pt x="75" y="165"/>
                    </a:cubicBezTo>
                    <a:lnTo>
                      <a:pt x="77" y="169"/>
                    </a:lnTo>
                    <a:close/>
                    <a:moveTo>
                      <a:pt x="91" y="123"/>
                    </a:moveTo>
                    <a:cubicBezTo>
                      <a:pt x="91" y="125"/>
                      <a:pt x="92" y="127"/>
                      <a:pt x="92" y="127"/>
                    </a:cubicBezTo>
                    <a:cubicBezTo>
                      <a:pt x="96" y="129"/>
                      <a:pt x="96" y="129"/>
                      <a:pt x="96" y="129"/>
                    </a:cubicBezTo>
                    <a:cubicBezTo>
                      <a:pt x="98" y="127"/>
                      <a:pt x="99" y="126"/>
                      <a:pt x="99" y="124"/>
                    </a:cubicBezTo>
                    <a:cubicBezTo>
                      <a:pt x="99" y="123"/>
                      <a:pt x="97" y="118"/>
                      <a:pt x="97" y="118"/>
                    </a:cubicBezTo>
                    <a:cubicBezTo>
                      <a:pt x="97" y="118"/>
                      <a:pt x="96" y="119"/>
                      <a:pt x="94" y="117"/>
                    </a:cubicBezTo>
                    <a:cubicBezTo>
                      <a:pt x="94" y="115"/>
                      <a:pt x="93" y="113"/>
                      <a:pt x="93" y="113"/>
                    </a:cubicBezTo>
                    <a:cubicBezTo>
                      <a:pt x="91" y="113"/>
                      <a:pt x="91" y="113"/>
                      <a:pt x="91" y="113"/>
                    </a:cubicBezTo>
                    <a:cubicBezTo>
                      <a:pt x="93" y="119"/>
                      <a:pt x="93" y="119"/>
                      <a:pt x="93" y="119"/>
                    </a:cubicBezTo>
                    <a:cubicBezTo>
                      <a:pt x="93" y="119"/>
                      <a:pt x="91" y="120"/>
                      <a:pt x="91" y="123"/>
                    </a:cubicBezTo>
                    <a:close/>
                    <a:moveTo>
                      <a:pt x="140" y="190"/>
                    </a:moveTo>
                    <a:cubicBezTo>
                      <a:pt x="139" y="188"/>
                      <a:pt x="135" y="182"/>
                      <a:pt x="135" y="182"/>
                    </a:cubicBezTo>
                    <a:cubicBezTo>
                      <a:pt x="133" y="182"/>
                      <a:pt x="133" y="182"/>
                      <a:pt x="133" y="182"/>
                    </a:cubicBezTo>
                    <a:cubicBezTo>
                      <a:pt x="133" y="186"/>
                      <a:pt x="133" y="186"/>
                      <a:pt x="133" y="186"/>
                    </a:cubicBezTo>
                    <a:cubicBezTo>
                      <a:pt x="127" y="188"/>
                      <a:pt x="127" y="188"/>
                      <a:pt x="127" y="188"/>
                    </a:cubicBezTo>
                    <a:cubicBezTo>
                      <a:pt x="127" y="186"/>
                      <a:pt x="127" y="186"/>
                      <a:pt x="127" y="186"/>
                    </a:cubicBezTo>
                    <a:cubicBezTo>
                      <a:pt x="125" y="185"/>
                      <a:pt x="125" y="185"/>
                      <a:pt x="125" y="185"/>
                    </a:cubicBezTo>
                    <a:cubicBezTo>
                      <a:pt x="125" y="185"/>
                      <a:pt x="124" y="180"/>
                      <a:pt x="118" y="180"/>
                    </a:cubicBezTo>
                    <a:cubicBezTo>
                      <a:pt x="112" y="179"/>
                      <a:pt x="109" y="183"/>
                      <a:pt x="109" y="183"/>
                    </a:cubicBezTo>
                    <a:cubicBezTo>
                      <a:pt x="114" y="188"/>
                      <a:pt x="114" y="188"/>
                      <a:pt x="114" y="188"/>
                    </a:cubicBezTo>
                    <a:cubicBezTo>
                      <a:pt x="110" y="190"/>
                      <a:pt x="110" y="190"/>
                      <a:pt x="110" y="190"/>
                    </a:cubicBezTo>
                    <a:cubicBezTo>
                      <a:pt x="108" y="189"/>
                      <a:pt x="108" y="189"/>
                      <a:pt x="108" y="189"/>
                    </a:cubicBezTo>
                    <a:cubicBezTo>
                      <a:pt x="108" y="187"/>
                      <a:pt x="108" y="187"/>
                      <a:pt x="108" y="187"/>
                    </a:cubicBezTo>
                    <a:cubicBezTo>
                      <a:pt x="107" y="188"/>
                      <a:pt x="107" y="188"/>
                      <a:pt x="107" y="188"/>
                    </a:cubicBezTo>
                    <a:cubicBezTo>
                      <a:pt x="107" y="192"/>
                      <a:pt x="107" y="192"/>
                      <a:pt x="107" y="192"/>
                    </a:cubicBezTo>
                    <a:cubicBezTo>
                      <a:pt x="121" y="196"/>
                      <a:pt x="121" y="196"/>
                      <a:pt x="121" y="196"/>
                    </a:cubicBezTo>
                    <a:cubicBezTo>
                      <a:pt x="121" y="196"/>
                      <a:pt x="122" y="198"/>
                      <a:pt x="123" y="200"/>
                    </a:cubicBezTo>
                    <a:cubicBezTo>
                      <a:pt x="123" y="202"/>
                      <a:pt x="126" y="204"/>
                      <a:pt x="126" y="204"/>
                    </a:cubicBezTo>
                    <a:cubicBezTo>
                      <a:pt x="129" y="203"/>
                      <a:pt x="129" y="203"/>
                      <a:pt x="129" y="203"/>
                    </a:cubicBezTo>
                    <a:cubicBezTo>
                      <a:pt x="129" y="201"/>
                      <a:pt x="129" y="201"/>
                      <a:pt x="129" y="201"/>
                    </a:cubicBezTo>
                    <a:cubicBezTo>
                      <a:pt x="129" y="201"/>
                      <a:pt x="130" y="200"/>
                      <a:pt x="132" y="200"/>
                    </a:cubicBezTo>
                    <a:cubicBezTo>
                      <a:pt x="134" y="200"/>
                      <a:pt x="140" y="198"/>
                      <a:pt x="140" y="198"/>
                    </a:cubicBezTo>
                    <a:cubicBezTo>
                      <a:pt x="141" y="196"/>
                      <a:pt x="141" y="196"/>
                      <a:pt x="141" y="196"/>
                    </a:cubicBezTo>
                    <a:cubicBezTo>
                      <a:pt x="140" y="194"/>
                      <a:pt x="140" y="194"/>
                      <a:pt x="140" y="194"/>
                    </a:cubicBezTo>
                    <a:cubicBezTo>
                      <a:pt x="140" y="194"/>
                      <a:pt x="141" y="192"/>
                      <a:pt x="140" y="190"/>
                    </a:cubicBezTo>
                    <a:close/>
                    <a:moveTo>
                      <a:pt x="10" y="63"/>
                    </a:moveTo>
                    <a:cubicBezTo>
                      <a:pt x="11" y="67"/>
                      <a:pt x="11" y="67"/>
                      <a:pt x="11" y="67"/>
                    </a:cubicBezTo>
                    <a:cubicBezTo>
                      <a:pt x="11" y="67"/>
                      <a:pt x="14" y="68"/>
                      <a:pt x="15" y="68"/>
                    </a:cubicBezTo>
                    <a:cubicBezTo>
                      <a:pt x="16" y="68"/>
                      <a:pt x="17" y="66"/>
                      <a:pt x="17" y="66"/>
                    </a:cubicBezTo>
                    <a:cubicBezTo>
                      <a:pt x="19" y="65"/>
                      <a:pt x="19" y="65"/>
                      <a:pt x="19" y="65"/>
                    </a:cubicBezTo>
                    <a:cubicBezTo>
                      <a:pt x="19" y="65"/>
                      <a:pt x="18" y="63"/>
                      <a:pt x="17" y="62"/>
                    </a:cubicBezTo>
                    <a:cubicBezTo>
                      <a:pt x="17" y="60"/>
                      <a:pt x="21" y="58"/>
                      <a:pt x="22" y="56"/>
                    </a:cubicBezTo>
                    <a:cubicBezTo>
                      <a:pt x="23" y="55"/>
                      <a:pt x="25" y="51"/>
                      <a:pt x="25" y="51"/>
                    </a:cubicBezTo>
                    <a:cubicBezTo>
                      <a:pt x="32" y="49"/>
                      <a:pt x="32" y="49"/>
                      <a:pt x="32" y="49"/>
                    </a:cubicBezTo>
                    <a:cubicBezTo>
                      <a:pt x="32" y="47"/>
                      <a:pt x="32" y="47"/>
                      <a:pt x="32" y="47"/>
                    </a:cubicBezTo>
                    <a:cubicBezTo>
                      <a:pt x="33" y="48"/>
                      <a:pt x="33" y="48"/>
                      <a:pt x="33" y="48"/>
                    </a:cubicBezTo>
                    <a:cubicBezTo>
                      <a:pt x="35" y="48"/>
                      <a:pt x="35" y="48"/>
                      <a:pt x="35" y="48"/>
                    </a:cubicBezTo>
                    <a:cubicBezTo>
                      <a:pt x="35" y="47"/>
                      <a:pt x="35" y="47"/>
                      <a:pt x="35" y="47"/>
                    </a:cubicBezTo>
                    <a:cubicBezTo>
                      <a:pt x="42" y="46"/>
                      <a:pt x="42" y="46"/>
                      <a:pt x="42" y="46"/>
                    </a:cubicBezTo>
                    <a:cubicBezTo>
                      <a:pt x="42" y="46"/>
                      <a:pt x="44" y="47"/>
                      <a:pt x="47" y="48"/>
                    </a:cubicBezTo>
                    <a:cubicBezTo>
                      <a:pt x="48" y="48"/>
                      <a:pt x="53" y="45"/>
                      <a:pt x="53" y="45"/>
                    </a:cubicBezTo>
                    <a:cubicBezTo>
                      <a:pt x="60" y="45"/>
                      <a:pt x="60" y="45"/>
                      <a:pt x="60" y="45"/>
                    </a:cubicBezTo>
                    <a:cubicBezTo>
                      <a:pt x="60" y="45"/>
                      <a:pt x="60" y="41"/>
                      <a:pt x="61" y="41"/>
                    </a:cubicBezTo>
                    <a:cubicBezTo>
                      <a:pt x="64" y="41"/>
                      <a:pt x="63" y="44"/>
                      <a:pt x="63" y="44"/>
                    </a:cubicBezTo>
                    <a:cubicBezTo>
                      <a:pt x="63" y="44"/>
                      <a:pt x="64" y="44"/>
                      <a:pt x="66" y="43"/>
                    </a:cubicBezTo>
                    <a:cubicBezTo>
                      <a:pt x="72" y="43"/>
                      <a:pt x="72" y="43"/>
                      <a:pt x="72" y="43"/>
                    </a:cubicBezTo>
                    <a:cubicBezTo>
                      <a:pt x="74" y="43"/>
                      <a:pt x="79" y="46"/>
                      <a:pt x="80" y="47"/>
                    </a:cubicBezTo>
                    <a:cubicBezTo>
                      <a:pt x="82" y="48"/>
                      <a:pt x="83" y="49"/>
                      <a:pt x="85" y="48"/>
                    </a:cubicBezTo>
                    <a:cubicBezTo>
                      <a:pt x="87" y="48"/>
                      <a:pt x="89" y="39"/>
                      <a:pt x="89" y="39"/>
                    </a:cubicBezTo>
                    <a:cubicBezTo>
                      <a:pt x="94" y="32"/>
                      <a:pt x="94" y="32"/>
                      <a:pt x="94" y="32"/>
                    </a:cubicBezTo>
                    <a:cubicBezTo>
                      <a:pt x="94" y="32"/>
                      <a:pt x="93" y="30"/>
                      <a:pt x="93" y="29"/>
                    </a:cubicBezTo>
                    <a:cubicBezTo>
                      <a:pt x="92" y="28"/>
                      <a:pt x="94" y="23"/>
                      <a:pt x="93" y="19"/>
                    </a:cubicBezTo>
                    <a:cubicBezTo>
                      <a:pt x="93" y="14"/>
                      <a:pt x="90" y="15"/>
                      <a:pt x="89" y="13"/>
                    </a:cubicBezTo>
                    <a:cubicBezTo>
                      <a:pt x="89" y="12"/>
                      <a:pt x="93" y="4"/>
                      <a:pt x="94" y="3"/>
                    </a:cubicBezTo>
                    <a:cubicBezTo>
                      <a:pt x="96" y="2"/>
                      <a:pt x="99" y="1"/>
                      <a:pt x="99" y="1"/>
                    </a:cubicBezTo>
                    <a:cubicBezTo>
                      <a:pt x="98" y="0"/>
                      <a:pt x="98" y="0"/>
                      <a:pt x="98" y="0"/>
                    </a:cubicBezTo>
                    <a:cubicBezTo>
                      <a:pt x="93" y="1"/>
                      <a:pt x="93" y="1"/>
                      <a:pt x="93" y="1"/>
                    </a:cubicBezTo>
                    <a:cubicBezTo>
                      <a:pt x="93" y="1"/>
                      <a:pt x="91" y="3"/>
                      <a:pt x="90" y="4"/>
                    </a:cubicBezTo>
                    <a:cubicBezTo>
                      <a:pt x="88" y="6"/>
                      <a:pt x="83" y="11"/>
                      <a:pt x="83" y="11"/>
                    </a:cubicBezTo>
                    <a:cubicBezTo>
                      <a:pt x="83" y="11"/>
                      <a:pt x="73" y="11"/>
                      <a:pt x="72" y="12"/>
                    </a:cubicBezTo>
                    <a:cubicBezTo>
                      <a:pt x="70" y="12"/>
                      <a:pt x="64" y="24"/>
                      <a:pt x="63" y="28"/>
                    </a:cubicBezTo>
                    <a:cubicBezTo>
                      <a:pt x="61" y="30"/>
                      <a:pt x="55" y="37"/>
                      <a:pt x="50" y="38"/>
                    </a:cubicBezTo>
                    <a:cubicBezTo>
                      <a:pt x="43" y="39"/>
                      <a:pt x="40" y="37"/>
                      <a:pt x="38" y="37"/>
                    </a:cubicBezTo>
                    <a:cubicBezTo>
                      <a:pt x="35" y="37"/>
                      <a:pt x="34" y="39"/>
                      <a:pt x="34" y="39"/>
                    </a:cubicBezTo>
                    <a:cubicBezTo>
                      <a:pt x="34" y="39"/>
                      <a:pt x="28" y="40"/>
                      <a:pt x="27" y="40"/>
                    </a:cubicBezTo>
                    <a:cubicBezTo>
                      <a:pt x="27" y="40"/>
                      <a:pt x="26" y="38"/>
                      <a:pt x="23" y="38"/>
                    </a:cubicBezTo>
                    <a:cubicBezTo>
                      <a:pt x="21" y="39"/>
                      <a:pt x="16" y="48"/>
                      <a:pt x="12" y="52"/>
                    </a:cubicBezTo>
                    <a:cubicBezTo>
                      <a:pt x="9" y="56"/>
                      <a:pt x="8" y="63"/>
                      <a:pt x="8" y="63"/>
                    </a:cubicBezTo>
                    <a:lnTo>
                      <a:pt x="10" y="63"/>
                    </a:lnTo>
                    <a:close/>
                    <a:moveTo>
                      <a:pt x="20" y="67"/>
                    </a:moveTo>
                    <a:cubicBezTo>
                      <a:pt x="18" y="67"/>
                      <a:pt x="18" y="67"/>
                      <a:pt x="18" y="67"/>
                    </a:cubicBezTo>
                    <a:cubicBezTo>
                      <a:pt x="18" y="68"/>
                      <a:pt x="18" y="68"/>
                      <a:pt x="18" y="68"/>
                    </a:cubicBezTo>
                    <a:cubicBezTo>
                      <a:pt x="16" y="69"/>
                      <a:pt x="16" y="69"/>
                      <a:pt x="16" y="69"/>
                    </a:cubicBezTo>
                    <a:cubicBezTo>
                      <a:pt x="16" y="69"/>
                      <a:pt x="17" y="70"/>
                      <a:pt x="18" y="71"/>
                    </a:cubicBezTo>
                    <a:cubicBezTo>
                      <a:pt x="19" y="71"/>
                      <a:pt x="22" y="71"/>
                      <a:pt x="23" y="70"/>
                    </a:cubicBezTo>
                    <a:cubicBezTo>
                      <a:pt x="24" y="69"/>
                      <a:pt x="21" y="69"/>
                      <a:pt x="21" y="69"/>
                    </a:cubicBezTo>
                    <a:lnTo>
                      <a:pt x="20" y="67"/>
                    </a:lnTo>
                    <a:close/>
                    <a:moveTo>
                      <a:pt x="34" y="55"/>
                    </a:moveTo>
                    <a:cubicBezTo>
                      <a:pt x="36" y="55"/>
                      <a:pt x="35" y="51"/>
                      <a:pt x="35" y="51"/>
                    </a:cubicBezTo>
                    <a:cubicBezTo>
                      <a:pt x="33" y="51"/>
                      <a:pt x="33" y="51"/>
                      <a:pt x="33" y="51"/>
                    </a:cubicBezTo>
                    <a:cubicBezTo>
                      <a:pt x="31" y="53"/>
                      <a:pt x="31" y="53"/>
                      <a:pt x="31" y="53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4" y="60"/>
                      <a:pt x="24" y="60"/>
                      <a:pt x="24" y="60"/>
                    </a:cubicBezTo>
                    <a:cubicBezTo>
                      <a:pt x="22" y="61"/>
                      <a:pt x="22" y="61"/>
                      <a:pt x="22" y="61"/>
                    </a:cubicBezTo>
                    <a:cubicBezTo>
                      <a:pt x="20" y="64"/>
                      <a:pt x="20" y="64"/>
                      <a:pt x="20" y="64"/>
                    </a:cubicBezTo>
                    <a:cubicBezTo>
                      <a:pt x="20" y="64"/>
                      <a:pt x="22" y="65"/>
                      <a:pt x="22" y="66"/>
                    </a:cubicBezTo>
                    <a:cubicBezTo>
                      <a:pt x="23" y="66"/>
                      <a:pt x="24" y="67"/>
                      <a:pt x="24" y="67"/>
                    </a:cubicBezTo>
                    <a:cubicBezTo>
                      <a:pt x="28" y="65"/>
                      <a:pt x="28" y="65"/>
                      <a:pt x="28" y="65"/>
                    </a:cubicBezTo>
                    <a:cubicBezTo>
                      <a:pt x="28" y="65"/>
                      <a:pt x="33" y="61"/>
                      <a:pt x="33" y="60"/>
                    </a:cubicBezTo>
                    <a:cubicBezTo>
                      <a:pt x="33" y="60"/>
                      <a:pt x="31" y="56"/>
                      <a:pt x="32" y="55"/>
                    </a:cubicBezTo>
                    <a:cubicBezTo>
                      <a:pt x="33" y="54"/>
                      <a:pt x="33" y="56"/>
                      <a:pt x="34" y="55"/>
                    </a:cubicBezTo>
                    <a:close/>
                    <a:moveTo>
                      <a:pt x="116" y="120"/>
                    </a:moveTo>
                    <a:cubicBezTo>
                      <a:pt x="117" y="122"/>
                      <a:pt x="120" y="123"/>
                      <a:pt x="120" y="123"/>
                    </a:cubicBezTo>
                    <a:cubicBezTo>
                      <a:pt x="120" y="123"/>
                      <a:pt x="118" y="120"/>
                      <a:pt x="117" y="119"/>
                    </a:cubicBezTo>
                    <a:cubicBezTo>
                      <a:pt x="116" y="118"/>
                      <a:pt x="113" y="117"/>
                      <a:pt x="113" y="117"/>
                    </a:cubicBezTo>
                    <a:cubicBezTo>
                      <a:pt x="113" y="117"/>
                      <a:pt x="114" y="120"/>
                      <a:pt x="116" y="120"/>
                    </a:cubicBezTo>
                    <a:close/>
                    <a:moveTo>
                      <a:pt x="112" y="34"/>
                    </a:moveTo>
                    <a:cubicBezTo>
                      <a:pt x="113" y="34"/>
                      <a:pt x="112" y="33"/>
                      <a:pt x="113" y="31"/>
                    </a:cubicBezTo>
                    <a:cubicBezTo>
                      <a:pt x="115" y="30"/>
                      <a:pt x="117" y="30"/>
                      <a:pt x="117" y="30"/>
                    </a:cubicBezTo>
                    <a:cubicBezTo>
                      <a:pt x="116" y="25"/>
                      <a:pt x="116" y="25"/>
                      <a:pt x="116" y="25"/>
                    </a:cubicBezTo>
                    <a:cubicBezTo>
                      <a:pt x="116" y="25"/>
                      <a:pt x="109" y="27"/>
                      <a:pt x="107" y="29"/>
                    </a:cubicBezTo>
                    <a:cubicBezTo>
                      <a:pt x="106" y="30"/>
                      <a:pt x="105" y="32"/>
                      <a:pt x="105" y="32"/>
                    </a:cubicBezTo>
                    <a:cubicBezTo>
                      <a:pt x="108" y="33"/>
                      <a:pt x="108" y="33"/>
                      <a:pt x="108" y="33"/>
                    </a:cubicBezTo>
                    <a:cubicBezTo>
                      <a:pt x="108" y="33"/>
                      <a:pt x="109" y="35"/>
                      <a:pt x="112" y="34"/>
                    </a:cubicBezTo>
                    <a:close/>
                    <a:moveTo>
                      <a:pt x="41" y="58"/>
                    </a:moveTo>
                    <a:cubicBezTo>
                      <a:pt x="35" y="59"/>
                      <a:pt x="35" y="59"/>
                      <a:pt x="35" y="59"/>
                    </a:cubicBezTo>
                    <a:cubicBezTo>
                      <a:pt x="37" y="60"/>
                      <a:pt x="37" y="60"/>
                      <a:pt x="37" y="60"/>
                    </a:cubicBezTo>
                    <a:lnTo>
                      <a:pt x="41" y="58"/>
                    </a:lnTo>
                    <a:close/>
                    <a:moveTo>
                      <a:pt x="15" y="163"/>
                    </a:moveTo>
                    <a:cubicBezTo>
                      <a:pt x="15" y="163"/>
                      <a:pt x="12" y="164"/>
                      <a:pt x="12" y="167"/>
                    </a:cubicBezTo>
                    <a:cubicBezTo>
                      <a:pt x="12" y="170"/>
                      <a:pt x="15" y="172"/>
                      <a:pt x="16" y="172"/>
                    </a:cubicBezTo>
                    <a:cubicBezTo>
                      <a:pt x="17" y="172"/>
                      <a:pt x="16" y="167"/>
                      <a:pt x="16" y="167"/>
                    </a:cubicBezTo>
                    <a:cubicBezTo>
                      <a:pt x="16" y="167"/>
                      <a:pt x="18" y="163"/>
                      <a:pt x="15" y="163"/>
                    </a:cubicBezTo>
                    <a:close/>
                    <a:moveTo>
                      <a:pt x="61" y="183"/>
                    </a:moveTo>
                    <a:cubicBezTo>
                      <a:pt x="59" y="178"/>
                      <a:pt x="59" y="178"/>
                      <a:pt x="59" y="178"/>
                    </a:cubicBezTo>
                    <a:cubicBezTo>
                      <a:pt x="53" y="174"/>
                      <a:pt x="53" y="174"/>
                      <a:pt x="53" y="174"/>
                    </a:cubicBezTo>
                    <a:cubicBezTo>
                      <a:pt x="50" y="175"/>
                      <a:pt x="50" y="175"/>
                      <a:pt x="50" y="175"/>
                    </a:cubicBezTo>
                    <a:cubicBezTo>
                      <a:pt x="50" y="175"/>
                      <a:pt x="52" y="173"/>
                      <a:pt x="53" y="173"/>
                    </a:cubicBezTo>
                    <a:cubicBezTo>
                      <a:pt x="54" y="172"/>
                      <a:pt x="53" y="170"/>
                      <a:pt x="53" y="170"/>
                    </a:cubicBezTo>
                    <a:cubicBezTo>
                      <a:pt x="52" y="170"/>
                      <a:pt x="52" y="170"/>
                      <a:pt x="52" y="170"/>
                    </a:cubicBezTo>
                    <a:cubicBezTo>
                      <a:pt x="56" y="165"/>
                      <a:pt x="56" y="165"/>
                      <a:pt x="56" y="165"/>
                    </a:cubicBezTo>
                    <a:cubicBezTo>
                      <a:pt x="56" y="165"/>
                      <a:pt x="58" y="165"/>
                      <a:pt x="59" y="164"/>
                    </a:cubicBezTo>
                    <a:cubicBezTo>
                      <a:pt x="60" y="163"/>
                      <a:pt x="59" y="159"/>
                      <a:pt x="59" y="159"/>
                    </a:cubicBezTo>
                    <a:cubicBezTo>
                      <a:pt x="57" y="160"/>
                      <a:pt x="57" y="160"/>
                      <a:pt x="57" y="160"/>
                    </a:cubicBezTo>
                    <a:cubicBezTo>
                      <a:pt x="59" y="159"/>
                      <a:pt x="59" y="159"/>
                      <a:pt x="59" y="159"/>
                    </a:cubicBezTo>
                    <a:cubicBezTo>
                      <a:pt x="59" y="159"/>
                      <a:pt x="57" y="155"/>
                      <a:pt x="57" y="154"/>
                    </a:cubicBezTo>
                    <a:cubicBezTo>
                      <a:pt x="57" y="151"/>
                      <a:pt x="59" y="148"/>
                      <a:pt x="59" y="148"/>
                    </a:cubicBezTo>
                    <a:cubicBezTo>
                      <a:pt x="58" y="145"/>
                      <a:pt x="58" y="145"/>
                      <a:pt x="58" y="145"/>
                    </a:cubicBezTo>
                    <a:cubicBezTo>
                      <a:pt x="58" y="145"/>
                      <a:pt x="53" y="146"/>
                      <a:pt x="53" y="145"/>
                    </a:cubicBezTo>
                    <a:cubicBezTo>
                      <a:pt x="54" y="144"/>
                      <a:pt x="59" y="143"/>
                      <a:pt x="59" y="143"/>
                    </a:cubicBezTo>
                    <a:cubicBezTo>
                      <a:pt x="67" y="137"/>
                      <a:pt x="67" y="137"/>
                      <a:pt x="67" y="137"/>
                    </a:cubicBezTo>
                    <a:cubicBezTo>
                      <a:pt x="63" y="137"/>
                      <a:pt x="63" y="137"/>
                      <a:pt x="63" y="137"/>
                    </a:cubicBezTo>
                    <a:cubicBezTo>
                      <a:pt x="63" y="137"/>
                      <a:pt x="60" y="133"/>
                      <a:pt x="59" y="133"/>
                    </a:cubicBezTo>
                    <a:cubicBezTo>
                      <a:pt x="56" y="132"/>
                      <a:pt x="56" y="132"/>
                      <a:pt x="56" y="132"/>
                    </a:cubicBezTo>
                    <a:cubicBezTo>
                      <a:pt x="56" y="132"/>
                      <a:pt x="57" y="131"/>
                      <a:pt x="59" y="131"/>
                    </a:cubicBezTo>
                    <a:cubicBezTo>
                      <a:pt x="60" y="131"/>
                      <a:pt x="65" y="134"/>
                      <a:pt x="68" y="133"/>
                    </a:cubicBezTo>
                    <a:cubicBezTo>
                      <a:pt x="71" y="132"/>
                      <a:pt x="73" y="128"/>
                      <a:pt x="73" y="128"/>
                    </a:cubicBezTo>
                    <a:cubicBezTo>
                      <a:pt x="73" y="125"/>
                      <a:pt x="73" y="125"/>
                      <a:pt x="73" y="125"/>
                    </a:cubicBezTo>
                    <a:cubicBezTo>
                      <a:pt x="73" y="124"/>
                      <a:pt x="67" y="122"/>
                      <a:pt x="67" y="122"/>
                    </a:cubicBezTo>
                    <a:cubicBezTo>
                      <a:pt x="67" y="120"/>
                      <a:pt x="70" y="122"/>
                      <a:pt x="70" y="122"/>
                    </a:cubicBezTo>
                    <a:cubicBezTo>
                      <a:pt x="73" y="120"/>
                      <a:pt x="73" y="120"/>
                      <a:pt x="73" y="120"/>
                    </a:cubicBezTo>
                    <a:cubicBezTo>
                      <a:pt x="77" y="120"/>
                      <a:pt x="77" y="120"/>
                      <a:pt x="77" y="120"/>
                    </a:cubicBezTo>
                    <a:cubicBezTo>
                      <a:pt x="79" y="123"/>
                      <a:pt x="79" y="123"/>
                      <a:pt x="79" y="123"/>
                    </a:cubicBezTo>
                    <a:cubicBezTo>
                      <a:pt x="80" y="123"/>
                      <a:pt x="80" y="123"/>
                      <a:pt x="80" y="123"/>
                    </a:cubicBezTo>
                    <a:cubicBezTo>
                      <a:pt x="80" y="123"/>
                      <a:pt x="81" y="119"/>
                      <a:pt x="81" y="118"/>
                    </a:cubicBezTo>
                    <a:cubicBezTo>
                      <a:pt x="82" y="117"/>
                      <a:pt x="83" y="116"/>
                      <a:pt x="83" y="116"/>
                    </a:cubicBezTo>
                    <a:cubicBezTo>
                      <a:pt x="83" y="110"/>
                      <a:pt x="83" y="110"/>
                      <a:pt x="83" y="110"/>
                    </a:cubicBezTo>
                    <a:cubicBezTo>
                      <a:pt x="83" y="109"/>
                      <a:pt x="81" y="104"/>
                      <a:pt x="81" y="103"/>
                    </a:cubicBezTo>
                    <a:cubicBezTo>
                      <a:pt x="81" y="102"/>
                      <a:pt x="87" y="95"/>
                      <a:pt x="89" y="95"/>
                    </a:cubicBezTo>
                    <a:cubicBezTo>
                      <a:pt x="90" y="95"/>
                      <a:pt x="90" y="97"/>
                      <a:pt x="90" y="97"/>
                    </a:cubicBezTo>
                    <a:cubicBezTo>
                      <a:pt x="87" y="101"/>
                      <a:pt x="87" y="101"/>
                      <a:pt x="87" y="101"/>
                    </a:cubicBezTo>
                    <a:cubicBezTo>
                      <a:pt x="87" y="103"/>
                      <a:pt x="87" y="103"/>
                      <a:pt x="87" y="103"/>
                    </a:cubicBezTo>
                    <a:cubicBezTo>
                      <a:pt x="87" y="103"/>
                      <a:pt x="90" y="102"/>
                      <a:pt x="91" y="102"/>
                    </a:cubicBezTo>
                    <a:cubicBezTo>
                      <a:pt x="92" y="103"/>
                      <a:pt x="91" y="104"/>
                      <a:pt x="90" y="106"/>
                    </a:cubicBezTo>
                    <a:cubicBezTo>
                      <a:pt x="89" y="106"/>
                      <a:pt x="92" y="107"/>
                      <a:pt x="93" y="107"/>
                    </a:cubicBezTo>
                    <a:cubicBezTo>
                      <a:pt x="94" y="106"/>
                      <a:pt x="93" y="102"/>
                      <a:pt x="93" y="102"/>
                    </a:cubicBezTo>
                    <a:cubicBezTo>
                      <a:pt x="93" y="102"/>
                      <a:pt x="94" y="99"/>
                      <a:pt x="96" y="99"/>
                    </a:cubicBezTo>
                    <a:cubicBezTo>
                      <a:pt x="97" y="99"/>
                      <a:pt x="98" y="101"/>
                      <a:pt x="97" y="101"/>
                    </a:cubicBezTo>
                    <a:cubicBezTo>
                      <a:pt x="96" y="102"/>
                      <a:pt x="96" y="103"/>
                      <a:pt x="97" y="104"/>
                    </a:cubicBezTo>
                    <a:cubicBezTo>
                      <a:pt x="98" y="104"/>
                      <a:pt x="100" y="103"/>
                      <a:pt x="100" y="103"/>
                    </a:cubicBezTo>
                    <a:cubicBezTo>
                      <a:pt x="100" y="100"/>
                      <a:pt x="100" y="100"/>
                      <a:pt x="100" y="100"/>
                    </a:cubicBezTo>
                    <a:cubicBezTo>
                      <a:pt x="103" y="97"/>
                      <a:pt x="103" y="97"/>
                      <a:pt x="103" y="97"/>
                    </a:cubicBezTo>
                    <a:cubicBezTo>
                      <a:pt x="103" y="96"/>
                      <a:pt x="103" y="96"/>
                      <a:pt x="103" y="96"/>
                    </a:cubicBezTo>
                    <a:cubicBezTo>
                      <a:pt x="107" y="92"/>
                      <a:pt x="107" y="92"/>
                      <a:pt x="107" y="92"/>
                    </a:cubicBezTo>
                    <a:cubicBezTo>
                      <a:pt x="106" y="86"/>
                      <a:pt x="106" y="86"/>
                      <a:pt x="106" y="86"/>
                    </a:cubicBezTo>
                    <a:cubicBezTo>
                      <a:pt x="107" y="85"/>
                      <a:pt x="107" y="85"/>
                      <a:pt x="107" y="85"/>
                    </a:cubicBezTo>
                    <a:cubicBezTo>
                      <a:pt x="107" y="82"/>
                      <a:pt x="107" y="82"/>
                      <a:pt x="107" y="82"/>
                    </a:cubicBezTo>
                    <a:cubicBezTo>
                      <a:pt x="107" y="80"/>
                      <a:pt x="103" y="78"/>
                      <a:pt x="103" y="78"/>
                    </a:cubicBezTo>
                    <a:cubicBezTo>
                      <a:pt x="91" y="80"/>
                      <a:pt x="91" y="80"/>
                      <a:pt x="91" y="80"/>
                    </a:cubicBezTo>
                    <a:cubicBezTo>
                      <a:pt x="87" y="78"/>
                      <a:pt x="87" y="78"/>
                      <a:pt x="87" y="78"/>
                    </a:cubicBezTo>
                    <a:cubicBezTo>
                      <a:pt x="87" y="78"/>
                      <a:pt x="86" y="75"/>
                      <a:pt x="85" y="75"/>
                    </a:cubicBezTo>
                    <a:cubicBezTo>
                      <a:pt x="84" y="74"/>
                      <a:pt x="82" y="76"/>
                      <a:pt x="82" y="76"/>
                    </a:cubicBezTo>
                    <a:cubicBezTo>
                      <a:pt x="82" y="78"/>
                      <a:pt x="82" y="78"/>
                      <a:pt x="82" y="78"/>
                    </a:cubicBezTo>
                    <a:cubicBezTo>
                      <a:pt x="81" y="76"/>
                      <a:pt x="81" y="76"/>
                      <a:pt x="81" y="76"/>
                    </a:cubicBezTo>
                    <a:cubicBezTo>
                      <a:pt x="84" y="72"/>
                      <a:pt x="84" y="72"/>
                      <a:pt x="84" y="72"/>
                    </a:cubicBezTo>
                    <a:cubicBezTo>
                      <a:pt x="85" y="72"/>
                      <a:pt x="85" y="72"/>
                      <a:pt x="85" y="72"/>
                    </a:cubicBezTo>
                    <a:cubicBezTo>
                      <a:pt x="87" y="69"/>
                      <a:pt x="87" y="69"/>
                      <a:pt x="87" y="69"/>
                    </a:cubicBezTo>
                    <a:cubicBezTo>
                      <a:pt x="85" y="68"/>
                      <a:pt x="85" y="68"/>
                      <a:pt x="85" y="68"/>
                    </a:cubicBezTo>
                    <a:cubicBezTo>
                      <a:pt x="86" y="65"/>
                      <a:pt x="86" y="65"/>
                      <a:pt x="86" y="65"/>
                    </a:cubicBezTo>
                    <a:cubicBezTo>
                      <a:pt x="85" y="63"/>
                      <a:pt x="85" y="63"/>
                      <a:pt x="85" y="63"/>
                    </a:cubicBezTo>
                    <a:cubicBezTo>
                      <a:pt x="84" y="54"/>
                      <a:pt x="84" y="54"/>
                      <a:pt x="84" y="54"/>
                    </a:cubicBezTo>
                    <a:cubicBezTo>
                      <a:pt x="85" y="51"/>
                      <a:pt x="85" y="51"/>
                      <a:pt x="85" y="51"/>
                    </a:cubicBezTo>
                    <a:cubicBezTo>
                      <a:pt x="85" y="50"/>
                      <a:pt x="81" y="50"/>
                      <a:pt x="81" y="50"/>
                    </a:cubicBezTo>
                    <a:cubicBezTo>
                      <a:pt x="74" y="45"/>
                      <a:pt x="74" y="45"/>
                      <a:pt x="74" y="45"/>
                    </a:cubicBezTo>
                    <a:cubicBezTo>
                      <a:pt x="72" y="45"/>
                      <a:pt x="72" y="45"/>
                      <a:pt x="72" y="45"/>
                    </a:cubicBezTo>
                    <a:cubicBezTo>
                      <a:pt x="64" y="46"/>
                      <a:pt x="64" y="46"/>
                      <a:pt x="64" y="46"/>
                    </a:cubicBezTo>
                    <a:cubicBezTo>
                      <a:pt x="64" y="46"/>
                      <a:pt x="60" y="48"/>
                      <a:pt x="60" y="49"/>
                    </a:cubicBezTo>
                    <a:cubicBezTo>
                      <a:pt x="59" y="50"/>
                      <a:pt x="57" y="52"/>
                      <a:pt x="56" y="51"/>
                    </a:cubicBezTo>
                    <a:cubicBezTo>
                      <a:pt x="56" y="50"/>
                      <a:pt x="58" y="49"/>
                      <a:pt x="57" y="48"/>
                    </a:cubicBezTo>
                    <a:cubicBezTo>
                      <a:pt x="57" y="46"/>
                      <a:pt x="49" y="48"/>
                      <a:pt x="49" y="48"/>
                    </a:cubicBezTo>
                    <a:cubicBezTo>
                      <a:pt x="43" y="54"/>
                      <a:pt x="43" y="54"/>
                      <a:pt x="43" y="54"/>
                    </a:cubicBezTo>
                    <a:cubicBezTo>
                      <a:pt x="43" y="54"/>
                      <a:pt x="44" y="62"/>
                      <a:pt x="44" y="63"/>
                    </a:cubicBezTo>
                    <a:cubicBezTo>
                      <a:pt x="43" y="63"/>
                      <a:pt x="45" y="64"/>
                      <a:pt x="45" y="64"/>
                    </a:cubicBezTo>
                    <a:cubicBezTo>
                      <a:pt x="45" y="64"/>
                      <a:pt x="45" y="65"/>
                      <a:pt x="44" y="65"/>
                    </a:cubicBezTo>
                    <a:cubicBezTo>
                      <a:pt x="43" y="66"/>
                      <a:pt x="44" y="68"/>
                      <a:pt x="44" y="68"/>
                    </a:cubicBezTo>
                    <a:cubicBezTo>
                      <a:pt x="45" y="68"/>
                      <a:pt x="48" y="69"/>
                      <a:pt x="48" y="69"/>
                    </a:cubicBezTo>
                    <a:cubicBezTo>
                      <a:pt x="48" y="76"/>
                      <a:pt x="48" y="76"/>
                      <a:pt x="48" y="76"/>
                    </a:cubicBezTo>
                    <a:cubicBezTo>
                      <a:pt x="51" y="76"/>
                      <a:pt x="51" y="76"/>
                      <a:pt x="51" y="76"/>
                    </a:cubicBezTo>
                    <a:cubicBezTo>
                      <a:pt x="51" y="76"/>
                      <a:pt x="50" y="78"/>
                      <a:pt x="48" y="78"/>
                    </a:cubicBezTo>
                    <a:cubicBezTo>
                      <a:pt x="45" y="79"/>
                      <a:pt x="45" y="76"/>
                      <a:pt x="45" y="76"/>
                    </a:cubicBezTo>
                    <a:cubicBezTo>
                      <a:pt x="47" y="72"/>
                      <a:pt x="47" y="72"/>
                      <a:pt x="47" y="72"/>
                    </a:cubicBezTo>
                    <a:cubicBezTo>
                      <a:pt x="43" y="70"/>
                      <a:pt x="43" y="70"/>
                      <a:pt x="43" y="70"/>
                    </a:cubicBezTo>
                    <a:cubicBezTo>
                      <a:pt x="43" y="70"/>
                      <a:pt x="41" y="72"/>
                      <a:pt x="40" y="72"/>
                    </a:cubicBezTo>
                    <a:cubicBezTo>
                      <a:pt x="40" y="76"/>
                      <a:pt x="40" y="76"/>
                      <a:pt x="40" y="76"/>
                    </a:cubicBezTo>
                    <a:cubicBezTo>
                      <a:pt x="39" y="76"/>
                      <a:pt x="39" y="76"/>
                      <a:pt x="39" y="76"/>
                    </a:cubicBezTo>
                    <a:cubicBezTo>
                      <a:pt x="38" y="74"/>
                      <a:pt x="38" y="74"/>
                      <a:pt x="38" y="74"/>
                    </a:cubicBezTo>
                    <a:cubicBezTo>
                      <a:pt x="42" y="67"/>
                      <a:pt x="42" y="67"/>
                      <a:pt x="42" y="67"/>
                    </a:cubicBezTo>
                    <a:cubicBezTo>
                      <a:pt x="40" y="62"/>
                      <a:pt x="40" y="62"/>
                      <a:pt x="40" y="62"/>
                    </a:cubicBezTo>
                    <a:cubicBezTo>
                      <a:pt x="35" y="62"/>
                      <a:pt x="35" y="62"/>
                      <a:pt x="35" y="62"/>
                    </a:cubicBezTo>
                    <a:cubicBezTo>
                      <a:pt x="33" y="62"/>
                      <a:pt x="32" y="64"/>
                      <a:pt x="32" y="66"/>
                    </a:cubicBezTo>
                    <a:cubicBezTo>
                      <a:pt x="31" y="67"/>
                      <a:pt x="33" y="67"/>
                      <a:pt x="33" y="67"/>
                    </a:cubicBezTo>
                    <a:cubicBezTo>
                      <a:pt x="30" y="68"/>
                      <a:pt x="30" y="68"/>
                      <a:pt x="30" y="68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27" y="77"/>
                      <a:pt x="27" y="79"/>
                    </a:cubicBezTo>
                    <a:cubicBezTo>
                      <a:pt x="27" y="82"/>
                      <a:pt x="22" y="81"/>
                      <a:pt x="22" y="81"/>
                    </a:cubicBezTo>
                    <a:cubicBezTo>
                      <a:pt x="20" y="76"/>
                      <a:pt x="20" y="76"/>
                      <a:pt x="20" y="76"/>
                    </a:cubicBezTo>
                    <a:cubicBezTo>
                      <a:pt x="20" y="76"/>
                      <a:pt x="12" y="75"/>
                      <a:pt x="9" y="74"/>
                    </a:cubicBezTo>
                    <a:cubicBezTo>
                      <a:pt x="6" y="72"/>
                      <a:pt x="7" y="70"/>
                      <a:pt x="7" y="68"/>
                    </a:cubicBezTo>
                    <a:cubicBezTo>
                      <a:pt x="7" y="67"/>
                      <a:pt x="8" y="66"/>
                      <a:pt x="8" y="66"/>
                    </a:cubicBezTo>
                    <a:cubicBezTo>
                      <a:pt x="7" y="64"/>
                      <a:pt x="7" y="64"/>
                      <a:pt x="7" y="64"/>
                    </a:cubicBezTo>
                    <a:cubicBezTo>
                      <a:pt x="5" y="70"/>
                      <a:pt x="5" y="70"/>
                      <a:pt x="5" y="70"/>
                    </a:cubicBezTo>
                    <a:cubicBezTo>
                      <a:pt x="4" y="74"/>
                      <a:pt x="3" y="85"/>
                      <a:pt x="3" y="85"/>
                    </a:cubicBezTo>
                    <a:cubicBezTo>
                      <a:pt x="4" y="84"/>
                      <a:pt x="4" y="84"/>
                      <a:pt x="4" y="84"/>
                    </a:cubicBezTo>
                    <a:cubicBezTo>
                      <a:pt x="9" y="92"/>
                      <a:pt x="9" y="92"/>
                      <a:pt x="9" y="92"/>
                    </a:cubicBezTo>
                    <a:cubicBezTo>
                      <a:pt x="7" y="92"/>
                      <a:pt x="7" y="92"/>
                      <a:pt x="7" y="92"/>
                    </a:cubicBezTo>
                    <a:cubicBezTo>
                      <a:pt x="6" y="90"/>
                      <a:pt x="6" y="90"/>
                      <a:pt x="6" y="90"/>
                    </a:cubicBezTo>
                    <a:cubicBezTo>
                      <a:pt x="4" y="88"/>
                      <a:pt x="4" y="88"/>
                      <a:pt x="4" y="88"/>
                    </a:cubicBezTo>
                    <a:cubicBezTo>
                      <a:pt x="3" y="96"/>
                      <a:pt x="3" y="96"/>
                      <a:pt x="3" y="96"/>
                    </a:cubicBezTo>
                    <a:cubicBezTo>
                      <a:pt x="5" y="95"/>
                      <a:pt x="5" y="95"/>
                      <a:pt x="5" y="95"/>
                    </a:cubicBezTo>
                    <a:cubicBezTo>
                      <a:pt x="7" y="99"/>
                      <a:pt x="7" y="99"/>
                      <a:pt x="7" y="99"/>
                    </a:cubicBezTo>
                    <a:cubicBezTo>
                      <a:pt x="5" y="100"/>
                      <a:pt x="5" y="100"/>
                      <a:pt x="5" y="100"/>
                    </a:cubicBezTo>
                    <a:cubicBezTo>
                      <a:pt x="4" y="98"/>
                      <a:pt x="4" y="98"/>
                      <a:pt x="4" y="98"/>
                    </a:cubicBezTo>
                    <a:cubicBezTo>
                      <a:pt x="2" y="99"/>
                      <a:pt x="2" y="99"/>
                      <a:pt x="2" y="99"/>
                    </a:cubicBezTo>
                    <a:cubicBezTo>
                      <a:pt x="1" y="110"/>
                      <a:pt x="1" y="110"/>
                      <a:pt x="1" y="110"/>
                    </a:cubicBezTo>
                    <a:cubicBezTo>
                      <a:pt x="2" y="109"/>
                      <a:pt x="2" y="109"/>
                      <a:pt x="2" y="109"/>
                    </a:cubicBezTo>
                    <a:cubicBezTo>
                      <a:pt x="4" y="104"/>
                      <a:pt x="4" y="104"/>
                      <a:pt x="4" y="104"/>
                    </a:cubicBezTo>
                    <a:cubicBezTo>
                      <a:pt x="8" y="107"/>
                      <a:pt x="8" y="107"/>
                      <a:pt x="8" y="107"/>
                    </a:cubicBezTo>
                    <a:cubicBezTo>
                      <a:pt x="8" y="113"/>
                      <a:pt x="8" y="113"/>
                      <a:pt x="8" y="113"/>
                    </a:cubicBezTo>
                    <a:cubicBezTo>
                      <a:pt x="8" y="113"/>
                      <a:pt x="12" y="115"/>
                      <a:pt x="11" y="117"/>
                    </a:cubicBezTo>
                    <a:cubicBezTo>
                      <a:pt x="10" y="119"/>
                      <a:pt x="8" y="122"/>
                      <a:pt x="6" y="120"/>
                    </a:cubicBezTo>
                    <a:cubicBezTo>
                      <a:pt x="3" y="119"/>
                      <a:pt x="4" y="112"/>
                      <a:pt x="4" y="112"/>
                    </a:cubicBezTo>
                    <a:cubicBezTo>
                      <a:pt x="3" y="112"/>
                      <a:pt x="3" y="112"/>
                      <a:pt x="3" y="112"/>
                    </a:cubicBezTo>
                    <a:cubicBezTo>
                      <a:pt x="3" y="112"/>
                      <a:pt x="4" y="122"/>
                      <a:pt x="4" y="124"/>
                    </a:cubicBezTo>
                    <a:cubicBezTo>
                      <a:pt x="4" y="127"/>
                      <a:pt x="1" y="131"/>
                      <a:pt x="1" y="131"/>
                    </a:cubicBezTo>
                    <a:cubicBezTo>
                      <a:pt x="2" y="132"/>
                      <a:pt x="2" y="132"/>
                      <a:pt x="2" y="132"/>
                    </a:cubicBezTo>
                    <a:cubicBezTo>
                      <a:pt x="0" y="140"/>
                      <a:pt x="0" y="140"/>
                      <a:pt x="0" y="140"/>
                    </a:cubicBezTo>
                    <a:cubicBezTo>
                      <a:pt x="2" y="141"/>
                      <a:pt x="2" y="141"/>
                      <a:pt x="2" y="141"/>
                    </a:cubicBezTo>
                    <a:cubicBezTo>
                      <a:pt x="7" y="145"/>
                      <a:pt x="7" y="145"/>
                      <a:pt x="7" y="145"/>
                    </a:cubicBezTo>
                    <a:cubicBezTo>
                      <a:pt x="5" y="138"/>
                      <a:pt x="5" y="138"/>
                      <a:pt x="5" y="138"/>
                    </a:cubicBezTo>
                    <a:cubicBezTo>
                      <a:pt x="7" y="138"/>
                      <a:pt x="7" y="138"/>
                      <a:pt x="7" y="138"/>
                    </a:cubicBezTo>
                    <a:cubicBezTo>
                      <a:pt x="9" y="145"/>
                      <a:pt x="9" y="145"/>
                      <a:pt x="9" y="145"/>
                    </a:cubicBezTo>
                    <a:cubicBezTo>
                      <a:pt x="15" y="147"/>
                      <a:pt x="15" y="147"/>
                      <a:pt x="15" y="147"/>
                    </a:cubicBezTo>
                    <a:cubicBezTo>
                      <a:pt x="17" y="147"/>
                      <a:pt x="17" y="147"/>
                      <a:pt x="17" y="147"/>
                    </a:cubicBezTo>
                    <a:cubicBezTo>
                      <a:pt x="21" y="156"/>
                      <a:pt x="21" y="156"/>
                      <a:pt x="21" y="156"/>
                    </a:cubicBezTo>
                    <a:cubicBezTo>
                      <a:pt x="20" y="159"/>
                      <a:pt x="20" y="159"/>
                      <a:pt x="20" y="159"/>
                    </a:cubicBezTo>
                    <a:cubicBezTo>
                      <a:pt x="20" y="159"/>
                      <a:pt x="21" y="163"/>
                      <a:pt x="21" y="166"/>
                    </a:cubicBezTo>
                    <a:cubicBezTo>
                      <a:pt x="21" y="169"/>
                      <a:pt x="18" y="173"/>
                      <a:pt x="18" y="175"/>
                    </a:cubicBezTo>
                    <a:cubicBezTo>
                      <a:pt x="18" y="177"/>
                      <a:pt x="20" y="178"/>
                      <a:pt x="20" y="179"/>
                    </a:cubicBezTo>
                    <a:cubicBezTo>
                      <a:pt x="19" y="179"/>
                      <a:pt x="19" y="180"/>
                      <a:pt x="19" y="181"/>
                    </a:cubicBezTo>
                    <a:cubicBezTo>
                      <a:pt x="20" y="181"/>
                      <a:pt x="21" y="182"/>
                      <a:pt x="22" y="182"/>
                    </a:cubicBezTo>
                    <a:cubicBezTo>
                      <a:pt x="28" y="181"/>
                      <a:pt x="33" y="183"/>
                      <a:pt x="39" y="185"/>
                    </a:cubicBezTo>
                    <a:cubicBezTo>
                      <a:pt x="41" y="185"/>
                      <a:pt x="40" y="190"/>
                      <a:pt x="44" y="189"/>
                    </a:cubicBezTo>
                    <a:cubicBezTo>
                      <a:pt x="47" y="187"/>
                      <a:pt x="48" y="183"/>
                      <a:pt x="49" y="189"/>
                    </a:cubicBezTo>
                    <a:cubicBezTo>
                      <a:pt x="49" y="189"/>
                      <a:pt x="49" y="188"/>
                      <a:pt x="50" y="188"/>
                    </a:cubicBezTo>
                    <a:cubicBezTo>
                      <a:pt x="50" y="186"/>
                      <a:pt x="50" y="186"/>
                      <a:pt x="50" y="186"/>
                    </a:cubicBezTo>
                    <a:cubicBezTo>
                      <a:pt x="54" y="183"/>
                      <a:pt x="54" y="183"/>
                      <a:pt x="54" y="183"/>
                    </a:cubicBezTo>
                    <a:cubicBezTo>
                      <a:pt x="54" y="183"/>
                      <a:pt x="56" y="181"/>
                      <a:pt x="57" y="181"/>
                    </a:cubicBezTo>
                    <a:cubicBezTo>
                      <a:pt x="58" y="181"/>
                      <a:pt x="57" y="185"/>
                      <a:pt x="57" y="186"/>
                    </a:cubicBezTo>
                    <a:cubicBezTo>
                      <a:pt x="57" y="187"/>
                      <a:pt x="59" y="188"/>
                      <a:pt x="61" y="188"/>
                    </a:cubicBezTo>
                    <a:cubicBezTo>
                      <a:pt x="63" y="187"/>
                      <a:pt x="60" y="186"/>
                      <a:pt x="59" y="185"/>
                    </a:cubicBezTo>
                    <a:cubicBezTo>
                      <a:pt x="59" y="183"/>
                      <a:pt x="61" y="183"/>
                      <a:pt x="61" y="183"/>
                    </a:cubicBezTo>
                    <a:close/>
                    <a:moveTo>
                      <a:pt x="170" y="130"/>
                    </a:moveTo>
                    <a:cubicBezTo>
                      <a:pt x="170" y="129"/>
                      <a:pt x="169" y="126"/>
                      <a:pt x="169" y="125"/>
                    </a:cubicBezTo>
                    <a:cubicBezTo>
                      <a:pt x="167" y="116"/>
                      <a:pt x="167" y="116"/>
                      <a:pt x="167" y="116"/>
                    </a:cubicBezTo>
                    <a:cubicBezTo>
                      <a:pt x="167" y="116"/>
                      <a:pt x="167" y="112"/>
                      <a:pt x="168" y="111"/>
                    </a:cubicBezTo>
                    <a:cubicBezTo>
                      <a:pt x="170" y="111"/>
                      <a:pt x="171" y="109"/>
                      <a:pt x="169" y="108"/>
                    </a:cubicBezTo>
                    <a:cubicBezTo>
                      <a:pt x="167" y="107"/>
                      <a:pt x="157" y="104"/>
                      <a:pt x="157" y="104"/>
                    </a:cubicBezTo>
                    <a:cubicBezTo>
                      <a:pt x="157" y="104"/>
                      <a:pt x="152" y="108"/>
                      <a:pt x="149" y="110"/>
                    </a:cubicBezTo>
                    <a:cubicBezTo>
                      <a:pt x="146" y="111"/>
                      <a:pt x="142" y="112"/>
                      <a:pt x="142" y="112"/>
                    </a:cubicBezTo>
                    <a:cubicBezTo>
                      <a:pt x="142" y="114"/>
                      <a:pt x="142" y="114"/>
                      <a:pt x="142" y="114"/>
                    </a:cubicBezTo>
                    <a:cubicBezTo>
                      <a:pt x="142" y="114"/>
                      <a:pt x="147" y="113"/>
                      <a:pt x="148" y="114"/>
                    </a:cubicBezTo>
                    <a:cubicBezTo>
                      <a:pt x="149" y="116"/>
                      <a:pt x="149" y="120"/>
                      <a:pt x="149" y="120"/>
                    </a:cubicBezTo>
                    <a:cubicBezTo>
                      <a:pt x="151" y="126"/>
                      <a:pt x="151" y="126"/>
                      <a:pt x="151" y="126"/>
                    </a:cubicBezTo>
                    <a:cubicBezTo>
                      <a:pt x="150" y="131"/>
                      <a:pt x="150" y="131"/>
                      <a:pt x="150" y="131"/>
                    </a:cubicBezTo>
                    <a:cubicBezTo>
                      <a:pt x="151" y="133"/>
                      <a:pt x="151" y="133"/>
                      <a:pt x="151" y="133"/>
                    </a:cubicBezTo>
                    <a:cubicBezTo>
                      <a:pt x="148" y="132"/>
                      <a:pt x="148" y="132"/>
                      <a:pt x="148" y="132"/>
                    </a:cubicBezTo>
                    <a:cubicBezTo>
                      <a:pt x="143" y="133"/>
                      <a:pt x="143" y="133"/>
                      <a:pt x="143" y="133"/>
                    </a:cubicBezTo>
                    <a:cubicBezTo>
                      <a:pt x="146" y="129"/>
                      <a:pt x="146" y="129"/>
                      <a:pt x="146" y="129"/>
                    </a:cubicBezTo>
                    <a:cubicBezTo>
                      <a:pt x="149" y="129"/>
                      <a:pt x="149" y="129"/>
                      <a:pt x="149" y="129"/>
                    </a:cubicBezTo>
                    <a:cubicBezTo>
                      <a:pt x="149" y="128"/>
                      <a:pt x="149" y="125"/>
                      <a:pt x="148" y="124"/>
                    </a:cubicBezTo>
                    <a:cubicBezTo>
                      <a:pt x="148" y="117"/>
                      <a:pt x="148" y="117"/>
                      <a:pt x="148" y="117"/>
                    </a:cubicBezTo>
                    <a:cubicBezTo>
                      <a:pt x="148" y="117"/>
                      <a:pt x="146" y="115"/>
                      <a:pt x="145" y="116"/>
                    </a:cubicBezTo>
                    <a:cubicBezTo>
                      <a:pt x="142" y="117"/>
                      <a:pt x="145" y="122"/>
                      <a:pt x="145" y="122"/>
                    </a:cubicBezTo>
                    <a:cubicBezTo>
                      <a:pt x="145" y="122"/>
                      <a:pt x="142" y="123"/>
                      <a:pt x="142" y="125"/>
                    </a:cubicBezTo>
                    <a:cubicBezTo>
                      <a:pt x="142" y="130"/>
                      <a:pt x="142" y="130"/>
                      <a:pt x="142" y="130"/>
                    </a:cubicBezTo>
                    <a:cubicBezTo>
                      <a:pt x="139" y="134"/>
                      <a:pt x="139" y="134"/>
                      <a:pt x="139" y="134"/>
                    </a:cubicBezTo>
                    <a:cubicBezTo>
                      <a:pt x="140" y="130"/>
                      <a:pt x="140" y="130"/>
                      <a:pt x="140" y="130"/>
                    </a:cubicBezTo>
                    <a:cubicBezTo>
                      <a:pt x="135" y="130"/>
                      <a:pt x="135" y="130"/>
                      <a:pt x="135" y="130"/>
                    </a:cubicBezTo>
                    <a:cubicBezTo>
                      <a:pt x="138" y="128"/>
                      <a:pt x="138" y="128"/>
                      <a:pt x="138" y="128"/>
                    </a:cubicBezTo>
                    <a:cubicBezTo>
                      <a:pt x="136" y="125"/>
                      <a:pt x="136" y="125"/>
                      <a:pt x="136" y="125"/>
                    </a:cubicBezTo>
                    <a:cubicBezTo>
                      <a:pt x="133" y="125"/>
                      <a:pt x="133" y="125"/>
                      <a:pt x="133" y="125"/>
                    </a:cubicBezTo>
                    <a:cubicBezTo>
                      <a:pt x="133" y="125"/>
                      <a:pt x="137" y="122"/>
                      <a:pt x="137" y="120"/>
                    </a:cubicBezTo>
                    <a:cubicBezTo>
                      <a:pt x="137" y="118"/>
                      <a:pt x="137" y="117"/>
                      <a:pt x="138" y="116"/>
                    </a:cubicBezTo>
                    <a:cubicBezTo>
                      <a:pt x="139" y="116"/>
                      <a:pt x="140" y="114"/>
                      <a:pt x="140" y="114"/>
                    </a:cubicBezTo>
                    <a:cubicBezTo>
                      <a:pt x="139" y="113"/>
                      <a:pt x="139" y="113"/>
                      <a:pt x="139" y="113"/>
                    </a:cubicBezTo>
                    <a:cubicBezTo>
                      <a:pt x="139" y="113"/>
                      <a:pt x="131" y="115"/>
                      <a:pt x="129" y="114"/>
                    </a:cubicBezTo>
                    <a:cubicBezTo>
                      <a:pt x="125" y="113"/>
                      <a:pt x="120" y="110"/>
                      <a:pt x="120" y="110"/>
                    </a:cubicBezTo>
                    <a:cubicBezTo>
                      <a:pt x="121" y="113"/>
                      <a:pt x="121" y="113"/>
                      <a:pt x="121" y="113"/>
                    </a:cubicBezTo>
                    <a:cubicBezTo>
                      <a:pt x="121" y="113"/>
                      <a:pt x="127" y="115"/>
                      <a:pt x="130" y="117"/>
                    </a:cubicBezTo>
                    <a:cubicBezTo>
                      <a:pt x="131" y="119"/>
                      <a:pt x="123" y="122"/>
                      <a:pt x="123" y="122"/>
                    </a:cubicBezTo>
                    <a:cubicBezTo>
                      <a:pt x="123" y="122"/>
                      <a:pt x="123" y="127"/>
                      <a:pt x="121" y="128"/>
                    </a:cubicBezTo>
                    <a:cubicBezTo>
                      <a:pt x="119" y="129"/>
                      <a:pt x="115" y="127"/>
                      <a:pt x="115" y="127"/>
                    </a:cubicBezTo>
                    <a:cubicBezTo>
                      <a:pt x="113" y="129"/>
                      <a:pt x="113" y="129"/>
                      <a:pt x="113" y="129"/>
                    </a:cubicBezTo>
                    <a:cubicBezTo>
                      <a:pt x="109" y="128"/>
                      <a:pt x="109" y="128"/>
                      <a:pt x="109" y="128"/>
                    </a:cubicBezTo>
                    <a:cubicBezTo>
                      <a:pt x="105" y="128"/>
                      <a:pt x="105" y="128"/>
                      <a:pt x="105" y="128"/>
                    </a:cubicBezTo>
                    <a:cubicBezTo>
                      <a:pt x="105" y="130"/>
                      <a:pt x="105" y="130"/>
                      <a:pt x="105" y="130"/>
                    </a:cubicBezTo>
                    <a:cubicBezTo>
                      <a:pt x="108" y="131"/>
                      <a:pt x="108" y="131"/>
                      <a:pt x="108" y="131"/>
                    </a:cubicBezTo>
                    <a:cubicBezTo>
                      <a:pt x="110" y="132"/>
                      <a:pt x="110" y="132"/>
                      <a:pt x="110" y="132"/>
                    </a:cubicBezTo>
                    <a:cubicBezTo>
                      <a:pt x="107" y="132"/>
                      <a:pt x="107" y="132"/>
                      <a:pt x="107" y="132"/>
                    </a:cubicBezTo>
                    <a:cubicBezTo>
                      <a:pt x="107" y="134"/>
                      <a:pt x="107" y="134"/>
                      <a:pt x="107" y="134"/>
                    </a:cubicBezTo>
                    <a:cubicBezTo>
                      <a:pt x="109" y="134"/>
                      <a:pt x="109" y="134"/>
                      <a:pt x="109" y="134"/>
                    </a:cubicBezTo>
                    <a:cubicBezTo>
                      <a:pt x="115" y="138"/>
                      <a:pt x="115" y="138"/>
                      <a:pt x="115" y="138"/>
                    </a:cubicBezTo>
                    <a:cubicBezTo>
                      <a:pt x="115" y="141"/>
                      <a:pt x="115" y="141"/>
                      <a:pt x="115" y="141"/>
                    </a:cubicBezTo>
                    <a:cubicBezTo>
                      <a:pt x="113" y="142"/>
                      <a:pt x="113" y="142"/>
                      <a:pt x="113" y="142"/>
                    </a:cubicBezTo>
                    <a:cubicBezTo>
                      <a:pt x="114" y="144"/>
                      <a:pt x="114" y="144"/>
                      <a:pt x="114" y="144"/>
                    </a:cubicBezTo>
                    <a:cubicBezTo>
                      <a:pt x="117" y="145"/>
                      <a:pt x="117" y="145"/>
                      <a:pt x="117" y="145"/>
                    </a:cubicBezTo>
                    <a:cubicBezTo>
                      <a:pt x="117" y="151"/>
                      <a:pt x="117" y="151"/>
                      <a:pt x="117" y="151"/>
                    </a:cubicBezTo>
                    <a:cubicBezTo>
                      <a:pt x="113" y="155"/>
                      <a:pt x="113" y="155"/>
                      <a:pt x="113" y="155"/>
                    </a:cubicBezTo>
                    <a:cubicBezTo>
                      <a:pt x="121" y="163"/>
                      <a:pt x="121" y="163"/>
                      <a:pt x="121" y="163"/>
                    </a:cubicBezTo>
                    <a:cubicBezTo>
                      <a:pt x="121" y="163"/>
                      <a:pt x="125" y="162"/>
                      <a:pt x="127" y="162"/>
                    </a:cubicBezTo>
                    <a:cubicBezTo>
                      <a:pt x="129" y="162"/>
                      <a:pt x="130" y="165"/>
                      <a:pt x="132" y="164"/>
                    </a:cubicBezTo>
                    <a:cubicBezTo>
                      <a:pt x="134" y="164"/>
                      <a:pt x="135" y="161"/>
                      <a:pt x="137" y="162"/>
                    </a:cubicBezTo>
                    <a:cubicBezTo>
                      <a:pt x="138" y="164"/>
                      <a:pt x="137" y="166"/>
                      <a:pt x="137" y="166"/>
                    </a:cubicBezTo>
                    <a:cubicBezTo>
                      <a:pt x="139" y="166"/>
                      <a:pt x="139" y="166"/>
                      <a:pt x="139" y="166"/>
                    </a:cubicBezTo>
                    <a:cubicBezTo>
                      <a:pt x="137" y="169"/>
                      <a:pt x="137" y="169"/>
                      <a:pt x="137" y="169"/>
                    </a:cubicBezTo>
                    <a:cubicBezTo>
                      <a:pt x="138" y="171"/>
                      <a:pt x="138" y="171"/>
                      <a:pt x="138" y="171"/>
                    </a:cubicBezTo>
                    <a:cubicBezTo>
                      <a:pt x="139" y="171"/>
                      <a:pt x="139" y="171"/>
                      <a:pt x="139" y="171"/>
                    </a:cubicBezTo>
                    <a:cubicBezTo>
                      <a:pt x="139" y="173"/>
                      <a:pt x="139" y="173"/>
                      <a:pt x="139" y="173"/>
                    </a:cubicBezTo>
                    <a:cubicBezTo>
                      <a:pt x="134" y="171"/>
                      <a:pt x="134" y="171"/>
                      <a:pt x="134" y="171"/>
                    </a:cubicBezTo>
                    <a:cubicBezTo>
                      <a:pt x="134" y="172"/>
                      <a:pt x="134" y="172"/>
                      <a:pt x="134" y="172"/>
                    </a:cubicBezTo>
                    <a:cubicBezTo>
                      <a:pt x="142" y="177"/>
                      <a:pt x="142" y="177"/>
                      <a:pt x="142" y="177"/>
                    </a:cubicBezTo>
                    <a:cubicBezTo>
                      <a:pt x="147" y="176"/>
                      <a:pt x="147" y="176"/>
                      <a:pt x="147" y="176"/>
                    </a:cubicBezTo>
                    <a:cubicBezTo>
                      <a:pt x="149" y="179"/>
                      <a:pt x="149" y="179"/>
                      <a:pt x="149" y="179"/>
                    </a:cubicBezTo>
                    <a:cubicBezTo>
                      <a:pt x="154" y="177"/>
                      <a:pt x="154" y="177"/>
                      <a:pt x="154" y="177"/>
                    </a:cubicBezTo>
                    <a:cubicBezTo>
                      <a:pt x="154" y="177"/>
                      <a:pt x="151" y="175"/>
                      <a:pt x="153" y="174"/>
                    </a:cubicBezTo>
                    <a:cubicBezTo>
                      <a:pt x="154" y="173"/>
                      <a:pt x="156" y="171"/>
                      <a:pt x="154" y="170"/>
                    </a:cubicBezTo>
                    <a:cubicBezTo>
                      <a:pt x="151" y="170"/>
                      <a:pt x="148" y="170"/>
                      <a:pt x="148" y="167"/>
                    </a:cubicBezTo>
                    <a:cubicBezTo>
                      <a:pt x="149" y="166"/>
                      <a:pt x="155" y="161"/>
                      <a:pt x="158" y="161"/>
                    </a:cubicBezTo>
                    <a:cubicBezTo>
                      <a:pt x="161" y="161"/>
                      <a:pt x="164" y="161"/>
                      <a:pt x="165" y="158"/>
                    </a:cubicBezTo>
                    <a:cubicBezTo>
                      <a:pt x="165" y="155"/>
                      <a:pt x="162" y="150"/>
                      <a:pt x="159" y="150"/>
                    </a:cubicBezTo>
                    <a:cubicBezTo>
                      <a:pt x="157" y="149"/>
                      <a:pt x="153" y="148"/>
                      <a:pt x="154" y="147"/>
                    </a:cubicBezTo>
                    <a:cubicBezTo>
                      <a:pt x="155" y="146"/>
                      <a:pt x="155" y="142"/>
                      <a:pt x="155" y="142"/>
                    </a:cubicBezTo>
                    <a:cubicBezTo>
                      <a:pt x="155" y="142"/>
                      <a:pt x="157" y="138"/>
                      <a:pt x="158" y="138"/>
                    </a:cubicBezTo>
                    <a:cubicBezTo>
                      <a:pt x="159" y="137"/>
                      <a:pt x="164" y="137"/>
                      <a:pt x="164" y="137"/>
                    </a:cubicBezTo>
                    <a:cubicBezTo>
                      <a:pt x="164" y="137"/>
                      <a:pt x="165" y="133"/>
                      <a:pt x="166" y="134"/>
                    </a:cubicBezTo>
                    <a:cubicBezTo>
                      <a:pt x="168" y="134"/>
                      <a:pt x="166" y="134"/>
                      <a:pt x="166" y="137"/>
                    </a:cubicBezTo>
                    <a:cubicBezTo>
                      <a:pt x="166" y="138"/>
                      <a:pt x="167" y="143"/>
                      <a:pt x="169" y="142"/>
                    </a:cubicBezTo>
                    <a:cubicBezTo>
                      <a:pt x="171" y="141"/>
                      <a:pt x="173" y="138"/>
                      <a:pt x="173" y="138"/>
                    </a:cubicBezTo>
                    <a:cubicBezTo>
                      <a:pt x="173" y="138"/>
                      <a:pt x="171" y="130"/>
                      <a:pt x="170" y="130"/>
                    </a:cubicBezTo>
                    <a:close/>
                    <a:moveTo>
                      <a:pt x="11" y="148"/>
                    </a:moveTo>
                    <a:cubicBezTo>
                      <a:pt x="9" y="146"/>
                      <a:pt x="9" y="146"/>
                      <a:pt x="9" y="146"/>
                    </a:cubicBezTo>
                    <a:cubicBezTo>
                      <a:pt x="9" y="149"/>
                      <a:pt x="9" y="149"/>
                      <a:pt x="9" y="149"/>
                    </a:cubicBezTo>
                    <a:cubicBezTo>
                      <a:pt x="10" y="151"/>
                      <a:pt x="10" y="151"/>
                      <a:pt x="10" y="151"/>
                    </a:cubicBezTo>
                    <a:cubicBezTo>
                      <a:pt x="11" y="155"/>
                      <a:pt x="11" y="155"/>
                      <a:pt x="11" y="155"/>
                    </a:cubicBezTo>
                    <a:cubicBezTo>
                      <a:pt x="12" y="151"/>
                      <a:pt x="12" y="151"/>
                      <a:pt x="12" y="151"/>
                    </a:cubicBezTo>
                    <a:cubicBezTo>
                      <a:pt x="12" y="148"/>
                      <a:pt x="11" y="148"/>
                      <a:pt x="11" y="148"/>
                    </a:cubicBezTo>
                    <a:close/>
                    <a:moveTo>
                      <a:pt x="267" y="166"/>
                    </a:moveTo>
                    <a:cubicBezTo>
                      <a:pt x="261" y="162"/>
                      <a:pt x="261" y="162"/>
                      <a:pt x="261" y="162"/>
                    </a:cubicBezTo>
                    <a:cubicBezTo>
                      <a:pt x="256" y="161"/>
                      <a:pt x="256" y="161"/>
                      <a:pt x="256" y="161"/>
                    </a:cubicBezTo>
                    <a:cubicBezTo>
                      <a:pt x="252" y="156"/>
                      <a:pt x="252" y="156"/>
                      <a:pt x="252" y="156"/>
                    </a:cubicBezTo>
                    <a:cubicBezTo>
                      <a:pt x="249" y="161"/>
                      <a:pt x="249" y="161"/>
                      <a:pt x="249" y="161"/>
                    </a:cubicBezTo>
                    <a:cubicBezTo>
                      <a:pt x="249" y="161"/>
                      <a:pt x="251" y="162"/>
                      <a:pt x="250" y="164"/>
                    </a:cubicBezTo>
                    <a:cubicBezTo>
                      <a:pt x="250" y="166"/>
                      <a:pt x="249" y="169"/>
                      <a:pt x="249" y="169"/>
                    </a:cubicBezTo>
                    <a:cubicBezTo>
                      <a:pt x="264" y="175"/>
                      <a:pt x="264" y="175"/>
                      <a:pt x="264" y="175"/>
                    </a:cubicBezTo>
                    <a:cubicBezTo>
                      <a:pt x="265" y="174"/>
                      <a:pt x="265" y="174"/>
                      <a:pt x="265" y="174"/>
                    </a:cubicBezTo>
                    <a:cubicBezTo>
                      <a:pt x="265" y="171"/>
                      <a:pt x="265" y="171"/>
                      <a:pt x="265" y="171"/>
                    </a:cubicBezTo>
                    <a:cubicBezTo>
                      <a:pt x="268" y="170"/>
                      <a:pt x="268" y="170"/>
                      <a:pt x="268" y="170"/>
                    </a:cubicBezTo>
                    <a:lnTo>
                      <a:pt x="267" y="166"/>
                    </a:lnTo>
                    <a:close/>
                    <a:moveTo>
                      <a:pt x="174" y="134"/>
                    </a:moveTo>
                    <a:cubicBezTo>
                      <a:pt x="175" y="138"/>
                      <a:pt x="178" y="138"/>
                      <a:pt x="176" y="134"/>
                    </a:cubicBezTo>
                    <a:cubicBezTo>
                      <a:pt x="176" y="131"/>
                      <a:pt x="174" y="134"/>
                      <a:pt x="174" y="134"/>
                    </a:cubicBezTo>
                    <a:close/>
                    <a:moveTo>
                      <a:pt x="131" y="69"/>
                    </a:moveTo>
                    <a:cubicBezTo>
                      <a:pt x="134" y="68"/>
                      <a:pt x="136" y="65"/>
                      <a:pt x="136" y="65"/>
                    </a:cubicBezTo>
                    <a:cubicBezTo>
                      <a:pt x="129" y="65"/>
                      <a:pt x="129" y="65"/>
                      <a:pt x="129" y="65"/>
                    </a:cubicBezTo>
                    <a:cubicBezTo>
                      <a:pt x="129" y="65"/>
                      <a:pt x="129" y="69"/>
                      <a:pt x="131" y="69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58" name="Cyprus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7440613" y="5705475"/>
                <a:ext cx="239712" cy="227012"/>
              </a:xfrm>
              <a:custGeom>
                <a:avLst/>
                <a:gdLst/>
                <a:ahLst/>
                <a:cxnLst>
                  <a:cxn ang="0">
                    <a:pos x="0" y="75"/>
                  </a:cxn>
                  <a:cxn ang="0">
                    <a:pos x="8" y="81"/>
                  </a:cxn>
                  <a:cxn ang="0">
                    <a:pos x="11" y="67"/>
                  </a:cxn>
                  <a:cxn ang="0">
                    <a:pos x="30" y="65"/>
                  </a:cxn>
                  <a:cxn ang="0">
                    <a:pos x="28" y="47"/>
                  </a:cxn>
                  <a:cxn ang="0">
                    <a:pos x="36" y="48"/>
                  </a:cxn>
                  <a:cxn ang="0">
                    <a:pos x="37" y="46"/>
                  </a:cxn>
                  <a:cxn ang="0">
                    <a:pos x="52" y="46"/>
                  </a:cxn>
                  <a:cxn ang="0">
                    <a:pos x="57" y="44"/>
                  </a:cxn>
                  <a:cxn ang="0">
                    <a:pos x="68" y="40"/>
                  </a:cxn>
                  <a:cxn ang="0">
                    <a:pos x="75" y="29"/>
                  </a:cxn>
                  <a:cxn ang="0">
                    <a:pos x="86" y="22"/>
                  </a:cxn>
                  <a:cxn ang="0">
                    <a:pos x="91" y="14"/>
                  </a:cxn>
                  <a:cxn ang="0">
                    <a:pos x="95" y="13"/>
                  </a:cxn>
                  <a:cxn ang="0">
                    <a:pos x="113" y="0"/>
                  </a:cxn>
                  <a:cxn ang="0">
                    <a:pos x="105" y="9"/>
                  </a:cxn>
                  <a:cxn ang="0">
                    <a:pos x="103" y="16"/>
                  </a:cxn>
                  <a:cxn ang="0">
                    <a:pos x="91" y="28"/>
                  </a:cxn>
                  <a:cxn ang="0">
                    <a:pos x="91" y="33"/>
                  </a:cxn>
                  <a:cxn ang="0">
                    <a:pos x="83" y="41"/>
                  </a:cxn>
                  <a:cxn ang="0">
                    <a:pos x="101" y="53"/>
                  </a:cxn>
                  <a:cxn ang="0">
                    <a:pos x="98" y="57"/>
                  </a:cxn>
                  <a:cxn ang="0">
                    <a:pos x="93" y="56"/>
                  </a:cxn>
                  <a:cxn ang="0">
                    <a:pos x="90" y="60"/>
                  </a:cxn>
                  <a:cxn ang="0">
                    <a:pos x="78" y="62"/>
                  </a:cxn>
                  <a:cxn ang="0">
                    <a:pos x="77" y="74"/>
                  </a:cxn>
                  <a:cxn ang="0">
                    <a:pos x="74" y="74"/>
                  </a:cxn>
                  <a:cxn ang="0">
                    <a:pos x="72" y="77"/>
                  </a:cxn>
                  <a:cxn ang="0">
                    <a:pos x="50" y="92"/>
                  </a:cxn>
                  <a:cxn ang="0">
                    <a:pos x="50" y="101"/>
                  </a:cxn>
                  <a:cxn ang="0">
                    <a:pos x="41" y="95"/>
                  </a:cxn>
                  <a:cxn ang="0">
                    <a:pos x="17" y="101"/>
                  </a:cxn>
                  <a:cxn ang="0">
                    <a:pos x="0" y="75"/>
                  </a:cxn>
                </a:cxnLst>
                <a:rect l="0" t="0" r="r" b="b"/>
                <a:pathLst>
                  <a:path w="113" h="106">
                    <a:moveTo>
                      <a:pt x="0" y="75"/>
                    </a:moveTo>
                    <a:cubicBezTo>
                      <a:pt x="0" y="75"/>
                      <a:pt x="4" y="83"/>
                      <a:pt x="8" y="81"/>
                    </a:cubicBezTo>
                    <a:cubicBezTo>
                      <a:pt x="11" y="79"/>
                      <a:pt x="7" y="72"/>
                      <a:pt x="11" y="67"/>
                    </a:cubicBezTo>
                    <a:cubicBezTo>
                      <a:pt x="16" y="64"/>
                      <a:pt x="26" y="72"/>
                      <a:pt x="30" y="65"/>
                    </a:cubicBezTo>
                    <a:cubicBezTo>
                      <a:pt x="34" y="59"/>
                      <a:pt x="28" y="47"/>
                      <a:pt x="28" y="47"/>
                    </a:cubicBezTo>
                    <a:cubicBezTo>
                      <a:pt x="36" y="48"/>
                      <a:pt x="36" y="48"/>
                      <a:pt x="36" y="48"/>
                    </a:cubicBezTo>
                    <a:cubicBezTo>
                      <a:pt x="37" y="46"/>
                      <a:pt x="37" y="46"/>
                      <a:pt x="37" y="46"/>
                    </a:cubicBezTo>
                    <a:cubicBezTo>
                      <a:pt x="52" y="46"/>
                      <a:pt x="52" y="46"/>
                      <a:pt x="52" y="46"/>
                    </a:cubicBezTo>
                    <a:cubicBezTo>
                      <a:pt x="57" y="44"/>
                      <a:pt x="57" y="44"/>
                      <a:pt x="57" y="44"/>
                    </a:cubicBezTo>
                    <a:cubicBezTo>
                      <a:pt x="57" y="44"/>
                      <a:pt x="64" y="43"/>
                      <a:pt x="68" y="40"/>
                    </a:cubicBezTo>
                    <a:cubicBezTo>
                      <a:pt x="72" y="36"/>
                      <a:pt x="70" y="31"/>
                      <a:pt x="75" y="29"/>
                    </a:cubicBezTo>
                    <a:cubicBezTo>
                      <a:pt x="80" y="28"/>
                      <a:pt x="82" y="25"/>
                      <a:pt x="86" y="22"/>
                    </a:cubicBezTo>
                    <a:cubicBezTo>
                      <a:pt x="90" y="19"/>
                      <a:pt x="91" y="14"/>
                      <a:pt x="91" y="14"/>
                    </a:cubicBezTo>
                    <a:cubicBezTo>
                      <a:pt x="95" y="13"/>
                      <a:pt x="95" y="13"/>
                      <a:pt x="95" y="13"/>
                    </a:cubicBezTo>
                    <a:cubicBezTo>
                      <a:pt x="113" y="0"/>
                      <a:pt x="113" y="0"/>
                      <a:pt x="113" y="0"/>
                    </a:cubicBezTo>
                    <a:cubicBezTo>
                      <a:pt x="105" y="9"/>
                      <a:pt x="105" y="9"/>
                      <a:pt x="105" y="9"/>
                    </a:cubicBezTo>
                    <a:cubicBezTo>
                      <a:pt x="103" y="16"/>
                      <a:pt x="103" y="16"/>
                      <a:pt x="103" y="16"/>
                    </a:cubicBezTo>
                    <a:cubicBezTo>
                      <a:pt x="91" y="28"/>
                      <a:pt x="91" y="28"/>
                      <a:pt x="91" y="28"/>
                    </a:cubicBezTo>
                    <a:cubicBezTo>
                      <a:pt x="91" y="33"/>
                      <a:pt x="91" y="33"/>
                      <a:pt x="91" y="33"/>
                    </a:cubicBezTo>
                    <a:cubicBezTo>
                      <a:pt x="91" y="33"/>
                      <a:pt x="80" y="34"/>
                      <a:pt x="83" y="41"/>
                    </a:cubicBezTo>
                    <a:cubicBezTo>
                      <a:pt x="88" y="48"/>
                      <a:pt x="101" y="53"/>
                      <a:pt x="101" y="53"/>
                    </a:cubicBezTo>
                    <a:cubicBezTo>
                      <a:pt x="98" y="57"/>
                      <a:pt x="98" y="57"/>
                      <a:pt x="98" y="57"/>
                    </a:cubicBezTo>
                    <a:cubicBezTo>
                      <a:pt x="93" y="56"/>
                      <a:pt x="93" y="56"/>
                      <a:pt x="93" y="56"/>
                    </a:cubicBezTo>
                    <a:cubicBezTo>
                      <a:pt x="90" y="60"/>
                      <a:pt x="90" y="60"/>
                      <a:pt x="90" y="60"/>
                    </a:cubicBezTo>
                    <a:cubicBezTo>
                      <a:pt x="90" y="60"/>
                      <a:pt x="81" y="59"/>
                      <a:pt x="78" y="62"/>
                    </a:cubicBezTo>
                    <a:cubicBezTo>
                      <a:pt x="75" y="64"/>
                      <a:pt x="77" y="74"/>
                      <a:pt x="77" y="74"/>
                    </a:cubicBezTo>
                    <a:cubicBezTo>
                      <a:pt x="74" y="74"/>
                      <a:pt x="74" y="74"/>
                      <a:pt x="74" y="74"/>
                    </a:cubicBezTo>
                    <a:cubicBezTo>
                      <a:pt x="72" y="77"/>
                      <a:pt x="72" y="77"/>
                      <a:pt x="72" y="77"/>
                    </a:cubicBezTo>
                    <a:cubicBezTo>
                      <a:pt x="72" y="77"/>
                      <a:pt x="52" y="87"/>
                      <a:pt x="50" y="92"/>
                    </a:cubicBezTo>
                    <a:cubicBezTo>
                      <a:pt x="49" y="96"/>
                      <a:pt x="54" y="101"/>
                      <a:pt x="50" y="101"/>
                    </a:cubicBezTo>
                    <a:cubicBezTo>
                      <a:pt x="45" y="103"/>
                      <a:pt x="41" y="95"/>
                      <a:pt x="41" y="95"/>
                    </a:cubicBezTo>
                    <a:cubicBezTo>
                      <a:pt x="41" y="95"/>
                      <a:pt x="27" y="106"/>
                      <a:pt x="17" y="101"/>
                    </a:cubicBezTo>
                    <a:cubicBezTo>
                      <a:pt x="8" y="96"/>
                      <a:pt x="2" y="92"/>
                      <a:pt x="0" y="75"/>
                    </a:cubicBezTo>
                    <a:close/>
                  </a:path>
                </a:pathLst>
              </a:custGeom>
              <a:solidFill>
                <a:srgbClr val="FDC795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59" name="Czech Republic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030788" y="3970338"/>
                <a:ext cx="628650" cy="355600"/>
              </a:xfrm>
              <a:custGeom>
                <a:avLst/>
                <a:gdLst/>
                <a:ahLst/>
                <a:cxnLst>
                  <a:cxn ang="0">
                    <a:pos x="282" y="79"/>
                  </a:cxn>
                  <a:cxn ang="0">
                    <a:pos x="269" y="64"/>
                  </a:cxn>
                  <a:cxn ang="0">
                    <a:pos x="252" y="63"/>
                  </a:cxn>
                  <a:cxn ang="0">
                    <a:pos x="243" y="58"/>
                  </a:cxn>
                  <a:cxn ang="0">
                    <a:pos x="243" y="48"/>
                  </a:cxn>
                  <a:cxn ang="0">
                    <a:pos x="227" y="48"/>
                  </a:cxn>
                  <a:cxn ang="0">
                    <a:pos x="204" y="37"/>
                  </a:cxn>
                  <a:cxn ang="0">
                    <a:pos x="211" y="46"/>
                  </a:cxn>
                  <a:cxn ang="0">
                    <a:pos x="207" y="51"/>
                  </a:cxn>
                  <a:cxn ang="0">
                    <a:pos x="191" y="58"/>
                  </a:cxn>
                  <a:cxn ang="0">
                    <a:pos x="175" y="41"/>
                  </a:cxn>
                  <a:cxn ang="0">
                    <a:pos x="179" y="25"/>
                  </a:cxn>
                  <a:cxn ang="0">
                    <a:pos x="165" y="25"/>
                  </a:cxn>
                  <a:cxn ang="0">
                    <a:pos x="143" y="22"/>
                  </a:cxn>
                  <a:cxn ang="0">
                    <a:pos x="137" y="7"/>
                  </a:cxn>
                  <a:cxn ang="0">
                    <a:pos x="121" y="8"/>
                  </a:cxn>
                  <a:cxn ang="0">
                    <a:pos x="121" y="13"/>
                  </a:cxn>
                  <a:cxn ang="0">
                    <a:pos x="110" y="14"/>
                  </a:cxn>
                  <a:cxn ang="0">
                    <a:pos x="101" y="9"/>
                  </a:cxn>
                  <a:cxn ang="0">
                    <a:pos x="89" y="5"/>
                  </a:cxn>
                  <a:cxn ang="0">
                    <a:pos x="89" y="12"/>
                  </a:cxn>
                  <a:cxn ang="0">
                    <a:pos x="64" y="23"/>
                  </a:cxn>
                  <a:cxn ang="0">
                    <a:pos x="47" y="37"/>
                  </a:cxn>
                  <a:cxn ang="0">
                    <a:pos x="30" y="44"/>
                  </a:cxn>
                  <a:cxn ang="0">
                    <a:pos x="16" y="49"/>
                  </a:cxn>
                  <a:cxn ang="0">
                    <a:pos x="2" y="52"/>
                  </a:cxn>
                  <a:cxn ang="0">
                    <a:pos x="7" y="67"/>
                  </a:cxn>
                  <a:cxn ang="0">
                    <a:pos x="19" y="77"/>
                  </a:cxn>
                  <a:cxn ang="0">
                    <a:pos x="14" y="88"/>
                  </a:cxn>
                  <a:cxn ang="0">
                    <a:pos x="23" y="103"/>
                  </a:cxn>
                  <a:cxn ang="0">
                    <a:pos x="50" y="130"/>
                  </a:cxn>
                  <a:cxn ang="0">
                    <a:pos x="69" y="141"/>
                  </a:cxn>
                  <a:cxn ang="0">
                    <a:pos x="81" y="153"/>
                  </a:cxn>
                  <a:cxn ang="0">
                    <a:pos x="89" y="161"/>
                  </a:cxn>
                  <a:cxn ang="0">
                    <a:pos x="91" y="165"/>
                  </a:cxn>
                  <a:cxn ang="0">
                    <a:pos x="106" y="161"/>
                  </a:cxn>
                  <a:cxn ang="0">
                    <a:pos x="112" y="162"/>
                  </a:cxn>
                  <a:cxn ang="0">
                    <a:pos x="116" y="156"/>
                  </a:cxn>
                  <a:cxn ang="0">
                    <a:pos x="128" y="153"/>
                  </a:cxn>
                  <a:cxn ang="0">
                    <a:pos x="135" y="136"/>
                  </a:cxn>
                  <a:cxn ang="0">
                    <a:pos x="143" y="136"/>
                  </a:cxn>
                  <a:cxn ang="0">
                    <a:pos x="161" y="143"/>
                  </a:cxn>
                  <a:cxn ang="0">
                    <a:pos x="177" y="150"/>
                  </a:cxn>
                  <a:cxn ang="0">
                    <a:pos x="193" y="144"/>
                  </a:cxn>
                  <a:cxn ang="0">
                    <a:pos x="206" y="150"/>
                  </a:cxn>
                  <a:cxn ang="0">
                    <a:pos x="216" y="152"/>
                  </a:cxn>
                  <a:cxn ang="0">
                    <a:pos x="242" y="141"/>
                  </a:cxn>
                  <a:cxn ang="0">
                    <a:pos x="256" y="126"/>
                  </a:cxn>
                  <a:cxn ang="0">
                    <a:pos x="266" y="107"/>
                  </a:cxn>
                  <a:cxn ang="0">
                    <a:pos x="281" y="92"/>
                  </a:cxn>
                  <a:cxn ang="0">
                    <a:pos x="295" y="90"/>
                  </a:cxn>
                </a:cxnLst>
                <a:rect l="0" t="0" r="r" b="b"/>
                <a:pathLst>
                  <a:path w="295" h="167">
                    <a:moveTo>
                      <a:pt x="291" y="79"/>
                    </a:moveTo>
                    <a:cubicBezTo>
                      <a:pt x="282" y="79"/>
                      <a:pt x="282" y="79"/>
                      <a:pt x="282" y="79"/>
                    </a:cubicBezTo>
                    <a:cubicBezTo>
                      <a:pt x="279" y="67"/>
                      <a:pt x="279" y="67"/>
                      <a:pt x="279" y="67"/>
                    </a:cubicBezTo>
                    <a:cubicBezTo>
                      <a:pt x="269" y="64"/>
                      <a:pt x="269" y="64"/>
                      <a:pt x="269" y="64"/>
                    </a:cubicBezTo>
                    <a:cubicBezTo>
                      <a:pt x="253" y="59"/>
                      <a:pt x="253" y="59"/>
                      <a:pt x="253" y="59"/>
                    </a:cubicBezTo>
                    <a:cubicBezTo>
                      <a:pt x="252" y="63"/>
                      <a:pt x="252" y="63"/>
                      <a:pt x="252" y="63"/>
                    </a:cubicBezTo>
                    <a:cubicBezTo>
                      <a:pt x="247" y="65"/>
                      <a:pt x="247" y="65"/>
                      <a:pt x="247" y="65"/>
                    </a:cubicBezTo>
                    <a:cubicBezTo>
                      <a:pt x="247" y="65"/>
                      <a:pt x="245" y="59"/>
                      <a:pt x="243" y="58"/>
                    </a:cubicBezTo>
                    <a:cubicBezTo>
                      <a:pt x="242" y="57"/>
                      <a:pt x="239" y="53"/>
                      <a:pt x="239" y="53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39" y="43"/>
                      <a:pt x="239" y="43"/>
                      <a:pt x="239" y="43"/>
                    </a:cubicBezTo>
                    <a:cubicBezTo>
                      <a:pt x="227" y="48"/>
                      <a:pt x="227" y="48"/>
                      <a:pt x="227" y="48"/>
                    </a:cubicBezTo>
                    <a:cubicBezTo>
                      <a:pt x="227" y="48"/>
                      <a:pt x="223" y="43"/>
                      <a:pt x="217" y="41"/>
                    </a:cubicBezTo>
                    <a:cubicBezTo>
                      <a:pt x="211" y="39"/>
                      <a:pt x="204" y="37"/>
                      <a:pt x="204" y="37"/>
                    </a:cubicBezTo>
                    <a:cubicBezTo>
                      <a:pt x="205" y="43"/>
                      <a:pt x="205" y="43"/>
                      <a:pt x="205" y="43"/>
                    </a:cubicBezTo>
                    <a:cubicBezTo>
                      <a:pt x="205" y="43"/>
                      <a:pt x="209" y="46"/>
                      <a:pt x="211" y="46"/>
                    </a:cubicBezTo>
                    <a:cubicBezTo>
                      <a:pt x="213" y="46"/>
                      <a:pt x="211" y="52"/>
                      <a:pt x="211" y="52"/>
                    </a:cubicBezTo>
                    <a:cubicBezTo>
                      <a:pt x="207" y="51"/>
                      <a:pt x="207" y="51"/>
                      <a:pt x="207" y="51"/>
                    </a:cubicBezTo>
                    <a:cubicBezTo>
                      <a:pt x="207" y="51"/>
                      <a:pt x="201" y="54"/>
                      <a:pt x="201" y="56"/>
                    </a:cubicBezTo>
                    <a:cubicBezTo>
                      <a:pt x="200" y="58"/>
                      <a:pt x="194" y="60"/>
                      <a:pt x="191" y="58"/>
                    </a:cubicBezTo>
                    <a:cubicBezTo>
                      <a:pt x="188" y="56"/>
                      <a:pt x="189" y="48"/>
                      <a:pt x="187" y="45"/>
                    </a:cubicBezTo>
                    <a:cubicBezTo>
                      <a:pt x="186" y="42"/>
                      <a:pt x="177" y="43"/>
                      <a:pt x="175" y="41"/>
                    </a:cubicBezTo>
                    <a:cubicBezTo>
                      <a:pt x="173" y="38"/>
                      <a:pt x="186" y="30"/>
                      <a:pt x="186" y="30"/>
                    </a:cubicBezTo>
                    <a:cubicBezTo>
                      <a:pt x="179" y="25"/>
                      <a:pt x="179" y="25"/>
                      <a:pt x="179" y="25"/>
                    </a:cubicBezTo>
                    <a:cubicBezTo>
                      <a:pt x="166" y="31"/>
                      <a:pt x="166" y="31"/>
                      <a:pt x="166" y="31"/>
                    </a:cubicBezTo>
                    <a:cubicBezTo>
                      <a:pt x="165" y="25"/>
                      <a:pt x="165" y="25"/>
                      <a:pt x="165" y="25"/>
                    </a:cubicBezTo>
                    <a:cubicBezTo>
                      <a:pt x="143" y="17"/>
                      <a:pt x="143" y="17"/>
                      <a:pt x="143" y="17"/>
                    </a:cubicBezTo>
                    <a:cubicBezTo>
                      <a:pt x="143" y="22"/>
                      <a:pt x="143" y="22"/>
                      <a:pt x="143" y="22"/>
                    </a:cubicBezTo>
                    <a:cubicBezTo>
                      <a:pt x="135" y="14"/>
                      <a:pt x="135" y="14"/>
                      <a:pt x="135" y="14"/>
                    </a:cubicBezTo>
                    <a:cubicBezTo>
                      <a:pt x="137" y="7"/>
                      <a:pt x="137" y="7"/>
                      <a:pt x="137" y="7"/>
                    </a:cubicBezTo>
                    <a:cubicBezTo>
                      <a:pt x="123" y="5"/>
                      <a:pt x="123" y="5"/>
                      <a:pt x="123" y="5"/>
                    </a:cubicBezTo>
                    <a:cubicBezTo>
                      <a:pt x="121" y="8"/>
                      <a:pt x="121" y="8"/>
                      <a:pt x="121" y="8"/>
                    </a:cubicBezTo>
                    <a:cubicBezTo>
                      <a:pt x="123" y="11"/>
                      <a:pt x="123" y="11"/>
                      <a:pt x="123" y="11"/>
                    </a:cubicBezTo>
                    <a:cubicBezTo>
                      <a:pt x="121" y="13"/>
                      <a:pt x="121" y="13"/>
                      <a:pt x="121" y="13"/>
                    </a:cubicBezTo>
                    <a:cubicBezTo>
                      <a:pt x="113" y="11"/>
                      <a:pt x="113" y="11"/>
                      <a:pt x="113" y="11"/>
                    </a:cubicBezTo>
                    <a:cubicBezTo>
                      <a:pt x="113" y="13"/>
                      <a:pt x="112" y="16"/>
                      <a:pt x="110" y="14"/>
                    </a:cubicBezTo>
                    <a:cubicBezTo>
                      <a:pt x="107" y="12"/>
                      <a:pt x="101" y="14"/>
                      <a:pt x="106" y="8"/>
                    </a:cubicBezTo>
                    <a:cubicBezTo>
                      <a:pt x="105" y="9"/>
                      <a:pt x="102" y="9"/>
                      <a:pt x="101" y="9"/>
                    </a:cubicBezTo>
                    <a:cubicBezTo>
                      <a:pt x="107" y="1"/>
                      <a:pt x="94" y="2"/>
                      <a:pt x="91" y="0"/>
                    </a:cubicBezTo>
                    <a:cubicBezTo>
                      <a:pt x="90" y="1"/>
                      <a:pt x="89" y="4"/>
                      <a:pt x="89" y="5"/>
                    </a:cubicBezTo>
                    <a:cubicBezTo>
                      <a:pt x="90" y="5"/>
                      <a:pt x="95" y="7"/>
                      <a:pt x="95" y="8"/>
                    </a:cubicBezTo>
                    <a:cubicBezTo>
                      <a:pt x="95" y="12"/>
                      <a:pt x="92" y="10"/>
                      <a:pt x="89" y="12"/>
                    </a:cubicBezTo>
                    <a:cubicBezTo>
                      <a:pt x="84" y="14"/>
                      <a:pt x="80" y="18"/>
                      <a:pt x="77" y="18"/>
                    </a:cubicBezTo>
                    <a:cubicBezTo>
                      <a:pt x="74" y="18"/>
                      <a:pt x="66" y="22"/>
                      <a:pt x="64" y="23"/>
                    </a:cubicBezTo>
                    <a:cubicBezTo>
                      <a:pt x="60" y="25"/>
                      <a:pt x="58" y="35"/>
                      <a:pt x="53" y="30"/>
                    </a:cubicBezTo>
                    <a:cubicBezTo>
                      <a:pt x="53" y="30"/>
                      <a:pt x="50" y="32"/>
                      <a:pt x="47" y="37"/>
                    </a:cubicBezTo>
                    <a:cubicBezTo>
                      <a:pt x="45" y="39"/>
                      <a:pt x="43" y="40"/>
                      <a:pt x="41" y="39"/>
                    </a:cubicBezTo>
                    <a:cubicBezTo>
                      <a:pt x="40" y="48"/>
                      <a:pt x="33" y="42"/>
                      <a:pt x="30" y="44"/>
                    </a:cubicBezTo>
                    <a:cubicBezTo>
                      <a:pt x="29" y="44"/>
                      <a:pt x="25" y="46"/>
                      <a:pt x="25" y="46"/>
                    </a:cubicBezTo>
                    <a:cubicBezTo>
                      <a:pt x="19" y="43"/>
                      <a:pt x="18" y="48"/>
                      <a:pt x="16" y="49"/>
                    </a:cubicBezTo>
                    <a:cubicBezTo>
                      <a:pt x="14" y="52"/>
                      <a:pt x="11" y="61"/>
                      <a:pt x="10" y="62"/>
                    </a:cubicBezTo>
                    <a:cubicBezTo>
                      <a:pt x="9" y="62"/>
                      <a:pt x="3" y="54"/>
                      <a:pt x="2" y="52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57"/>
                      <a:pt x="4" y="63"/>
                      <a:pt x="7" y="67"/>
                    </a:cubicBezTo>
                    <a:cubicBezTo>
                      <a:pt x="9" y="70"/>
                      <a:pt x="18" y="72"/>
                      <a:pt x="16" y="76"/>
                    </a:cubicBezTo>
                    <a:cubicBezTo>
                      <a:pt x="17" y="76"/>
                      <a:pt x="18" y="77"/>
                      <a:pt x="19" y="77"/>
                    </a:cubicBezTo>
                    <a:cubicBezTo>
                      <a:pt x="19" y="79"/>
                      <a:pt x="18" y="84"/>
                      <a:pt x="17" y="84"/>
                    </a:cubicBezTo>
                    <a:cubicBezTo>
                      <a:pt x="14" y="88"/>
                      <a:pt x="14" y="88"/>
                      <a:pt x="14" y="88"/>
                    </a:cubicBezTo>
                    <a:cubicBezTo>
                      <a:pt x="14" y="92"/>
                      <a:pt x="18" y="92"/>
                      <a:pt x="19" y="93"/>
                    </a:cubicBezTo>
                    <a:cubicBezTo>
                      <a:pt x="21" y="96"/>
                      <a:pt x="21" y="100"/>
                      <a:pt x="23" y="103"/>
                    </a:cubicBezTo>
                    <a:cubicBezTo>
                      <a:pt x="24" y="106"/>
                      <a:pt x="29" y="115"/>
                      <a:pt x="33" y="116"/>
                    </a:cubicBezTo>
                    <a:cubicBezTo>
                      <a:pt x="40" y="117"/>
                      <a:pt x="49" y="130"/>
                      <a:pt x="50" y="130"/>
                    </a:cubicBezTo>
                    <a:cubicBezTo>
                      <a:pt x="53" y="130"/>
                      <a:pt x="59" y="131"/>
                      <a:pt x="59" y="135"/>
                    </a:cubicBezTo>
                    <a:cubicBezTo>
                      <a:pt x="60" y="143"/>
                      <a:pt x="66" y="136"/>
                      <a:pt x="69" y="141"/>
                    </a:cubicBezTo>
                    <a:cubicBezTo>
                      <a:pt x="72" y="146"/>
                      <a:pt x="76" y="149"/>
                      <a:pt x="77" y="154"/>
                    </a:cubicBezTo>
                    <a:cubicBezTo>
                      <a:pt x="81" y="153"/>
                      <a:pt x="81" y="153"/>
                      <a:pt x="81" y="153"/>
                    </a:cubicBezTo>
                    <a:cubicBezTo>
                      <a:pt x="81" y="153"/>
                      <a:pt x="83" y="155"/>
                      <a:pt x="85" y="155"/>
                    </a:cubicBezTo>
                    <a:cubicBezTo>
                      <a:pt x="86" y="156"/>
                      <a:pt x="89" y="161"/>
                      <a:pt x="89" y="161"/>
                    </a:cubicBezTo>
                    <a:cubicBezTo>
                      <a:pt x="88" y="163"/>
                      <a:pt x="88" y="163"/>
                      <a:pt x="88" y="163"/>
                    </a:cubicBezTo>
                    <a:cubicBezTo>
                      <a:pt x="91" y="165"/>
                      <a:pt x="91" y="165"/>
                      <a:pt x="91" y="165"/>
                    </a:cubicBezTo>
                    <a:cubicBezTo>
                      <a:pt x="101" y="167"/>
                      <a:pt x="101" y="167"/>
                      <a:pt x="101" y="167"/>
                    </a:cubicBezTo>
                    <a:cubicBezTo>
                      <a:pt x="106" y="161"/>
                      <a:pt x="106" y="161"/>
                      <a:pt x="106" y="161"/>
                    </a:cubicBezTo>
                    <a:cubicBezTo>
                      <a:pt x="109" y="162"/>
                      <a:pt x="109" y="162"/>
                      <a:pt x="109" y="162"/>
                    </a:cubicBezTo>
                    <a:cubicBezTo>
                      <a:pt x="112" y="162"/>
                      <a:pt x="112" y="162"/>
                      <a:pt x="112" y="162"/>
                    </a:cubicBezTo>
                    <a:cubicBezTo>
                      <a:pt x="112" y="162"/>
                      <a:pt x="116" y="164"/>
                      <a:pt x="118" y="164"/>
                    </a:cubicBezTo>
                    <a:cubicBezTo>
                      <a:pt x="119" y="164"/>
                      <a:pt x="116" y="158"/>
                      <a:pt x="116" y="156"/>
                    </a:cubicBezTo>
                    <a:cubicBezTo>
                      <a:pt x="117" y="154"/>
                      <a:pt x="121" y="150"/>
                      <a:pt x="121" y="150"/>
                    </a:cubicBezTo>
                    <a:cubicBezTo>
                      <a:pt x="128" y="153"/>
                      <a:pt x="128" y="153"/>
                      <a:pt x="128" y="153"/>
                    </a:cubicBezTo>
                    <a:cubicBezTo>
                      <a:pt x="129" y="136"/>
                      <a:pt x="129" y="136"/>
                      <a:pt x="129" y="136"/>
                    </a:cubicBezTo>
                    <a:cubicBezTo>
                      <a:pt x="135" y="136"/>
                      <a:pt x="135" y="136"/>
                      <a:pt x="135" y="136"/>
                    </a:cubicBezTo>
                    <a:cubicBezTo>
                      <a:pt x="135" y="136"/>
                      <a:pt x="137" y="138"/>
                      <a:pt x="140" y="138"/>
                    </a:cubicBezTo>
                    <a:cubicBezTo>
                      <a:pt x="142" y="137"/>
                      <a:pt x="143" y="136"/>
                      <a:pt x="143" y="136"/>
                    </a:cubicBezTo>
                    <a:cubicBezTo>
                      <a:pt x="143" y="136"/>
                      <a:pt x="150" y="138"/>
                      <a:pt x="151" y="138"/>
                    </a:cubicBezTo>
                    <a:cubicBezTo>
                      <a:pt x="152" y="138"/>
                      <a:pt x="161" y="143"/>
                      <a:pt x="161" y="143"/>
                    </a:cubicBezTo>
                    <a:cubicBezTo>
                      <a:pt x="161" y="143"/>
                      <a:pt x="163" y="142"/>
                      <a:pt x="167" y="142"/>
                    </a:cubicBezTo>
                    <a:cubicBezTo>
                      <a:pt x="172" y="142"/>
                      <a:pt x="177" y="150"/>
                      <a:pt x="177" y="150"/>
                    </a:cubicBezTo>
                    <a:cubicBezTo>
                      <a:pt x="191" y="149"/>
                      <a:pt x="191" y="149"/>
                      <a:pt x="191" y="149"/>
                    </a:cubicBezTo>
                    <a:cubicBezTo>
                      <a:pt x="193" y="144"/>
                      <a:pt x="193" y="144"/>
                      <a:pt x="193" y="144"/>
                    </a:cubicBezTo>
                    <a:cubicBezTo>
                      <a:pt x="204" y="147"/>
                      <a:pt x="204" y="147"/>
                      <a:pt x="204" y="147"/>
                    </a:cubicBezTo>
                    <a:cubicBezTo>
                      <a:pt x="206" y="150"/>
                      <a:pt x="206" y="150"/>
                      <a:pt x="206" y="150"/>
                    </a:cubicBezTo>
                    <a:cubicBezTo>
                      <a:pt x="213" y="150"/>
                      <a:pt x="213" y="150"/>
                      <a:pt x="213" y="150"/>
                    </a:cubicBezTo>
                    <a:cubicBezTo>
                      <a:pt x="216" y="152"/>
                      <a:pt x="216" y="152"/>
                      <a:pt x="216" y="152"/>
                    </a:cubicBezTo>
                    <a:cubicBezTo>
                      <a:pt x="217" y="149"/>
                      <a:pt x="222" y="141"/>
                      <a:pt x="226" y="139"/>
                    </a:cubicBezTo>
                    <a:cubicBezTo>
                      <a:pt x="230" y="137"/>
                      <a:pt x="242" y="141"/>
                      <a:pt x="242" y="141"/>
                    </a:cubicBezTo>
                    <a:cubicBezTo>
                      <a:pt x="255" y="133"/>
                      <a:pt x="255" y="133"/>
                      <a:pt x="255" y="133"/>
                    </a:cubicBezTo>
                    <a:cubicBezTo>
                      <a:pt x="255" y="133"/>
                      <a:pt x="253" y="130"/>
                      <a:pt x="256" y="126"/>
                    </a:cubicBezTo>
                    <a:cubicBezTo>
                      <a:pt x="259" y="123"/>
                      <a:pt x="261" y="127"/>
                      <a:pt x="263" y="123"/>
                    </a:cubicBezTo>
                    <a:cubicBezTo>
                      <a:pt x="266" y="119"/>
                      <a:pt x="264" y="111"/>
                      <a:pt x="266" y="107"/>
                    </a:cubicBezTo>
                    <a:cubicBezTo>
                      <a:pt x="270" y="104"/>
                      <a:pt x="272" y="106"/>
                      <a:pt x="276" y="103"/>
                    </a:cubicBezTo>
                    <a:cubicBezTo>
                      <a:pt x="280" y="100"/>
                      <a:pt x="281" y="92"/>
                      <a:pt x="281" y="92"/>
                    </a:cubicBezTo>
                    <a:cubicBezTo>
                      <a:pt x="288" y="93"/>
                      <a:pt x="288" y="93"/>
                      <a:pt x="288" y="93"/>
                    </a:cubicBezTo>
                    <a:cubicBezTo>
                      <a:pt x="295" y="90"/>
                      <a:pt x="295" y="90"/>
                      <a:pt x="295" y="90"/>
                    </a:cubicBezTo>
                    <a:lnTo>
                      <a:pt x="291" y="79"/>
                    </a:ln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60" name="Croatia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5175250" y="4592638"/>
                <a:ext cx="596900" cy="547687"/>
              </a:xfrm>
              <a:custGeom>
                <a:avLst/>
                <a:gdLst/>
                <a:ahLst/>
                <a:cxnLst>
                  <a:cxn ang="0">
                    <a:pos x="260" y="53"/>
                  </a:cxn>
                  <a:cxn ang="0">
                    <a:pos x="248" y="34"/>
                  </a:cxn>
                  <a:cxn ang="0">
                    <a:pos x="195" y="44"/>
                  </a:cxn>
                  <a:cxn ang="0">
                    <a:pos x="157" y="12"/>
                  </a:cxn>
                  <a:cxn ang="0">
                    <a:pos x="127" y="1"/>
                  </a:cxn>
                  <a:cxn ang="0">
                    <a:pos x="97" y="28"/>
                  </a:cxn>
                  <a:cxn ang="0">
                    <a:pos x="80" y="58"/>
                  </a:cxn>
                  <a:cxn ang="0">
                    <a:pos x="89" y="72"/>
                  </a:cxn>
                  <a:cxn ang="0">
                    <a:pos x="67" y="75"/>
                  </a:cxn>
                  <a:cxn ang="0">
                    <a:pos x="50" y="66"/>
                  </a:cxn>
                  <a:cxn ang="0">
                    <a:pos x="27" y="75"/>
                  </a:cxn>
                  <a:cxn ang="0">
                    <a:pos x="2" y="77"/>
                  </a:cxn>
                  <a:cxn ang="0">
                    <a:pos x="11" y="98"/>
                  </a:cxn>
                  <a:cxn ang="0">
                    <a:pos x="26" y="119"/>
                  </a:cxn>
                  <a:cxn ang="0">
                    <a:pos x="62" y="95"/>
                  </a:cxn>
                  <a:cxn ang="0">
                    <a:pos x="102" y="151"/>
                  </a:cxn>
                  <a:cxn ang="0">
                    <a:pos x="99" y="176"/>
                  </a:cxn>
                  <a:cxn ang="0">
                    <a:pos x="144" y="197"/>
                  </a:cxn>
                  <a:cxn ang="0">
                    <a:pos x="210" y="235"/>
                  </a:cxn>
                  <a:cxn ang="0">
                    <a:pos x="182" y="229"/>
                  </a:cxn>
                  <a:cxn ang="0">
                    <a:pos x="231" y="249"/>
                  </a:cxn>
                  <a:cxn ang="0">
                    <a:pos x="248" y="248"/>
                  </a:cxn>
                  <a:cxn ang="0">
                    <a:pos x="210" y="221"/>
                  </a:cxn>
                  <a:cxn ang="0">
                    <a:pos x="161" y="176"/>
                  </a:cxn>
                  <a:cxn ang="0">
                    <a:pos x="123" y="129"/>
                  </a:cxn>
                  <a:cxn ang="0">
                    <a:pos x="109" y="90"/>
                  </a:cxn>
                  <a:cxn ang="0">
                    <a:pos x="159" y="87"/>
                  </a:cxn>
                  <a:cxn ang="0">
                    <a:pos x="206" y="92"/>
                  </a:cxn>
                  <a:cxn ang="0">
                    <a:pos x="233" y="85"/>
                  </a:cxn>
                  <a:cxn ang="0">
                    <a:pos x="267" y="94"/>
                  </a:cxn>
                  <a:cxn ang="0">
                    <a:pos x="280" y="74"/>
                  </a:cxn>
                  <a:cxn ang="0">
                    <a:pos x="60" y="102"/>
                  </a:cxn>
                  <a:cxn ang="0">
                    <a:pos x="50" y="97"/>
                  </a:cxn>
                  <a:cxn ang="0">
                    <a:pos x="56" y="107"/>
                  </a:cxn>
                  <a:cxn ang="0">
                    <a:pos x="47" y="115"/>
                  </a:cxn>
                  <a:cxn ang="0">
                    <a:pos x="40" y="95"/>
                  </a:cxn>
                  <a:cxn ang="0">
                    <a:pos x="41" y="111"/>
                  </a:cxn>
                  <a:cxn ang="0">
                    <a:pos x="51" y="140"/>
                  </a:cxn>
                  <a:cxn ang="0">
                    <a:pos x="49" y="130"/>
                  </a:cxn>
                  <a:cxn ang="0">
                    <a:pos x="37" y="130"/>
                  </a:cxn>
                  <a:cxn ang="0">
                    <a:pos x="70" y="131"/>
                  </a:cxn>
                  <a:cxn ang="0">
                    <a:pos x="76" y="143"/>
                  </a:cxn>
                  <a:cxn ang="0">
                    <a:pos x="63" y="121"/>
                  </a:cxn>
                  <a:cxn ang="0">
                    <a:pos x="59" y="121"/>
                  </a:cxn>
                  <a:cxn ang="0">
                    <a:pos x="75" y="165"/>
                  </a:cxn>
                  <a:cxn ang="0">
                    <a:pos x="79" y="169"/>
                  </a:cxn>
                  <a:cxn ang="0">
                    <a:pos x="169" y="208"/>
                  </a:cxn>
                  <a:cxn ang="0">
                    <a:pos x="144" y="209"/>
                  </a:cxn>
                  <a:cxn ang="0">
                    <a:pos x="136" y="206"/>
                  </a:cxn>
                  <a:cxn ang="0">
                    <a:pos x="163" y="219"/>
                  </a:cxn>
                  <a:cxn ang="0">
                    <a:pos x="153" y="218"/>
                  </a:cxn>
                  <a:cxn ang="0">
                    <a:pos x="182" y="222"/>
                  </a:cxn>
                  <a:cxn ang="0">
                    <a:pos x="135" y="227"/>
                  </a:cxn>
                  <a:cxn ang="0">
                    <a:pos x="169" y="233"/>
                  </a:cxn>
                  <a:cxn ang="0">
                    <a:pos x="160" y="235"/>
                  </a:cxn>
                  <a:cxn ang="0">
                    <a:pos x="186" y="235"/>
                  </a:cxn>
                  <a:cxn ang="0">
                    <a:pos x="213" y="246"/>
                  </a:cxn>
                  <a:cxn ang="0">
                    <a:pos x="71" y="155"/>
                  </a:cxn>
                  <a:cxn ang="0">
                    <a:pos x="63" y="153"/>
                  </a:cxn>
                  <a:cxn ang="0">
                    <a:pos x="77" y="153"/>
                  </a:cxn>
                  <a:cxn ang="0">
                    <a:pos x="61" y="143"/>
                  </a:cxn>
                  <a:cxn ang="0">
                    <a:pos x="91" y="182"/>
                  </a:cxn>
                  <a:cxn ang="0">
                    <a:pos x="81" y="164"/>
                  </a:cxn>
                </a:cxnLst>
                <a:rect l="0" t="0" r="r" b="b"/>
                <a:pathLst>
                  <a:path w="280" h="257">
                    <a:moveTo>
                      <a:pt x="269" y="74"/>
                    </a:moveTo>
                    <a:cubicBezTo>
                      <a:pt x="258" y="67"/>
                      <a:pt x="258" y="67"/>
                      <a:pt x="258" y="67"/>
                    </a:cubicBezTo>
                    <a:cubicBezTo>
                      <a:pt x="258" y="67"/>
                      <a:pt x="253" y="63"/>
                      <a:pt x="258" y="61"/>
                    </a:cubicBezTo>
                    <a:cubicBezTo>
                      <a:pt x="264" y="59"/>
                      <a:pt x="266" y="53"/>
                      <a:pt x="260" y="53"/>
                    </a:cubicBezTo>
                    <a:cubicBezTo>
                      <a:pt x="256" y="54"/>
                      <a:pt x="256" y="59"/>
                      <a:pt x="253" y="54"/>
                    </a:cubicBezTo>
                    <a:cubicBezTo>
                      <a:pt x="250" y="51"/>
                      <a:pt x="255" y="46"/>
                      <a:pt x="255" y="41"/>
                    </a:cubicBezTo>
                    <a:cubicBezTo>
                      <a:pt x="255" y="40"/>
                      <a:pt x="253" y="37"/>
                      <a:pt x="250" y="34"/>
                    </a:cubicBezTo>
                    <a:cubicBezTo>
                      <a:pt x="248" y="34"/>
                      <a:pt x="248" y="34"/>
                      <a:pt x="248" y="34"/>
                    </a:cubicBezTo>
                    <a:cubicBezTo>
                      <a:pt x="241" y="35"/>
                      <a:pt x="241" y="35"/>
                      <a:pt x="241" y="35"/>
                    </a:cubicBezTo>
                    <a:cubicBezTo>
                      <a:pt x="234" y="45"/>
                      <a:pt x="234" y="45"/>
                      <a:pt x="234" y="45"/>
                    </a:cubicBezTo>
                    <a:cubicBezTo>
                      <a:pt x="234" y="45"/>
                      <a:pt x="223" y="46"/>
                      <a:pt x="218" y="46"/>
                    </a:cubicBezTo>
                    <a:cubicBezTo>
                      <a:pt x="213" y="46"/>
                      <a:pt x="195" y="44"/>
                      <a:pt x="195" y="44"/>
                    </a:cubicBezTo>
                    <a:cubicBezTo>
                      <a:pt x="195" y="44"/>
                      <a:pt x="194" y="38"/>
                      <a:pt x="190" y="36"/>
                    </a:cubicBezTo>
                    <a:cubicBezTo>
                      <a:pt x="186" y="34"/>
                      <a:pt x="179" y="35"/>
                      <a:pt x="179" y="35"/>
                    </a:cubicBezTo>
                    <a:cubicBezTo>
                      <a:pt x="161" y="20"/>
                      <a:pt x="161" y="20"/>
                      <a:pt x="161" y="20"/>
                    </a:cubicBezTo>
                    <a:cubicBezTo>
                      <a:pt x="161" y="20"/>
                      <a:pt x="159" y="15"/>
                      <a:pt x="157" y="12"/>
                    </a:cubicBezTo>
                    <a:cubicBezTo>
                      <a:pt x="155" y="9"/>
                      <a:pt x="148" y="11"/>
                      <a:pt x="148" y="11"/>
                    </a:cubicBezTo>
                    <a:cubicBezTo>
                      <a:pt x="146" y="6"/>
                      <a:pt x="146" y="6"/>
                      <a:pt x="146" y="6"/>
                    </a:cubicBezTo>
                    <a:cubicBezTo>
                      <a:pt x="140" y="3"/>
                      <a:pt x="140" y="3"/>
                      <a:pt x="140" y="3"/>
                    </a:cubicBezTo>
                    <a:cubicBezTo>
                      <a:pt x="140" y="3"/>
                      <a:pt x="131" y="0"/>
                      <a:pt x="127" y="1"/>
                    </a:cubicBezTo>
                    <a:cubicBezTo>
                      <a:pt x="124" y="1"/>
                      <a:pt x="127" y="12"/>
                      <a:pt x="127" y="12"/>
                    </a:cubicBezTo>
                    <a:cubicBezTo>
                      <a:pt x="127" y="12"/>
                      <a:pt x="121" y="9"/>
                      <a:pt x="119" y="9"/>
                    </a:cubicBezTo>
                    <a:cubicBezTo>
                      <a:pt x="116" y="9"/>
                      <a:pt x="119" y="16"/>
                      <a:pt x="119" y="16"/>
                    </a:cubicBezTo>
                    <a:cubicBezTo>
                      <a:pt x="119" y="16"/>
                      <a:pt x="100" y="24"/>
                      <a:pt x="97" y="28"/>
                    </a:cubicBezTo>
                    <a:cubicBezTo>
                      <a:pt x="94" y="32"/>
                      <a:pt x="104" y="36"/>
                      <a:pt x="104" y="36"/>
                    </a:cubicBezTo>
                    <a:cubicBezTo>
                      <a:pt x="102" y="49"/>
                      <a:pt x="102" y="49"/>
                      <a:pt x="102" y="49"/>
                    </a:cubicBezTo>
                    <a:cubicBezTo>
                      <a:pt x="96" y="47"/>
                      <a:pt x="96" y="47"/>
                      <a:pt x="96" y="47"/>
                    </a:cubicBezTo>
                    <a:cubicBezTo>
                      <a:pt x="96" y="47"/>
                      <a:pt x="82" y="54"/>
                      <a:pt x="80" y="58"/>
                    </a:cubicBezTo>
                    <a:cubicBezTo>
                      <a:pt x="78" y="62"/>
                      <a:pt x="88" y="58"/>
                      <a:pt x="88" y="58"/>
                    </a:cubicBezTo>
                    <a:cubicBezTo>
                      <a:pt x="90" y="61"/>
                      <a:pt x="90" y="61"/>
                      <a:pt x="90" y="61"/>
                    </a:cubicBezTo>
                    <a:cubicBezTo>
                      <a:pt x="90" y="61"/>
                      <a:pt x="88" y="64"/>
                      <a:pt x="86" y="66"/>
                    </a:cubicBezTo>
                    <a:cubicBezTo>
                      <a:pt x="83" y="68"/>
                      <a:pt x="89" y="72"/>
                      <a:pt x="89" y="72"/>
                    </a:cubicBezTo>
                    <a:cubicBezTo>
                      <a:pt x="89" y="72"/>
                      <a:pt x="86" y="77"/>
                      <a:pt x="79" y="77"/>
                    </a:cubicBezTo>
                    <a:cubicBezTo>
                      <a:pt x="73" y="77"/>
                      <a:pt x="75" y="74"/>
                      <a:pt x="75" y="74"/>
                    </a:cubicBezTo>
                    <a:cubicBezTo>
                      <a:pt x="75" y="74"/>
                      <a:pt x="70" y="70"/>
                      <a:pt x="67" y="70"/>
                    </a:cubicBezTo>
                    <a:cubicBezTo>
                      <a:pt x="66" y="70"/>
                      <a:pt x="67" y="75"/>
                      <a:pt x="67" y="75"/>
                    </a:cubicBezTo>
                    <a:cubicBezTo>
                      <a:pt x="57" y="71"/>
                      <a:pt x="57" y="71"/>
                      <a:pt x="57" y="71"/>
                    </a:cubicBezTo>
                    <a:cubicBezTo>
                      <a:pt x="53" y="66"/>
                      <a:pt x="53" y="66"/>
                      <a:pt x="53" y="66"/>
                    </a:cubicBezTo>
                    <a:cubicBezTo>
                      <a:pt x="53" y="66"/>
                      <a:pt x="53" y="62"/>
                      <a:pt x="50" y="62"/>
                    </a:cubicBezTo>
                    <a:cubicBezTo>
                      <a:pt x="49" y="63"/>
                      <a:pt x="50" y="66"/>
                      <a:pt x="50" y="66"/>
                    </a:cubicBezTo>
                    <a:cubicBezTo>
                      <a:pt x="48" y="67"/>
                      <a:pt x="48" y="67"/>
                      <a:pt x="48" y="67"/>
                    </a:cubicBezTo>
                    <a:cubicBezTo>
                      <a:pt x="47" y="71"/>
                      <a:pt x="47" y="71"/>
                      <a:pt x="47" y="71"/>
                    </a:cubicBezTo>
                    <a:cubicBezTo>
                      <a:pt x="30" y="77"/>
                      <a:pt x="30" y="77"/>
                      <a:pt x="30" y="77"/>
                    </a:cubicBezTo>
                    <a:cubicBezTo>
                      <a:pt x="27" y="75"/>
                      <a:pt x="27" y="75"/>
                      <a:pt x="27" y="75"/>
                    </a:cubicBezTo>
                    <a:cubicBezTo>
                      <a:pt x="20" y="80"/>
                      <a:pt x="20" y="80"/>
                      <a:pt x="20" y="80"/>
                    </a:cubicBezTo>
                    <a:cubicBezTo>
                      <a:pt x="14" y="76"/>
                      <a:pt x="14" y="76"/>
                      <a:pt x="14" y="76"/>
                    </a:cubicBezTo>
                    <a:cubicBezTo>
                      <a:pt x="14" y="76"/>
                      <a:pt x="10" y="80"/>
                      <a:pt x="9" y="80"/>
                    </a:cubicBezTo>
                    <a:cubicBezTo>
                      <a:pt x="7" y="80"/>
                      <a:pt x="2" y="77"/>
                      <a:pt x="2" y="77"/>
                    </a:cubicBezTo>
                    <a:cubicBezTo>
                      <a:pt x="0" y="80"/>
                      <a:pt x="0" y="80"/>
                      <a:pt x="0" y="80"/>
                    </a:cubicBezTo>
                    <a:cubicBezTo>
                      <a:pt x="4" y="83"/>
                      <a:pt x="4" y="83"/>
                      <a:pt x="4" y="83"/>
                    </a:cubicBezTo>
                    <a:cubicBezTo>
                      <a:pt x="7" y="97"/>
                      <a:pt x="7" y="97"/>
                      <a:pt x="7" y="97"/>
                    </a:cubicBezTo>
                    <a:cubicBezTo>
                      <a:pt x="11" y="98"/>
                      <a:pt x="11" y="98"/>
                      <a:pt x="11" y="98"/>
                    </a:cubicBezTo>
                    <a:cubicBezTo>
                      <a:pt x="7" y="100"/>
                      <a:pt x="7" y="100"/>
                      <a:pt x="7" y="100"/>
                    </a:cubicBezTo>
                    <a:cubicBezTo>
                      <a:pt x="14" y="108"/>
                      <a:pt x="14" y="108"/>
                      <a:pt x="14" y="108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6" y="119"/>
                      <a:pt x="26" y="119"/>
                      <a:pt x="26" y="119"/>
                    </a:cubicBezTo>
                    <a:cubicBezTo>
                      <a:pt x="27" y="107"/>
                      <a:pt x="27" y="107"/>
                      <a:pt x="27" y="107"/>
                    </a:cubicBezTo>
                    <a:cubicBezTo>
                      <a:pt x="27" y="107"/>
                      <a:pt x="30" y="111"/>
                      <a:pt x="33" y="110"/>
                    </a:cubicBezTo>
                    <a:cubicBezTo>
                      <a:pt x="37" y="108"/>
                      <a:pt x="34" y="88"/>
                      <a:pt x="39" y="85"/>
                    </a:cubicBezTo>
                    <a:cubicBezTo>
                      <a:pt x="43" y="82"/>
                      <a:pt x="62" y="95"/>
                      <a:pt x="62" y="95"/>
                    </a:cubicBezTo>
                    <a:cubicBezTo>
                      <a:pt x="70" y="108"/>
                      <a:pt x="70" y="108"/>
                      <a:pt x="70" y="108"/>
                    </a:cubicBezTo>
                    <a:cubicBezTo>
                      <a:pt x="70" y="108"/>
                      <a:pt x="64" y="121"/>
                      <a:pt x="70" y="126"/>
                    </a:cubicBezTo>
                    <a:cubicBezTo>
                      <a:pt x="74" y="131"/>
                      <a:pt x="88" y="146"/>
                      <a:pt x="88" y="146"/>
                    </a:cubicBezTo>
                    <a:cubicBezTo>
                      <a:pt x="88" y="146"/>
                      <a:pt x="98" y="150"/>
                      <a:pt x="102" y="151"/>
                    </a:cubicBezTo>
                    <a:cubicBezTo>
                      <a:pt x="104" y="153"/>
                      <a:pt x="108" y="158"/>
                      <a:pt x="108" y="158"/>
                    </a:cubicBezTo>
                    <a:cubicBezTo>
                      <a:pt x="108" y="158"/>
                      <a:pt x="93" y="153"/>
                      <a:pt x="91" y="151"/>
                    </a:cubicBezTo>
                    <a:cubicBezTo>
                      <a:pt x="89" y="151"/>
                      <a:pt x="82" y="154"/>
                      <a:pt x="82" y="154"/>
                    </a:cubicBezTo>
                    <a:cubicBezTo>
                      <a:pt x="82" y="154"/>
                      <a:pt x="90" y="173"/>
                      <a:pt x="99" y="176"/>
                    </a:cubicBezTo>
                    <a:cubicBezTo>
                      <a:pt x="108" y="179"/>
                      <a:pt x="123" y="190"/>
                      <a:pt x="123" y="190"/>
                    </a:cubicBezTo>
                    <a:cubicBezTo>
                      <a:pt x="123" y="190"/>
                      <a:pt x="120" y="195"/>
                      <a:pt x="123" y="198"/>
                    </a:cubicBezTo>
                    <a:cubicBezTo>
                      <a:pt x="127" y="202"/>
                      <a:pt x="131" y="201"/>
                      <a:pt x="131" y="201"/>
                    </a:cubicBezTo>
                    <a:cubicBezTo>
                      <a:pt x="144" y="197"/>
                      <a:pt x="144" y="197"/>
                      <a:pt x="144" y="197"/>
                    </a:cubicBezTo>
                    <a:cubicBezTo>
                      <a:pt x="169" y="204"/>
                      <a:pt x="169" y="204"/>
                      <a:pt x="169" y="204"/>
                    </a:cubicBezTo>
                    <a:cubicBezTo>
                      <a:pt x="169" y="204"/>
                      <a:pt x="173" y="213"/>
                      <a:pt x="180" y="217"/>
                    </a:cubicBezTo>
                    <a:cubicBezTo>
                      <a:pt x="187" y="219"/>
                      <a:pt x="195" y="225"/>
                      <a:pt x="200" y="228"/>
                    </a:cubicBezTo>
                    <a:cubicBezTo>
                      <a:pt x="203" y="232"/>
                      <a:pt x="210" y="235"/>
                      <a:pt x="210" y="235"/>
                    </a:cubicBezTo>
                    <a:cubicBezTo>
                      <a:pt x="210" y="235"/>
                      <a:pt x="202" y="233"/>
                      <a:pt x="200" y="232"/>
                    </a:cubicBezTo>
                    <a:cubicBezTo>
                      <a:pt x="197" y="230"/>
                      <a:pt x="194" y="228"/>
                      <a:pt x="192" y="228"/>
                    </a:cubicBezTo>
                    <a:cubicBezTo>
                      <a:pt x="189" y="227"/>
                      <a:pt x="176" y="225"/>
                      <a:pt x="176" y="225"/>
                    </a:cubicBezTo>
                    <a:cubicBezTo>
                      <a:pt x="176" y="225"/>
                      <a:pt x="180" y="229"/>
                      <a:pt x="182" y="229"/>
                    </a:cubicBezTo>
                    <a:cubicBezTo>
                      <a:pt x="185" y="230"/>
                      <a:pt x="197" y="235"/>
                      <a:pt x="197" y="235"/>
                    </a:cubicBezTo>
                    <a:cubicBezTo>
                      <a:pt x="212" y="241"/>
                      <a:pt x="212" y="241"/>
                      <a:pt x="212" y="241"/>
                    </a:cubicBezTo>
                    <a:cubicBezTo>
                      <a:pt x="214" y="239"/>
                      <a:pt x="214" y="239"/>
                      <a:pt x="214" y="239"/>
                    </a:cubicBezTo>
                    <a:cubicBezTo>
                      <a:pt x="231" y="249"/>
                      <a:pt x="231" y="249"/>
                      <a:pt x="231" y="249"/>
                    </a:cubicBezTo>
                    <a:cubicBezTo>
                      <a:pt x="236" y="249"/>
                      <a:pt x="236" y="249"/>
                      <a:pt x="236" y="249"/>
                    </a:cubicBezTo>
                    <a:cubicBezTo>
                      <a:pt x="239" y="251"/>
                      <a:pt x="239" y="251"/>
                      <a:pt x="239" y="251"/>
                    </a:cubicBezTo>
                    <a:cubicBezTo>
                      <a:pt x="251" y="257"/>
                      <a:pt x="251" y="257"/>
                      <a:pt x="251" y="257"/>
                    </a:cubicBezTo>
                    <a:cubicBezTo>
                      <a:pt x="251" y="257"/>
                      <a:pt x="253" y="248"/>
                      <a:pt x="248" y="248"/>
                    </a:cubicBezTo>
                    <a:cubicBezTo>
                      <a:pt x="244" y="246"/>
                      <a:pt x="242" y="249"/>
                      <a:pt x="242" y="249"/>
                    </a:cubicBezTo>
                    <a:cubicBezTo>
                      <a:pt x="220" y="230"/>
                      <a:pt x="220" y="230"/>
                      <a:pt x="220" y="230"/>
                    </a:cubicBezTo>
                    <a:cubicBezTo>
                      <a:pt x="212" y="232"/>
                      <a:pt x="212" y="232"/>
                      <a:pt x="212" y="232"/>
                    </a:cubicBezTo>
                    <a:cubicBezTo>
                      <a:pt x="212" y="232"/>
                      <a:pt x="215" y="226"/>
                      <a:pt x="210" y="221"/>
                    </a:cubicBezTo>
                    <a:cubicBezTo>
                      <a:pt x="204" y="216"/>
                      <a:pt x="191" y="210"/>
                      <a:pt x="190" y="206"/>
                    </a:cubicBezTo>
                    <a:cubicBezTo>
                      <a:pt x="189" y="201"/>
                      <a:pt x="190" y="197"/>
                      <a:pt x="190" y="197"/>
                    </a:cubicBezTo>
                    <a:cubicBezTo>
                      <a:pt x="178" y="191"/>
                      <a:pt x="178" y="191"/>
                      <a:pt x="178" y="191"/>
                    </a:cubicBezTo>
                    <a:cubicBezTo>
                      <a:pt x="161" y="176"/>
                      <a:pt x="161" y="176"/>
                      <a:pt x="161" y="176"/>
                    </a:cubicBezTo>
                    <a:cubicBezTo>
                      <a:pt x="159" y="173"/>
                      <a:pt x="159" y="173"/>
                      <a:pt x="159" y="173"/>
                    </a:cubicBezTo>
                    <a:cubicBezTo>
                      <a:pt x="159" y="173"/>
                      <a:pt x="146" y="164"/>
                      <a:pt x="140" y="157"/>
                    </a:cubicBezTo>
                    <a:cubicBezTo>
                      <a:pt x="132" y="149"/>
                      <a:pt x="133" y="144"/>
                      <a:pt x="131" y="139"/>
                    </a:cubicBezTo>
                    <a:cubicBezTo>
                      <a:pt x="128" y="132"/>
                      <a:pt x="123" y="129"/>
                      <a:pt x="123" y="129"/>
                    </a:cubicBezTo>
                    <a:cubicBezTo>
                      <a:pt x="125" y="125"/>
                      <a:pt x="125" y="125"/>
                      <a:pt x="125" y="125"/>
                    </a:cubicBezTo>
                    <a:cubicBezTo>
                      <a:pt x="120" y="118"/>
                      <a:pt x="120" y="118"/>
                      <a:pt x="120" y="118"/>
                    </a:cubicBezTo>
                    <a:cubicBezTo>
                      <a:pt x="110" y="117"/>
                      <a:pt x="110" y="117"/>
                      <a:pt x="110" y="117"/>
                    </a:cubicBezTo>
                    <a:cubicBezTo>
                      <a:pt x="110" y="117"/>
                      <a:pt x="102" y="93"/>
                      <a:pt x="109" y="90"/>
                    </a:cubicBezTo>
                    <a:cubicBezTo>
                      <a:pt x="116" y="85"/>
                      <a:pt x="120" y="90"/>
                      <a:pt x="123" y="93"/>
                    </a:cubicBezTo>
                    <a:cubicBezTo>
                      <a:pt x="126" y="96"/>
                      <a:pt x="132" y="102"/>
                      <a:pt x="136" y="100"/>
                    </a:cubicBezTo>
                    <a:cubicBezTo>
                      <a:pt x="140" y="99"/>
                      <a:pt x="140" y="86"/>
                      <a:pt x="144" y="85"/>
                    </a:cubicBezTo>
                    <a:cubicBezTo>
                      <a:pt x="148" y="85"/>
                      <a:pt x="159" y="87"/>
                      <a:pt x="159" y="87"/>
                    </a:cubicBezTo>
                    <a:cubicBezTo>
                      <a:pt x="164" y="81"/>
                      <a:pt x="164" y="81"/>
                      <a:pt x="164" y="81"/>
                    </a:cubicBezTo>
                    <a:cubicBezTo>
                      <a:pt x="164" y="81"/>
                      <a:pt x="172" y="88"/>
                      <a:pt x="176" y="88"/>
                    </a:cubicBezTo>
                    <a:cubicBezTo>
                      <a:pt x="198" y="88"/>
                      <a:pt x="198" y="88"/>
                      <a:pt x="198" y="88"/>
                    </a:cubicBezTo>
                    <a:cubicBezTo>
                      <a:pt x="198" y="88"/>
                      <a:pt x="203" y="92"/>
                      <a:pt x="206" y="92"/>
                    </a:cubicBezTo>
                    <a:cubicBezTo>
                      <a:pt x="210" y="92"/>
                      <a:pt x="214" y="84"/>
                      <a:pt x="214" y="84"/>
                    </a:cubicBezTo>
                    <a:cubicBezTo>
                      <a:pt x="214" y="84"/>
                      <a:pt x="219" y="90"/>
                      <a:pt x="222" y="90"/>
                    </a:cubicBezTo>
                    <a:cubicBezTo>
                      <a:pt x="225" y="90"/>
                      <a:pt x="225" y="84"/>
                      <a:pt x="225" y="84"/>
                    </a:cubicBezTo>
                    <a:cubicBezTo>
                      <a:pt x="233" y="85"/>
                      <a:pt x="233" y="85"/>
                      <a:pt x="233" y="85"/>
                    </a:cubicBezTo>
                    <a:cubicBezTo>
                      <a:pt x="239" y="90"/>
                      <a:pt x="239" y="90"/>
                      <a:pt x="239" y="90"/>
                    </a:cubicBezTo>
                    <a:cubicBezTo>
                      <a:pt x="239" y="90"/>
                      <a:pt x="241" y="86"/>
                      <a:pt x="247" y="87"/>
                    </a:cubicBezTo>
                    <a:cubicBezTo>
                      <a:pt x="253" y="90"/>
                      <a:pt x="251" y="99"/>
                      <a:pt x="256" y="99"/>
                    </a:cubicBezTo>
                    <a:cubicBezTo>
                      <a:pt x="262" y="99"/>
                      <a:pt x="267" y="94"/>
                      <a:pt x="267" y="94"/>
                    </a:cubicBezTo>
                    <a:cubicBezTo>
                      <a:pt x="264" y="82"/>
                      <a:pt x="264" y="82"/>
                      <a:pt x="264" y="82"/>
                    </a:cubicBezTo>
                    <a:cubicBezTo>
                      <a:pt x="269" y="77"/>
                      <a:pt x="269" y="77"/>
                      <a:pt x="269" y="77"/>
                    </a:cubicBezTo>
                    <a:cubicBezTo>
                      <a:pt x="280" y="77"/>
                      <a:pt x="280" y="77"/>
                      <a:pt x="280" y="77"/>
                    </a:cubicBezTo>
                    <a:cubicBezTo>
                      <a:pt x="280" y="74"/>
                      <a:pt x="280" y="74"/>
                      <a:pt x="280" y="74"/>
                    </a:cubicBezTo>
                    <a:lnTo>
                      <a:pt x="269" y="74"/>
                    </a:lnTo>
                    <a:close/>
                    <a:moveTo>
                      <a:pt x="60" y="109"/>
                    </a:moveTo>
                    <a:cubicBezTo>
                      <a:pt x="64" y="106"/>
                      <a:pt x="64" y="106"/>
                      <a:pt x="64" y="106"/>
                    </a:cubicBezTo>
                    <a:cubicBezTo>
                      <a:pt x="60" y="102"/>
                      <a:pt x="60" y="102"/>
                      <a:pt x="60" y="102"/>
                    </a:cubicBezTo>
                    <a:cubicBezTo>
                      <a:pt x="58" y="98"/>
                      <a:pt x="58" y="98"/>
                      <a:pt x="58" y="98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49" y="92"/>
                      <a:pt x="49" y="92"/>
                      <a:pt x="49" y="92"/>
                    </a:cubicBezTo>
                    <a:cubicBezTo>
                      <a:pt x="50" y="97"/>
                      <a:pt x="50" y="97"/>
                      <a:pt x="50" y="97"/>
                    </a:cubicBezTo>
                    <a:cubicBezTo>
                      <a:pt x="46" y="101"/>
                      <a:pt x="46" y="101"/>
                      <a:pt x="46" y="101"/>
                    </a:cubicBezTo>
                    <a:cubicBezTo>
                      <a:pt x="51" y="107"/>
                      <a:pt x="51" y="107"/>
                      <a:pt x="51" y="107"/>
                    </a:cubicBezTo>
                    <a:cubicBezTo>
                      <a:pt x="56" y="104"/>
                      <a:pt x="56" y="104"/>
                      <a:pt x="56" y="104"/>
                    </a:cubicBezTo>
                    <a:cubicBezTo>
                      <a:pt x="56" y="107"/>
                      <a:pt x="56" y="107"/>
                      <a:pt x="56" y="107"/>
                    </a:cubicBezTo>
                    <a:lnTo>
                      <a:pt x="60" y="109"/>
                    </a:lnTo>
                    <a:close/>
                    <a:moveTo>
                      <a:pt x="53" y="129"/>
                    </a:moveTo>
                    <a:cubicBezTo>
                      <a:pt x="49" y="126"/>
                      <a:pt x="49" y="126"/>
                      <a:pt x="49" y="126"/>
                    </a:cubicBezTo>
                    <a:cubicBezTo>
                      <a:pt x="47" y="115"/>
                      <a:pt x="47" y="115"/>
                      <a:pt x="47" y="115"/>
                    </a:cubicBezTo>
                    <a:cubicBezTo>
                      <a:pt x="47" y="115"/>
                      <a:pt x="50" y="112"/>
                      <a:pt x="48" y="110"/>
                    </a:cubicBezTo>
                    <a:cubicBezTo>
                      <a:pt x="47" y="108"/>
                      <a:pt x="45" y="106"/>
                      <a:pt x="44" y="102"/>
                    </a:cubicBezTo>
                    <a:cubicBezTo>
                      <a:pt x="44" y="100"/>
                      <a:pt x="43" y="95"/>
                      <a:pt x="43" y="95"/>
                    </a:cubicBezTo>
                    <a:cubicBezTo>
                      <a:pt x="40" y="95"/>
                      <a:pt x="40" y="95"/>
                      <a:pt x="40" y="95"/>
                    </a:cubicBezTo>
                    <a:cubicBezTo>
                      <a:pt x="38" y="100"/>
                      <a:pt x="38" y="100"/>
                      <a:pt x="38" y="100"/>
                    </a:cubicBezTo>
                    <a:cubicBezTo>
                      <a:pt x="38" y="100"/>
                      <a:pt x="42" y="106"/>
                      <a:pt x="44" y="107"/>
                    </a:cubicBezTo>
                    <a:cubicBezTo>
                      <a:pt x="45" y="109"/>
                      <a:pt x="44" y="112"/>
                      <a:pt x="44" y="112"/>
                    </a:cubicBezTo>
                    <a:cubicBezTo>
                      <a:pt x="41" y="111"/>
                      <a:pt x="41" y="111"/>
                      <a:pt x="41" y="111"/>
                    </a:cubicBezTo>
                    <a:cubicBezTo>
                      <a:pt x="46" y="124"/>
                      <a:pt x="46" y="124"/>
                      <a:pt x="46" y="124"/>
                    </a:cubicBezTo>
                    <a:cubicBezTo>
                      <a:pt x="42" y="124"/>
                      <a:pt x="42" y="124"/>
                      <a:pt x="42" y="124"/>
                    </a:cubicBezTo>
                    <a:cubicBezTo>
                      <a:pt x="45" y="135"/>
                      <a:pt x="45" y="135"/>
                      <a:pt x="45" y="135"/>
                    </a:cubicBezTo>
                    <a:cubicBezTo>
                      <a:pt x="51" y="140"/>
                      <a:pt x="51" y="140"/>
                      <a:pt x="51" y="140"/>
                    </a:cubicBezTo>
                    <a:cubicBezTo>
                      <a:pt x="53" y="138"/>
                      <a:pt x="53" y="138"/>
                      <a:pt x="53" y="138"/>
                    </a:cubicBezTo>
                    <a:cubicBezTo>
                      <a:pt x="47" y="132"/>
                      <a:pt x="47" y="132"/>
                      <a:pt x="47" y="132"/>
                    </a:cubicBezTo>
                    <a:cubicBezTo>
                      <a:pt x="46" y="129"/>
                      <a:pt x="46" y="129"/>
                      <a:pt x="46" y="129"/>
                    </a:cubicBezTo>
                    <a:cubicBezTo>
                      <a:pt x="49" y="130"/>
                      <a:pt x="49" y="130"/>
                      <a:pt x="49" y="130"/>
                    </a:cubicBezTo>
                    <a:lnTo>
                      <a:pt x="53" y="129"/>
                    </a:lnTo>
                    <a:close/>
                    <a:moveTo>
                      <a:pt x="37" y="130"/>
                    </a:moveTo>
                    <a:cubicBezTo>
                      <a:pt x="37" y="133"/>
                      <a:pt x="40" y="129"/>
                      <a:pt x="40" y="129"/>
                    </a:cubicBezTo>
                    <a:cubicBezTo>
                      <a:pt x="40" y="125"/>
                      <a:pt x="37" y="127"/>
                      <a:pt x="37" y="130"/>
                    </a:cubicBezTo>
                    <a:close/>
                    <a:moveTo>
                      <a:pt x="86" y="147"/>
                    </a:moveTo>
                    <a:cubicBezTo>
                      <a:pt x="78" y="140"/>
                      <a:pt x="78" y="140"/>
                      <a:pt x="78" y="140"/>
                    </a:cubicBezTo>
                    <a:cubicBezTo>
                      <a:pt x="74" y="139"/>
                      <a:pt x="74" y="139"/>
                      <a:pt x="74" y="139"/>
                    </a:cubicBezTo>
                    <a:cubicBezTo>
                      <a:pt x="70" y="131"/>
                      <a:pt x="70" y="131"/>
                      <a:pt x="70" y="131"/>
                    </a:cubicBezTo>
                    <a:cubicBezTo>
                      <a:pt x="67" y="130"/>
                      <a:pt x="67" y="130"/>
                      <a:pt x="67" y="130"/>
                    </a:cubicBezTo>
                    <a:cubicBezTo>
                      <a:pt x="62" y="127"/>
                      <a:pt x="62" y="127"/>
                      <a:pt x="62" y="127"/>
                    </a:cubicBezTo>
                    <a:cubicBezTo>
                      <a:pt x="72" y="140"/>
                      <a:pt x="72" y="140"/>
                      <a:pt x="72" y="140"/>
                    </a:cubicBezTo>
                    <a:cubicBezTo>
                      <a:pt x="76" y="143"/>
                      <a:pt x="76" y="143"/>
                      <a:pt x="76" y="143"/>
                    </a:cubicBezTo>
                    <a:cubicBezTo>
                      <a:pt x="82" y="149"/>
                      <a:pt x="82" y="149"/>
                      <a:pt x="82" y="149"/>
                    </a:cubicBezTo>
                    <a:lnTo>
                      <a:pt x="86" y="147"/>
                    </a:lnTo>
                    <a:close/>
                    <a:moveTo>
                      <a:pt x="59" y="121"/>
                    </a:moveTo>
                    <a:cubicBezTo>
                      <a:pt x="63" y="121"/>
                      <a:pt x="63" y="121"/>
                      <a:pt x="63" y="121"/>
                    </a:cubicBezTo>
                    <a:cubicBezTo>
                      <a:pt x="61" y="114"/>
                      <a:pt x="61" y="114"/>
                      <a:pt x="61" y="114"/>
                    </a:cubicBezTo>
                    <a:cubicBezTo>
                      <a:pt x="58" y="115"/>
                      <a:pt x="58" y="115"/>
                      <a:pt x="58" y="115"/>
                    </a:cubicBezTo>
                    <a:cubicBezTo>
                      <a:pt x="60" y="117"/>
                      <a:pt x="60" y="117"/>
                      <a:pt x="60" y="117"/>
                    </a:cubicBezTo>
                    <a:lnTo>
                      <a:pt x="59" y="121"/>
                    </a:lnTo>
                    <a:close/>
                    <a:moveTo>
                      <a:pt x="77" y="165"/>
                    </a:moveTo>
                    <a:cubicBezTo>
                      <a:pt x="72" y="160"/>
                      <a:pt x="72" y="160"/>
                      <a:pt x="72" y="160"/>
                    </a:cubicBezTo>
                    <a:cubicBezTo>
                      <a:pt x="69" y="160"/>
                      <a:pt x="69" y="160"/>
                      <a:pt x="69" y="160"/>
                    </a:cubicBezTo>
                    <a:cubicBezTo>
                      <a:pt x="75" y="165"/>
                      <a:pt x="75" y="165"/>
                      <a:pt x="75" y="165"/>
                    </a:cubicBezTo>
                    <a:cubicBezTo>
                      <a:pt x="78" y="170"/>
                      <a:pt x="78" y="170"/>
                      <a:pt x="78" y="170"/>
                    </a:cubicBezTo>
                    <a:cubicBezTo>
                      <a:pt x="84" y="177"/>
                      <a:pt x="84" y="177"/>
                      <a:pt x="84" y="177"/>
                    </a:cubicBezTo>
                    <a:cubicBezTo>
                      <a:pt x="86" y="174"/>
                      <a:pt x="86" y="174"/>
                      <a:pt x="86" y="174"/>
                    </a:cubicBezTo>
                    <a:cubicBezTo>
                      <a:pt x="79" y="169"/>
                      <a:pt x="79" y="169"/>
                      <a:pt x="79" y="169"/>
                    </a:cubicBezTo>
                    <a:lnTo>
                      <a:pt x="77" y="165"/>
                    </a:lnTo>
                    <a:close/>
                    <a:moveTo>
                      <a:pt x="162" y="212"/>
                    </a:moveTo>
                    <a:cubicBezTo>
                      <a:pt x="168" y="210"/>
                      <a:pt x="168" y="210"/>
                      <a:pt x="168" y="210"/>
                    </a:cubicBezTo>
                    <a:cubicBezTo>
                      <a:pt x="169" y="208"/>
                      <a:pt x="169" y="208"/>
                      <a:pt x="169" y="208"/>
                    </a:cubicBezTo>
                    <a:cubicBezTo>
                      <a:pt x="163" y="207"/>
                      <a:pt x="163" y="207"/>
                      <a:pt x="163" y="207"/>
                    </a:cubicBezTo>
                    <a:cubicBezTo>
                      <a:pt x="148" y="205"/>
                      <a:pt x="148" y="205"/>
                      <a:pt x="148" y="205"/>
                    </a:cubicBezTo>
                    <a:cubicBezTo>
                      <a:pt x="148" y="208"/>
                      <a:pt x="148" y="208"/>
                      <a:pt x="148" y="208"/>
                    </a:cubicBezTo>
                    <a:cubicBezTo>
                      <a:pt x="144" y="209"/>
                      <a:pt x="144" y="209"/>
                      <a:pt x="144" y="209"/>
                    </a:cubicBezTo>
                    <a:cubicBezTo>
                      <a:pt x="159" y="214"/>
                      <a:pt x="159" y="214"/>
                      <a:pt x="159" y="214"/>
                    </a:cubicBezTo>
                    <a:lnTo>
                      <a:pt x="162" y="212"/>
                    </a:lnTo>
                    <a:close/>
                    <a:moveTo>
                      <a:pt x="141" y="204"/>
                    </a:moveTo>
                    <a:cubicBezTo>
                      <a:pt x="133" y="202"/>
                      <a:pt x="136" y="206"/>
                      <a:pt x="136" y="206"/>
                    </a:cubicBezTo>
                    <a:cubicBezTo>
                      <a:pt x="140" y="208"/>
                      <a:pt x="147" y="206"/>
                      <a:pt x="141" y="204"/>
                    </a:cubicBezTo>
                    <a:close/>
                    <a:moveTo>
                      <a:pt x="182" y="222"/>
                    </a:moveTo>
                    <a:cubicBezTo>
                      <a:pt x="180" y="220"/>
                      <a:pt x="180" y="220"/>
                      <a:pt x="180" y="220"/>
                    </a:cubicBezTo>
                    <a:cubicBezTo>
                      <a:pt x="163" y="219"/>
                      <a:pt x="163" y="219"/>
                      <a:pt x="163" y="219"/>
                    </a:cubicBezTo>
                    <a:cubicBezTo>
                      <a:pt x="161" y="217"/>
                      <a:pt x="161" y="217"/>
                      <a:pt x="161" y="217"/>
                    </a:cubicBezTo>
                    <a:cubicBezTo>
                      <a:pt x="154" y="214"/>
                      <a:pt x="154" y="214"/>
                      <a:pt x="154" y="214"/>
                    </a:cubicBezTo>
                    <a:cubicBezTo>
                      <a:pt x="152" y="216"/>
                      <a:pt x="152" y="216"/>
                      <a:pt x="152" y="216"/>
                    </a:cubicBezTo>
                    <a:cubicBezTo>
                      <a:pt x="153" y="218"/>
                      <a:pt x="153" y="218"/>
                      <a:pt x="153" y="218"/>
                    </a:cubicBezTo>
                    <a:cubicBezTo>
                      <a:pt x="149" y="218"/>
                      <a:pt x="149" y="218"/>
                      <a:pt x="149" y="218"/>
                    </a:cubicBezTo>
                    <a:cubicBezTo>
                      <a:pt x="146" y="221"/>
                      <a:pt x="146" y="221"/>
                      <a:pt x="146" y="221"/>
                    </a:cubicBezTo>
                    <a:cubicBezTo>
                      <a:pt x="159" y="223"/>
                      <a:pt x="159" y="223"/>
                      <a:pt x="159" y="223"/>
                    </a:cubicBezTo>
                    <a:lnTo>
                      <a:pt x="182" y="222"/>
                    </a:lnTo>
                    <a:close/>
                    <a:moveTo>
                      <a:pt x="135" y="227"/>
                    </a:moveTo>
                    <a:cubicBezTo>
                      <a:pt x="129" y="229"/>
                      <a:pt x="129" y="229"/>
                      <a:pt x="129" y="229"/>
                    </a:cubicBezTo>
                    <a:cubicBezTo>
                      <a:pt x="129" y="229"/>
                      <a:pt x="131" y="232"/>
                      <a:pt x="138" y="230"/>
                    </a:cubicBezTo>
                    <a:cubicBezTo>
                      <a:pt x="144" y="228"/>
                      <a:pt x="143" y="225"/>
                      <a:pt x="135" y="227"/>
                    </a:cubicBezTo>
                    <a:close/>
                    <a:moveTo>
                      <a:pt x="170" y="243"/>
                    </a:moveTo>
                    <a:cubicBezTo>
                      <a:pt x="170" y="243"/>
                      <a:pt x="163" y="248"/>
                      <a:pt x="171" y="246"/>
                    </a:cubicBezTo>
                    <a:cubicBezTo>
                      <a:pt x="177" y="246"/>
                      <a:pt x="179" y="243"/>
                      <a:pt x="170" y="243"/>
                    </a:cubicBezTo>
                    <a:close/>
                    <a:moveTo>
                      <a:pt x="169" y="233"/>
                    </a:moveTo>
                    <a:cubicBezTo>
                      <a:pt x="160" y="229"/>
                      <a:pt x="160" y="229"/>
                      <a:pt x="160" y="229"/>
                    </a:cubicBezTo>
                    <a:cubicBezTo>
                      <a:pt x="159" y="232"/>
                      <a:pt x="159" y="232"/>
                      <a:pt x="159" y="232"/>
                    </a:cubicBezTo>
                    <a:cubicBezTo>
                      <a:pt x="162" y="233"/>
                      <a:pt x="162" y="233"/>
                      <a:pt x="162" y="233"/>
                    </a:cubicBezTo>
                    <a:cubicBezTo>
                      <a:pt x="160" y="235"/>
                      <a:pt x="160" y="235"/>
                      <a:pt x="160" y="235"/>
                    </a:cubicBezTo>
                    <a:cubicBezTo>
                      <a:pt x="169" y="237"/>
                      <a:pt x="169" y="237"/>
                      <a:pt x="169" y="237"/>
                    </a:cubicBezTo>
                    <a:cubicBezTo>
                      <a:pt x="174" y="235"/>
                      <a:pt x="174" y="235"/>
                      <a:pt x="174" y="235"/>
                    </a:cubicBezTo>
                    <a:cubicBezTo>
                      <a:pt x="184" y="236"/>
                      <a:pt x="184" y="236"/>
                      <a:pt x="184" y="236"/>
                    </a:cubicBezTo>
                    <a:cubicBezTo>
                      <a:pt x="186" y="235"/>
                      <a:pt x="186" y="235"/>
                      <a:pt x="186" y="235"/>
                    </a:cubicBezTo>
                    <a:cubicBezTo>
                      <a:pt x="176" y="230"/>
                      <a:pt x="176" y="230"/>
                      <a:pt x="176" y="230"/>
                    </a:cubicBezTo>
                    <a:lnTo>
                      <a:pt x="169" y="233"/>
                    </a:lnTo>
                    <a:close/>
                    <a:moveTo>
                      <a:pt x="194" y="243"/>
                    </a:moveTo>
                    <a:cubicBezTo>
                      <a:pt x="213" y="246"/>
                      <a:pt x="213" y="246"/>
                      <a:pt x="213" y="246"/>
                    </a:cubicBezTo>
                    <a:cubicBezTo>
                      <a:pt x="213" y="244"/>
                      <a:pt x="213" y="244"/>
                      <a:pt x="213" y="244"/>
                    </a:cubicBezTo>
                    <a:cubicBezTo>
                      <a:pt x="195" y="240"/>
                      <a:pt x="195" y="240"/>
                      <a:pt x="195" y="240"/>
                    </a:cubicBezTo>
                    <a:lnTo>
                      <a:pt x="194" y="243"/>
                    </a:lnTo>
                    <a:close/>
                    <a:moveTo>
                      <a:pt x="71" y="155"/>
                    </a:moveTo>
                    <a:cubicBezTo>
                      <a:pt x="67" y="153"/>
                      <a:pt x="65" y="156"/>
                      <a:pt x="65" y="156"/>
                    </a:cubicBezTo>
                    <a:cubicBezTo>
                      <a:pt x="71" y="158"/>
                      <a:pt x="74" y="157"/>
                      <a:pt x="71" y="155"/>
                    </a:cubicBezTo>
                    <a:close/>
                    <a:moveTo>
                      <a:pt x="65" y="150"/>
                    </a:moveTo>
                    <a:cubicBezTo>
                      <a:pt x="62" y="150"/>
                      <a:pt x="60" y="151"/>
                      <a:pt x="63" y="153"/>
                    </a:cubicBezTo>
                    <a:cubicBezTo>
                      <a:pt x="63" y="153"/>
                      <a:pt x="67" y="151"/>
                      <a:pt x="65" y="150"/>
                    </a:cubicBezTo>
                    <a:close/>
                    <a:moveTo>
                      <a:pt x="77" y="153"/>
                    </a:moveTo>
                    <a:cubicBezTo>
                      <a:pt x="80" y="153"/>
                      <a:pt x="84" y="149"/>
                      <a:pt x="79" y="149"/>
                    </a:cubicBezTo>
                    <a:cubicBezTo>
                      <a:pt x="75" y="148"/>
                      <a:pt x="77" y="153"/>
                      <a:pt x="77" y="153"/>
                    </a:cubicBezTo>
                    <a:close/>
                    <a:moveTo>
                      <a:pt x="65" y="146"/>
                    </a:moveTo>
                    <a:cubicBezTo>
                      <a:pt x="69" y="147"/>
                      <a:pt x="71" y="145"/>
                      <a:pt x="67" y="144"/>
                    </a:cubicBezTo>
                    <a:cubicBezTo>
                      <a:pt x="65" y="143"/>
                      <a:pt x="65" y="146"/>
                      <a:pt x="65" y="146"/>
                    </a:cubicBezTo>
                    <a:close/>
                    <a:moveTo>
                      <a:pt x="61" y="143"/>
                    </a:moveTo>
                    <a:cubicBezTo>
                      <a:pt x="60" y="142"/>
                      <a:pt x="57" y="145"/>
                      <a:pt x="59" y="146"/>
                    </a:cubicBezTo>
                    <a:cubicBezTo>
                      <a:pt x="59" y="146"/>
                      <a:pt x="63" y="144"/>
                      <a:pt x="61" y="143"/>
                    </a:cubicBezTo>
                    <a:close/>
                    <a:moveTo>
                      <a:pt x="91" y="179"/>
                    </a:moveTo>
                    <a:cubicBezTo>
                      <a:pt x="88" y="178"/>
                      <a:pt x="91" y="182"/>
                      <a:pt x="91" y="182"/>
                    </a:cubicBezTo>
                    <a:cubicBezTo>
                      <a:pt x="96" y="185"/>
                      <a:pt x="95" y="181"/>
                      <a:pt x="91" y="179"/>
                    </a:cubicBezTo>
                    <a:close/>
                    <a:moveTo>
                      <a:pt x="81" y="164"/>
                    </a:moveTo>
                    <a:cubicBezTo>
                      <a:pt x="88" y="171"/>
                      <a:pt x="88" y="167"/>
                      <a:pt x="83" y="163"/>
                    </a:cubicBezTo>
                    <a:cubicBezTo>
                      <a:pt x="78" y="158"/>
                      <a:pt x="81" y="164"/>
                      <a:pt x="81" y="164"/>
                    </a:cubicBez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61" name="Bulgaria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6092825" y="4772025"/>
                <a:ext cx="639762" cy="465137"/>
              </a:xfrm>
              <a:custGeom>
                <a:avLst/>
                <a:gdLst/>
                <a:ahLst/>
                <a:cxnLst>
                  <a:cxn ang="0">
                    <a:pos x="278" y="15"/>
                  </a:cxn>
                  <a:cxn ang="0">
                    <a:pos x="262" y="3"/>
                  </a:cxn>
                  <a:cxn ang="0">
                    <a:pos x="248" y="3"/>
                  </a:cxn>
                  <a:cxn ang="0">
                    <a:pos x="218" y="3"/>
                  </a:cxn>
                  <a:cxn ang="0">
                    <a:pos x="171" y="33"/>
                  </a:cxn>
                  <a:cxn ang="0">
                    <a:pos x="137" y="48"/>
                  </a:cxn>
                  <a:cxn ang="0">
                    <a:pos x="124" y="48"/>
                  </a:cxn>
                  <a:cxn ang="0">
                    <a:pos x="102" y="50"/>
                  </a:cxn>
                  <a:cxn ang="0">
                    <a:pos x="68" y="55"/>
                  </a:cxn>
                  <a:cxn ang="0">
                    <a:pos x="51" y="51"/>
                  </a:cxn>
                  <a:cxn ang="0">
                    <a:pos x="22" y="53"/>
                  </a:cxn>
                  <a:cxn ang="0">
                    <a:pos x="22" y="40"/>
                  </a:cxn>
                  <a:cxn ang="0">
                    <a:pos x="8" y="39"/>
                  </a:cxn>
                  <a:cxn ang="0">
                    <a:pos x="2" y="50"/>
                  </a:cxn>
                  <a:cxn ang="0">
                    <a:pos x="8" y="74"/>
                  </a:cxn>
                  <a:cxn ang="0">
                    <a:pos x="27" y="89"/>
                  </a:cxn>
                  <a:cxn ang="0">
                    <a:pos x="29" y="116"/>
                  </a:cxn>
                  <a:cxn ang="0">
                    <a:pos x="16" y="123"/>
                  </a:cxn>
                  <a:cxn ang="0">
                    <a:pos x="17" y="132"/>
                  </a:cxn>
                  <a:cxn ang="0">
                    <a:pos x="21" y="149"/>
                  </a:cxn>
                  <a:cxn ang="0">
                    <a:pos x="22" y="166"/>
                  </a:cxn>
                  <a:cxn ang="0">
                    <a:pos x="42" y="173"/>
                  </a:cxn>
                  <a:cxn ang="0">
                    <a:pos x="52" y="190"/>
                  </a:cxn>
                  <a:cxn ang="0">
                    <a:pos x="53" y="219"/>
                  </a:cxn>
                  <a:cxn ang="0">
                    <a:pos x="68" y="213"/>
                  </a:cxn>
                  <a:cxn ang="0">
                    <a:pos x="75" y="211"/>
                  </a:cxn>
                  <a:cxn ang="0">
                    <a:pos x="89" y="208"/>
                  </a:cxn>
                  <a:cxn ang="0">
                    <a:pos x="99" y="202"/>
                  </a:cxn>
                  <a:cxn ang="0">
                    <a:pos x="106" y="201"/>
                  </a:cxn>
                  <a:cxn ang="0">
                    <a:pos x="111" y="196"/>
                  </a:cxn>
                  <a:cxn ang="0">
                    <a:pos x="119" y="197"/>
                  </a:cxn>
                  <a:cxn ang="0">
                    <a:pos x="134" y="198"/>
                  </a:cxn>
                  <a:cxn ang="0">
                    <a:pos x="143" y="203"/>
                  </a:cxn>
                  <a:cxn ang="0">
                    <a:pos x="163" y="202"/>
                  </a:cxn>
                  <a:cxn ang="0">
                    <a:pos x="192" y="195"/>
                  </a:cxn>
                  <a:cxn ang="0">
                    <a:pos x="209" y="185"/>
                  </a:cxn>
                  <a:cxn ang="0">
                    <a:pos x="215" y="165"/>
                  </a:cxn>
                  <a:cxn ang="0">
                    <a:pos x="225" y="156"/>
                  </a:cxn>
                  <a:cxn ang="0">
                    <a:pos x="239" y="143"/>
                  </a:cxn>
                  <a:cxn ang="0">
                    <a:pos x="250" y="136"/>
                  </a:cxn>
                  <a:cxn ang="0">
                    <a:pos x="268" y="139"/>
                  </a:cxn>
                  <a:cxn ang="0">
                    <a:pos x="285" y="138"/>
                  </a:cxn>
                  <a:cxn ang="0">
                    <a:pos x="288" y="133"/>
                  </a:cxn>
                  <a:cxn ang="0">
                    <a:pos x="284" y="121"/>
                  </a:cxn>
                  <a:cxn ang="0">
                    <a:pos x="276" y="111"/>
                  </a:cxn>
                  <a:cxn ang="0">
                    <a:pos x="264" y="108"/>
                  </a:cxn>
                  <a:cxn ang="0">
                    <a:pos x="260" y="98"/>
                  </a:cxn>
                  <a:cxn ang="0">
                    <a:pos x="268" y="88"/>
                  </a:cxn>
                  <a:cxn ang="0">
                    <a:pos x="273" y="73"/>
                  </a:cxn>
                  <a:cxn ang="0">
                    <a:pos x="264" y="56"/>
                  </a:cxn>
                  <a:cxn ang="0">
                    <a:pos x="279" y="40"/>
                  </a:cxn>
                  <a:cxn ang="0">
                    <a:pos x="300" y="26"/>
                  </a:cxn>
                  <a:cxn ang="0">
                    <a:pos x="294" y="14"/>
                  </a:cxn>
                </a:cxnLst>
                <a:rect l="0" t="0" r="r" b="b"/>
                <a:pathLst>
                  <a:path w="300" h="219">
                    <a:moveTo>
                      <a:pt x="294" y="14"/>
                    </a:moveTo>
                    <a:cubicBezTo>
                      <a:pt x="294" y="14"/>
                      <a:pt x="282" y="16"/>
                      <a:pt x="278" y="15"/>
                    </a:cubicBezTo>
                    <a:cubicBezTo>
                      <a:pt x="274" y="15"/>
                      <a:pt x="266" y="13"/>
                      <a:pt x="266" y="13"/>
                    </a:cubicBezTo>
                    <a:cubicBezTo>
                      <a:pt x="262" y="3"/>
                      <a:pt x="262" y="3"/>
                      <a:pt x="262" y="3"/>
                    </a:cubicBezTo>
                    <a:cubicBezTo>
                      <a:pt x="262" y="3"/>
                      <a:pt x="256" y="10"/>
                      <a:pt x="253" y="9"/>
                    </a:cubicBezTo>
                    <a:cubicBezTo>
                      <a:pt x="250" y="8"/>
                      <a:pt x="250" y="3"/>
                      <a:pt x="248" y="3"/>
                    </a:cubicBezTo>
                    <a:cubicBezTo>
                      <a:pt x="246" y="3"/>
                      <a:pt x="240" y="10"/>
                      <a:pt x="236" y="9"/>
                    </a:cubicBezTo>
                    <a:cubicBezTo>
                      <a:pt x="232" y="8"/>
                      <a:pt x="226" y="0"/>
                      <a:pt x="218" y="3"/>
                    </a:cubicBezTo>
                    <a:cubicBezTo>
                      <a:pt x="209" y="6"/>
                      <a:pt x="194" y="15"/>
                      <a:pt x="189" y="16"/>
                    </a:cubicBezTo>
                    <a:cubicBezTo>
                      <a:pt x="183" y="17"/>
                      <a:pt x="175" y="27"/>
                      <a:pt x="171" y="33"/>
                    </a:cubicBezTo>
                    <a:cubicBezTo>
                      <a:pt x="167" y="39"/>
                      <a:pt x="164" y="47"/>
                      <a:pt x="152" y="50"/>
                    </a:cubicBezTo>
                    <a:cubicBezTo>
                      <a:pt x="139" y="53"/>
                      <a:pt x="137" y="48"/>
                      <a:pt x="137" y="48"/>
                    </a:cubicBezTo>
                    <a:cubicBezTo>
                      <a:pt x="131" y="51"/>
                      <a:pt x="131" y="51"/>
                      <a:pt x="131" y="51"/>
                    </a:cubicBezTo>
                    <a:cubicBezTo>
                      <a:pt x="124" y="48"/>
                      <a:pt x="124" y="48"/>
                      <a:pt x="124" y="48"/>
                    </a:cubicBezTo>
                    <a:cubicBezTo>
                      <a:pt x="124" y="48"/>
                      <a:pt x="115" y="53"/>
                      <a:pt x="110" y="51"/>
                    </a:cubicBezTo>
                    <a:cubicBezTo>
                      <a:pt x="107" y="51"/>
                      <a:pt x="106" y="49"/>
                      <a:pt x="102" y="50"/>
                    </a:cubicBezTo>
                    <a:cubicBezTo>
                      <a:pt x="99" y="53"/>
                      <a:pt x="98" y="58"/>
                      <a:pt x="87" y="59"/>
                    </a:cubicBezTo>
                    <a:cubicBezTo>
                      <a:pt x="77" y="60"/>
                      <a:pt x="68" y="55"/>
                      <a:pt x="68" y="55"/>
                    </a:cubicBezTo>
                    <a:cubicBezTo>
                      <a:pt x="60" y="55"/>
                      <a:pt x="60" y="55"/>
                      <a:pt x="60" y="55"/>
                    </a:cubicBezTo>
                    <a:cubicBezTo>
                      <a:pt x="60" y="55"/>
                      <a:pt x="54" y="51"/>
                      <a:pt x="51" y="51"/>
                    </a:cubicBezTo>
                    <a:cubicBezTo>
                      <a:pt x="47" y="51"/>
                      <a:pt x="37" y="60"/>
                      <a:pt x="32" y="59"/>
                    </a:cubicBezTo>
                    <a:cubicBezTo>
                      <a:pt x="26" y="59"/>
                      <a:pt x="22" y="58"/>
                      <a:pt x="22" y="53"/>
                    </a:cubicBezTo>
                    <a:cubicBezTo>
                      <a:pt x="23" y="47"/>
                      <a:pt x="30" y="48"/>
                      <a:pt x="29" y="43"/>
                    </a:cubicBezTo>
                    <a:cubicBezTo>
                      <a:pt x="29" y="39"/>
                      <a:pt x="26" y="41"/>
                      <a:pt x="22" y="40"/>
                    </a:cubicBezTo>
                    <a:cubicBezTo>
                      <a:pt x="20" y="40"/>
                      <a:pt x="14" y="37"/>
                      <a:pt x="10" y="35"/>
                    </a:cubicBezTo>
                    <a:cubicBezTo>
                      <a:pt x="9" y="38"/>
                      <a:pt x="8" y="39"/>
                      <a:pt x="8" y="39"/>
                    </a:cubicBezTo>
                    <a:cubicBezTo>
                      <a:pt x="8" y="39"/>
                      <a:pt x="9" y="44"/>
                      <a:pt x="7" y="47"/>
                    </a:cubicBezTo>
                    <a:cubicBezTo>
                      <a:pt x="5" y="49"/>
                      <a:pt x="2" y="50"/>
                      <a:pt x="2" y="50"/>
                    </a:cubicBezTo>
                    <a:cubicBezTo>
                      <a:pt x="0" y="65"/>
                      <a:pt x="0" y="65"/>
                      <a:pt x="0" y="65"/>
                    </a:cubicBezTo>
                    <a:cubicBezTo>
                      <a:pt x="8" y="74"/>
                      <a:pt x="8" y="74"/>
                      <a:pt x="8" y="74"/>
                    </a:cubicBezTo>
                    <a:cubicBezTo>
                      <a:pt x="11" y="83"/>
                      <a:pt x="11" y="83"/>
                      <a:pt x="11" y="83"/>
                    </a:cubicBezTo>
                    <a:cubicBezTo>
                      <a:pt x="11" y="83"/>
                      <a:pt x="23" y="86"/>
                      <a:pt x="27" y="89"/>
                    </a:cubicBezTo>
                    <a:cubicBezTo>
                      <a:pt x="33" y="92"/>
                      <a:pt x="38" y="101"/>
                      <a:pt x="38" y="101"/>
                    </a:cubicBezTo>
                    <a:cubicBezTo>
                      <a:pt x="29" y="116"/>
                      <a:pt x="29" y="116"/>
                      <a:pt x="29" y="116"/>
                    </a:cubicBezTo>
                    <a:cubicBezTo>
                      <a:pt x="29" y="116"/>
                      <a:pt x="28" y="120"/>
                      <a:pt x="26" y="121"/>
                    </a:cubicBezTo>
                    <a:cubicBezTo>
                      <a:pt x="23" y="122"/>
                      <a:pt x="19" y="120"/>
                      <a:pt x="16" y="123"/>
                    </a:cubicBezTo>
                    <a:cubicBezTo>
                      <a:pt x="11" y="126"/>
                      <a:pt x="11" y="130"/>
                      <a:pt x="11" y="130"/>
                    </a:cubicBezTo>
                    <a:cubicBezTo>
                      <a:pt x="17" y="132"/>
                      <a:pt x="17" y="132"/>
                      <a:pt x="17" y="132"/>
                    </a:cubicBezTo>
                    <a:cubicBezTo>
                      <a:pt x="13" y="141"/>
                      <a:pt x="13" y="141"/>
                      <a:pt x="13" y="141"/>
                    </a:cubicBezTo>
                    <a:cubicBezTo>
                      <a:pt x="21" y="149"/>
                      <a:pt x="21" y="149"/>
                      <a:pt x="21" y="149"/>
                    </a:cubicBezTo>
                    <a:cubicBezTo>
                      <a:pt x="13" y="160"/>
                      <a:pt x="13" y="160"/>
                      <a:pt x="13" y="160"/>
                    </a:cubicBezTo>
                    <a:cubicBezTo>
                      <a:pt x="13" y="160"/>
                      <a:pt x="20" y="164"/>
                      <a:pt x="22" y="166"/>
                    </a:cubicBezTo>
                    <a:cubicBezTo>
                      <a:pt x="24" y="169"/>
                      <a:pt x="27" y="174"/>
                      <a:pt x="32" y="173"/>
                    </a:cubicBezTo>
                    <a:cubicBezTo>
                      <a:pt x="42" y="173"/>
                      <a:pt x="42" y="173"/>
                      <a:pt x="42" y="173"/>
                    </a:cubicBezTo>
                    <a:cubicBezTo>
                      <a:pt x="43" y="186"/>
                      <a:pt x="43" y="186"/>
                      <a:pt x="43" y="186"/>
                    </a:cubicBezTo>
                    <a:cubicBezTo>
                      <a:pt x="52" y="190"/>
                      <a:pt x="52" y="190"/>
                      <a:pt x="52" y="190"/>
                    </a:cubicBezTo>
                    <a:cubicBezTo>
                      <a:pt x="49" y="199"/>
                      <a:pt x="49" y="199"/>
                      <a:pt x="49" y="199"/>
                    </a:cubicBezTo>
                    <a:cubicBezTo>
                      <a:pt x="53" y="219"/>
                      <a:pt x="53" y="219"/>
                      <a:pt x="53" y="219"/>
                    </a:cubicBezTo>
                    <a:cubicBezTo>
                      <a:pt x="63" y="218"/>
                      <a:pt x="63" y="218"/>
                      <a:pt x="63" y="218"/>
                    </a:cubicBezTo>
                    <a:cubicBezTo>
                      <a:pt x="68" y="213"/>
                      <a:pt x="68" y="213"/>
                      <a:pt x="68" y="213"/>
                    </a:cubicBezTo>
                    <a:cubicBezTo>
                      <a:pt x="73" y="215"/>
                      <a:pt x="73" y="215"/>
                      <a:pt x="73" y="215"/>
                    </a:cubicBezTo>
                    <a:cubicBezTo>
                      <a:pt x="75" y="211"/>
                      <a:pt x="75" y="211"/>
                      <a:pt x="75" y="211"/>
                    </a:cubicBezTo>
                    <a:cubicBezTo>
                      <a:pt x="87" y="211"/>
                      <a:pt x="87" y="211"/>
                      <a:pt x="87" y="211"/>
                    </a:cubicBezTo>
                    <a:cubicBezTo>
                      <a:pt x="89" y="208"/>
                      <a:pt x="89" y="208"/>
                      <a:pt x="89" y="208"/>
                    </a:cubicBezTo>
                    <a:cubicBezTo>
                      <a:pt x="92" y="207"/>
                      <a:pt x="92" y="207"/>
                      <a:pt x="92" y="207"/>
                    </a:cubicBezTo>
                    <a:cubicBezTo>
                      <a:pt x="99" y="202"/>
                      <a:pt x="99" y="202"/>
                      <a:pt x="99" y="202"/>
                    </a:cubicBezTo>
                    <a:cubicBezTo>
                      <a:pt x="101" y="205"/>
                      <a:pt x="101" y="205"/>
                      <a:pt x="101" y="205"/>
                    </a:cubicBezTo>
                    <a:cubicBezTo>
                      <a:pt x="106" y="201"/>
                      <a:pt x="106" y="201"/>
                      <a:pt x="106" y="201"/>
                    </a:cubicBezTo>
                    <a:cubicBezTo>
                      <a:pt x="105" y="196"/>
                      <a:pt x="105" y="196"/>
                      <a:pt x="105" y="196"/>
                    </a:cubicBezTo>
                    <a:cubicBezTo>
                      <a:pt x="111" y="196"/>
                      <a:pt x="111" y="196"/>
                      <a:pt x="111" y="196"/>
                    </a:cubicBezTo>
                    <a:cubicBezTo>
                      <a:pt x="114" y="192"/>
                      <a:pt x="114" y="192"/>
                      <a:pt x="114" y="192"/>
                    </a:cubicBezTo>
                    <a:cubicBezTo>
                      <a:pt x="114" y="192"/>
                      <a:pt x="117" y="198"/>
                      <a:pt x="119" y="197"/>
                    </a:cubicBezTo>
                    <a:cubicBezTo>
                      <a:pt x="121" y="195"/>
                      <a:pt x="128" y="191"/>
                      <a:pt x="128" y="191"/>
                    </a:cubicBezTo>
                    <a:cubicBezTo>
                      <a:pt x="134" y="198"/>
                      <a:pt x="134" y="198"/>
                      <a:pt x="134" y="198"/>
                    </a:cubicBezTo>
                    <a:cubicBezTo>
                      <a:pt x="138" y="197"/>
                      <a:pt x="138" y="197"/>
                      <a:pt x="138" y="197"/>
                    </a:cubicBezTo>
                    <a:cubicBezTo>
                      <a:pt x="143" y="203"/>
                      <a:pt x="143" y="203"/>
                      <a:pt x="143" y="203"/>
                    </a:cubicBezTo>
                    <a:cubicBezTo>
                      <a:pt x="149" y="198"/>
                      <a:pt x="149" y="198"/>
                      <a:pt x="149" y="198"/>
                    </a:cubicBezTo>
                    <a:cubicBezTo>
                      <a:pt x="163" y="202"/>
                      <a:pt x="163" y="202"/>
                      <a:pt x="163" y="202"/>
                    </a:cubicBezTo>
                    <a:cubicBezTo>
                      <a:pt x="163" y="202"/>
                      <a:pt x="166" y="207"/>
                      <a:pt x="168" y="206"/>
                    </a:cubicBezTo>
                    <a:cubicBezTo>
                      <a:pt x="169" y="206"/>
                      <a:pt x="192" y="195"/>
                      <a:pt x="192" y="195"/>
                    </a:cubicBezTo>
                    <a:cubicBezTo>
                      <a:pt x="199" y="196"/>
                      <a:pt x="199" y="196"/>
                      <a:pt x="199" y="196"/>
                    </a:cubicBezTo>
                    <a:cubicBezTo>
                      <a:pt x="199" y="196"/>
                      <a:pt x="208" y="192"/>
                      <a:pt x="209" y="185"/>
                    </a:cubicBezTo>
                    <a:cubicBezTo>
                      <a:pt x="209" y="176"/>
                      <a:pt x="199" y="171"/>
                      <a:pt x="201" y="168"/>
                    </a:cubicBezTo>
                    <a:cubicBezTo>
                      <a:pt x="204" y="166"/>
                      <a:pt x="215" y="165"/>
                      <a:pt x="215" y="165"/>
                    </a:cubicBezTo>
                    <a:cubicBezTo>
                      <a:pt x="215" y="165"/>
                      <a:pt x="213" y="160"/>
                      <a:pt x="216" y="158"/>
                    </a:cubicBezTo>
                    <a:cubicBezTo>
                      <a:pt x="218" y="156"/>
                      <a:pt x="223" y="159"/>
                      <a:pt x="225" y="156"/>
                    </a:cubicBezTo>
                    <a:cubicBezTo>
                      <a:pt x="226" y="152"/>
                      <a:pt x="221" y="148"/>
                      <a:pt x="224" y="145"/>
                    </a:cubicBezTo>
                    <a:cubicBezTo>
                      <a:pt x="229" y="144"/>
                      <a:pt x="235" y="148"/>
                      <a:pt x="239" y="143"/>
                    </a:cubicBezTo>
                    <a:cubicBezTo>
                      <a:pt x="245" y="139"/>
                      <a:pt x="245" y="136"/>
                      <a:pt x="247" y="134"/>
                    </a:cubicBezTo>
                    <a:cubicBezTo>
                      <a:pt x="249" y="133"/>
                      <a:pt x="250" y="136"/>
                      <a:pt x="250" y="136"/>
                    </a:cubicBezTo>
                    <a:cubicBezTo>
                      <a:pt x="250" y="136"/>
                      <a:pt x="252" y="130"/>
                      <a:pt x="256" y="130"/>
                    </a:cubicBezTo>
                    <a:cubicBezTo>
                      <a:pt x="259" y="132"/>
                      <a:pt x="264" y="138"/>
                      <a:pt x="268" y="139"/>
                    </a:cubicBezTo>
                    <a:cubicBezTo>
                      <a:pt x="273" y="139"/>
                      <a:pt x="278" y="135"/>
                      <a:pt x="278" y="135"/>
                    </a:cubicBezTo>
                    <a:cubicBezTo>
                      <a:pt x="285" y="138"/>
                      <a:pt x="285" y="138"/>
                      <a:pt x="285" y="138"/>
                    </a:cubicBezTo>
                    <a:cubicBezTo>
                      <a:pt x="285" y="133"/>
                      <a:pt x="285" y="133"/>
                      <a:pt x="285" y="133"/>
                    </a:cubicBezTo>
                    <a:cubicBezTo>
                      <a:pt x="288" y="133"/>
                      <a:pt x="288" y="133"/>
                      <a:pt x="288" y="133"/>
                    </a:cubicBezTo>
                    <a:cubicBezTo>
                      <a:pt x="294" y="130"/>
                      <a:pt x="294" y="130"/>
                      <a:pt x="294" y="130"/>
                    </a:cubicBezTo>
                    <a:cubicBezTo>
                      <a:pt x="284" y="121"/>
                      <a:pt x="284" y="121"/>
                      <a:pt x="284" y="121"/>
                    </a:cubicBezTo>
                    <a:cubicBezTo>
                      <a:pt x="278" y="117"/>
                      <a:pt x="278" y="117"/>
                      <a:pt x="278" y="117"/>
                    </a:cubicBezTo>
                    <a:cubicBezTo>
                      <a:pt x="276" y="111"/>
                      <a:pt x="276" y="111"/>
                      <a:pt x="276" y="111"/>
                    </a:cubicBezTo>
                    <a:cubicBezTo>
                      <a:pt x="267" y="103"/>
                      <a:pt x="267" y="103"/>
                      <a:pt x="267" y="103"/>
                    </a:cubicBezTo>
                    <a:cubicBezTo>
                      <a:pt x="267" y="103"/>
                      <a:pt x="266" y="106"/>
                      <a:pt x="264" y="108"/>
                    </a:cubicBezTo>
                    <a:cubicBezTo>
                      <a:pt x="262" y="110"/>
                      <a:pt x="256" y="108"/>
                      <a:pt x="256" y="108"/>
                    </a:cubicBezTo>
                    <a:cubicBezTo>
                      <a:pt x="260" y="98"/>
                      <a:pt x="260" y="98"/>
                      <a:pt x="260" y="98"/>
                    </a:cubicBezTo>
                    <a:cubicBezTo>
                      <a:pt x="268" y="97"/>
                      <a:pt x="268" y="97"/>
                      <a:pt x="268" y="97"/>
                    </a:cubicBezTo>
                    <a:cubicBezTo>
                      <a:pt x="268" y="88"/>
                      <a:pt x="268" y="88"/>
                      <a:pt x="268" y="88"/>
                    </a:cubicBezTo>
                    <a:cubicBezTo>
                      <a:pt x="278" y="85"/>
                      <a:pt x="278" y="85"/>
                      <a:pt x="278" y="85"/>
                    </a:cubicBezTo>
                    <a:cubicBezTo>
                      <a:pt x="278" y="85"/>
                      <a:pt x="274" y="80"/>
                      <a:pt x="273" y="73"/>
                    </a:cubicBezTo>
                    <a:cubicBezTo>
                      <a:pt x="273" y="66"/>
                      <a:pt x="272" y="56"/>
                      <a:pt x="272" y="56"/>
                    </a:cubicBezTo>
                    <a:cubicBezTo>
                      <a:pt x="264" y="56"/>
                      <a:pt x="264" y="56"/>
                      <a:pt x="264" y="56"/>
                    </a:cubicBezTo>
                    <a:cubicBezTo>
                      <a:pt x="264" y="56"/>
                      <a:pt x="274" y="54"/>
                      <a:pt x="275" y="51"/>
                    </a:cubicBezTo>
                    <a:cubicBezTo>
                      <a:pt x="276" y="49"/>
                      <a:pt x="271" y="44"/>
                      <a:pt x="279" y="40"/>
                    </a:cubicBezTo>
                    <a:cubicBezTo>
                      <a:pt x="286" y="34"/>
                      <a:pt x="294" y="38"/>
                      <a:pt x="294" y="38"/>
                    </a:cubicBezTo>
                    <a:cubicBezTo>
                      <a:pt x="300" y="26"/>
                      <a:pt x="300" y="26"/>
                      <a:pt x="300" y="26"/>
                    </a:cubicBezTo>
                    <a:cubicBezTo>
                      <a:pt x="300" y="26"/>
                      <a:pt x="297" y="23"/>
                      <a:pt x="296" y="19"/>
                    </a:cubicBezTo>
                    <a:cubicBezTo>
                      <a:pt x="295" y="17"/>
                      <a:pt x="294" y="14"/>
                      <a:pt x="294" y="14"/>
                    </a:cubicBez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62" name="Bosnia a. Herzegovina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392738" y="4765675"/>
                <a:ext cx="422275" cy="361950"/>
              </a:xfrm>
              <a:custGeom>
                <a:avLst/>
                <a:gdLst/>
                <a:ahLst/>
                <a:cxnLst>
                  <a:cxn ang="0">
                    <a:pos x="195" y="66"/>
                  </a:cxn>
                  <a:cxn ang="0">
                    <a:pos x="180" y="54"/>
                  </a:cxn>
                  <a:cxn ang="0">
                    <a:pos x="168" y="53"/>
                  </a:cxn>
                  <a:cxn ang="0">
                    <a:pos x="169" y="45"/>
                  </a:cxn>
                  <a:cxn ang="0">
                    <a:pos x="168" y="41"/>
                  </a:cxn>
                  <a:cxn ang="0">
                    <a:pos x="174" y="31"/>
                  </a:cxn>
                  <a:cxn ang="0">
                    <a:pos x="177" y="18"/>
                  </a:cxn>
                  <a:cxn ang="0">
                    <a:pos x="180" y="15"/>
                  </a:cxn>
                  <a:cxn ang="0">
                    <a:pos x="165" y="13"/>
                  </a:cxn>
                  <a:cxn ang="0">
                    <a:pos x="154" y="18"/>
                  </a:cxn>
                  <a:cxn ang="0">
                    <a:pos x="145" y="6"/>
                  </a:cxn>
                  <a:cxn ang="0">
                    <a:pos x="137" y="9"/>
                  </a:cxn>
                  <a:cxn ang="0">
                    <a:pos x="131" y="4"/>
                  </a:cxn>
                  <a:cxn ang="0">
                    <a:pos x="123" y="3"/>
                  </a:cxn>
                  <a:cxn ang="0">
                    <a:pos x="120" y="9"/>
                  </a:cxn>
                  <a:cxn ang="0">
                    <a:pos x="112" y="3"/>
                  </a:cxn>
                  <a:cxn ang="0">
                    <a:pos x="104" y="11"/>
                  </a:cxn>
                  <a:cxn ang="0">
                    <a:pos x="96" y="7"/>
                  </a:cxn>
                  <a:cxn ang="0">
                    <a:pos x="74" y="7"/>
                  </a:cxn>
                  <a:cxn ang="0">
                    <a:pos x="62" y="0"/>
                  </a:cxn>
                  <a:cxn ang="0">
                    <a:pos x="57" y="6"/>
                  </a:cxn>
                  <a:cxn ang="0">
                    <a:pos x="42" y="4"/>
                  </a:cxn>
                  <a:cxn ang="0">
                    <a:pos x="34" y="19"/>
                  </a:cxn>
                  <a:cxn ang="0">
                    <a:pos x="21" y="12"/>
                  </a:cxn>
                  <a:cxn ang="0">
                    <a:pos x="7" y="9"/>
                  </a:cxn>
                  <a:cxn ang="0">
                    <a:pos x="8" y="36"/>
                  </a:cxn>
                  <a:cxn ang="0">
                    <a:pos x="18" y="37"/>
                  </a:cxn>
                  <a:cxn ang="0">
                    <a:pos x="23" y="44"/>
                  </a:cxn>
                  <a:cxn ang="0">
                    <a:pos x="21" y="48"/>
                  </a:cxn>
                  <a:cxn ang="0">
                    <a:pos x="29" y="58"/>
                  </a:cxn>
                  <a:cxn ang="0">
                    <a:pos x="38" y="76"/>
                  </a:cxn>
                  <a:cxn ang="0">
                    <a:pos x="57" y="92"/>
                  </a:cxn>
                  <a:cxn ang="0">
                    <a:pos x="59" y="95"/>
                  </a:cxn>
                  <a:cxn ang="0">
                    <a:pos x="76" y="110"/>
                  </a:cxn>
                  <a:cxn ang="0">
                    <a:pos x="88" y="116"/>
                  </a:cxn>
                  <a:cxn ang="0">
                    <a:pos x="88" y="125"/>
                  </a:cxn>
                  <a:cxn ang="0">
                    <a:pos x="108" y="140"/>
                  </a:cxn>
                  <a:cxn ang="0">
                    <a:pos x="110" y="151"/>
                  </a:cxn>
                  <a:cxn ang="0">
                    <a:pos x="118" y="149"/>
                  </a:cxn>
                  <a:cxn ang="0">
                    <a:pos x="140" y="168"/>
                  </a:cxn>
                  <a:cxn ang="0">
                    <a:pos x="146" y="167"/>
                  </a:cxn>
                  <a:cxn ang="0">
                    <a:pos x="149" y="170"/>
                  </a:cxn>
                  <a:cxn ang="0">
                    <a:pos x="154" y="167"/>
                  </a:cxn>
                  <a:cxn ang="0">
                    <a:pos x="154" y="157"/>
                  </a:cxn>
                  <a:cxn ang="0">
                    <a:pos x="151" y="157"/>
                  </a:cxn>
                  <a:cxn ang="0">
                    <a:pos x="150" y="141"/>
                  </a:cxn>
                  <a:cxn ang="0">
                    <a:pos x="157" y="137"/>
                  </a:cxn>
                  <a:cxn ang="0">
                    <a:pos x="156" y="123"/>
                  </a:cxn>
                  <a:cxn ang="0">
                    <a:pos x="165" y="117"/>
                  </a:cxn>
                  <a:cxn ang="0">
                    <a:pos x="175" y="119"/>
                  </a:cxn>
                  <a:cxn ang="0">
                    <a:pos x="166" y="107"/>
                  </a:cxn>
                  <a:cxn ang="0">
                    <a:pos x="167" y="101"/>
                  </a:cxn>
                  <a:cxn ang="0">
                    <a:pos x="172" y="105"/>
                  </a:cxn>
                  <a:cxn ang="0">
                    <a:pos x="180" y="105"/>
                  </a:cxn>
                  <a:cxn ang="0">
                    <a:pos x="181" y="99"/>
                  </a:cxn>
                  <a:cxn ang="0">
                    <a:pos x="191" y="99"/>
                  </a:cxn>
                  <a:cxn ang="0">
                    <a:pos x="185" y="84"/>
                  </a:cxn>
                  <a:cxn ang="0">
                    <a:pos x="177" y="73"/>
                  </a:cxn>
                  <a:cxn ang="0">
                    <a:pos x="190" y="74"/>
                  </a:cxn>
                  <a:cxn ang="0">
                    <a:pos x="195" y="66"/>
                  </a:cxn>
                </a:cxnLst>
                <a:rect l="0" t="0" r="r" b="b"/>
                <a:pathLst>
                  <a:path w="198" h="170">
                    <a:moveTo>
                      <a:pt x="195" y="66"/>
                    </a:moveTo>
                    <a:cubicBezTo>
                      <a:pt x="180" y="54"/>
                      <a:pt x="180" y="54"/>
                      <a:pt x="180" y="54"/>
                    </a:cubicBezTo>
                    <a:cubicBezTo>
                      <a:pt x="180" y="54"/>
                      <a:pt x="172" y="54"/>
                      <a:pt x="168" y="53"/>
                    </a:cubicBezTo>
                    <a:cubicBezTo>
                      <a:pt x="165" y="52"/>
                      <a:pt x="169" y="45"/>
                      <a:pt x="169" y="45"/>
                    </a:cubicBezTo>
                    <a:cubicBezTo>
                      <a:pt x="168" y="41"/>
                      <a:pt x="168" y="41"/>
                      <a:pt x="168" y="41"/>
                    </a:cubicBezTo>
                    <a:cubicBezTo>
                      <a:pt x="168" y="41"/>
                      <a:pt x="172" y="35"/>
                      <a:pt x="174" y="31"/>
                    </a:cubicBezTo>
                    <a:cubicBezTo>
                      <a:pt x="176" y="27"/>
                      <a:pt x="177" y="18"/>
                      <a:pt x="177" y="18"/>
                    </a:cubicBezTo>
                    <a:cubicBezTo>
                      <a:pt x="180" y="15"/>
                      <a:pt x="180" y="15"/>
                      <a:pt x="180" y="15"/>
                    </a:cubicBezTo>
                    <a:cubicBezTo>
                      <a:pt x="165" y="13"/>
                      <a:pt x="165" y="13"/>
                      <a:pt x="165" y="13"/>
                    </a:cubicBezTo>
                    <a:cubicBezTo>
                      <a:pt x="165" y="13"/>
                      <a:pt x="160" y="18"/>
                      <a:pt x="154" y="18"/>
                    </a:cubicBezTo>
                    <a:cubicBezTo>
                      <a:pt x="149" y="18"/>
                      <a:pt x="151" y="9"/>
                      <a:pt x="145" y="6"/>
                    </a:cubicBezTo>
                    <a:cubicBezTo>
                      <a:pt x="139" y="5"/>
                      <a:pt x="137" y="9"/>
                      <a:pt x="137" y="9"/>
                    </a:cubicBezTo>
                    <a:cubicBezTo>
                      <a:pt x="131" y="4"/>
                      <a:pt x="131" y="4"/>
                      <a:pt x="131" y="4"/>
                    </a:cubicBezTo>
                    <a:cubicBezTo>
                      <a:pt x="123" y="3"/>
                      <a:pt x="123" y="3"/>
                      <a:pt x="123" y="3"/>
                    </a:cubicBezTo>
                    <a:cubicBezTo>
                      <a:pt x="123" y="3"/>
                      <a:pt x="123" y="9"/>
                      <a:pt x="120" y="9"/>
                    </a:cubicBezTo>
                    <a:cubicBezTo>
                      <a:pt x="117" y="9"/>
                      <a:pt x="112" y="3"/>
                      <a:pt x="112" y="3"/>
                    </a:cubicBezTo>
                    <a:cubicBezTo>
                      <a:pt x="112" y="3"/>
                      <a:pt x="108" y="11"/>
                      <a:pt x="104" y="11"/>
                    </a:cubicBezTo>
                    <a:cubicBezTo>
                      <a:pt x="101" y="11"/>
                      <a:pt x="96" y="7"/>
                      <a:pt x="96" y="7"/>
                    </a:cubicBezTo>
                    <a:cubicBezTo>
                      <a:pt x="74" y="7"/>
                      <a:pt x="74" y="7"/>
                      <a:pt x="74" y="7"/>
                    </a:cubicBezTo>
                    <a:cubicBezTo>
                      <a:pt x="70" y="7"/>
                      <a:pt x="62" y="0"/>
                      <a:pt x="62" y="0"/>
                    </a:cubicBezTo>
                    <a:cubicBezTo>
                      <a:pt x="57" y="6"/>
                      <a:pt x="57" y="6"/>
                      <a:pt x="57" y="6"/>
                    </a:cubicBezTo>
                    <a:cubicBezTo>
                      <a:pt x="57" y="6"/>
                      <a:pt x="46" y="4"/>
                      <a:pt x="42" y="4"/>
                    </a:cubicBezTo>
                    <a:cubicBezTo>
                      <a:pt x="38" y="5"/>
                      <a:pt x="38" y="18"/>
                      <a:pt x="34" y="19"/>
                    </a:cubicBezTo>
                    <a:cubicBezTo>
                      <a:pt x="30" y="21"/>
                      <a:pt x="24" y="15"/>
                      <a:pt x="21" y="12"/>
                    </a:cubicBezTo>
                    <a:cubicBezTo>
                      <a:pt x="18" y="9"/>
                      <a:pt x="14" y="4"/>
                      <a:pt x="7" y="9"/>
                    </a:cubicBezTo>
                    <a:cubicBezTo>
                      <a:pt x="0" y="12"/>
                      <a:pt x="8" y="36"/>
                      <a:pt x="8" y="36"/>
                    </a:cubicBezTo>
                    <a:cubicBezTo>
                      <a:pt x="18" y="37"/>
                      <a:pt x="18" y="37"/>
                      <a:pt x="18" y="37"/>
                    </a:cubicBezTo>
                    <a:cubicBezTo>
                      <a:pt x="23" y="44"/>
                      <a:pt x="23" y="44"/>
                      <a:pt x="23" y="44"/>
                    </a:cubicBezTo>
                    <a:cubicBezTo>
                      <a:pt x="21" y="48"/>
                      <a:pt x="21" y="48"/>
                      <a:pt x="21" y="48"/>
                    </a:cubicBezTo>
                    <a:cubicBezTo>
                      <a:pt x="21" y="48"/>
                      <a:pt x="26" y="51"/>
                      <a:pt x="29" y="58"/>
                    </a:cubicBezTo>
                    <a:cubicBezTo>
                      <a:pt x="31" y="63"/>
                      <a:pt x="30" y="68"/>
                      <a:pt x="38" y="76"/>
                    </a:cubicBezTo>
                    <a:cubicBezTo>
                      <a:pt x="44" y="83"/>
                      <a:pt x="57" y="92"/>
                      <a:pt x="57" y="92"/>
                    </a:cubicBezTo>
                    <a:cubicBezTo>
                      <a:pt x="59" y="95"/>
                      <a:pt x="59" y="95"/>
                      <a:pt x="59" y="95"/>
                    </a:cubicBezTo>
                    <a:cubicBezTo>
                      <a:pt x="76" y="110"/>
                      <a:pt x="76" y="110"/>
                      <a:pt x="76" y="110"/>
                    </a:cubicBezTo>
                    <a:cubicBezTo>
                      <a:pt x="88" y="116"/>
                      <a:pt x="88" y="116"/>
                      <a:pt x="88" y="116"/>
                    </a:cubicBezTo>
                    <a:cubicBezTo>
                      <a:pt x="88" y="116"/>
                      <a:pt x="87" y="120"/>
                      <a:pt x="88" y="125"/>
                    </a:cubicBezTo>
                    <a:cubicBezTo>
                      <a:pt x="89" y="129"/>
                      <a:pt x="102" y="135"/>
                      <a:pt x="108" y="140"/>
                    </a:cubicBezTo>
                    <a:cubicBezTo>
                      <a:pt x="113" y="145"/>
                      <a:pt x="110" y="151"/>
                      <a:pt x="110" y="151"/>
                    </a:cubicBezTo>
                    <a:cubicBezTo>
                      <a:pt x="118" y="149"/>
                      <a:pt x="118" y="149"/>
                      <a:pt x="118" y="149"/>
                    </a:cubicBezTo>
                    <a:cubicBezTo>
                      <a:pt x="140" y="168"/>
                      <a:pt x="140" y="168"/>
                      <a:pt x="140" y="168"/>
                    </a:cubicBezTo>
                    <a:cubicBezTo>
                      <a:pt x="140" y="168"/>
                      <a:pt x="142" y="165"/>
                      <a:pt x="146" y="167"/>
                    </a:cubicBezTo>
                    <a:cubicBezTo>
                      <a:pt x="148" y="167"/>
                      <a:pt x="149" y="168"/>
                      <a:pt x="149" y="170"/>
                    </a:cubicBezTo>
                    <a:cubicBezTo>
                      <a:pt x="154" y="167"/>
                      <a:pt x="154" y="167"/>
                      <a:pt x="154" y="167"/>
                    </a:cubicBezTo>
                    <a:cubicBezTo>
                      <a:pt x="154" y="157"/>
                      <a:pt x="154" y="157"/>
                      <a:pt x="154" y="157"/>
                    </a:cubicBezTo>
                    <a:cubicBezTo>
                      <a:pt x="151" y="157"/>
                      <a:pt x="151" y="157"/>
                      <a:pt x="151" y="157"/>
                    </a:cubicBezTo>
                    <a:cubicBezTo>
                      <a:pt x="151" y="157"/>
                      <a:pt x="149" y="144"/>
                      <a:pt x="150" y="141"/>
                    </a:cubicBezTo>
                    <a:cubicBezTo>
                      <a:pt x="152" y="138"/>
                      <a:pt x="155" y="138"/>
                      <a:pt x="157" y="137"/>
                    </a:cubicBezTo>
                    <a:cubicBezTo>
                      <a:pt x="159" y="135"/>
                      <a:pt x="154" y="126"/>
                      <a:pt x="156" y="123"/>
                    </a:cubicBezTo>
                    <a:cubicBezTo>
                      <a:pt x="157" y="121"/>
                      <a:pt x="160" y="117"/>
                      <a:pt x="165" y="117"/>
                    </a:cubicBezTo>
                    <a:cubicBezTo>
                      <a:pt x="168" y="117"/>
                      <a:pt x="172" y="122"/>
                      <a:pt x="175" y="119"/>
                    </a:cubicBezTo>
                    <a:cubicBezTo>
                      <a:pt x="177" y="116"/>
                      <a:pt x="166" y="107"/>
                      <a:pt x="166" y="107"/>
                    </a:cubicBezTo>
                    <a:cubicBezTo>
                      <a:pt x="167" y="101"/>
                      <a:pt x="167" y="101"/>
                      <a:pt x="167" y="101"/>
                    </a:cubicBezTo>
                    <a:cubicBezTo>
                      <a:pt x="172" y="105"/>
                      <a:pt x="172" y="105"/>
                      <a:pt x="172" y="105"/>
                    </a:cubicBezTo>
                    <a:cubicBezTo>
                      <a:pt x="180" y="105"/>
                      <a:pt x="180" y="105"/>
                      <a:pt x="180" y="105"/>
                    </a:cubicBezTo>
                    <a:cubicBezTo>
                      <a:pt x="181" y="99"/>
                      <a:pt x="181" y="99"/>
                      <a:pt x="181" y="99"/>
                    </a:cubicBezTo>
                    <a:cubicBezTo>
                      <a:pt x="181" y="99"/>
                      <a:pt x="186" y="104"/>
                      <a:pt x="191" y="99"/>
                    </a:cubicBezTo>
                    <a:cubicBezTo>
                      <a:pt x="198" y="96"/>
                      <a:pt x="185" y="84"/>
                      <a:pt x="185" y="84"/>
                    </a:cubicBezTo>
                    <a:cubicBezTo>
                      <a:pt x="177" y="73"/>
                      <a:pt x="177" y="73"/>
                      <a:pt x="177" y="73"/>
                    </a:cubicBezTo>
                    <a:cubicBezTo>
                      <a:pt x="177" y="73"/>
                      <a:pt x="185" y="74"/>
                      <a:pt x="190" y="74"/>
                    </a:cubicBezTo>
                    <a:cubicBezTo>
                      <a:pt x="195" y="74"/>
                      <a:pt x="195" y="66"/>
                      <a:pt x="195" y="66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63" name="Belgium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4183063" y="3900488"/>
                <a:ext cx="341312" cy="282575"/>
              </a:xfrm>
              <a:custGeom>
                <a:avLst/>
                <a:gdLst/>
                <a:ahLst/>
                <a:cxnLst>
                  <a:cxn ang="0">
                    <a:pos x="150" y="64"/>
                  </a:cxn>
                  <a:cxn ang="0">
                    <a:pos x="144" y="49"/>
                  </a:cxn>
                  <a:cxn ang="0">
                    <a:pos x="128" y="48"/>
                  </a:cxn>
                  <a:cxn ang="0">
                    <a:pos x="132" y="42"/>
                  </a:cxn>
                  <a:cxn ang="0">
                    <a:pos x="133" y="33"/>
                  </a:cxn>
                  <a:cxn ang="0">
                    <a:pos x="130" y="24"/>
                  </a:cxn>
                  <a:cxn ang="0">
                    <a:pos x="123" y="16"/>
                  </a:cxn>
                  <a:cxn ang="0">
                    <a:pos x="110" y="12"/>
                  </a:cxn>
                  <a:cxn ang="0">
                    <a:pos x="106" y="3"/>
                  </a:cxn>
                  <a:cxn ang="0">
                    <a:pos x="96" y="8"/>
                  </a:cxn>
                  <a:cxn ang="0">
                    <a:pos x="88" y="5"/>
                  </a:cxn>
                  <a:cxn ang="0">
                    <a:pos x="82" y="2"/>
                  </a:cxn>
                  <a:cxn ang="0">
                    <a:pos x="77" y="9"/>
                  </a:cxn>
                  <a:cxn ang="0">
                    <a:pos x="56" y="17"/>
                  </a:cxn>
                  <a:cxn ang="0">
                    <a:pos x="42" y="9"/>
                  </a:cxn>
                  <a:cxn ang="0">
                    <a:pos x="35" y="12"/>
                  </a:cxn>
                  <a:cxn ang="0">
                    <a:pos x="36" y="5"/>
                  </a:cxn>
                  <a:cxn ang="0">
                    <a:pos x="11" y="15"/>
                  </a:cxn>
                  <a:cxn ang="0">
                    <a:pos x="1" y="25"/>
                  </a:cxn>
                  <a:cxn ang="0">
                    <a:pos x="2" y="29"/>
                  </a:cxn>
                  <a:cxn ang="0">
                    <a:pos x="0" y="37"/>
                  </a:cxn>
                  <a:cxn ang="0">
                    <a:pos x="8" y="44"/>
                  </a:cxn>
                  <a:cxn ang="0">
                    <a:pos x="15" y="41"/>
                  </a:cxn>
                  <a:cxn ang="0">
                    <a:pos x="25" y="48"/>
                  </a:cxn>
                  <a:cxn ang="0">
                    <a:pos x="28" y="62"/>
                  </a:cxn>
                  <a:cxn ang="0">
                    <a:pos x="41" y="64"/>
                  </a:cxn>
                  <a:cxn ang="0">
                    <a:pos x="49" y="72"/>
                  </a:cxn>
                  <a:cxn ang="0">
                    <a:pos x="58" y="87"/>
                  </a:cxn>
                  <a:cxn ang="0">
                    <a:pos x="60" y="100"/>
                  </a:cxn>
                  <a:cxn ang="0">
                    <a:pos x="73" y="103"/>
                  </a:cxn>
                  <a:cxn ang="0">
                    <a:pos x="80" y="98"/>
                  </a:cxn>
                  <a:cxn ang="0">
                    <a:pos x="86" y="100"/>
                  </a:cxn>
                  <a:cxn ang="0">
                    <a:pos x="86" y="110"/>
                  </a:cxn>
                  <a:cxn ang="0">
                    <a:pos x="95" y="112"/>
                  </a:cxn>
                  <a:cxn ang="0">
                    <a:pos x="107" y="124"/>
                  </a:cxn>
                  <a:cxn ang="0">
                    <a:pos x="129" y="132"/>
                  </a:cxn>
                  <a:cxn ang="0">
                    <a:pos x="128" y="105"/>
                  </a:cxn>
                  <a:cxn ang="0">
                    <a:pos x="138" y="90"/>
                  </a:cxn>
                  <a:cxn ang="0">
                    <a:pos x="150" y="85"/>
                  </a:cxn>
                  <a:cxn ang="0">
                    <a:pos x="156" y="69"/>
                  </a:cxn>
                </a:cxnLst>
                <a:rect l="0" t="0" r="r" b="b"/>
                <a:pathLst>
                  <a:path w="160" h="133">
                    <a:moveTo>
                      <a:pt x="156" y="69"/>
                    </a:moveTo>
                    <a:cubicBezTo>
                      <a:pt x="154" y="66"/>
                      <a:pt x="150" y="70"/>
                      <a:pt x="150" y="64"/>
                    </a:cubicBezTo>
                    <a:cubicBezTo>
                      <a:pt x="150" y="63"/>
                      <a:pt x="153" y="61"/>
                      <a:pt x="154" y="60"/>
                    </a:cubicBezTo>
                    <a:cubicBezTo>
                      <a:pt x="150" y="59"/>
                      <a:pt x="146" y="54"/>
                      <a:pt x="144" y="49"/>
                    </a:cubicBezTo>
                    <a:cubicBezTo>
                      <a:pt x="143" y="49"/>
                      <a:pt x="139" y="51"/>
                      <a:pt x="136" y="50"/>
                    </a:cubicBezTo>
                    <a:cubicBezTo>
                      <a:pt x="132" y="50"/>
                      <a:pt x="128" y="48"/>
                      <a:pt x="128" y="48"/>
                    </a:cubicBezTo>
                    <a:cubicBezTo>
                      <a:pt x="128" y="48"/>
                      <a:pt x="124" y="47"/>
                      <a:pt x="127" y="44"/>
                    </a:cubicBezTo>
                    <a:cubicBezTo>
                      <a:pt x="128" y="42"/>
                      <a:pt x="132" y="42"/>
                      <a:pt x="132" y="42"/>
                    </a:cubicBezTo>
                    <a:cubicBezTo>
                      <a:pt x="133" y="37"/>
                      <a:pt x="133" y="37"/>
                      <a:pt x="133" y="37"/>
                    </a:cubicBezTo>
                    <a:cubicBezTo>
                      <a:pt x="133" y="37"/>
                      <a:pt x="132" y="34"/>
                      <a:pt x="133" y="33"/>
                    </a:cubicBezTo>
                    <a:cubicBezTo>
                      <a:pt x="135" y="31"/>
                      <a:pt x="138" y="29"/>
                      <a:pt x="136" y="27"/>
                    </a:cubicBezTo>
                    <a:cubicBezTo>
                      <a:pt x="133" y="24"/>
                      <a:pt x="130" y="24"/>
                      <a:pt x="130" y="24"/>
                    </a:cubicBezTo>
                    <a:cubicBezTo>
                      <a:pt x="126" y="19"/>
                      <a:pt x="126" y="19"/>
                      <a:pt x="126" y="19"/>
                    </a:cubicBezTo>
                    <a:cubicBezTo>
                      <a:pt x="126" y="19"/>
                      <a:pt x="127" y="16"/>
                      <a:pt x="123" y="16"/>
                    </a:cubicBezTo>
                    <a:cubicBezTo>
                      <a:pt x="120" y="15"/>
                      <a:pt x="117" y="18"/>
                      <a:pt x="114" y="17"/>
                    </a:cubicBezTo>
                    <a:cubicBezTo>
                      <a:pt x="111" y="17"/>
                      <a:pt x="110" y="12"/>
                      <a:pt x="110" y="12"/>
                    </a:cubicBezTo>
                    <a:cubicBezTo>
                      <a:pt x="105" y="10"/>
                      <a:pt x="105" y="10"/>
                      <a:pt x="105" y="10"/>
                    </a:cubicBezTo>
                    <a:cubicBezTo>
                      <a:pt x="105" y="10"/>
                      <a:pt x="108" y="5"/>
                      <a:pt x="106" y="3"/>
                    </a:cubicBezTo>
                    <a:cubicBezTo>
                      <a:pt x="103" y="2"/>
                      <a:pt x="101" y="8"/>
                      <a:pt x="101" y="8"/>
                    </a:cubicBezTo>
                    <a:cubicBezTo>
                      <a:pt x="96" y="8"/>
                      <a:pt x="96" y="8"/>
                      <a:pt x="96" y="8"/>
                    </a:cubicBezTo>
                    <a:cubicBezTo>
                      <a:pt x="96" y="8"/>
                      <a:pt x="100" y="1"/>
                      <a:pt x="97" y="1"/>
                    </a:cubicBezTo>
                    <a:cubicBezTo>
                      <a:pt x="93" y="1"/>
                      <a:pt x="88" y="5"/>
                      <a:pt x="88" y="5"/>
                    </a:cubicBezTo>
                    <a:cubicBezTo>
                      <a:pt x="85" y="5"/>
                      <a:pt x="85" y="5"/>
                      <a:pt x="85" y="5"/>
                    </a:cubicBezTo>
                    <a:cubicBezTo>
                      <a:pt x="85" y="5"/>
                      <a:pt x="85" y="0"/>
                      <a:pt x="82" y="2"/>
                    </a:cubicBezTo>
                    <a:cubicBezTo>
                      <a:pt x="78" y="3"/>
                      <a:pt x="80" y="9"/>
                      <a:pt x="80" y="9"/>
                    </a:cubicBezTo>
                    <a:cubicBezTo>
                      <a:pt x="77" y="9"/>
                      <a:pt x="77" y="9"/>
                      <a:pt x="77" y="9"/>
                    </a:cubicBezTo>
                    <a:cubicBezTo>
                      <a:pt x="73" y="8"/>
                      <a:pt x="73" y="8"/>
                      <a:pt x="73" y="8"/>
                    </a:cubicBezTo>
                    <a:cubicBezTo>
                      <a:pt x="73" y="8"/>
                      <a:pt x="63" y="18"/>
                      <a:pt x="56" y="17"/>
                    </a:cubicBezTo>
                    <a:cubicBezTo>
                      <a:pt x="49" y="17"/>
                      <a:pt x="52" y="12"/>
                      <a:pt x="52" y="12"/>
                    </a:cubicBezTo>
                    <a:cubicBezTo>
                      <a:pt x="42" y="9"/>
                      <a:pt x="42" y="9"/>
                      <a:pt x="42" y="9"/>
                    </a:cubicBezTo>
                    <a:cubicBezTo>
                      <a:pt x="41" y="13"/>
                      <a:pt x="41" y="13"/>
                      <a:pt x="41" y="13"/>
                    </a:cubicBezTo>
                    <a:cubicBezTo>
                      <a:pt x="35" y="12"/>
                      <a:pt x="35" y="12"/>
                      <a:pt x="35" y="12"/>
                    </a:cubicBezTo>
                    <a:cubicBezTo>
                      <a:pt x="35" y="12"/>
                      <a:pt x="34" y="9"/>
                      <a:pt x="34" y="8"/>
                    </a:cubicBezTo>
                    <a:cubicBezTo>
                      <a:pt x="35" y="7"/>
                      <a:pt x="35" y="6"/>
                      <a:pt x="36" y="5"/>
                    </a:cubicBezTo>
                    <a:cubicBezTo>
                      <a:pt x="34" y="5"/>
                      <a:pt x="31" y="5"/>
                      <a:pt x="24" y="7"/>
                    </a:cubicBezTo>
                    <a:cubicBezTo>
                      <a:pt x="16" y="11"/>
                      <a:pt x="14" y="13"/>
                      <a:pt x="11" y="15"/>
                    </a:cubicBezTo>
                    <a:cubicBezTo>
                      <a:pt x="7" y="16"/>
                      <a:pt x="1" y="18"/>
                      <a:pt x="1" y="18"/>
                    </a:cubicBezTo>
                    <a:cubicBezTo>
                      <a:pt x="1" y="25"/>
                      <a:pt x="1" y="25"/>
                      <a:pt x="1" y="25"/>
                    </a:cubicBezTo>
                    <a:cubicBezTo>
                      <a:pt x="2" y="25"/>
                      <a:pt x="2" y="25"/>
                      <a:pt x="2" y="25"/>
                    </a:cubicBezTo>
                    <a:cubicBezTo>
                      <a:pt x="2" y="29"/>
                      <a:pt x="2" y="29"/>
                      <a:pt x="2" y="29"/>
                    </a:cubicBezTo>
                    <a:cubicBezTo>
                      <a:pt x="1" y="30"/>
                      <a:pt x="1" y="30"/>
                      <a:pt x="1" y="30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37"/>
                      <a:pt x="1" y="35"/>
                      <a:pt x="3" y="37"/>
                    </a:cubicBezTo>
                    <a:cubicBezTo>
                      <a:pt x="6" y="38"/>
                      <a:pt x="8" y="44"/>
                      <a:pt x="8" y="44"/>
                    </a:cubicBezTo>
                    <a:cubicBezTo>
                      <a:pt x="12" y="45"/>
                      <a:pt x="12" y="45"/>
                      <a:pt x="12" y="45"/>
                    </a:cubicBezTo>
                    <a:cubicBezTo>
                      <a:pt x="12" y="45"/>
                      <a:pt x="13" y="41"/>
                      <a:pt x="15" y="41"/>
                    </a:cubicBezTo>
                    <a:cubicBezTo>
                      <a:pt x="22" y="41"/>
                      <a:pt x="22" y="41"/>
                      <a:pt x="22" y="41"/>
                    </a:cubicBezTo>
                    <a:cubicBezTo>
                      <a:pt x="25" y="48"/>
                      <a:pt x="25" y="48"/>
                      <a:pt x="25" y="48"/>
                    </a:cubicBezTo>
                    <a:cubicBezTo>
                      <a:pt x="25" y="59"/>
                      <a:pt x="25" y="59"/>
                      <a:pt x="25" y="59"/>
                    </a:cubicBezTo>
                    <a:cubicBezTo>
                      <a:pt x="28" y="62"/>
                      <a:pt x="28" y="62"/>
                      <a:pt x="28" y="62"/>
                    </a:cubicBezTo>
                    <a:cubicBezTo>
                      <a:pt x="35" y="59"/>
                      <a:pt x="35" y="59"/>
                      <a:pt x="35" y="59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4"/>
                      <a:pt x="38" y="77"/>
                      <a:pt x="40" y="76"/>
                    </a:cubicBezTo>
                    <a:cubicBezTo>
                      <a:pt x="44" y="76"/>
                      <a:pt x="44" y="71"/>
                      <a:pt x="49" y="72"/>
                    </a:cubicBezTo>
                    <a:cubicBezTo>
                      <a:pt x="53" y="73"/>
                      <a:pt x="61" y="74"/>
                      <a:pt x="61" y="78"/>
                    </a:cubicBezTo>
                    <a:cubicBezTo>
                      <a:pt x="61" y="84"/>
                      <a:pt x="58" y="87"/>
                      <a:pt x="58" y="87"/>
                    </a:cubicBezTo>
                    <a:cubicBezTo>
                      <a:pt x="62" y="91"/>
                      <a:pt x="62" y="91"/>
                      <a:pt x="62" y="91"/>
                    </a:cubicBezTo>
                    <a:cubicBezTo>
                      <a:pt x="62" y="91"/>
                      <a:pt x="53" y="97"/>
                      <a:pt x="60" y="100"/>
                    </a:cubicBezTo>
                    <a:cubicBezTo>
                      <a:pt x="65" y="102"/>
                      <a:pt x="70" y="100"/>
                      <a:pt x="70" y="100"/>
                    </a:cubicBezTo>
                    <a:cubicBezTo>
                      <a:pt x="73" y="103"/>
                      <a:pt x="73" y="103"/>
                      <a:pt x="73" y="103"/>
                    </a:cubicBezTo>
                    <a:cubicBezTo>
                      <a:pt x="77" y="100"/>
                      <a:pt x="77" y="100"/>
                      <a:pt x="77" y="100"/>
                    </a:cubicBezTo>
                    <a:cubicBezTo>
                      <a:pt x="80" y="98"/>
                      <a:pt x="80" y="98"/>
                      <a:pt x="80" y="98"/>
                    </a:cubicBezTo>
                    <a:cubicBezTo>
                      <a:pt x="80" y="98"/>
                      <a:pt x="86" y="85"/>
                      <a:pt x="89" y="88"/>
                    </a:cubicBezTo>
                    <a:cubicBezTo>
                      <a:pt x="93" y="91"/>
                      <a:pt x="86" y="100"/>
                      <a:pt x="86" y="100"/>
                    </a:cubicBezTo>
                    <a:cubicBezTo>
                      <a:pt x="86" y="100"/>
                      <a:pt x="88" y="100"/>
                      <a:pt x="88" y="103"/>
                    </a:cubicBezTo>
                    <a:cubicBezTo>
                      <a:pt x="89" y="105"/>
                      <a:pt x="86" y="110"/>
                      <a:pt x="86" y="110"/>
                    </a:cubicBezTo>
                    <a:cubicBezTo>
                      <a:pt x="88" y="112"/>
                      <a:pt x="88" y="112"/>
                      <a:pt x="88" y="112"/>
                    </a:cubicBezTo>
                    <a:cubicBezTo>
                      <a:pt x="95" y="112"/>
                      <a:pt x="95" y="112"/>
                      <a:pt x="95" y="112"/>
                    </a:cubicBezTo>
                    <a:cubicBezTo>
                      <a:pt x="107" y="122"/>
                      <a:pt x="107" y="122"/>
                      <a:pt x="107" y="122"/>
                    </a:cubicBezTo>
                    <a:cubicBezTo>
                      <a:pt x="107" y="124"/>
                      <a:pt x="107" y="124"/>
                      <a:pt x="107" y="124"/>
                    </a:cubicBezTo>
                    <a:cubicBezTo>
                      <a:pt x="114" y="133"/>
                      <a:pt x="114" y="133"/>
                      <a:pt x="114" y="133"/>
                    </a:cubicBezTo>
                    <a:cubicBezTo>
                      <a:pt x="129" y="132"/>
                      <a:pt x="129" y="132"/>
                      <a:pt x="129" y="132"/>
                    </a:cubicBezTo>
                    <a:cubicBezTo>
                      <a:pt x="132" y="124"/>
                      <a:pt x="132" y="124"/>
                      <a:pt x="132" y="124"/>
                    </a:cubicBezTo>
                    <a:cubicBezTo>
                      <a:pt x="128" y="105"/>
                      <a:pt x="128" y="105"/>
                      <a:pt x="128" y="105"/>
                    </a:cubicBezTo>
                    <a:cubicBezTo>
                      <a:pt x="131" y="104"/>
                      <a:pt x="131" y="104"/>
                      <a:pt x="131" y="104"/>
                    </a:cubicBezTo>
                    <a:cubicBezTo>
                      <a:pt x="138" y="90"/>
                      <a:pt x="138" y="90"/>
                      <a:pt x="138" y="90"/>
                    </a:cubicBezTo>
                    <a:cubicBezTo>
                      <a:pt x="147" y="92"/>
                      <a:pt x="147" y="92"/>
                      <a:pt x="147" y="92"/>
                    </a:cubicBezTo>
                    <a:cubicBezTo>
                      <a:pt x="148" y="89"/>
                      <a:pt x="148" y="87"/>
                      <a:pt x="150" y="85"/>
                    </a:cubicBezTo>
                    <a:cubicBezTo>
                      <a:pt x="152" y="82"/>
                      <a:pt x="157" y="81"/>
                      <a:pt x="159" y="80"/>
                    </a:cubicBezTo>
                    <a:cubicBezTo>
                      <a:pt x="160" y="78"/>
                      <a:pt x="157" y="70"/>
                      <a:pt x="156" y="69"/>
                    </a:cubicBez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64" name="Austria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4783138" y="4260850"/>
                <a:ext cx="731837" cy="363537"/>
              </a:xfrm>
              <a:custGeom>
                <a:avLst/>
                <a:gdLst/>
                <a:ahLst/>
                <a:cxnLst>
                  <a:cxn ang="0">
                    <a:pos x="335" y="43"/>
                  </a:cxn>
                  <a:cxn ang="0">
                    <a:pos x="332" y="17"/>
                  </a:cxn>
                  <a:cxn ang="0">
                    <a:pos x="320" y="11"/>
                  </a:cxn>
                  <a:cxn ang="0">
                    <a:pos x="293" y="14"/>
                  </a:cxn>
                  <a:cxn ang="0">
                    <a:pos x="267" y="2"/>
                  </a:cxn>
                  <a:cxn ang="0">
                    <a:pos x="251" y="0"/>
                  </a:cxn>
                  <a:cxn ang="0">
                    <a:pos x="237" y="14"/>
                  </a:cxn>
                  <a:cxn ang="0">
                    <a:pos x="228" y="26"/>
                  </a:cxn>
                  <a:cxn ang="0">
                    <a:pos x="217" y="31"/>
                  </a:cxn>
                  <a:cxn ang="0">
                    <a:pos x="205" y="25"/>
                  </a:cxn>
                  <a:cxn ang="0">
                    <a:pos x="193" y="18"/>
                  </a:cxn>
                  <a:cxn ang="0">
                    <a:pos x="177" y="31"/>
                  </a:cxn>
                  <a:cxn ang="0">
                    <a:pos x="149" y="60"/>
                  </a:cxn>
                  <a:cxn ang="0">
                    <a:pos x="156" y="88"/>
                  </a:cxn>
                  <a:cxn ang="0">
                    <a:pos x="150" y="98"/>
                  </a:cxn>
                  <a:cxn ang="0">
                    <a:pos x="126" y="91"/>
                  </a:cxn>
                  <a:cxn ang="0">
                    <a:pos x="110" y="95"/>
                  </a:cxn>
                  <a:cxn ang="0">
                    <a:pos x="90" y="107"/>
                  </a:cxn>
                  <a:cxn ang="0">
                    <a:pos x="69" y="110"/>
                  </a:cxn>
                  <a:cxn ang="0">
                    <a:pos x="51" y="99"/>
                  </a:cxn>
                  <a:cxn ang="0">
                    <a:pos x="34" y="117"/>
                  </a:cxn>
                  <a:cxn ang="0">
                    <a:pos x="27" y="104"/>
                  </a:cxn>
                  <a:cxn ang="0">
                    <a:pos x="10" y="99"/>
                  </a:cxn>
                  <a:cxn ang="0">
                    <a:pos x="3" y="120"/>
                  </a:cxn>
                  <a:cxn ang="0">
                    <a:pos x="18" y="133"/>
                  </a:cxn>
                  <a:cxn ang="0">
                    <a:pos x="32" y="144"/>
                  </a:cxn>
                  <a:cxn ang="0">
                    <a:pos x="45" y="146"/>
                  </a:cxn>
                  <a:cxn ang="0">
                    <a:pos x="57" y="149"/>
                  </a:cxn>
                  <a:cxn ang="0">
                    <a:pos x="76" y="138"/>
                  </a:cxn>
                  <a:cxn ang="0">
                    <a:pos x="104" y="139"/>
                  </a:cxn>
                  <a:cxn ang="0">
                    <a:pos x="125" y="128"/>
                  </a:cxn>
                  <a:cxn ang="0">
                    <a:pos x="127" y="142"/>
                  </a:cxn>
                  <a:cxn ang="0">
                    <a:pos x="134" y="156"/>
                  </a:cxn>
                  <a:cxn ang="0">
                    <a:pos x="169" y="160"/>
                  </a:cxn>
                  <a:cxn ang="0">
                    <a:pos x="197" y="165"/>
                  </a:cxn>
                  <a:cxn ang="0">
                    <a:pos x="214" y="170"/>
                  </a:cxn>
                  <a:cxn ang="0">
                    <a:pos x="238" y="164"/>
                  </a:cxn>
                  <a:cxn ang="0">
                    <a:pos x="256" y="153"/>
                  </a:cxn>
                  <a:cxn ang="0">
                    <a:pos x="275" y="154"/>
                  </a:cxn>
                  <a:cxn ang="0">
                    <a:pos x="295" y="149"/>
                  </a:cxn>
                  <a:cxn ang="0">
                    <a:pos x="300" y="137"/>
                  </a:cxn>
                  <a:cxn ang="0">
                    <a:pos x="320" y="118"/>
                  </a:cxn>
                  <a:cxn ang="0">
                    <a:pos x="313" y="104"/>
                  </a:cxn>
                  <a:cxn ang="0">
                    <a:pos x="317" y="86"/>
                  </a:cxn>
                  <a:cxn ang="0">
                    <a:pos x="328" y="82"/>
                  </a:cxn>
                  <a:cxn ang="0">
                    <a:pos x="339" y="69"/>
                  </a:cxn>
                </a:cxnLst>
                <a:rect l="0" t="0" r="r" b="b"/>
                <a:pathLst>
                  <a:path w="343" h="171">
                    <a:moveTo>
                      <a:pt x="342" y="57"/>
                    </a:moveTo>
                    <a:cubicBezTo>
                      <a:pt x="340" y="53"/>
                      <a:pt x="337" y="49"/>
                      <a:pt x="337" y="49"/>
                    </a:cubicBezTo>
                    <a:cubicBezTo>
                      <a:pt x="335" y="43"/>
                      <a:pt x="335" y="43"/>
                      <a:pt x="335" y="43"/>
                    </a:cubicBezTo>
                    <a:cubicBezTo>
                      <a:pt x="335" y="43"/>
                      <a:pt x="328" y="39"/>
                      <a:pt x="328" y="34"/>
                    </a:cubicBezTo>
                    <a:cubicBezTo>
                      <a:pt x="329" y="29"/>
                      <a:pt x="332" y="27"/>
                      <a:pt x="332" y="27"/>
                    </a:cubicBezTo>
                    <a:cubicBezTo>
                      <a:pt x="332" y="17"/>
                      <a:pt x="332" y="17"/>
                      <a:pt x="332" y="17"/>
                    </a:cubicBezTo>
                    <a:cubicBezTo>
                      <a:pt x="329" y="14"/>
                      <a:pt x="329" y="14"/>
                      <a:pt x="329" y="14"/>
                    </a:cubicBezTo>
                    <a:cubicBezTo>
                      <a:pt x="322" y="14"/>
                      <a:pt x="322" y="14"/>
                      <a:pt x="322" y="14"/>
                    </a:cubicBezTo>
                    <a:cubicBezTo>
                      <a:pt x="320" y="11"/>
                      <a:pt x="320" y="11"/>
                      <a:pt x="320" y="11"/>
                    </a:cubicBezTo>
                    <a:cubicBezTo>
                      <a:pt x="309" y="8"/>
                      <a:pt x="309" y="8"/>
                      <a:pt x="309" y="8"/>
                    </a:cubicBezTo>
                    <a:cubicBezTo>
                      <a:pt x="307" y="13"/>
                      <a:pt x="307" y="13"/>
                      <a:pt x="307" y="13"/>
                    </a:cubicBezTo>
                    <a:cubicBezTo>
                      <a:pt x="293" y="14"/>
                      <a:pt x="293" y="14"/>
                      <a:pt x="293" y="14"/>
                    </a:cubicBezTo>
                    <a:cubicBezTo>
                      <a:pt x="293" y="14"/>
                      <a:pt x="288" y="6"/>
                      <a:pt x="283" y="6"/>
                    </a:cubicBezTo>
                    <a:cubicBezTo>
                      <a:pt x="279" y="6"/>
                      <a:pt x="277" y="7"/>
                      <a:pt x="277" y="7"/>
                    </a:cubicBezTo>
                    <a:cubicBezTo>
                      <a:pt x="277" y="7"/>
                      <a:pt x="268" y="2"/>
                      <a:pt x="267" y="2"/>
                    </a:cubicBezTo>
                    <a:cubicBezTo>
                      <a:pt x="266" y="2"/>
                      <a:pt x="259" y="0"/>
                      <a:pt x="259" y="0"/>
                    </a:cubicBezTo>
                    <a:cubicBezTo>
                      <a:pt x="259" y="0"/>
                      <a:pt x="258" y="1"/>
                      <a:pt x="256" y="2"/>
                    </a:cubicBezTo>
                    <a:cubicBezTo>
                      <a:pt x="253" y="2"/>
                      <a:pt x="251" y="0"/>
                      <a:pt x="251" y="0"/>
                    </a:cubicBezTo>
                    <a:cubicBezTo>
                      <a:pt x="245" y="0"/>
                      <a:pt x="245" y="0"/>
                      <a:pt x="245" y="0"/>
                    </a:cubicBezTo>
                    <a:cubicBezTo>
                      <a:pt x="244" y="17"/>
                      <a:pt x="244" y="17"/>
                      <a:pt x="244" y="17"/>
                    </a:cubicBezTo>
                    <a:cubicBezTo>
                      <a:pt x="237" y="14"/>
                      <a:pt x="237" y="14"/>
                      <a:pt x="237" y="14"/>
                    </a:cubicBezTo>
                    <a:cubicBezTo>
                      <a:pt x="237" y="14"/>
                      <a:pt x="233" y="18"/>
                      <a:pt x="232" y="20"/>
                    </a:cubicBezTo>
                    <a:cubicBezTo>
                      <a:pt x="232" y="22"/>
                      <a:pt x="235" y="28"/>
                      <a:pt x="234" y="28"/>
                    </a:cubicBezTo>
                    <a:cubicBezTo>
                      <a:pt x="232" y="28"/>
                      <a:pt x="228" y="26"/>
                      <a:pt x="228" y="26"/>
                    </a:cubicBezTo>
                    <a:cubicBezTo>
                      <a:pt x="225" y="26"/>
                      <a:pt x="225" y="26"/>
                      <a:pt x="225" y="26"/>
                    </a:cubicBezTo>
                    <a:cubicBezTo>
                      <a:pt x="222" y="25"/>
                      <a:pt x="222" y="25"/>
                      <a:pt x="222" y="25"/>
                    </a:cubicBezTo>
                    <a:cubicBezTo>
                      <a:pt x="217" y="31"/>
                      <a:pt x="217" y="31"/>
                      <a:pt x="217" y="31"/>
                    </a:cubicBezTo>
                    <a:cubicBezTo>
                      <a:pt x="207" y="29"/>
                      <a:pt x="207" y="29"/>
                      <a:pt x="207" y="29"/>
                    </a:cubicBezTo>
                    <a:cubicBezTo>
                      <a:pt x="204" y="27"/>
                      <a:pt x="204" y="27"/>
                      <a:pt x="204" y="27"/>
                    </a:cubicBezTo>
                    <a:cubicBezTo>
                      <a:pt x="205" y="25"/>
                      <a:pt x="205" y="25"/>
                      <a:pt x="205" y="25"/>
                    </a:cubicBezTo>
                    <a:cubicBezTo>
                      <a:pt x="205" y="25"/>
                      <a:pt x="202" y="20"/>
                      <a:pt x="201" y="19"/>
                    </a:cubicBezTo>
                    <a:cubicBezTo>
                      <a:pt x="199" y="19"/>
                      <a:pt x="197" y="17"/>
                      <a:pt x="197" y="17"/>
                    </a:cubicBezTo>
                    <a:cubicBezTo>
                      <a:pt x="193" y="18"/>
                      <a:pt x="193" y="18"/>
                      <a:pt x="193" y="18"/>
                    </a:cubicBezTo>
                    <a:cubicBezTo>
                      <a:pt x="193" y="19"/>
                      <a:pt x="194" y="19"/>
                      <a:pt x="194" y="20"/>
                    </a:cubicBezTo>
                    <a:cubicBezTo>
                      <a:pt x="194" y="25"/>
                      <a:pt x="192" y="30"/>
                      <a:pt x="190" y="33"/>
                    </a:cubicBezTo>
                    <a:cubicBezTo>
                      <a:pt x="184" y="29"/>
                      <a:pt x="181" y="29"/>
                      <a:pt x="177" y="31"/>
                    </a:cubicBezTo>
                    <a:cubicBezTo>
                      <a:pt x="179" y="35"/>
                      <a:pt x="176" y="48"/>
                      <a:pt x="169" y="48"/>
                    </a:cubicBezTo>
                    <a:cubicBezTo>
                      <a:pt x="166" y="48"/>
                      <a:pt x="163" y="49"/>
                      <a:pt x="160" y="50"/>
                    </a:cubicBezTo>
                    <a:cubicBezTo>
                      <a:pt x="158" y="51"/>
                      <a:pt x="153" y="59"/>
                      <a:pt x="149" y="60"/>
                    </a:cubicBezTo>
                    <a:cubicBezTo>
                      <a:pt x="145" y="62"/>
                      <a:pt x="151" y="65"/>
                      <a:pt x="152" y="67"/>
                    </a:cubicBezTo>
                    <a:cubicBezTo>
                      <a:pt x="153" y="70"/>
                      <a:pt x="156" y="70"/>
                      <a:pt x="158" y="74"/>
                    </a:cubicBezTo>
                    <a:cubicBezTo>
                      <a:pt x="162" y="80"/>
                      <a:pt x="157" y="81"/>
                      <a:pt x="156" y="88"/>
                    </a:cubicBezTo>
                    <a:cubicBezTo>
                      <a:pt x="161" y="86"/>
                      <a:pt x="162" y="88"/>
                      <a:pt x="164" y="91"/>
                    </a:cubicBezTo>
                    <a:cubicBezTo>
                      <a:pt x="164" y="92"/>
                      <a:pt x="163" y="100"/>
                      <a:pt x="162" y="102"/>
                    </a:cubicBezTo>
                    <a:cubicBezTo>
                      <a:pt x="160" y="104"/>
                      <a:pt x="151" y="100"/>
                      <a:pt x="150" y="98"/>
                    </a:cubicBezTo>
                    <a:cubicBezTo>
                      <a:pt x="149" y="97"/>
                      <a:pt x="150" y="91"/>
                      <a:pt x="151" y="90"/>
                    </a:cubicBezTo>
                    <a:cubicBezTo>
                      <a:pt x="144" y="86"/>
                      <a:pt x="143" y="97"/>
                      <a:pt x="139" y="94"/>
                    </a:cubicBezTo>
                    <a:cubicBezTo>
                      <a:pt x="134" y="91"/>
                      <a:pt x="131" y="89"/>
                      <a:pt x="126" y="91"/>
                    </a:cubicBezTo>
                    <a:cubicBezTo>
                      <a:pt x="126" y="85"/>
                      <a:pt x="126" y="85"/>
                      <a:pt x="126" y="85"/>
                    </a:cubicBezTo>
                    <a:cubicBezTo>
                      <a:pt x="119" y="90"/>
                      <a:pt x="127" y="92"/>
                      <a:pt x="124" y="95"/>
                    </a:cubicBezTo>
                    <a:cubicBezTo>
                      <a:pt x="123" y="96"/>
                      <a:pt x="112" y="95"/>
                      <a:pt x="110" y="95"/>
                    </a:cubicBezTo>
                    <a:cubicBezTo>
                      <a:pt x="107" y="96"/>
                      <a:pt x="102" y="96"/>
                      <a:pt x="98" y="97"/>
                    </a:cubicBezTo>
                    <a:cubicBezTo>
                      <a:pt x="96" y="98"/>
                      <a:pt x="90" y="102"/>
                      <a:pt x="88" y="105"/>
                    </a:cubicBezTo>
                    <a:cubicBezTo>
                      <a:pt x="88" y="105"/>
                      <a:pt x="90" y="106"/>
                      <a:pt x="90" y="107"/>
                    </a:cubicBezTo>
                    <a:cubicBezTo>
                      <a:pt x="85" y="105"/>
                      <a:pt x="84" y="109"/>
                      <a:pt x="80" y="110"/>
                    </a:cubicBezTo>
                    <a:cubicBezTo>
                      <a:pt x="81" y="107"/>
                      <a:pt x="81" y="107"/>
                      <a:pt x="81" y="107"/>
                    </a:cubicBezTo>
                    <a:cubicBezTo>
                      <a:pt x="78" y="109"/>
                      <a:pt x="74" y="110"/>
                      <a:pt x="69" y="110"/>
                    </a:cubicBezTo>
                    <a:cubicBezTo>
                      <a:pt x="69" y="107"/>
                      <a:pt x="67" y="105"/>
                      <a:pt x="65" y="104"/>
                    </a:cubicBezTo>
                    <a:cubicBezTo>
                      <a:pt x="66" y="102"/>
                      <a:pt x="67" y="101"/>
                      <a:pt x="65" y="100"/>
                    </a:cubicBezTo>
                    <a:cubicBezTo>
                      <a:pt x="66" y="100"/>
                      <a:pt x="53" y="97"/>
                      <a:pt x="51" y="99"/>
                    </a:cubicBezTo>
                    <a:cubicBezTo>
                      <a:pt x="49" y="104"/>
                      <a:pt x="47" y="97"/>
                      <a:pt x="48" y="97"/>
                    </a:cubicBezTo>
                    <a:cubicBezTo>
                      <a:pt x="44" y="99"/>
                      <a:pt x="48" y="102"/>
                      <a:pt x="48" y="107"/>
                    </a:cubicBezTo>
                    <a:cubicBezTo>
                      <a:pt x="47" y="112"/>
                      <a:pt x="38" y="116"/>
                      <a:pt x="34" y="117"/>
                    </a:cubicBezTo>
                    <a:cubicBezTo>
                      <a:pt x="34" y="116"/>
                      <a:pt x="38" y="111"/>
                      <a:pt x="35" y="110"/>
                    </a:cubicBezTo>
                    <a:cubicBezTo>
                      <a:pt x="34" y="109"/>
                      <a:pt x="31" y="111"/>
                      <a:pt x="31" y="112"/>
                    </a:cubicBezTo>
                    <a:cubicBezTo>
                      <a:pt x="29" y="107"/>
                      <a:pt x="30" y="107"/>
                      <a:pt x="27" y="104"/>
                    </a:cubicBezTo>
                    <a:cubicBezTo>
                      <a:pt x="24" y="101"/>
                      <a:pt x="19" y="97"/>
                      <a:pt x="18" y="97"/>
                    </a:cubicBezTo>
                    <a:cubicBezTo>
                      <a:pt x="14" y="95"/>
                      <a:pt x="16" y="100"/>
                      <a:pt x="12" y="100"/>
                    </a:cubicBezTo>
                    <a:cubicBezTo>
                      <a:pt x="11" y="100"/>
                      <a:pt x="11" y="100"/>
                      <a:pt x="10" y="99"/>
                    </a:cubicBezTo>
                    <a:cubicBezTo>
                      <a:pt x="10" y="107"/>
                      <a:pt x="10" y="107"/>
                      <a:pt x="10" y="107"/>
                    </a:cubicBezTo>
                    <a:cubicBezTo>
                      <a:pt x="10" y="110"/>
                      <a:pt x="0" y="120"/>
                      <a:pt x="0" y="120"/>
                    </a:cubicBezTo>
                    <a:cubicBezTo>
                      <a:pt x="3" y="120"/>
                      <a:pt x="3" y="120"/>
                      <a:pt x="3" y="120"/>
                    </a:cubicBezTo>
                    <a:cubicBezTo>
                      <a:pt x="5" y="129"/>
                      <a:pt x="5" y="129"/>
                      <a:pt x="5" y="129"/>
                    </a:cubicBezTo>
                    <a:cubicBezTo>
                      <a:pt x="2" y="130"/>
                      <a:pt x="2" y="130"/>
                      <a:pt x="2" y="130"/>
                    </a:cubicBezTo>
                    <a:cubicBezTo>
                      <a:pt x="18" y="133"/>
                      <a:pt x="18" y="133"/>
                      <a:pt x="18" y="133"/>
                    </a:cubicBezTo>
                    <a:cubicBezTo>
                      <a:pt x="18" y="133"/>
                      <a:pt x="16" y="139"/>
                      <a:pt x="17" y="140"/>
                    </a:cubicBezTo>
                    <a:cubicBezTo>
                      <a:pt x="18" y="142"/>
                      <a:pt x="22" y="141"/>
                      <a:pt x="22" y="141"/>
                    </a:cubicBezTo>
                    <a:cubicBezTo>
                      <a:pt x="22" y="141"/>
                      <a:pt x="29" y="146"/>
                      <a:pt x="32" y="144"/>
                    </a:cubicBezTo>
                    <a:cubicBezTo>
                      <a:pt x="35" y="143"/>
                      <a:pt x="41" y="136"/>
                      <a:pt x="41" y="136"/>
                    </a:cubicBezTo>
                    <a:cubicBezTo>
                      <a:pt x="46" y="140"/>
                      <a:pt x="46" y="140"/>
                      <a:pt x="46" y="140"/>
                    </a:cubicBezTo>
                    <a:cubicBezTo>
                      <a:pt x="45" y="146"/>
                      <a:pt x="45" y="146"/>
                      <a:pt x="45" y="146"/>
                    </a:cubicBezTo>
                    <a:cubicBezTo>
                      <a:pt x="48" y="146"/>
                      <a:pt x="48" y="146"/>
                      <a:pt x="48" y="146"/>
                    </a:cubicBezTo>
                    <a:cubicBezTo>
                      <a:pt x="48" y="146"/>
                      <a:pt x="50" y="142"/>
                      <a:pt x="53" y="143"/>
                    </a:cubicBezTo>
                    <a:cubicBezTo>
                      <a:pt x="57" y="145"/>
                      <a:pt x="57" y="149"/>
                      <a:pt x="57" y="149"/>
                    </a:cubicBezTo>
                    <a:cubicBezTo>
                      <a:pt x="69" y="152"/>
                      <a:pt x="69" y="152"/>
                      <a:pt x="69" y="152"/>
                    </a:cubicBezTo>
                    <a:cubicBezTo>
                      <a:pt x="73" y="147"/>
                      <a:pt x="73" y="147"/>
                      <a:pt x="73" y="147"/>
                    </a:cubicBezTo>
                    <a:cubicBezTo>
                      <a:pt x="73" y="147"/>
                      <a:pt x="67" y="139"/>
                      <a:pt x="76" y="138"/>
                    </a:cubicBezTo>
                    <a:cubicBezTo>
                      <a:pt x="85" y="137"/>
                      <a:pt x="87" y="138"/>
                      <a:pt x="87" y="138"/>
                    </a:cubicBezTo>
                    <a:cubicBezTo>
                      <a:pt x="90" y="133"/>
                      <a:pt x="90" y="133"/>
                      <a:pt x="90" y="133"/>
                    </a:cubicBezTo>
                    <a:cubicBezTo>
                      <a:pt x="104" y="139"/>
                      <a:pt x="104" y="139"/>
                      <a:pt x="104" y="139"/>
                    </a:cubicBezTo>
                    <a:cubicBezTo>
                      <a:pt x="113" y="130"/>
                      <a:pt x="113" y="130"/>
                      <a:pt x="113" y="130"/>
                    </a:cubicBezTo>
                    <a:cubicBezTo>
                      <a:pt x="117" y="132"/>
                      <a:pt x="117" y="132"/>
                      <a:pt x="117" y="132"/>
                    </a:cubicBezTo>
                    <a:cubicBezTo>
                      <a:pt x="117" y="132"/>
                      <a:pt x="123" y="126"/>
                      <a:pt x="125" y="128"/>
                    </a:cubicBezTo>
                    <a:cubicBezTo>
                      <a:pt x="127" y="130"/>
                      <a:pt x="120" y="134"/>
                      <a:pt x="120" y="134"/>
                    </a:cubicBezTo>
                    <a:cubicBezTo>
                      <a:pt x="123" y="143"/>
                      <a:pt x="123" y="143"/>
                      <a:pt x="123" y="143"/>
                    </a:cubicBezTo>
                    <a:cubicBezTo>
                      <a:pt x="123" y="143"/>
                      <a:pt x="125" y="141"/>
                      <a:pt x="127" y="142"/>
                    </a:cubicBezTo>
                    <a:cubicBezTo>
                      <a:pt x="129" y="143"/>
                      <a:pt x="128" y="147"/>
                      <a:pt x="128" y="147"/>
                    </a:cubicBezTo>
                    <a:cubicBezTo>
                      <a:pt x="131" y="148"/>
                      <a:pt x="131" y="148"/>
                      <a:pt x="131" y="148"/>
                    </a:cubicBezTo>
                    <a:cubicBezTo>
                      <a:pt x="134" y="156"/>
                      <a:pt x="134" y="156"/>
                      <a:pt x="134" y="156"/>
                    </a:cubicBezTo>
                    <a:cubicBezTo>
                      <a:pt x="151" y="157"/>
                      <a:pt x="151" y="157"/>
                      <a:pt x="151" y="157"/>
                    </a:cubicBezTo>
                    <a:cubicBezTo>
                      <a:pt x="153" y="160"/>
                      <a:pt x="153" y="160"/>
                      <a:pt x="153" y="160"/>
                    </a:cubicBezTo>
                    <a:cubicBezTo>
                      <a:pt x="169" y="160"/>
                      <a:pt x="169" y="160"/>
                      <a:pt x="169" y="160"/>
                    </a:cubicBezTo>
                    <a:cubicBezTo>
                      <a:pt x="172" y="163"/>
                      <a:pt x="172" y="163"/>
                      <a:pt x="172" y="163"/>
                    </a:cubicBezTo>
                    <a:cubicBezTo>
                      <a:pt x="178" y="161"/>
                      <a:pt x="178" y="161"/>
                      <a:pt x="178" y="161"/>
                    </a:cubicBezTo>
                    <a:cubicBezTo>
                      <a:pt x="197" y="165"/>
                      <a:pt x="197" y="165"/>
                      <a:pt x="197" y="165"/>
                    </a:cubicBezTo>
                    <a:cubicBezTo>
                      <a:pt x="202" y="164"/>
                      <a:pt x="202" y="164"/>
                      <a:pt x="202" y="164"/>
                    </a:cubicBezTo>
                    <a:cubicBezTo>
                      <a:pt x="212" y="167"/>
                      <a:pt x="212" y="167"/>
                      <a:pt x="212" y="167"/>
                    </a:cubicBezTo>
                    <a:cubicBezTo>
                      <a:pt x="214" y="170"/>
                      <a:pt x="214" y="170"/>
                      <a:pt x="214" y="170"/>
                    </a:cubicBezTo>
                    <a:cubicBezTo>
                      <a:pt x="225" y="168"/>
                      <a:pt x="225" y="168"/>
                      <a:pt x="225" y="168"/>
                    </a:cubicBezTo>
                    <a:cubicBezTo>
                      <a:pt x="232" y="171"/>
                      <a:pt x="232" y="171"/>
                      <a:pt x="232" y="171"/>
                    </a:cubicBezTo>
                    <a:cubicBezTo>
                      <a:pt x="238" y="164"/>
                      <a:pt x="238" y="164"/>
                      <a:pt x="238" y="164"/>
                    </a:cubicBezTo>
                    <a:cubicBezTo>
                      <a:pt x="238" y="164"/>
                      <a:pt x="241" y="164"/>
                      <a:pt x="243" y="163"/>
                    </a:cubicBezTo>
                    <a:cubicBezTo>
                      <a:pt x="245" y="162"/>
                      <a:pt x="244" y="156"/>
                      <a:pt x="247" y="156"/>
                    </a:cubicBezTo>
                    <a:cubicBezTo>
                      <a:pt x="251" y="155"/>
                      <a:pt x="256" y="153"/>
                      <a:pt x="256" y="153"/>
                    </a:cubicBezTo>
                    <a:cubicBezTo>
                      <a:pt x="262" y="154"/>
                      <a:pt x="262" y="154"/>
                      <a:pt x="262" y="154"/>
                    </a:cubicBezTo>
                    <a:cubicBezTo>
                      <a:pt x="262" y="154"/>
                      <a:pt x="267" y="151"/>
                      <a:pt x="270" y="152"/>
                    </a:cubicBezTo>
                    <a:cubicBezTo>
                      <a:pt x="273" y="152"/>
                      <a:pt x="275" y="154"/>
                      <a:pt x="275" y="154"/>
                    </a:cubicBezTo>
                    <a:cubicBezTo>
                      <a:pt x="279" y="149"/>
                      <a:pt x="279" y="149"/>
                      <a:pt x="279" y="149"/>
                    </a:cubicBezTo>
                    <a:cubicBezTo>
                      <a:pt x="279" y="149"/>
                      <a:pt x="279" y="147"/>
                      <a:pt x="287" y="147"/>
                    </a:cubicBezTo>
                    <a:cubicBezTo>
                      <a:pt x="293" y="146"/>
                      <a:pt x="295" y="149"/>
                      <a:pt x="295" y="149"/>
                    </a:cubicBezTo>
                    <a:cubicBezTo>
                      <a:pt x="298" y="147"/>
                      <a:pt x="298" y="147"/>
                      <a:pt x="298" y="147"/>
                    </a:cubicBezTo>
                    <a:cubicBezTo>
                      <a:pt x="298" y="147"/>
                      <a:pt x="294" y="144"/>
                      <a:pt x="296" y="140"/>
                    </a:cubicBezTo>
                    <a:cubicBezTo>
                      <a:pt x="298" y="136"/>
                      <a:pt x="300" y="137"/>
                      <a:pt x="300" y="137"/>
                    </a:cubicBezTo>
                    <a:cubicBezTo>
                      <a:pt x="309" y="128"/>
                      <a:pt x="309" y="128"/>
                      <a:pt x="309" y="128"/>
                    </a:cubicBezTo>
                    <a:cubicBezTo>
                      <a:pt x="319" y="127"/>
                      <a:pt x="319" y="127"/>
                      <a:pt x="319" y="127"/>
                    </a:cubicBezTo>
                    <a:cubicBezTo>
                      <a:pt x="320" y="118"/>
                      <a:pt x="320" y="118"/>
                      <a:pt x="320" y="118"/>
                    </a:cubicBezTo>
                    <a:cubicBezTo>
                      <a:pt x="320" y="118"/>
                      <a:pt x="315" y="117"/>
                      <a:pt x="315" y="115"/>
                    </a:cubicBezTo>
                    <a:cubicBezTo>
                      <a:pt x="314" y="112"/>
                      <a:pt x="317" y="110"/>
                      <a:pt x="317" y="109"/>
                    </a:cubicBezTo>
                    <a:cubicBezTo>
                      <a:pt x="317" y="107"/>
                      <a:pt x="313" y="107"/>
                      <a:pt x="313" y="104"/>
                    </a:cubicBezTo>
                    <a:cubicBezTo>
                      <a:pt x="314" y="101"/>
                      <a:pt x="328" y="98"/>
                      <a:pt x="326" y="92"/>
                    </a:cubicBezTo>
                    <a:cubicBezTo>
                      <a:pt x="324" y="85"/>
                      <a:pt x="322" y="85"/>
                      <a:pt x="322" y="85"/>
                    </a:cubicBezTo>
                    <a:cubicBezTo>
                      <a:pt x="317" y="86"/>
                      <a:pt x="317" y="86"/>
                      <a:pt x="317" y="86"/>
                    </a:cubicBezTo>
                    <a:cubicBezTo>
                      <a:pt x="317" y="86"/>
                      <a:pt x="312" y="88"/>
                      <a:pt x="314" y="83"/>
                    </a:cubicBezTo>
                    <a:cubicBezTo>
                      <a:pt x="315" y="79"/>
                      <a:pt x="320" y="78"/>
                      <a:pt x="322" y="77"/>
                    </a:cubicBezTo>
                    <a:cubicBezTo>
                      <a:pt x="324" y="77"/>
                      <a:pt x="328" y="82"/>
                      <a:pt x="328" y="82"/>
                    </a:cubicBezTo>
                    <a:cubicBezTo>
                      <a:pt x="341" y="78"/>
                      <a:pt x="341" y="78"/>
                      <a:pt x="341" y="78"/>
                    </a:cubicBezTo>
                    <a:cubicBezTo>
                      <a:pt x="341" y="70"/>
                      <a:pt x="341" y="70"/>
                      <a:pt x="341" y="70"/>
                    </a:cubicBezTo>
                    <a:cubicBezTo>
                      <a:pt x="339" y="69"/>
                      <a:pt x="339" y="69"/>
                      <a:pt x="339" y="69"/>
                    </a:cubicBezTo>
                    <a:cubicBezTo>
                      <a:pt x="342" y="67"/>
                      <a:pt x="342" y="67"/>
                      <a:pt x="342" y="67"/>
                    </a:cubicBezTo>
                    <a:cubicBezTo>
                      <a:pt x="342" y="67"/>
                      <a:pt x="343" y="60"/>
                      <a:pt x="342" y="57"/>
                    </a:cubicBez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  <p:sp>
            <p:nvSpPr>
              <p:cNvPr id="165" name="Albania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802313" y="5097463"/>
                <a:ext cx="214312" cy="407987"/>
              </a:xfrm>
              <a:custGeom>
                <a:avLst/>
                <a:gdLst/>
                <a:ahLst/>
                <a:cxnLst>
                  <a:cxn ang="0">
                    <a:pos x="95" y="110"/>
                  </a:cxn>
                  <a:cxn ang="0">
                    <a:pos x="89" y="106"/>
                  </a:cxn>
                  <a:cxn ang="0">
                    <a:pos x="78" y="98"/>
                  </a:cxn>
                  <a:cxn ang="0">
                    <a:pos x="66" y="83"/>
                  </a:cxn>
                  <a:cxn ang="0">
                    <a:pos x="63" y="69"/>
                  </a:cxn>
                  <a:cxn ang="0">
                    <a:pos x="66" y="53"/>
                  </a:cxn>
                  <a:cxn ang="0">
                    <a:pos x="61" y="24"/>
                  </a:cxn>
                  <a:cxn ang="0">
                    <a:pos x="43" y="9"/>
                  </a:cxn>
                  <a:cxn ang="0">
                    <a:pos x="28" y="12"/>
                  </a:cxn>
                  <a:cxn ang="0">
                    <a:pos x="21" y="1"/>
                  </a:cxn>
                  <a:cxn ang="0">
                    <a:pos x="0" y="35"/>
                  </a:cxn>
                  <a:cxn ang="0">
                    <a:pos x="5" y="46"/>
                  </a:cxn>
                  <a:cxn ang="0">
                    <a:pos x="14" y="55"/>
                  </a:cxn>
                  <a:cxn ang="0">
                    <a:pos x="21" y="69"/>
                  </a:cxn>
                  <a:cxn ang="0">
                    <a:pos x="13" y="71"/>
                  </a:cxn>
                  <a:cxn ang="0">
                    <a:pos x="11" y="85"/>
                  </a:cxn>
                  <a:cxn ang="0">
                    <a:pos x="18" y="92"/>
                  </a:cxn>
                  <a:cxn ang="0">
                    <a:pos x="16" y="108"/>
                  </a:cxn>
                  <a:cxn ang="0">
                    <a:pos x="14" y="113"/>
                  </a:cxn>
                  <a:cxn ang="0">
                    <a:pos x="15" y="119"/>
                  </a:cxn>
                  <a:cxn ang="0">
                    <a:pos x="12" y="130"/>
                  </a:cxn>
                  <a:cxn ang="0">
                    <a:pos x="19" y="138"/>
                  </a:cxn>
                  <a:cxn ang="0">
                    <a:pos x="16" y="141"/>
                  </a:cxn>
                  <a:cxn ang="0">
                    <a:pos x="19" y="153"/>
                  </a:cxn>
                  <a:cxn ang="0">
                    <a:pos x="16" y="146"/>
                  </a:cxn>
                  <a:cxn ang="0">
                    <a:pos x="12" y="147"/>
                  </a:cxn>
                  <a:cxn ang="0">
                    <a:pos x="33" y="164"/>
                  </a:cxn>
                  <a:cxn ang="0">
                    <a:pos x="41" y="169"/>
                  </a:cxn>
                  <a:cxn ang="0">
                    <a:pos x="47" y="179"/>
                  </a:cxn>
                  <a:cxn ang="0">
                    <a:pos x="52" y="190"/>
                  </a:cxn>
                  <a:cxn ang="0">
                    <a:pos x="67" y="187"/>
                  </a:cxn>
                  <a:cxn ang="0">
                    <a:pos x="72" y="181"/>
                  </a:cxn>
                  <a:cxn ang="0">
                    <a:pos x="66" y="171"/>
                  </a:cxn>
                  <a:cxn ang="0">
                    <a:pos x="73" y="163"/>
                  </a:cxn>
                  <a:cxn ang="0">
                    <a:pos x="85" y="149"/>
                  </a:cxn>
                  <a:cxn ang="0">
                    <a:pos x="90" y="135"/>
                  </a:cxn>
                  <a:cxn ang="0">
                    <a:pos x="100" y="125"/>
                  </a:cxn>
                </a:cxnLst>
                <a:rect l="0" t="0" r="r" b="b"/>
                <a:pathLst>
                  <a:path w="100" h="192">
                    <a:moveTo>
                      <a:pt x="95" y="117"/>
                    </a:moveTo>
                    <a:cubicBezTo>
                      <a:pt x="95" y="110"/>
                      <a:pt x="95" y="110"/>
                      <a:pt x="95" y="110"/>
                    </a:cubicBezTo>
                    <a:cubicBezTo>
                      <a:pt x="94" y="107"/>
                      <a:pt x="94" y="107"/>
                      <a:pt x="94" y="107"/>
                    </a:cubicBezTo>
                    <a:cubicBezTo>
                      <a:pt x="89" y="106"/>
                      <a:pt x="89" y="106"/>
                      <a:pt x="89" y="106"/>
                    </a:cubicBezTo>
                    <a:cubicBezTo>
                      <a:pt x="82" y="110"/>
                      <a:pt x="82" y="110"/>
                      <a:pt x="82" y="110"/>
                    </a:cubicBezTo>
                    <a:cubicBezTo>
                      <a:pt x="78" y="98"/>
                      <a:pt x="78" y="98"/>
                      <a:pt x="78" y="98"/>
                    </a:cubicBezTo>
                    <a:cubicBezTo>
                      <a:pt x="73" y="97"/>
                      <a:pt x="73" y="97"/>
                      <a:pt x="73" y="97"/>
                    </a:cubicBezTo>
                    <a:cubicBezTo>
                      <a:pt x="66" y="83"/>
                      <a:pt x="66" y="83"/>
                      <a:pt x="66" y="83"/>
                    </a:cubicBezTo>
                    <a:cubicBezTo>
                      <a:pt x="70" y="78"/>
                      <a:pt x="70" y="78"/>
                      <a:pt x="70" y="78"/>
                    </a:cubicBezTo>
                    <a:cubicBezTo>
                      <a:pt x="63" y="69"/>
                      <a:pt x="63" y="69"/>
                      <a:pt x="63" y="69"/>
                    </a:cubicBezTo>
                    <a:cubicBezTo>
                      <a:pt x="68" y="65"/>
                      <a:pt x="68" y="65"/>
                      <a:pt x="68" y="65"/>
                    </a:cubicBezTo>
                    <a:cubicBezTo>
                      <a:pt x="66" y="53"/>
                      <a:pt x="66" y="53"/>
                      <a:pt x="66" y="53"/>
                    </a:cubicBezTo>
                    <a:cubicBezTo>
                      <a:pt x="68" y="39"/>
                      <a:pt x="68" y="39"/>
                      <a:pt x="68" y="39"/>
                    </a:cubicBezTo>
                    <a:cubicBezTo>
                      <a:pt x="68" y="39"/>
                      <a:pt x="65" y="29"/>
                      <a:pt x="61" y="24"/>
                    </a:cubicBezTo>
                    <a:cubicBezTo>
                      <a:pt x="57" y="20"/>
                      <a:pt x="46" y="19"/>
                      <a:pt x="46" y="19"/>
                    </a:cubicBezTo>
                    <a:cubicBezTo>
                      <a:pt x="46" y="19"/>
                      <a:pt x="45" y="12"/>
                      <a:pt x="43" y="9"/>
                    </a:cubicBezTo>
                    <a:cubicBezTo>
                      <a:pt x="41" y="7"/>
                      <a:pt x="38" y="5"/>
                      <a:pt x="38" y="5"/>
                    </a:cubicBezTo>
                    <a:cubicBezTo>
                      <a:pt x="28" y="12"/>
                      <a:pt x="28" y="12"/>
                      <a:pt x="28" y="12"/>
                    </a:cubicBezTo>
                    <a:cubicBezTo>
                      <a:pt x="21" y="8"/>
                      <a:pt x="21" y="8"/>
                      <a:pt x="21" y="8"/>
                    </a:cubicBezTo>
                    <a:cubicBezTo>
                      <a:pt x="21" y="1"/>
                      <a:pt x="21" y="1"/>
                      <a:pt x="21" y="1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3" y="36"/>
                      <a:pt x="3" y="36"/>
                      <a:pt x="3" y="36"/>
                    </a:cubicBezTo>
                    <a:cubicBezTo>
                      <a:pt x="5" y="46"/>
                      <a:pt x="5" y="46"/>
                      <a:pt x="5" y="46"/>
                    </a:cubicBezTo>
                    <a:cubicBezTo>
                      <a:pt x="6" y="54"/>
                      <a:pt x="6" y="54"/>
                      <a:pt x="6" y="54"/>
                    </a:cubicBezTo>
                    <a:cubicBezTo>
                      <a:pt x="6" y="54"/>
                      <a:pt x="9" y="54"/>
                      <a:pt x="14" y="55"/>
                    </a:cubicBezTo>
                    <a:cubicBezTo>
                      <a:pt x="19" y="56"/>
                      <a:pt x="17" y="60"/>
                      <a:pt x="17" y="60"/>
                    </a:cubicBezTo>
                    <a:cubicBezTo>
                      <a:pt x="21" y="69"/>
                      <a:pt x="21" y="69"/>
                      <a:pt x="21" y="69"/>
                    </a:cubicBezTo>
                    <a:cubicBezTo>
                      <a:pt x="18" y="71"/>
                      <a:pt x="18" y="71"/>
                      <a:pt x="18" y="71"/>
                    </a:cubicBezTo>
                    <a:cubicBezTo>
                      <a:pt x="13" y="71"/>
                      <a:pt x="13" y="71"/>
                      <a:pt x="13" y="71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6" y="80"/>
                      <a:pt x="11" y="80"/>
                      <a:pt x="11" y="85"/>
                    </a:cubicBezTo>
                    <a:cubicBezTo>
                      <a:pt x="12" y="91"/>
                      <a:pt x="13" y="91"/>
                      <a:pt x="13" y="91"/>
                    </a:cubicBezTo>
                    <a:cubicBezTo>
                      <a:pt x="13" y="91"/>
                      <a:pt x="18" y="90"/>
                      <a:pt x="18" y="92"/>
                    </a:cubicBezTo>
                    <a:cubicBezTo>
                      <a:pt x="18" y="94"/>
                      <a:pt x="14" y="100"/>
                      <a:pt x="14" y="100"/>
                    </a:cubicBezTo>
                    <a:cubicBezTo>
                      <a:pt x="16" y="108"/>
                      <a:pt x="16" y="108"/>
                      <a:pt x="16" y="108"/>
                    </a:cubicBezTo>
                    <a:cubicBezTo>
                      <a:pt x="16" y="108"/>
                      <a:pt x="23" y="111"/>
                      <a:pt x="21" y="113"/>
                    </a:cubicBezTo>
                    <a:cubicBezTo>
                      <a:pt x="18" y="115"/>
                      <a:pt x="14" y="113"/>
                      <a:pt x="14" y="113"/>
                    </a:cubicBezTo>
                    <a:cubicBezTo>
                      <a:pt x="12" y="116"/>
                      <a:pt x="12" y="116"/>
                      <a:pt x="12" y="116"/>
                    </a:cubicBezTo>
                    <a:cubicBezTo>
                      <a:pt x="15" y="119"/>
                      <a:pt x="15" y="119"/>
                      <a:pt x="15" y="119"/>
                    </a:cubicBezTo>
                    <a:cubicBezTo>
                      <a:pt x="14" y="127"/>
                      <a:pt x="14" y="127"/>
                      <a:pt x="14" y="127"/>
                    </a:cubicBezTo>
                    <a:cubicBezTo>
                      <a:pt x="12" y="130"/>
                      <a:pt x="12" y="130"/>
                      <a:pt x="12" y="130"/>
                    </a:cubicBezTo>
                    <a:cubicBezTo>
                      <a:pt x="14" y="137"/>
                      <a:pt x="14" y="137"/>
                      <a:pt x="14" y="137"/>
                    </a:cubicBezTo>
                    <a:cubicBezTo>
                      <a:pt x="14" y="137"/>
                      <a:pt x="19" y="134"/>
                      <a:pt x="19" y="138"/>
                    </a:cubicBezTo>
                    <a:cubicBezTo>
                      <a:pt x="19" y="140"/>
                      <a:pt x="16" y="140"/>
                      <a:pt x="16" y="140"/>
                    </a:cubicBezTo>
                    <a:cubicBezTo>
                      <a:pt x="16" y="141"/>
                      <a:pt x="16" y="141"/>
                      <a:pt x="16" y="141"/>
                    </a:cubicBezTo>
                    <a:cubicBezTo>
                      <a:pt x="16" y="141"/>
                      <a:pt x="23" y="142"/>
                      <a:pt x="22" y="147"/>
                    </a:cubicBezTo>
                    <a:cubicBezTo>
                      <a:pt x="21" y="154"/>
                      <a:pt x="19" y="153"/>
                      <a:pt x="19" y="153"/>
                    </a:cubicBezTo>
                    <a:cubicBezTo>
                      <a:pt x="19" y="153"/>
                      <a:pt x="17" y="152"/>
                      <a:pt x="17" y="150"/>
                    </a:cubicBezTo>
                    <a:cubicBezTo>
                      <a:pt x="16" y="148"/>
                      <a:pt x="16" y="146"/>
                      <a:pt x="16" y="146"/>
                    </a:cubicBezTo>
                    <a:cubicBezTo>
                      <a:pt x="12" y="145"/>
                      <a:pt x="12" y="145"/>
                      <a:pt x="12" y="145"/>
                    </a:cubicBezTo>
                    <a:cubicBezTo>
                      <a:pt x="12" y="147"/>
                      <a:pt x="12" y="147"/>
                      <a:pt x="12" y="147"/>
                    </a:cubicBezTo>
                    <a:cubicBezTo>
                      <a:pt x="12" y="147"/>
                      <a:pt x="16" y="156"/>
                      <a:pt x="21" y="159"/>
                    </a:cubicBezTo>
                    <a:cubicBezTo>
                      <a:pt x="25" y="162"/>
                      <a:pt x="30" y="164"/>
                      <a:pt x="33" y="164"/>
                    </a:cubicBezTo>
                    <a:cubicBezTo>
                      <a:pt x="38" y="164"/>
                      <a:pt x="38" y="164"/>
                      <a:pt x="38" y="164"/>
                    </a:cubicBezTo>
                    <a:cubicBezTo>
                      <a:pt x="41" y="169"/>
                      <a:pt x="41" y="169"/>
                      <a:pt x="41" y="169"/>
                    </a:cubicBezTo>
                    <a:cubicBezTo>
                      <a:pt x="46" y="169"/>
                      <a:pt x="46" y="169"/>
                      <a:pt x="46" y="169"/>
                    </a:cubicBezTo>
                    <a:cubicBezTo>
                      <a:pt x="47" y="179"/>
                      <a:pt x="47" y="179"/>
                      <a:pt x="47" y="179"/>
                    </a:cubicBezTo>
                    <a:cubicBezTo>
                      <a:pt x="52" y="180"/>
                      <a:pt x="52" y="180"/>
                      <a:pt x="52" y="180"/>
                    </a:cubicBezTo>
                    <a:cubicBezTo>
                      <a:pt x="52" y="190"/>
                      <a:pt x="52" y="190"/>
                      <a:pt x="52" y="190"/>
                    </a:cubicBezTo>
                    <a:cubicBezTo>
                      <a:pt x="52" y="190"/>
                      <a:pt x="59" y="192"/>
                      <a:pt x="60" y="192"/>
                    </a:cubicBezTo>
                    <a:cubicBezTo>
                      <a:pt x="62" y="192"/>
                      <a:pt x="67" y="187"/>
                      <a:pt x="67" y="187"/>
                    </a:cubicBezTo>
                    <a:cubicBezTo>
                      <a:pt x="67" y="187"/>
                      <a:pt x="66" y="184"/>
                      <a:pt x="67" y="181"/>
                    </a:cubicBezTo>
                    <a:cubicBezTo>
                      <a:pt x="67" y="180"/>
                      <a:pt x="72" y="181"/>
                      <a:pt x="72" y="181"/>
                    </a:cubicBezTo>
                    <a:cubicBezTo>
                      <a:pt x="71" y="177"/>
                      <a:pt x="71" y="177"/>
                      <a:pt x="71" y="177"/>
                    </a:cubicBezTo>
                    <a:cubicBezTo>
                      <a:pt x="71" y="177"/>
                      <a:pt x="65" y="174"/>
                      <a:pt x="66" y="171"/>
                    </a:cubicBezTo>
                    <a:cubicBezTo>
                      <a:pt x="67" y="166"/>
                      <a:pt x="71" y="168"/>
                      <a:pt x="71" y="168"/>
                    </a:cubicBezTo>
                    <a:cubicBezTo>
                      <a:pt x="71" y="168"/>
                      <a:pt x="70" y="164"/>
                      <a:pt x="73" y="163"/>
                    </a:cubicBezTo>
                    <a:cubicBezTo>
                      <a:pt x="76" y="162"/>
                      <a:pt x="78" y="165"/>
                      <a:pt x="83" y="161"/>
                    </a:cubicBezTo>
                    <a:cubicBezTo>
                      <a:pt x="88" y="156"/>
                      <a:pt x="85" y="149"/>
                      <a:pt x="85" y="149"/>
                    </a:cubicBezTo>
                    <a:cubicBezTo>
                      <a:pt x="89" y="144"/>
                      <a:pt x="89" y="144"/>
                      <a:pt x="89" y="144"/>
                    </a:cubicBezTo>
                    <a:cubicBezTo>
                      <a:pt x="89" y="144"/>
                      <a:pt x="87" y="138"/>
                      <a:pt x="90" y="135"/>
                    </a:cubicBezTo>
                    <a:cubicBezTo>
                      <a:pt x="92" y="134"/>
                      <a:pt x="95" y="134"/>
                      <a:pt x="95" y="134"/>
                    </a:cubicBezTo>
                    <a:cubicBezTo>
                      <a:pt x="95" y="134"/>
                      <a:pt x="100" y="129"/>
                      <a:pt x="100" y="125"/>
                    </a:cubicBezTo>
                    <a:cubicBezTo>
                      <a:pt x="99" y="121"/>
                      <a:pt x="95" y="117"/>
                      <a:pt x="95" y="117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800" b="0" i="0" u="none" strike="noStrike" kern="0" cap="none" spc="0" normalizeH="0" baseline="0" noProof="1" smtClean="0">
                  <a:ln>
                    <a:noFill/>
                  </a:ln>
                  <a:solidFill>
                    <a:srgbClr val="6D6D6D">
                      <a:lumMod val="50000"/>
                    </a:srgbClr>
                  </a:solidFill>
                  <a:effectLst/>
                  <a:uLnTx/>
                  <a:uFillTx/>
                  <a:latin typeface="Calibri" pitchFamily="34" charset="0"/>
                </a:endParaRPr>
              </a:p>
            </p:txBody>
          </p:sp>
        </p:grpSp>
        <p:sp>
          <p:nvSpPr>
            <p:cNvPr id="92" name="Rectangle 91"/>
            <p:cNvSpPr/>
            <p:nvPr/>
          </p:nvSpPr>
          <p:spPr bwMode="ltGray">
            <a:xfrm>
              <a:off x="5600192" y="5024474"/>
              <a:ext cx="360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SI</a:t>
              </a:r>
              <a:endParaRPr kumimoji="0" lang="en-GB" sz="9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93" name="Rectangle 92"/>
            <p:cNvSpPr/>
            <p:nvPr/>
          </p:nvSpPr>
          <p:spPr bwMode="ltGray">
            <a:xfrm>
              <a:off x="5974881" y="4236315"/>
              <a:ext cx="324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PL</a:t>
              </a:r>
            </a:p>
          </p:txBody>
        </p:sp>
        <p:sp>
          <p:nvSpPr>
            <p:cNvPr id="94" name="Rectangle 93"/>
            <p:cNvSpPr/>
            <p:nvPr/>
          </p:nvSpPr>
          <p:spPr bwMode="ltGray">
            <a:xfrm>
              <a:off x="4922392" y="4268402"/>
              <a:ext cx="324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b="0" kern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NL</a:t>
              </a:r>
              <a:endParaRPr kumimoji="0" lang="en-GB" sz="8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95" name="Rectangle 94"/>
            <p:cNvSpPr/>
            <p:nvPr/>
          </p:nvSpPr>
          <p:spPr bwMode="ltGray">
            <a:xfrm>
              <a:off x="3927944" y="5628265"/>
              <a:ext cx="324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ES</a:t>
              </a:r>
            </a:p>
          </p:txBody>
        </p:sp>
        <p:sp>
          <p:nvSpPr>
            <p:cNvPr id="96" name="Rectangle 95"/>
            <p:cNvSpPr/>
            <p:nvPr/>
          </p:nvSpPr>
          <p:spPr bwMode="ltGray">
            <a:xfrm>
              <a:off x="6401657" y="3609536"/>
              <a:ext cx="324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b="0" kern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LV</a:t>
              </a:r>
              <a:endParaRPr kumimoji="0" lang="en-GB" sz="8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97" name="Rectangle 96"/>
            <p:cNvSpPr/>
            <p:nvPr/>
          </p:nvSpPr>
          <p:spPr bwMode="ltGray">
            <a:xfrm>
              <a:off x="6587961" y="4945007"/>
              <a:ext cx="360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b="0" kern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RO</a:t>
              </a:r>
              <a:endParaRPr kumimoji="0" lang="en-GB" sz="8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98" name="Rectangle 97"/>
            <p:cNvSpPr/>
            <p:nvPr/>
          </p:nvSpPr>
          <p:spPr bwMode="ltGray">
            <a:xfrm>
              <a:off x="5325297" y="4290736"/>
              <a:ext cx="360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DE</a:t>
              </a:r>
            </a:p>
          </p:txBody>
        </p:sp>
        <p:sp>
          <p:nvSpPr>
            <p:cNvPr id="99" name="Rectangle 98"/>
            <p:cNvSpPr/>
            <p:nvPr/>
          </p:nvSpPr>
          <p:spPr bwMode="ltGray">
            <a:xfrm>
              <a:off x="5684457" y="4571149"/>
              <a:ext cx="375101" cy="12305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b="0" kern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CZ</a:t>
              </a:r>
              <a:endParaRPr lang="en-GB" sz="800" b="0" kern="0" noProof="0" dirty="0" smtClean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00" name="Rectangle 99"/>
            <p:cNvSpPr/>
            <p:nvPr/>
          </p:nvSpPr>
          <p:spPr bwMode="ltGray">
            <a:xfrm>
              <a:off x="3889836" y="4007818"/>
              <a:ext cx="324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b="0" kern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IE</a:t>
              </a:r>
              <a:endParaRPr kumimoji="0" lang="en-GB" sz="8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101" name="Rectangle 100"/>
            <p:cNvSpPr/>
            <p:nvPr/>
          </p:nvSpPr>
          <p:spPr bwMode="ltGray">
            <a:xfrm>
              <a:off x="6248168" y="2895133"/>
              <a:ext cx="288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b="0" kern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FI</a:t>
              </a:r>
              <a:endParaRPr kumimoji="0" lang="en-GB" sz="8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102" name="Rectangle 101"/>
            <p:cNvSpPr/>
            <p:nvPr/>
          </p:nvSpPr>
          <p:spPr bwMode="ltGray">
            <a:xfrm>
              <a:off x="6610082" y="5329302"/>
              <a:ext cx="360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b="0" kern="0" noProof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BG</a:t>
              </a:r>
              <a:endParaRPr kumimoji="0" lang="en-GB" sz="8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103" name="Rectangle 102"/>
            <p:cNvSpPr/>
            <p:nvPr/>
          </p:nvSpPr>
          <p:spPr bwMode="ltGray">
            <a:xfrm>
              <a:off x="5560902" y="3515576"/>
              <a:ext cx="324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b="0" kern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SE</a:t>
              </a:r>
              <a:endParaRPr kumimoji="0" lang="en-GB" sz="8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104" name="Rectangle 103"/>
            <p:cNvSpPr/>
            <p:nvPr/>
          </p:nvSpPr>
          <p:spPr bwMode="ltGray">
            <a:xfrm>
              <a:off x="6016312" y="4864423"/>
              <a:ext cx="396000" cy="144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HU</a:t>
              </a:r>
            </a:p>
          </p:txBody>
        </p:sp>
        <p:sp>
          <p:nvSpPr>
            <p:cNvPr id="105" name="Rectangle 104"/>
            <p:cNvSpPr/>
            <p:nvPr/>
          </p:nvSpPr>
          <p:spPr bwMode="ltGray">
            <a:xfrm>
              <a:off x="5439284" y="5382170"/>
              <a:ext cx="324000" cy="144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b="0" kern="0" noProof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IT</a:t>
              </a:r>
              <a:endParaRPr kumimoji="0" lang="en-GB" sz="8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106" name="Rectangle 105"/>
            <p:cNvSpPr/>
            <p:nvPr/>
          </p:nvSpPr>
          <p:spPr bwMode="ltGray">
            <a:xfrm>
              <a:off x="4319415" y="4192731"/>
              <a:ext cx="360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UK</a:t>
              </a:r>
            </a:p>
          </p:txBody>
        </p:sp>
        <p:sp>
          <p:nvSpPr>
            <p:cNvPr id="107" name="Rectangle 106"/>
            <p:cNvSpPr/>
            <p:nvPr/>
          </p:nvSpPr>
          <p:spPr bwMode="ltGray">
            <a:xfrm>
              <a:off x="4794432" y="4437112"/>
              <a:ext cx="360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BE</a:t>
              </a:r>
            </a:p>
          </p:txBody>
        </p:sp>
        <p:sp>
          <p:nvSpPr>
            <p:cNvPr id="108" name="Rectangle 107"/>
            <p:cNvSpPr/>
            <p:nvPr/>
          </p:nvSpPr>
          <p:spPr bwMode="ltGray">
            <a:xfrm>
              <a:off x="4579918" y="4909044"/>
              <a:ext cx="324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b="0" kern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FR</a:t>
              </a:r>
              <a:endParaRPr kumimoji="0" lang="en-GB" sz="8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109" name="Rectangle 108"/>
            <p:cNvSpPr/>
            <p:nvPr/>
          </p:nvSpPr>
          <p:spPr bwMode="ltGray">
            <a:xfrm>
              <a:off x="3441765" y="5646546"/>
              <a:ext cx="324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PT</a:t>
              </a:r>
            </a:p>
          </p:txBody>
        </p:sp>
        <p:sp>
          <p:nvSpPr>
            <p:cNvPr id="110" name="Rectangle 109"/>
            <p:cNvSpPr/>
            <p:nvPr/>
          </p:nvSpPr>
          <p:spPr bwMode="ltGray">
            <a:xfrm>
              <a:off x="6037790" y="4654335"/>
              <a:ext cx="324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b="0" kern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SK</a:t>
              </a:r>
              <a:endParaRPr lang="en-GB" sz="800" b="0" kern="0" noProof="0" dirty="0" smtClean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11" name="Rectangle 110"/>
            <p:cNvSpPr/>
            <p:nvPr/>
          </p:nvSpPr>
          <p:spPr bwMode="ltGray">
            <a:xfrm>
              <a:off x="5263083" y="3800143"/>
              <a:ext cx="388007" cy="100656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DK</a:t>
              </a:r>
            </a:p>
          </p:txBody>
        </p:sp>
        <p:sp>
          <p:nvSpPr>
            <p:cNvPr id="112" name="Rectangle 111"/>
            <p:cNvSpPr/>
            <p:nvPr/>
          </p:nvSpPr>
          <p:spPr bwMode="ltGray">
            <a:xfrm>
              <a:off x="5699018" y="5161151"/>
              <a:ext cx="360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b="0" kern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HR</a:t>
              </a:r>
              <a:endParaRPr kumimoji="0" lang="en-GB" sz="9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113" name="Rectangle 112"/>
            <p:cNvSpPr/>
            <p:nvPr/>
          </p:nvSpPr>
          <p:spPr bwMode="ltGray">
            <a:xfrm>
              <a:off x="6328419" y="3382829"/>
              <a:ext cx="361864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b="0" kern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EE</a:t>
              </a:r>
              <a:endParaRPr kumimoji="0" lang="en-GB" sz="8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114" name="Rectangle 113"/>
            <p:cNvSpPr/>
            <p:nvPr/>
          </p:nvSpPr>
          <p:spPr bwMode="ltGray">
            <a:xfrm>
              <a:off x="6273597" y="3806868"/>
              <a:ext cx="324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b="0" kern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LT</a:t>
              </a:r>
              <a:endParaRPr kumimoji="0" lang="en-GB" sz="8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115" name="Rectangle 114"/>
            <p:cNvSpPr/>
            <p:nvPr/>
          </p:nvSpPr>
          <p:spPr bwMode="ltGray">
            <a:xfrm>
              <a:off x="4898395" y="4628442"/>
              <a:ext cx="360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LU</a:t>
              </a:r>
            </a:p>
          </p:txBody>
        </p:sp>
        <p:sp>
          <p:nvSpPr>
            <p:cNvPr id="116" name="Rectangle 115"/>
            <p:cNvSpPr/>
            <p:nvPr/>
          </p:nvSpPr>
          <p:spPr bwMode="ltGray">
            <a:xfrm>
              <a:off x="7740392" y="6085123"/>
              <a:ext cx="360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b="0" kern="0" noProof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CY</a:t>
              </a:r>
              <a:endParaRPr kumimoji="0" lang="en-GB" sz="8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117" name="Rectangle 116"/>
            <p:cNvSpPr/>
            <p:nvPr/>
          </p:nvSpPr>
          <p:spPr bwMode="ltGray">
            <a:xfrm>
              <a:off x="5773683" y="6325945"/>
              <a:ext cx="324000" cy="144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b="0" kern="0" noProof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MT</a:t>
              </a:r>
              <a:endParaRPr kumimoji="0" lang="en-GB" sz="8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118" name="Rectangle 117"/>
            <p:cNvSpPr/>
            <p:nvPr/>
          </p:nvSpPr>
          <p:spPr bwMode="ltGray">
            <a:xfrm>
              <a:off x="6409400" y="5726500"/>
              <a:ext cx="324000" cy="144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b="0" kern="0" noProof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GR</a:t>
              </a:r>
              <a:endParaRPr kumimoji="0" lang="en-GB" sz="8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119" name="Rectangle 118"/>
            <p:cNvSpPr/>
            <p:nvPr/>
          </p:nvSpPr>
          <p:spPr bwMode="ltGray">
            <a:xfrm>
              <a:off x="3808480" y="2411556"/>
              <a:ext cx="324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kern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IS</a:t>
              </a:r>
              <a:endParaRPr kumimoji="0" lang="en-GB" sz="8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120" name="Rectangle 119"/>
            <p:cNvSpPr/>
            <p:nvPr/>
          </p:nvSpPr>
          <p:spPr bwMode="ltGray">
            <a:xfrm>
              <a:off x="7548944" y="5558393"/>
              <a:ext cx="360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kern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TR</a:t>
              </a:r>
              <a:endParaRPr kumimoji="0" lang="en-GB" sz="8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121" name="Rectangle 120"/>
            <p:cNvSpPr/>
            <p:nvPr/>
          </p:nvSpPr>
          <p:spPr bwMode="ltGray">
            <a:xfrm>
              <a:off x="5233713" y="3191448"/>
              <a:ext cx="324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kern="0" noProof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NO</a:t>
              </a:r>
              <a:endParaRPr kumimoji="0" lang="en-GB" sz="8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122" name="Rectangle 121"/>
            <p:cNvSpPr/>
            <p:nvPr/>
          </p:nvSpPr>
          <p:spPr bwMode="ltGray">
            <a:xfrm>
              <a:off x="5004048" y="4916474"/>
              <a:ext cx="360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CH</a:t>
              </a:r>
              <a:endParaRPr kumimoji="0" lang="en-GB" sz="9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123" name="Rectangle 122"/>
            <p:cNvSpPr/>
            <p:nvPr/>
          </p:nvSpPr>
          <p:spPr bwMode="ltGray">
            <a:xfrm>
              <a:off x="6344807" y="5492049"/>
              <a:ext cx="324000" cy="144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800" kern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MK</a:t>
              </a:r>
              <a:endParaRPr kumimoji="0" lang="en-GB" sz="800" b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124" name="Rectangle 123"/>
            <p:cNvSpPr/>
            <p:nvPr/>
          </p:nvSpPr>
          <p:spPr bwMode="ltGray">
            <a:xfrm>
              <a:off x="5256104" y="4881030"/>
              <a:ext cx="252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LI</a:t>
              </a:r>
            </a:p>
          </p:txBody>
        </p:sp>
        <p:sp>
          <p:nvSpPr>
            <p:cNvPr id="125" name="Rectangle 124"/>
            <p:cNvSpPr/>
            <p:nvPr/>
          </p:nvSpPr>
          <p:spPr bwMode="ltGray">
            <a:xfrm>
              <a:off x="5615724" y="4793662"/>
              <a:ext cx="396000" cy="144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</a:rPr>
                <a:t>AT</a:t>
              </a:r>
            </a:p>
          </p:txBody>
        </p:sp>
      </p:grpSp>
      <p:grpSp>
        <p:nvGrpSpPr>
          <p:cNvPr id="166" name="Group 102"/>
          <p:cNvGrpSpPr/>
          <p:nvPr/>
        </p:nvGrpSpPr>
        <p:grpSpPr>
          <a:xfrm>
            <a:off x="969020" y="3756898"/>
            <a:ext cx="2505381" cy="705125"/>
            <a:chOff x="717626" y="4407627"/>
            <a:chExt cx="2762690" cy="705125"/>
          </a:xfrm>
        </p:grpSpPr>
        <p:grpSp>
          <p:nvGrpSpPr>
            <p:cNvPr id="167" name="Group 103"/>
            <p:cNvGrpSpPr/>
            <p:nvPr/>
          </p:nvGrpSpPr>
          <p:grpSpPr>
            <a:xfrm>
              <a:off x="717627" y="4407627"/>
              <a:ext cx="2458074" cy="261610"/>
              <a:chOff x="-5214264" y="8505598"/>
              <a:chExt cx="2181541" cy="261610"/>
            </a:xfrm>
          </p:grpSpPr>
          <p:sp>
            <p:nvSpPr>
              <p:cNvPr id="174" name="Rectangle 173"/>
              <p:cNvSpPr/>
              <p:nvPr/>
            </p:nvSpPr>
            <p:spPr>
              <a:xfrm>
                <a:off x="-5214264" y="8571936"/>
                <a:ext cx="241247" cy="130461"/>
              </a:xfrm>
              <a:prstGeom prst="rect">
                <a:avLst/>
              </a:prstGeom>
              <a:solidFill>
                <a:srgbClr val="00B050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/>
              </a:p>
            </p:txBody>
          </p:sp>
          <p:sp>
            <p:nvSpPr>
              <p:cNvPr id="252" name="TextBox 182"/>
              <p:cNvSpPr txBox="1"/>
              <p:nvPr/>
            </p:nvSpPr>
            <p:spPr>
              <a:xfrm>
                <a:off x="-4973017" y="8505598"/>
                <a:ext cx="1940294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1100" dirty="0" smtClean="0">
                    <a:latin typeface="+mn-lt"/>
                  </a:rPr>
                  <a:t>A piece of legislation exists</a:t>
                </a:r>
                <a:endParaRPr lang="en-GB" sz="1100" dirty="0">
                  <a:latin typeface="+mn-lt"/>
                </a:endParaRPr>
              </a:p>
            </p:txBody>
          </p:sp>
        </p:grpSp>
        <p:grpSp>
          <p:nvGrpSpPr>
            <p:cNvPr id="168" name="Group 104"/>
            <p:cNvGrpSpPr/>
            <p:nvPr/>
          </p:nvGrpSpPr>
          <p:grpSpPr>
            <a:xfrm>
              <a:off x="717627" y="4626484"/>
              <a:ext cx="2762689" cy="261610"/>
              <a:chOff x="-5214278" y="8460426"/>
              <a:chExt cx="2451888" cy="261610"/>
            </a:xfrm>
          </p:grpSpPr>
          <p:sp>
            <p:nvSpPr>
              <p:cNvPr id="172" name="Rectangle 171"/>
              <p:cNvSpPr/>
              <p:nvPr/>
            </p:nvSpPr>
            <p:spPr>
              <a:xfrm>
                <a:off x="-5214278" y="8522831"/>
                <a:ext cx="241247" cy="130461"/>
              </a:xfrm>
              <a:prstGeom prst="rect">
                <a:avLst/>
              </a:prstGeom>
              <a:solidFill>
                <a:srgbClr val="FDC795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/>
              </a:p>
            </p:txBody>
          </p:sp>
          <p:sp>
            <p:nvSpPr>
              <p:cNvPr id="173" name="TextBox 180"/>
              <p:cNvSpPr txBox="1"/>
              <p:nvPr/>
            </p:nvSpPr>
            <p:spPr>
              <a:xfrm>
                <a:off x="-4971298" y="8460426"/>
                <a:ext cx="2208908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1100" dirty="0" smtClean="0">
                    <a:latin typeface="+mn-lt"/>
                  </a:rPr>
                  <a:t>No specific legislation</a:t>
                </a:r>
                <a:endParaRPr lang="en-GB" sz="1100" dirty="0">
                  <a:latin typeface="+mn-lt"/>
                </a:endParaRPr>
              </a:p>
            </p:txBody>
          </p:sp>
        </p:grpSp>
        <p:grpSp>
          <p:nvGrpSpPr>
            <p:cNvPr id="169" name="Group 105"/>
            <p:cNvGrpSpPr/>
            <p:nvPr/>
          </p:nvGrpSpPr>
          <p:grpSpPr>
            <a:xfrm>
              <a:off x="717626" y="4851142"/>
              <a:ext cx="1677127" cy="261610"/>
              <a:chOff x="-5214262" y="8157025"/>
              <a:chExt cx="1488450" cy="261610"/>
            </a:xfrm>
          </p:grpSpPr>
          <p:sp>
            <p:nvSpPr>
              <p:cNvPr id="170" name="Rectangle 169"/>
              <p:cNvSpPr/>
              <p:nvPr/>
            </p:nvSpPr>
            <p:spPr>
              <a:xfrm>
                <a:off x="-5214262" y="8216035"/>
                <a:ext cx="241247" cy="130461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/>
              </a:p>
            </p:txBody>
          </p:sp>
          <p:sp>
            <p:nvSpPr>
              <p:cNvPr id="171" name="TextBox 174"/>
              <p:cNvSpPr txBox="1"/>
              <p:nvPr/>
            </p:nvSpPr>
            <p:spPr>
              <a:xfrm>
                <a:off x="-4975561" y="8157025"/>
                <a:ext cx="1249749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1100" dirty="0" smtClean="0">
                    <a:latin typeface="+mn-lt"/>
                  </a:rPr>
                  <a:t>No data available</a:t>
                </a:r>
                <a:endParaRPr lang="en-GB" sz="1100" dirty="0">
                  <a:latin typeface="+mn-lt"/>
                </a:endParaRPr>
              </a:p>
            </p:txBody>
          </p:sp>
        </p:grpSp>
      </p:grpSp>
      <p:sp>
        <p:nvSpPr>
          <p:cNvPr id="253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8200800" y="4747557"/>
            <a:ext cx="486000" cy="377429"/>
          </a:xfrm>
        </p:spPr>
        <p:txBody>
          <a:bodyPr/>
          <a:lstStyle/>
          <a:p>
            <a:pPr>
              <a:defRPr/>
            </a:pPr>
            <a:r>
              <a:rPr lang="en-GB" dirty="0" smtClean="0"/>
              <a:t>6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291897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2" name="think-cell Slide" r:id="rId30" imgW="270" imgH="270" progId="TCLayout.ActiveDocument.1">
                  <p:embed/>
                </p:oleObj>
              </mc:Choice>
              <mc:Fallback>
                <p:oleObj name="think-cell Slide" r:id="rId3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/>
          <p:cNvSpPr/>
          <p:nvPr>
            <p:custDataLst>
              <p:tags r:id="rId3"/>
            </p:custDataLst>
          </p:nvPr>
        </p:nvSpPr>
        <p:spPr bwMode="auto">
          <a:xfrm>
            <a:off x="1143000" y="0"/>
            <a:ext cx="119063" cy="11906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900">
              <a:latin typeface="Calibri"/>
              <a:cs typeface="Arial"/>
              <a:sym typeface="Calibri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4139952" y="1275160"/>
            <a:ext cx="1431000" cy="275475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2400" dirty="0" smtClean="0"/>
              <a:t>Is </a:t>
            </a:r>
            <a:r>
              <a:rPr lang="en-GB" sz="2400" dirty="0" smtClean="0"/>
              <a:t>there a </a:t>
            </a:r>
            <a:r>
              <a:rPr lang="en-GB" sz="2400" dirty="0" smtClean="0"/>
              <a:t>law </a:t>
            </a:r>
            <a:r>
              <a:rPr lang="en-GB" sz="2400" dirty="0" smtClean="0"/>
              <a:t>establishing authentic </a:t>
            </a:r>
            <a:r>
              <a:rPr lang="en-GB" sz="2400" dirty="0" smtClean="0"/>
              <a:t>sources</a:t>
            </a:r>
            <a:br>
              <a:rPr lang="en-GB" sz="2400" dirty="0" smtClean="0"/>
            </a:br>
            <a:r>
              <a:rPr lang="en-GB" sz="2400" dirty="0" smtClean="0"/>
              <a:t>in </a:t>
            </a:r>
            <a:r>
              <a:rPr lang="en-GB" sz="2400" dirty="0"/>
              <a:t>your country?</a:t>
            </a:r>
            <a:endParaRPr lang="en-GB" sz="2400" dirty="0"/>
          </a:p>
        </p:txBody>
      </p:sp>
      <p:graphicFrame>
        <p:nvGraphicFramePr>
          <p:cNvPr id="25" name="Object 24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853769891"/>
              </p:ext>
            </p:extLst>
          </p:nvPr>
        </p:nvGraphicFramePr>
        <p:xfrm>
          <a:off x="3994547" y="1299151"/>
          <a:ext cx="4079077" cy="2821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3" name="Chart" r:id="rId32" imgW="5438857" imgH="3762450" progId="MSGraph.Chart.8">
                  <p:embed followColorScheme="full"/>
                </p:oleObj>
              </mc:Choice>
              <mc:Fallback>
                <p:oleObj name="Chart" r:id="rId32" imgW="5438857" imgH="3762450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3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994547" y="1299151"/>
                        <a:ext cx="4079077" cy="2821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" name="Text Placeholder 18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3936207" y="1753792"/>
            <a:ext cx="116681" cy="136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Ø"/>
              <a:defRPr sz="3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•"/>
              <a:defRPr sz="2800">
                <a:solidFill>
                  <a:schemeClr val="tx2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Calibri" pitchFamily="34" charset="0"/>
              <a:buChar char="‒"/>
              <a:defRPr sz="2400">
                <a:solidFill>
                  <a:schemeClr val="tx2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Calibri" pitchFamily="34" charset="0"/>
              <a:buChar char="»"/>
              <a:defRPr sz="2000">
                <a:solidFill>
                  <a:schemeClr val="tx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6F71B2AD-9309-4716-B918-4D3CA4A40E63}" type="datetime'''''''''''''''''''1''''''''''''''''''''0'''''''''''''">
              <a:rPr lang="en-US" sz="900">
                <a:sym typeface="+mn-lt"/>
              </a:rPr>
              <a:pPr marL="0" indent="0" algn="r">
                <a:spcBef>
                  <a:spcPct val="0"/>
                </a:spcBef>
                <a:buNone/>
              </a:pPr>
              <a:t>10</a:t>
            </a:fld>
            <a:endParaRPr lang="en-GB" sz="900" dirty="0">
              <a:sym typeface="+mn-lt"/>
            </a:endParaRPr>
          </a:p>
        </p:txBody>
      </p:sp>
      <p:sp>
        <p:nvSpPr>
          <p:cNvPr id="70" name="Text Placeholder 17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994547" y="2196704"/>
            <a:ext cx="58341" cy="136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Ø"/>
              <a:defRPr sz="3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•"/>
              <a:defRPr sz="2800">
                <a:solidFill>
                  <a:schemeClr val="tx2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Calibri" pitchFamily="34" charset="0"/>
              <a:buChar char="‒"/>
              <a:defRPr sz="2400">
                <a:solidFill>
                  <a:schemeClr val="tx2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Calibri" pitchFamily="34" charset="0"/>
              <a:buChar char="»"/>
              <a:defRPr sz="2000">
                <a:solidFill>
                  <a:schemeClr val="tx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F5FC2E9C-9F93-459F-B1C8-CCE20A528B6A}" type="datetime'''''''''''''''''''''''''8'''''''''''''''''''''''''''''''''">
              <a:rPr lang="en-US" sz="900">
                <a:sym typeface="+mn-lt"/>
              </a:rPr>
              <a:pPr marL="0" indent="0" algn="r">
                <a:spcBef>
                  <a:spcPct val="0"/>
                </a:spcBef>
                <a:buNone/>
              </a:pPr>
              <a:t>8</a:t>
            </a:fld>
            <a:endParaRPr lang="en-GB" sz="900" dirty="0">
              <a:sym typeface="+mn-lt"/>
            </a:endParaRPr>
          </a:p>
        </p:txBody>
      </p:sp>
      <p:sp>
        <p:nvSpPr>
          <p:cNvPr id="33" name="Rectangle 32"/>
          <p:cNvSpPr/>
          <p:nvPr>
            <p:custDataLst>
              <p:tags r:id="rId7"/>
            </p:custDataLst>
          </p:nvPr>
        </p:nvSpPr>
        <p:spPr bwMode="gray">
          <a:xfrm>
            <a:off x="3994547" y="2639617"/>
            <a:ext cx="58341" cy="13692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/>
            <a:fld id="{1BD35B84-DD85-4D18-96FC-59C92BE4B0AA}" type="datetime'''''''''''''''''''''''''6'''''''''''''''''''''''''">
              <a:rPr lang="en-US" sz="900">
                <a:solidFill>
                  <a:schemeClr val="tx2"/>
                </a:solidFill>
                <a:sym typeface="+mn-lt"/>
              </a:rPr>
              <a:pPr/>
              <a:t>6</a:t>
            </a:fld>
            <a:endParaRPr lang="en-GB" sz="900" dirty="0">
              <a:solidFill>
                <a:schemeClr val="tx2"/>
              </a:solidFill>
              <a:sym typeface="+mn-lt"/>
            </a:endParaRPr>
          </a:p>
        </p:txBody>
      </p:sp>
      <p:sp>
        <p:nvSpPr>
          <p:cNvPr id="34" name="Text Placeholder 16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999995" y="3094849"/>
            <a:ext cx="58341" cy="136922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C15B8423-A4F0-4930-9BF0-DE49D656F6D2}" type="datetime'''4'''''''''''''''''''''''''''''''''">
              <a:rPr lang="en-US" sz="900">
                <a:solidFill>
                  <a:schemeClr val="tx2"/>
                </a:solidFill>
                <a:sym typeface="+mn-lt"/>
              </a:rPr>
              <a:pPr marL="0" indent="0" algn="r">
                <a:spcBef>
                  <a:spcPct val="0"/>
                </a:spcBef>
                <a:buNone/>
              </a:pPr>
              <a:t>4</a:t>
            </a:fld>
            <a:endParaRPr lang="en-GB" sz="900" dirty="0">
              <a:solidFill>
                <a:schemeClr val="tx2"/>
              </a:solidFill>
              <a:sym typeface="+mn-lt"/>
            </a:endParaRPr>
          </a:p>
        </p:txBody>
      </p:sp>
      <p:sp>
        <p:nvSpPr>
          <p:cNvPr id="35" name="Text Placeholder 14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003098" y="3542341"/>
            <a:ext cx="58341" cy="136922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63A755EE-CDCD-401E-B150-9A71DC38E48E}" type="datetime'''2'''''''''''''''''''''''''''''''''''''''''''''''">
              <a:rPr lang="en-US" sz="900">
                <a:solidFill>
                  <a:schemeClr val="tx2"/>
                </a:solidFill>
                <a:sym typeface="+mn-lt"/>
              </a:rPr>
              <a:pPr marL="0" indent="0" algn="r">
                <a:spcBef>
                  <a:spcPct val="0"/>
                </a:spcBef>
                <a:buNone/>
              </a:pPr>
              <a:t>2</a:t>
            </a:fld>
            <a:endParaRPr lang="en-GB" sz="900" dirty="0">
              <a:solidFill>
                <a:schemeClr val="tx2"/>
              </a:solidFill>
              <a:sym typeface="+mn-lt"/>
            </a:endParaRPr>
          </a:p>
        </p:txBody>
      </p:sp>
      <p:sp>
        <p:nvSpPr>
          <p:cNvPr id="37" name="Text Placeholder 1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3936207" y="1310879"/>
            <a:ext cx="116681" cy="136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Ø"/>
              <a:defRPr sz="3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•"/>
              <a:defRPr sz="2800">
                <a:solidFill>
                  <a:schemeClr val="tx2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Calibri" pitchFamily="34" charset="0"/>
              <a:buChar char="‒"/>
              <a:defRPr sz="2400">
                <a:solidFill>
                  <a:schemeClr val="tx2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Calibri" pitchFamily="34" charset="0"/>
              <a:buChar char="»"/>
              <a:defRPr sz="2000">
                <a:solidFill>
                  <a:schemeClr val="tx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F491E0FC-E51A-4A90-8D58-4F9354D77D11}" type="datetime'''''''1''''''2'''''''''''''''">
              <a:rPr lang="en-US" sz="900">
                <a:sym typeface="+mn-lt"/>
              </a:rPr>
              <a:pPr marL="0" indent="0" algn="r">
                <a:spcBef>
                  <a:spcPct val="0"/>
                </a:spcBef>
                <a:buNone/>
              </a:pPr>
              <a:t>12</a:t>
            </a:fld>
            <a:endParaRPr lang="en-GB" sz="900" dirty="0">
              <a:sym typeface="+mn-lt"/>
            </a:endParaRPr>
          </a:p>
        </p:txBody>
      </p:sp>
      <p:cxnSp>
        <p:nvCxnSpPr>
          <p:cNvPr id="10" name="Straight Connector 9"/>
          <p:cNvCxnSpPr/>
          <p:nvPr>
            <p:custDataLst>
              <p:tags r:id="rId11"/>
            </p:custDataLst>
          </p:nvPr>
        </p:nvCxnSpPr>
        <p:spPr bwMode="auto">
          <a:xfrm>
            <a:off x="5543550" y="4010025"/>
            <a:ext cx="0" cy="1905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>
            <p:custDataLst>
              <p:tags r:id="rId12"/>
            </p:custDataLst>
          </p:nvPr>
        </p:nvCxnSpPr>
        <p:spPr bwMode="auto">
          <a:xfrm>
            <a:off x="7858125" y="4010025"/>
            <a:ext cx="0" cy="1905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228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689748" y="1097757"/>
            <a:ext cx="908447" cy="136922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900" dirty="0">
                <a:solidFill>
                  <a:schemeClr val="tx2"/>
                </a:solidFill>
                <a:sym typeface="+mn-lt"/>
              </a:rPr>
              <a:t>Number of answers</a:t>
            </a:r>
            <a:endParaRPr lang="en-GB" sz="900" dirty="0">
              <a:solidFill>
                <a:schemeClr val="tx2"/>
              </a:solidFill>
              <a:sym typeface="+mn-lt"/>
            </a:endParaRPr>
          </a:p>
        </p:txBody>
      </p:sp>
      <p:sp>
        <p:nvSpPr>
          <p:cNvPr id="47" name="Text Placeholder 168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755481" y="4133850"/>
            <a:ext cx="634604" cy="410766"/>
          </a:xfrm>
          <a:prstGeom prst="rect">
            <a:avLst/>
          </a:prstGeom>
          <a:noFill/>
          <a:effectLst/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B8FB34F-7FED-447F-99B5-86E6597E1559}" type="datetime'Ge''''o''gr''aphic ''(i''ncludi''''''ng a''ddress) d''a''t''a'">
              <a:rPr lang="en-US" sz="900">
                <a:solidFill>
                  <a:schemeClr val="tx2"/>
                </a:solidFill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buNone/>
              </a:pPr>
              <a:t>Geographic (including address) data</a:t>
            </a:fld>
            <a:endParaRPr lang="en-GB" sz="900" dirty="0">
              <a:solidFill>
                <a:schemeClr val="tx2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48" name="Text Placeholder 16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983956" y="4133850"/>
            <a:ext cx="633413" cy="410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62CF42C-30BF-4B6A-96F9-126DF088BD62}" type="datetime'''''''Id''entificati''o''n d''ata relate''d to bu''sin''esses'">
              <a:rPr lang="en-US" sz="900">
                <a:solidFill>
                  <a:schemeClr val="tx2"/>
                </a:solidFill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buNone/>
              </a:pPr>
              <a:t>Identification data related to businesses</a:t>
            </a:fld>
            <a:endParaRPr lang="en-GB" sz="900" dirty="0">
              <a:solidFill>
                <a:schemeClr val="tx2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49" name="Text Placeholder 167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4244579" y="4133850"/>
            <a:ext cx="569119" cy="410766"/>
          </a:xfrm>
          <a:prstGeom prst="rect">
            <a:avLst/>
          </a:prstGeom>
          <a:noFill/>
          <a:effectLst/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F049D58-076C-476F-B01B-03F150E184E5}" type="datetime'''Pe''r''sonal'' data ''''''relat''ed to ci''''''t''iz''''ens'">
              <a:rPr lang="en-US" sz="900">
                <a:solidFill>
                  <a:schemeClr val="tx2"/>
                </a:solidFill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buNone/>
              </a:pPr>
              <a:t>Personal data related to citizens</a:t>
            </a:fld>
            <a:endParaRPr lang="en-GB" sz="900" dirty="0">
              <a:solidFill>
                <a:schemeClr val="tx2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66" name="Text Placeholder 13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7341394" y="4133851"/>
            <a:ext cx="547688" cy="136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Ø"/>
              <a:defRPr sz="3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•"/>
              <a:defRPr sz="2800">
                <a:solidFill>
                  <a:schemeClr val="tx2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Calibri" pitchFamily="34" charset="0"/>
              <a:buChar char="‒"/>
              <a:defRPr sz="2400">
                <a:solidFill>
                  <a:schemeClr val="tx2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Calibri" pitchFamily="34" charset="0"/>
              <a:buChar char="»"/>
              <a:defRPr sz="2000">
                <a:solidFill>
                  <a:schemeClr val="tx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8B2D278-FBDF-491A-AE33-D683EFDD1439}" type="datetime'H''eal''''t''''h'''' ''d''''a''''''''t''''''''''''''''''a'''">
              <a:rPr lang="en-US" sz="900">
                <a:latin typeface="Calibri"/>
                <a:cs typeface="Arial"/>
                <a:sym typeface="Calibri"/>
              </a:rPr>
              <a:pPr marL="0" indent="0" algn="ctr">
                <a:spcBef>
                  <a:spcPct val="0"/>
                </a:spcBef>
                <a:buNone/>
              </a:pPr>
              <a:t>Health data</a:t>
            </a:fld>
            <a:endParaRPr lang="en-GB" sz="900" dirty="0">
              <a:latin typeface="Calibri"/>
              <a:cs typeface="Arial"/>
              <a:sym typeface="Calibri"/>
            </a:endParaRPr>
          </a:p>
        </p:txBody>
      </p:sp>
      <p:sp>
        <p:nvSpPr>
          <p:cNvPr id="44" name="Text Placeholder 169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486525" y="4133850"/>
            <a:ext cx="714375" cy="273844"/>
          </a:xfrm>
          <a:prstGeom prst="rect">
            <a:avLst/>
          </a:prstGeom>
          <a:noFill/>
          <a:effectLst/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7356AB5-F1C5-4953-9911-FBDCDA91209C}" type="datetime'F''''i''''sc''''al/''''''''Fi''''na''''n''c''i''''al da''t''a'">
              <a:rPr lang="en-US" sz="900">
                <a:solidFill>
                  <a:schemeClr val="tx2"/>
                </a:solidFill>
                <a:latin typeface="Calibri"/>
                <a:sym typeface="Calibri"/>
              </a:rPr>
              <a:pPr marL="0" indent="0" algn="ctr">
                <a:spcBef>
                  <a:spcPct val="0"/>
                </a:spcBef>
                <a:buNone/>
              </a:pPr>
              <a:t>Fiscal/Financial data</a:t>
            </a:fld>
            <a:endParaRPr lang="en-GB" sz="900" dirty="0">
              <a:solidFill>
                <a:schemeClr val="tx2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8" name="Rectangle 7"/>
          <p:cNvSpPr/>
          <p:nvPr>
            <p:custDataLst>
              <p:tags r:id="rId19"/>
            </p:custDataLst>
          </p:nvPr>
        </p:nvSpPr>
        <p:spPr bwMode="auto">
          <a:xfrm>
            <a:off x="1949950" y="2682868"/>
            <a:ext cx="1370410" cy="738188"/>
          </a:xfrm>
          <a:prstGeom prst="rect">
            <a:avLst/>
          </a:prstGeom>
          <a:noFill/>
          <a:ln w="127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  <p:sp>
        <p:nvSpPr>
          <p:cNvPr id="9" name="Rectangle 8"/>
          <p:cNvSpPr/>
          <p:nvPr>
            <p:custDataLst>
              <p:tags r:id="rId20"/>
            </p:custDataLst>
          </p:nvPr>
        </p:nvSpPr>
        <p:spPr bwMode="auto">
          <a:xfrm>
            <a:off x="1988050" y="3249606"/>
            <a:ext cx="160734" cy="120254"/>
          </a:xfrm>
          <a:prstGeom prst="rect">
            <a:avLst/>
          </a:prstGeom>
          <a:solidFill>
            <a:srgbClr val="C0C0C0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  <p:sp>
        <p:nvSpPr>
          <p:cNvPr id="7" name="Rectangle 6"/>
          <p:cNvSpPr/>
          <p:nvPr>
            <p:custDataLst>
              <p:tags r:id="rId21"/>
            </p:custDataLst>
          </p:nvPr>
        </p:nvSpPr>
        <p:spPr bwMode="auto">
          <a:xfrm>
            <a:off x="1988050" y="3074584"/>
            <a:ext cx="160735" cy="12025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  <p:sp>
        <p:nvSpPr>
          <p:cNvPr id="6" name="Rectangle 5"/>
          <p:cNvSpPr/>
          <p:nvPr>
            <p:custDataLst>
              <p:tags r:id="rId22"/>
            </p:custDataLst>
          </p:nvPr>
        </p:nvSpPr>
        <p:spPr bwMode="auto">
          <a:xfrm>
            <a:off x="1988050" y="2899562"/>
            <a:ext cx="160735" cy="120254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  <p:sp>
        <p:nvSpPr>
          <p:cNvPr id="2" name="Rectangle 1"/>
          <p:cNvSpPr/>
          <p:nvPr>
            <p:custDataLst>
              <p:tags r:id="rId23"/>
            </p:custDataLst>
          </p:nvPr>
        </p:nvSpPr>
        <p:spPr bwMode="auto">
          <a:xfrm>
            <a:off x="1988050" y="2724540"/>
            <a:ext cx="160735" cy="120254"/>
          </a:xfrm>
          <a:prstGeom prst="rect">
            <a:avLst/>
          </a:prstGeom>
          <a:solidFill>
            <a:schemeClr val="hlink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  <p:sp>
        <p:nvSpPr>
          <p:cNvPr id="30" name="Text Placeholder 1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2186884" y="3246034"/>
            <a:ext cx="497681" cy="136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Ø"/>
              <a:defRPr sz="3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•"/>
              <a:defRPr sz="2800">
                <a:solidFill>
                  <a:schemeClr val="tx2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Calibri" pitchFamily="34" charset="0"/>
              <a:buChar char="‒"/>
              <a:defRPr sz="2400">
                <a:solidFill>
                  <a:schemeClr val="tx2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Calibri" pitchFamily="34" charset="0"/>
              <a:buChar char="»"/>
              <a:defRPr sz="2000">
                <a:solidFill>
                  <a:schemeClr val="tx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F50593EE-E1A9-4426-90C0-0FF3D85C418A}" type="datetime'No'''' ''''ans''''''''''''''''''''''''''w''''e''r'''''''''''''">
              <a:rPr lang="en-US" sz="900">
                <a:latin typeface="Calibri"/>
                <a:cs typeface="Arial"/>
                <a:sym typeface="Calibri"/>
              </a:rPr>
              <a:pPr marL="0" indent="0">
                <a:spcBef>
                  <a:spcPct val="0"/>
                </a:spcBef>
                <a:buNone/>
              </a:pPr>
              <a:t>No answer</a:t>
            </a:fld>
            <a:endParaRPr lang="en-GB" sz="900" dirty="0">
              <a:latin typeface="Calibri"/>
              <a:cs typeface="Arial"/>
              <a:sym typeface="Calibri"/>
            </a:endParaRPr>
          </a:p>
        </p:txBody>
      </p:sp>
      <p:sp>
        <p:nvSpPr>
          <p:cNvPr id="69" name="Text Placeholder 16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2186884" y="3071013"/>
            <a:ext cx="1095375" cy="136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Ø"/>
              <a:defRPr sz="3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•"/>
              <a:defRPr sz="2800">
                <a:solidFill>
                  <a:schemeClr val="tx2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Calibri" pitchFamily="34" charset="0"/>
              <a:buChar char="‒"/>
              <a:defRPr sz="2400">
                <a:solidFill>
                  <a:schemeClr val="tx2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Calibri" pitchFamily="34" charset="0"/>
              <a:buChar char="»"/>
              <a:defRPr sz="2000">
                <a:solidFill>
                  <a:schemeClr val="tx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953FAB6A-E2B6-40E5-9DBA-CBD1B4B2B210}" type="datetime'''''Do''n’''t'''' ''''''k''n''ow/''No'' ''''op''in''i''''o''n'">
              <a:rPr lang="en-US" sz="900">
                <a:latin typeface="Calibri"/>
                <a:cs typeface="Arial"/>
                <a:sym typeface="Calibri"/>
              </a:rPr>
              <a:pPr marL="0" indent="0">
                <a:spcBef>
                  <a:spcPct val="0"/>
                </a:spcBef>
                <a:buNone/>
              </a:pPr>
              <a:t>Don’t know/No opinion</a:t>
            </a:fld>
            <a:endParaRPr lang="en-GB" sz="900" dirty="0">
              <a:latin typeface="Calibri"/>
              <a:cs typeface="Arial"/>
              <a:sym typeface="Calibri"/>
            </a:endParaRPr>
          </a:p>
        </p:txBody>
      </p:sp>
      <p:sp>
        <p:nvSpPr>
          <p:cNvPr id="68" name="Text Placeholder 15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2186884" y="2895991"/>
            <a:ext cx="134541" cy="136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Ø"/>
              <a:defRPr sz="3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•"/>
              <a:defRPr sz="2800">
                <a:solidFill>
                  <a:schemeClr val="tx2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Calibri" pitchFamily="34" charset="0"/>
              <a:buChar char="‒"/>
              <a:defRPr sz="2400">
                <a:solidFill>
                  <a:schemeClr val="tx2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Calibri" pitchFamily="34" charset="0"/>
              <a:buChar char="»"/>
              <a:defRPr sz="2000">
                <a:solidFill>
                  <a:schemeClr val="tx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D17137B6-B7FB-4C62-837D-60B9A8135D90}" type="datetime'''N''''''''''''''''''''''''''''''''''''''o'">
              <a:rPr lang="en-US" sz="900">
                <a:latin typeface="Calibri"/>
                <a:cs typeface="Arial"/>
                <a:sym typeface="Calibri"/>
              </a:rPr>
              <a:pPr marL="0" indent="0">
                <a:spcBef>
                  <a:spcPct val="0"/>
                </a:spcBef>
                <a:buNone/>
              </a:pPr>
              <a:t>No</a:t>
            </a:fld>
            <a:endParaRPr lang="en-GB" sz="900" dirty="0">
              <a:latin typeface="Calibri"/>
              <a:cs typeface="Arial"/>
              <a:sym typeface="Calibri"/>
            </a:endParaRPr>
          </a:p>
        </p:txBody>
      </p:sp>
      <p:sp>
        <p:nvSpPr>
          <p:cNvPr id="67" name="Text Placeholder 14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2186884" y="2720969"/>
            <a:ext cx="150019" cy="136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Char char="Ø"/>
              <a:defRPr sz="3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•"/>
              <a:defRPr sz="2800">
                <a:solidFill>
                  <a:schemeClr val="tx2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Calibri" pitchFamily="34" charset="0"/>
              <a:buChar char="‒"/>
              <a:defRPr sz="2400">
                <a:solidFill>
                  <a:schemeClr val="tx2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Calibri" pitchFamily="34" charset="0"/>
              <a:buChar char="»"/>
              <a:defRPr sz="2000">
                <a:solidFill>
                  <a:schemeClr val="tx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2000">
                <a:solidFill>
                  <a:schemeClr val="tx2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65B8B49D-ED9F-4900-8CCD-13143C7AABD5}" type="datetime'''''''''''Y''''''''e''''''''''''''''''''''''''''''''s'''''''''">
              <a:rPr lang="en-US" sz="900">
                <a:latin typeface="Calibri"/>
                <a:cs typeface="Arial"/>
                <a:sym typeface="Calibri"/>
              </a:rPr>
              <a:pPr marL="0" indent="0">
                <a:spcBef>
                  <a:spcPct val="0"/>
                </a:spcBef>
                <a:buNone/>
              </a:pPr>
              <a:t>Yes</a:t>
            </a:fld>
            <a:endParaRPr lang="en-GB" sz="900" dirty="0">
              <a:latin typeface="Calibri"/>
              <a:cs typeface="Arial"/>
              <a:sym typeface="Calibri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378836" y="1114277"/>
            <a:ext cx="2176940" cy="95011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4541" lvl="2" indent="-3572">
              <a:lnSpc>
                <a:spcPct val="150000"/>
              </a:lnSpc>
              <a:spcBef>
                <a:spcPts val="375"/>
              </a:spcBef>
              <a:buClr>
                <a:srgbClr val="ED7404"/>
              </a:buClr>
            </a:pPr>
            <a:r>
              <a:rPr lang="en-US" sz="825" dirty="0">
                <a:solidFill>
                  <a:schemeClr val="tx1"/>
                </a:solidFill>
                <a:cs typeface="Arial" panose="020B0604020202020204" pitchFamily="34" charset="0"/>
              </a:rPr>
              <a:t>For each type of </a:t>
            </a:r>
            <a:r>
              <a:rPr lang="en-US" sz="825" dirty="0">
                <a:solidFill>
                  <a:schemeClr val="tx1"/>
                </a:solidFill>
                <a:cs typeface="Arial" panose="020B0604020202020204" pitchFamily="34" charset="0"/>
              </a:rPr>
              <a:t> </a:t>
            </a:r>
            <a:r>
              <a:rPr lang="en-US" sz="825" dirty="0" smtClean="0">
                <a:solidFill>
                  <a:schemeClr val="tx1"/>
                </a:solidFill>
                <a:cs typeface="Arial" panose="020B0604020202020204" pitchFamily="34" charset="0"/>
              </a:rPr>
              <a:t>data</a:t>
            </a:r>
            <a:r>
              <a:rPr lang="en-US" sz="825" dirty="0">
                <a:solidFill>
                  <a:schemeClr val="tx1"/>
                </a:solidFill>
                <a:cs typeface="Arial" panose="020B0604020202020204" pitchFamily="34" charset="0"/>
              </a:rPr>
              <a:t>, the establishment of related </a:t>
            </a:r>
            <a:r>
              <a:rPr lang="en-US" sz="825" u="sng" dirty="0">
                <a:solidFill>
                  <a:schemeClr val="tx1"/>
                </a:solidFill>
                <a:cs typeface="Arial" panose="020B0604020202020204" pitchFamily="34" charset="0"/>
              </a:rPr>
              <a:t>authentic sources</a:t>
            </a:r>
            <a:r>
              <a:rPr lang="en-US" sz="825" dirty="0">
                <a:solidFill>
                  <a:schemeClr val="tx1"/>
                </a:solidFill>
                <a:cs typeface="Arial" panose="020B0604020202020204" pitchFamily="34" charset="0"/>
              </a:rPr>
              <a:t> is widely supported by a specific law.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1871" y="3935703"/>
            <a:ext cx="2920008" cy="6985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788" dirty="0"/>
              <a:t>Note: </a:t>
            </a:r>
          </a:p>
          <a:p>
            <a:r>
              <a:rPr lang="en-GB" sz="788" dirty="0">
                <a:solidFill>
                  <a:schemeClr val="bg1">
                    <a:lumMod val="50000"/>
                  </a:schemeClr>
                </a:solidFill>
              </a:rPr>
              <a:t>An authentic source is a high quality database, accompanied by explicit guarantees ensuring </a:t>
            </a:r>
            <a:r>
              <a:rPr lang="en-GB" sz="788" dirty="0" smtClean="0">
                <a:solidFill>
                  <a:schemeClr val="bg1">
                    <a:lumMod val="50000"/>
                  </a:schemeClr>
                </a:solidFill>
              </a:rPr>
              <a:t>its </a:t>
            </a:r>
            <a:r>
              <a:rPr lang="en-GB" sz="788" dirty="0">
                <a:solidFill>
                  <a:schemeClr val="bg1">
                    <a:lumMod val="50000"/>
                  </a:schemeClr>
                </a:solidFill>
              </a:rPr>
              <a:t>quality </a:t>
            </a:r>
            <a:r>
              <a:rPr lang="en-GB" sz="788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788" dirty="0">
                <a:solidFill>
                  <a:schemeClr val="bg1">
                    <a:lumMod val="50000"/>
                  </a:schemeClr>
                </a:solidFill>
              </a:rPr>
              <a:t>and that contains essential and/or </a:t>
            </a:r>
            <a:r>
              <a:rPr lang="en-GB" sz="788" dirty="0" smtClean="0">
                <a:solidFill>
                  <a:schemeClr val="bg1">
                    <a:lumMod val="50000"/>
                  </a:schemeClr>
                </a:solidFill>
              </a:rPr>
              <a:t>frequently used </a:t>
            </a:r>
            <a:r>
              <a:rPr lang="en-GB" sz="788" dirty="0">
                <a:solidFill>
                  <a:schemeClr val="bg1">
                    <a:lumMod val="50000"/>
                  </a:schemeClr>
                </a:solidFill>
              </a:rPr>
              <a:t>data pertaining to persons, institutions, issues, activities or occurrences.</a:t>
            </a:r>
          </a:p>
        </p:txBody>
      </p:sp>
      <p:sp>
        <p:nvSpPr>
          <p:cNvPr id="38" name="Espace réservé du numéro de diapositive 4"/>
          <p:cNvSpPr txBox="1">
            <a:spLocks/>
          </p:cNvSpPr>
          <p:nvPr/>
        </p:nvSpPr>
        <p:spPr>
          <a:xfrm>
            <a:off x="8200800" y="4747557"/>
            <a:ext cx="486000" cy="37742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dirty="0" smtClean="0"/>
              <a:t>8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63177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  <p:bldP spid="14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2400" dirty="0" smtClean="0"/>
              <a:t>How does your country </a:t>
            </a:r>
            <a:r>
              <a:rPr lang="en-GB" sz="2400" dirty="0" smtClean="0"/>
              <a:t>implement the </a:t>
            </a:r>
            <a:r>
              <a:rPr lang="en-GB" sz="2400" dirty="0" smtClean="0"/>
              <a:t>consent of “data </a:t>
            </a:r>
            <a:r>
              <a:rPr lang="en-GB" sz="2400" dirty="0" smtClean="0"/>
              <a:t>subjects”?</a:t>
            </a:r>
            <a:endParaRPr lang="en-GB" sz="2400" dirty="0"/>
          </a:p>
        </p:txBody>
      </p:sp>
      <p:grpSp>
        <p:nvGrpSpPr>
          <p:cNvPr id="107" name="Group 106"/>
          <p:cNvGrpSpPr/>
          <p:nvPr/>
        </p:nvGrpSpPr>
        <p:grpSpPr>
          <a:xfrm>
            <a:off x="3915004" y="627534"/>
            <a:ext cx="5090197" cy="3994659"/>
            <a:chOff x="3428590" y="1928130"/>
            <a:chExt cx="5466394" cy="4525190"/>
          </a:xfrm>
        </p:grpSpPr>
        <p:grpSp>
          <p:nvGrpSpPr>
            <p:cNvPr id="108" name="Country Europe (shapes)"/>
            <p:cNvGrpSpPr/>
            <p:nvPr/>
          </p:nvGrpSpPr>
          <p:grpSpPr>
            <a:xfrm>
              <a:off x="3428590" y="1928130"/>
              <a:ext cx="5466394" cy="4460169"/>
              <a:chOff x="2684463" y="1143000"/>
              <a:chExt cx="6015037" cy="4991100"/>
            </a:xfrm>
            <a:solidFill>
              <a:srgbClr val="B5B5B5">
                <a:lumMod val="40000"/>
                <a:lumOff val="60000"/>
              </a:srgb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44" name="Turkey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6521450" y="4591050"/>
                <a:ext cx="2178050" cy="1219200"/>
              </a:xfrm>
              <a:custGeom>
                <a:avLst/>
                <a:gdLst/>
                <a:ahLst/>
                <a:cxnLst>
                  <a:cxn ang="0">
                    <a:pos x="24" y="340"/>
                  </a:cxn>
                  <a:cxn ang="0">
                    <a:pos x="49" y="328"/>
                  </a:cxn>
                  <a:cxn ang="0">
                    <a:pos x="102" y="283"/>
                  </a:cxn>
                  <a:cxn ang="0">
                    <a:pos x="135" y="275"/>
                  </a:cxn>
                  <a:cxn ang="0">
                    <a:pos x="103" y="241"/>
                  </a:cxn>
                  <a:cxn ang="0">
                    <a:pos x="87" y="218"/>
                  </a:cxn>
                  <a:cxn ang="0">
                    <a:pos x="55" y="215"/>
                  </a:cxn>
                  <a:cxn ang="0">
                    <a:pos x="24" y="241"/>
                  </a:cxn>
                  <a:cxn ang="0">
                    <a:pos x="29" y="264"/>
                  </a:cxn>
                  <a:cxn ang="0">
                    <a:pos x="25" y="300"/>
                  </a:cxn>
                  <a:cxn ang="0">
                    <a:pos x="41" y="327"/>
                  </a:cxn>
                  <a:cxn ang="0">
                    <a:pos x="15" y="353"/>
                  </a:cxn>
                  <a:cxn ang="0">
                    <a:pos x="973" y="186"/>
                  </a:cxn>
                  <a:cxn ang="0">
                    <a:pos x="946" y="128"/>
                  </a:cxn>
                  <a:cxn ang="0">
                    <a:pos x="942" y="68"/>
                  </a:cxn>
                  <a:cxn ang="0">
                    <a:pos x="843" y="17"/>
                  </a:cxn>
                  <a:cxn ang="0">
                    <a:pos x="789" y="14"/>
                  </a:cxn>
                  <a:cxn ang="0">
                    <a:pos x="720" y="63"/>
                  </a:cxn>
                  <a:cxn ang="0">
                    <a:pos x="587" y="131"/>
                  </a:cxn>
                  <a:cxn ang="0">
                    <a:pos x="517" y="129"/>
                  </a:cxn>
                  <a:cxn ang="0">
                    <a:pos x="448" y="131"/>
                  </a:cxn>
                  <a:cxn ang="0">
                    <a:pos x="373" y="138"/>
                  </a:cxn>
                  <a:cxn ang="0">
                    <a:pos x="276" y="207"/>
                  </a:cxn>
                  <a:cxn ang="0">
                    <a:pos x="218" y="236"/>
                  </a:cxn>
                  <a:cxn ang="0">
                    <a:pos x="157" y="262"/>
                  </a:cxn>
                  <a:cxn ang="0">
                    <a:pos x="198" y="277"/>
                  </a:cxn>
                  <a:cxn ang="0">
                    <a:pos x="151" y="303"/>
                  </a:cxn>
                  <a:cxn ang="0">
                    <a:pos x="151" y="310"/>
                  </a:cxn>
                  <a:cxn ang="0">
                    <a:pos x="97" y="314"/>
                  </a:cxn>
                  <a:cxn ang="0">
                    <a:pos x="80" y="321"/>
                  </a:cxn>
                  <a:cxn ang="0">
                    <a:pos x="37" y="357"/>
                  </a:cxn>
                  <a:cxn ang="0">
                    <a:pos x="26" y="399"/>
                  </a:cxn>
                  <a:cxn ang="0">
                    <a:pos x="66" y="411"/>
                  </a:cxn>
                  <a:cxn ang="0">
                    <a:pos x="73" y="446"/>
                  </a:cxn>
                  <a:cxn ang="0">
                    <a:pos x="79" y="459"/>
                  </a:cxn>
                  <a:cxn ang="0">
                    <a:pos x="69" y="453"/>
                  </a:cxn>
                  <a:cxn ang="0">
                    <a:pos x="71" y="478"/>
                  </a:cxn>
                  <a:cxn ang="0">
                    <a:pos x="107" y="496"/>
                  </a:cxn>
                  <a:cxn ang="0">
                    <a:pos x="110" y="510"/>
                  </a:cxn>
                  <a:cxn ang="0">
                    <a:pos x="130" y="524"/>
                  </a:cxn>
                  <a:cxn ang="0">
                    <a:pos x="128" y="540"/>
                  </a:cxn>
                  <a:cxn ang="0">
                    <a:pos x="150" y="548"/>
                  </a:cxn>
                  <a:cxn ang="0">
                    <a:pos x="147" y="554"/>
                  </a:cxn>
                  <a:cxn ang="0">
                    <a:pos x="162" y="556"/>
                  </a:cxn>
                  <a:cxn ang="0">
                    <a:pos x="175" y="543"/>
                  </a:cxn>
                  <a:cxn ang="0">
                    <a:pos x="208" y="545"/>
                  </a:cxn>
                  <a:cxn ang="0">
                    <a:pos x="221" y="551"/>
                  </a:cxn>
                  <a:cxn ang="0">
                    <a:pos x="241" y="560"/>
                  </a:cxn>
                  <a:cxn ang="0">
                    <a:pos x="315" y="546"/>
                  </a:cxn>
                  <a:cxn ang="0">
                    <a:pos x="391" y="513"/>
                  </a:cxn>
                  <a:cxn ang="0">
                    <a:pos x="563" y="456"/>
                  </a:cxn>
                  <a:cxn ang="0">
                    <a:pos x="606" y="438"/>
                  </a:cxn>
                  <a:cxn ang="0">
                    <a:pos x="631" y="472"/>
                  </a:cxn>
                  <a:cxn ang="0">
                    <a:pos x="645" y="413"/>
                  </a:cxn>
                  <a:cxn ang="0">
                    <a:pos x="707" y="377"/>
                  </a:cxn>
                  <a:cxn ang="0">
                    <a:pos x="865" y="297"/>
                  </a:cxn>
                  <a:cxn ang="0">
                    <a:pos x="910" y="253"/>
                  </a:cxn>
                  <a:cxn ang="0">
                    <a:pos x="975" y="238"/>
                  </a:cxn>
                  <a:cxn ang="0">
                    <a:pos x="1020" y="222"/>
                  </a:cxn>
                </a:cxnLst>
                <a:rect l="0" t="0" r="r" b="b"/>
                <a:pathLst>
                  <a:path w="1022" h="573">
                    <a:moveTo>
                      <a:pt x="91" y="305"/>
                    </a:moveTo>
                    <a:cubicBezTo>
                      <a:pt x="82" y="306"/>
                      <a:pt x="85" y="312"/>
                      <a:pt x="91" y="310"/>
                    </a:cubicBezTo>
                    <a:cubicBezTo>
                      <a:pt x="100" y="308"/>
                      <a:pt x="101" y="304"/>
                      <a:pt x="91" y="305"/>
                    </a:cubicBezTo>
                    <a:close/>
                    <a:moveTo>
                      <a:pt x="41" y="327"/>
                    </a:moveTo>
                    <a:cubicBezTo>
                      <a:pt x="24" y="340"/>
                      <a:pt x="24" y="340"/>
                      <a:pt x="24" y="340"/>
                    </a:cubicBezTo>
                    <a:cubicBezTo>
                      <a:pt x="30" y="347"/>
                      <a:pt x="30" y="347"/>
                      <a:pt x="30" y="347"/>
                    </a:cubicBezTo>
                    <a:cubicBezTo>
                      <a:pt x="26" y="360"/>
                      <a:pt x="26" y="360"/>
                      <a:pt x="26" y="360"/>
                    </a:cubicBezTo>
                    <a:cubicBezTo>
                      <a:pt x="33" y="355"/>
                      <a:pt x="33" y="355"/>
                      <a:pt x="33" y="355"/>
                    </a:cubicBezTo>
                    <a:cubicBezTo>
                      <a:pt x="35" y="347"/>
                      <a:pt x="35" y="347"/>
                      <a:pt x="35" y="347"/>
                    </a:cubicBezTo>
                    <a:cubicBezTo>
                      <a:pt x="49" y="328"/>
                      <a:pt x="49" y="328"/>
                      <a:pt x="49" y="328"/>
                    </a:cubicBezTo>
                    <a:cubicBezTo>
                      <a:pt x="64" y="318"/>
                      <a:pt x="64" y="318"/>
                      <a:pt x="64" y="318"/>
                    </a:cubicBezTo>
                    <a:cubicBezTo>
                      <a:pt x="77" y="302"/>
                      <a:pt x="77" y="302"/>
                      <a:pt x="77" y="302"/>
                    </a:cubicBezTo>
                    <a:cubicBezTo>
                      <a:pt x="77" y="302"/>
                      <a:pt x="79" y="294"/>
                      <a:pt x="80" y="290"/>
                    </a:cubicBezTo>
                    <a:cubicBezTo>
                      <a:pt x="81" y="287"/>
                      <a:pt x="93" y="283"/>
                      <a:pt x="93" y="283"/>
                    </a:cubicBezTo>
                    <a:cubicBezTo>
                      <a:pt x="93" y="283"/>
                      <a:pt x="100" y="284"/>
                      <a:pt x="102" y="283"/>
                    </a:cubicBezTo>
                    <a:cubicBezTo>
                      <a:pt x="105" y="283"/>
                      <a:pt x="106" y="275"/>
                      <a:pt x="113" y="274"/>
                    </a:cubicBezTo>
                    <a:cubicBezTo>
                      <a:pt x="120" y="273"/>
                      <a:pt x="132" y="274"/>
                      <a:pt x="132" y="274"/>
                    </a:cubicBezTo>
                    <a:cubicBezTo>
                      <a:pt x="132" y="270"/>
                      <a:pt x="132" y="270"/>
                      <a:pt x="132" y="270"/>
                    </a:cubicBezTo>
                    <a:cubicBezTo>
                      <a:pt x="135" y="270"/>
                      <a:pt x="135" y="270"/>
                      <a:pt x="135" y="270"/>
                    </a:cubicBezTo>
                    <a:cubicBezTo>
                      <a:pt x="135" y="275"/>
                      <a:pt x="135" y="275"/>
                      <a:pt x="135" y="275"/>
                    </a:cubicBezTo>
                    <a:cubicBezTo>
                      <a:pt x="135" y="275"/>
                      <a:pt x="140" y="275"/>
                      <a:pt x="149" y="272"/>
                    </a:cubicBezTo>
                    <a:cubicBezTo>
                      <a:pt x="157" y="268"/>
                      <a:pt x="153" y="258"/>
                      <a:pt x="153" y="258"/>
                    </a:cubicBezTo>
                    <a:cubicBezTo>
                      <a:pt x="155" y="253"/>
                      <a:pt x="155" y="253"/>
                      <a:pt x="155" y="253"/>
                    </a:cubicBezTo>
                    <a:cubicBezTo>
                      <a:pt x="155" y="253"/>
                      <a:pt x="143" y="253"/>
                      <a:pt x="133" y="251"/>
                    </a:cubicBezTo>
                    <a:cubicBezTo>
                      <a:pt x="123" y="250"/>
                      <a:pt x="112" y="246"/>
                      <a:pt x="103" y="241"/>
                    </a:cubicBezTo>
                    <a:cubicBezTo>
                      <a:pt x="95" y="237"/>
                      <a:pt x="101" y="233"/>
                      <a:pt x="100" y="229"/>
                    </a:cubicBezTo>
                    <a:cubicBezTo>
                      <a:pt x="99" y="226"/>
                      <a:pt x="93" y="223"/>
                      <a:pt x="93" y="223"/>
                    </a:cubicBezTo>
                    <a:cubicBezTo>
                      <a:pt x="96" y="221"/>
                      <a:pt x="96" y="221"/>
                      <a:pt x="96" y="221"/>
                    </a:cubicBezTo>
                    <a:cubicBezTo>
                      <a:pt x="93" y="215"/>
                      <a:pt x="93" y="215"/>
                      <a:pt x="93" y="215"/>
                    </a:cubicBezTo>
                    <a:cubicBezTo>
                      <a:pt x="87" y="218"/>
                      <a:pt x="87" y="218"/>
                      <a:pt x="87" y="218"/>
                    </a:cubicBezTo>
                    <a:cubicBezTo>
                      <a:pt x="84" y="218"/>
                      <a:pt x="84" y="218"/>
                      <a:pt x="84" y="218"/>
                    </a:cubicBezTo>
                    <a:cubicBezTo>
                      <a:pt x="84" y="223"/>
                      <a:pt x="84" y="223"/>
                      <a:pt x="84" y="223"/>
                    </a:cubicBezTo>
                    <a:cubicBezTo>
                      <a:pt x="77" y="220"/>
                      <a:pt x="77" y="220"/>
                      <a:pt x="77" y="220"/>
                    </a:cubicBezTo>
                    <a:cubicBezTo>
                      <a:pt x="77" y="220"/>
                      <a:pt x="72" y="224"/>
                      <a:pt x="67" y="224"/>
                    </a:cubicBezTo>
                    <a:cubicBezTo>
                      <a:pt x="63" y="223"/>
                      <a:pt x="58" y="217"/>
                      <a:pt x="55" y="215"/>
                    </a:cubicBezTo>
                    <a:cubicBezTo>
                      <a:pt x="51" y="215"/>
                      <a:pt x="49" y="221"/>
                      <a:pt x="49" y="221"/>
                    </a:cubicBezTo>
                    <a:cubicBezTo>
                      <a:pt x="49" y="221"/>
                      <a:pt x="48" y="218"/>
                      <a:pt x="46" y="219"/>
                    </a:cubicBezTo>
                    <a:cubicBezTo>
                      <a:pt x="44" y="221"/>
                      <a:pt x="44" y="224"/>
                      <a:pt x="38" y="228"/>
                    </a:cubicBezTo>
                    <a:cubicBezTo>
                      <a:pt x="34" y="233"/>
                      <a:pt x="28" y="229"/>
                      <a:pt x="23" y="230"/>
                    </a:cubicBezTo>
                    <a:cubicBezTo>
                      <a:pt x="20" y="233"/>
                      <a:pt x="25" y="237"/>
                      <a:pt x="24" y="241"/>
                    </a:cubicBezTo>
                    <a:cubicBezTo>
                      <a:pt x="22" y="244"/>
                      <a:pt x="17" y="241"/>
                      <a:pt x="15" y="243"/>
                    </a:cubicBezTo>
                    <a:cubicBezTo>
                      <a:pt x="12" y="245"/>
                      <a:pt x="14" y="250"/>
                      <a:pt x="14" y="250"/>
                    </a:cubicBezTo>
                    <a:cubicBezTo>
                      <a:pt x="21" y="252"/>
                      <a:pt x="21" y="252"/>
                      <a:pt x="21" y="252"/>
                    </a:cubicBezTo>
                    <a:cubicBezTo>
                      <a:pt x="28" y="255"/>
                      <a:pt x="28" y="255"/>
                      <a:pt x="28" y="255"/>
                    </a:cubicBezTo>
                    <a:cubicBezTo>
                      <a:pt x="28" y="255"/>
                      <a:pt x="28" y="261"/>
                      <a:pt x="29" y="264"/>
                    </a:cubicBezTo>
                    <a:cubicBezTo>
                      <a:pt x="30" y="266"/>
                      <a:pt x="36" y="271"/>
                      <a:pt x="34" y="273"/>
                    </a:cubicBezTo>
                    <a:cubicBezTo>
                      <a:pt x="32" y="275"/>
                      <a:pt x="26" y="274"/>
                      <a:pt x="26" y="274"/>
                    </a:cubicBezTo>
                    <a:cubicBezTo>
                      <a:pt x="19" y="281"/>
                      <a:pt x="19" y="281"/>
                      <a:pt x="19" y="281"/>
                    </a:cubicBezTo>
                    <a:cubicBezTo>
                      <a:pt x="20" y="290"/>
                      <a:pt x="20" y="290"/>
                      <a:pt x="20" y="290"/>
                    </a:cubicBezTo>
                    <a:cubicBezTo>
                      <a:pt x="20" y="290"/>
                      <a:pt x="28" y="296"/>
                      <a:pt x="25" y="300"/>
                    </a:cubicBezTo>
                    <a:cubicBezTo>
                      <a:pt x="23" y="305"/>
                      <a:pt x="13" y="316"/>
                      <a:pt x="13" y="316"/>
                    </a:cubicBezTo>
                    <a:cubicBezTo>
                      <a:pt x="13" y="316"/>
                      <a:pt x="14" y="322"/>
                      <a:pt x="18" y="324"/>
                    </a:cubicBezTo>
                    <a:cubicBezTo>
                      <a:pt x="22" y="328"/>
                      <a:pt x="39" y="320"/>
                      <a:pt x="39" y="320"/>
                    </a:cubicBezTo>
                    <a:cubicBezTo>
                      <a:pt x="39" y="320"/>
                      <a:pt x="50" y="314"/>
                      <a:pt x="52" y="318"/>
                    </a:cubicBezTo>
                    <a:cubicBezTo>
                      <a:pt x="53" y="321"/>
                      <a:pt x="41" y="327"/>
                      <a:pt x="41" y="327"/>
                    </a:cubicBezTo>
                    <a:close/>
                    <a:moveTo>
                      <a:pt x="13" y="350"/>
                    </a:moveTo>
                    <a:cubicBezTo>
                      <a:pt x="13" y="350"/>
                      <a:pt x="0" y="354"/>
                      <a:pt x="0" y="361"/>
                    </a:cubicBezTo>
                    <a:cubicBezTo>
                      <a:pt x="0" y="361"/>
                      <a:pt x="2" y="364"/>
                      <a:pt x="8" y="361"/>
                    </a:cubicBezTo>
                    <a:cubicBezTo>
                      <a:pt x="15" y="357"/>
                      <a:pt x="18" y="355"/>
                      <a:pt x="18" y="355"/>
                    </a:cubicBezTo>
                    <a:cubicBezTo>
                      <a:pt x="15" y="353"/>
                      <a:pt x="15" y="353"/>
                      <a:pt x="15" y="353"/>
                    </a:cubicBezTo>
                    <a:lnTo>
                      <a:pt x="13" y="350"/>
                    </a:lnTo>
                    <a:close/>
                    <a:moveTo>
                      <a:pt x="1019" y="210"/>
                    </a:moveTo>
                    <a:cubicBezTo>
                      <a:pt x="1015" y="206"/>
                      <a:pt x="1013" y="209"/>
                      <a:pt x="1004" y="209"/>
                    </a:cubicBezTo>
                    <a:cubicBezTo>
                      <a:pt x="997" y="209"/>
                      <a:pt x="1003" y="198"/>
                      <a:pt x="996" y="191"/>
                    </a:cubicBezTo>
                    <a:cubicBezTo>
                      <a:pt x="988" y="182"/>
                      <a:pt x="973" y="186"/>
                      <a:pt x="973" y="186"/>
                    </a:cubicBezTo>
                    <a:cubicBezTo>
                      <a:pt x="971" y="155"/>
                      <a:pt x="971" y="155"/>
                      <a:pt x="971" y="155"/>
                    </a:cubicBezTo>
                    <a:cubicBezTo>
                      <a:pt x="963" y="159"/>
                      <a:pt x="963" y="159"/>
                      <a:pt x="963" y="159"/>
                    </a:cubicBezTo>
                    <a:cubicBezTo>
                      <a:pt x="963" y="159"/>
                      <a:pt x="964" y="150"/>
                      <a:pt x="959" y="146"/>
                    </a:cubicBezTo>
                    <a:cubicBezTo>
                      <a:pt x="955" y="141"/>
                      <a:pt x="950" y="138"/>
                      <a:pt x="950" y="138"/>
                    </a:cubicBezTo>
                    <a:cubicBezTo>
                      <a:pt x="946" y="128"/>
                      <a:pt x="946" y="128"/>
                      <a:pt x="946" y="128"/>
                    </a:cubicBezTo>
                    <a:cubicBezTo>
                      <a:pt x="938" y="128"/>
                      <a:pt x="938" y="128"/>
                      <a:pt x="938" y="128"/>
                    </a:cubicBezTo>
                    <a:cubicBezTo>
                      <a:pt x="938" y="128"/>
                      <a:pt x="920" y="108"/>
                      <a:pt x="919" y="104"/>
                    </a:cubicBezTo>
                    <a:cubicBezTo>
                      <a:pt x="919" y="100"/>
                      <a:pt x="929" y="98"/>
                      <a:pt x="934" y="95"/>
                    </a:cubicBezTo>
                    <a:cubicBezTo>
                      <a:pt x="938" y="92"/>
                      <a:pt x="932" y="82"/>
                      <a:pt x="930" y="75"/>
                    </a:cubicBezTo>
                    <a:cubicBezTo>
                      <a:pt x="927" y="68"/>
                      <a:pt x="942" y="68"/>
                      <a:pt x="942" y="68"/>
                    </a:cubicBezTo>
                    <a:cubicBezTo>
                      <a:pt x="942" y="68"/>
                      <a:pt x="934" y="61"/>
                      <a:pt x="922" y="59"/>
                    </a:cubicBezTo>
                    <a:cubicBezTo>
                      <a:pt x="910" y="55"/>
                      <a:pt x="906" y="62"/>
                      <a:pt x="898" y="68"/>
                    </a:cubicBezTo>
                    <a:cubicBezTo>
                      <a:pt x="890" y="73"/>
                      <a:pt x="882" y="68"/>
                      <a:pt x="871" y="59"/>
                    </a:cubicBezTo>
                    <a:cubicBezTo>
                      <a:pt x="861" y="49"/>
                      <a:pt x="864" y="36"/>
                      <a:pt x="861" y="25"/>
                    </a:cubicBezTo>
                    <a:cubicBezTo>
                      <a:pt x="858" y="16"/>
                      <a:pt x="849" y="17"/>
                      <a:pt x="843" y="17"/>
                    </a:cubicBezTo>
                    <a:cubicBezTo>
                      <a:pt x="838" y="17"/>
                      <a:pt x="841" y="8"/>
                      <a:pt x="838" y="8"/>
                    </a:cubicBezTo>
                    <a:cubicBezTo>
                      <a:pt x="834" y="8"/>
                      <a:pt x="829" y="14"/>
                      <a:pt x="829" y="14"/>
                    </a:cubicBezTo>
                    <a:cubicBezTo>
                      <a:pt x="803" y="4"/>
                      <a:pt x="803" y="4"/>
                      <a:pt x="803" y="4"/>
                    </a:cubicBezTo>
                    <a:cubicBezTo>
                      <a:pt x="803" y="4"/>
                      <a:pt x="799" y="0"/>
                      <a:pt x="792" y="0"/>
                    </a:cubicBezTo>
                    <a:cubicBezTo>
                      <a:pt x="787" y="0"/>
                      <a:pt x="789" y="14"/>
                      <a:pt x="789" y="14"/>
                    </a:cubicBezTo>
                    <a:cubicBezTo>
                      <a:pt x="789" y="14"/>
                      <a:pt x="781" y="15"/>
                      <a:pt x="773" y="16"/>
                    </a:cubicBezTo>
                    <a:cubicBezTo>
                      <a:pt x="766" y="17"/>
                      <a:pt x="757" y="28"/>
                      <a:pt x="757" y="28"/>
                    </a:cubicBezTo>
                    <a:cubicBezTo>
                      <a:pt x="741" y="30"/>
                      <a:pt x="741" y="30"/>
                      <a:pt x="741" y="30"/>
                    </a:cubicBezTo>
                    <a:cubicBezTo>
                      <a:pt x="726" y="59"/>
                      <a:pt x="726" y="59"/>
                      <a:pt x="726" y="59"/>
                    </a:cubicBezTo>
                    <a:cubicBezTo>
                      <a:pt x="720" y="63"/>
                      <a:pt x="720" y="63"/>
                      <a:pt x="720" y="63"/>
                    </a:cubicBezTo>
                    <a:cubicBezTo>
                      <a:pt x="720" y="63"/>
                      <a:pt x="721" y="69"/>
                      <a:pt x="703" y="85"/>
                    </a:cubicBezTo>
                    <a:cubicBezTo>
                      <a:pt x="685" y="101"/>
                      <a:pt x="665" y="99"/>
                      <a:pt x="665" y="99"/>
                    </a:cubicBezTo>
                    <a:cubicBezTo>
                      <a:pt x="665" y="99"/>
                      <a:pt x="662" y="95"/>
                      <a:pt x="651" y="98"/>
                    </a:cubicBezTo>
                    <a:cubicBezTo>
                      <a:pt x="640" y="101"/>
                      <a:pt x="624" y="118"/>
                      <a:pt x="614" y="126"/>
                    </a:cubicBezTo>
                    <a:cubicBezTo>
                      <a:pt x="604" y="132"/>
                      <a:pt x="587" y="131"/>
                      <a:pt x="587" y="131"/>
                    </a:cubicBezTo>
                    <a:cubicBezTo>
                      <a:pt x="578" y="126"/>
                      <a:pt x="578" y="126"/>
                      <a:pt x="578" y="126"/>
                    </a:cubicBezTo>
                    <a:cubicBezTo>
                      <a:pt x="569" y="125"/>
                      <a:pt x="569" y="125"/>
                      <a:pt x="569" y="125"/>
                    </a:cubicBezTo>
                    <a:cubicBezTo>
                      <a:pt x="564" y="138"/>
                      <a:pt x="564" y="138"/>
                      <a:pt x="564" y="138"/>
                    </a:cubicBezTo>
                    <a:cubicBezTo>
                      <a:pt x="564" y="138"/>
                      <a:pt x="542" y="133"/>
                      <a:pt x="539" y="130"/>
                    </a:cubicBezTo>
                    <a:cubicBezTo>
                      <a:pt x="534" y="127"/>
                      <a:pt x="517" y="129"/>
                      <a:pt x="517" y="129"/>
                    </a:cubicBezTo>
                    <a:cubicBezTo>
                      <a:pt x="517" y="129"/>
                      <a:pt x="522" y="142"/>
                      <a:pt x="515" y="145"/>
                    </a:cubicBezTo>
                    <a:cubicBezTo>
                      <a:pt x="509" y="148"/>
                      <a:pt x="490" y="136"/>
                      <a:pt x="490" y="136"/>
                    </a:cubicBezTo>
                    <a:cubicBezTo>
                      <a:pt x="490" y="123"/>
                      <a:pt x="490" y="123"/>
                      <a:pt x="490" y="123"/>
                    </a:cubicBezTo>
                    <a:cubicBezTo>
                      <a:pt x="477" y="118"/>
                      <a:pt x="477" y="118"/>
                      <a:pt x="477" y="118"/>
                    </a:cubicBezTo>
                    <a:cubicBezTo>
                      <a:pt x="477" y="118"/>
                      <a:pt x="467" y="134"/>
                      <a:pt x="448" y="131"/>
                    </a:cubicBezTo>
                    <a:cubicBezTo>
                      <a:pt x="428" y="129"/>
                      <a:pt x="434" y="111"/>
                      <a:pt x="434" y="111"/>
                    </a:cubicBezTo>
                    <a:cubicBezTo>
                      <a:pt x="423" y="113"/>
                      <a:pt x="423" y="113"/>
                      <a:pt x="423" y="113"/>
                    </a:cubicBezTo>
                    <a:cubicBezTo>
                      <a:pt x="423" y="113"/>
                      <a:pt x="421" y="117"/>
                      <a:pt x="419" y="122"/>
                    </a:cubicBezTo>
                    <a:cubicBezTo>
                      <a:pt x="417" y="126"/>
                      <a:pt x="403" y="131"/>
                      <a:pt x="395" y="130"/>
                    </a:cubicBezTo>
                    <a:cubicBezTo>
                      <a:pt x="386" y="128"/>
                      <a:pt x="381" y="134"/>
                      <a:pt x="373" y="138"/>
                    </a:cubicBezTo>
                    <a:cubicBezTo>
                      <a:pt x="364" y="142"/>
                      <a:pt x="348" y="143"/>
                      <a:pt x="348" y="143"/>
                    </a:cubicBezTo>
                    <a:cubicBezTo>
                      <a:pt x="326" y="159"/>
                      <a:pt x="326" y="159"/>
                      <a:pt x="326" y="159"/>
                    </a:cubicBezTo>
                    <a:cubicBezTo>
                      <a:pt x="300" y="178"/>
                      <a:pt x="300" y="178"/>
                      <a:pt x="300" y="178"/>
                    </a:cubicBezTo>
                    <a:cubicBezTo>
                      <a:pt x="300" y="186"/>
                      <a:pt x="300" y="186"/>
                      <a:pt x="300" y="186"/>
                    </a:cubicBezTo>
                    <a:cubicBezTo>
                      <a:pt x="276" y="207"/>
                      <a:pt x="276" y="207"/>
                      <a:pt x="276" y="207"/>
                    </a:cubicBezTo>
                    <a:cubicBezTo>
                      <a:pt x="269" y="213"/>
                      <a:pt x="269" y="213"/>
                      <a:pt x="269" y="213"/>
                    </a:cubicBezTo>
                    <a:cubicBezTo>
                      <a:pt x="269" y="213"/>
                      <a:pt x="271" y="222"/>
                      <a:pt x="264" y="230"/>
                    </a:cubicBezTo>
                    <a:cubicBezTo>
                      <a:pt x="255" y="239"/>
                      <a:pt x="239" y="238"/>
                      <a:pt x="239" y="238"/>
                    </a:cubicBezTo>
                    <a:cubicBezTo>
                      <a:pt x="220" y="240"/>
                      <a:pt x="220" y="240"/>
                      <a:pt x="220" y="240"/>
                    </a:cubicBezTo>
                    <a:cubicBezTo>
                      <a:pt x="218" y="236"/>
                      <a:pt x="218" y="236"/>
                      <a:pt x="218" y="236"/>
                    </a:cubicBezTo>
                    <a:cubicBezTo>
                      <a:pt x="206" y="245"/>
                      <a:pt x="206" y="245"/>
                      <a:pt x="206" y="245"/>
                    </a:cubicBezTo>
                    <a:cubicBezTo>
                      <a:pt x="197" y="245"/>
                      <a:pt x="197" y="245"/>
                      <a:pt x="197" y="245"/>
                    </a:cubicBezTo>
                    <a:cubicBezTo>
                      <a:pt x="194" y="247"/>
                      <a:pt x="187" y="251"/>
                      <a:pt x="184" y="252"/>
                    </a:cubicBezTo>
                    <a:cubicBezTo>
                      <a:pt x="180" y="253"/>
                      <a:pt x="166" y="251"/>
                      <a:pt x="161" y="253"/>
                    </a:cubicBezTo>
                    <a:cubicBezTo>
                      <a:pt x="154" y="255"/>
                      <a:pt x="157" y="262"/>
                      <a:pt x="157" y="262"/>
                    </a:cubicBezTo>
                    <a:cubicBezTo>
                      <a:pt x="157" y="262"/>
                      <a:pt x="156" y="266"/>
                      <a:pt x="155" y="270"/>
                    </a:cubicBezTo>
                    <a:cubicBezTo>
                      <a:pt x="155" y="273"/>
                      <a:pt x="171" y="275"/>
                      <a:pt x="171" y="275"/>
                    </a:cubicBezTo>
                    <a:cubicBezTo>
                      <a:pt x="170" y="278"/>
                      <a:pt x="170" y="278"/>
                      <a:pt x="170" y="278"/>
                    </a:cubicBezTo>
                    <a:cubicBezTo>
                      <a:pt x="177" y="280"/>
                      <a:pt x="177" y="280"/>
                      <a:pt x="177" y="280"/>
                    </a:cubicBezTo>
                    <a:cubicBezTo>
                      <a:pt x="177" y="280"/>
                      <a:pt x="197" y="275"/>
                      <a:pt x="198" y="277"/>
                    </a:cubicBezTo>
                    <a:cubicBezTo>
                      <a:pt x="198" y="280"/>
                      <a:pt x="186" y="283"/>
                      <a:pt x="186" y="283"/>
                    </a:cubicBezTo>
                    <a:cubicBezTo>
                      <a:pt x="183" y="282"/>
                      <a:pt x="183" y="282"/>
                      <a:pt x="183" y="282"/>
                    </a:cubicBezTo>
                    <a:cubicBezTo>
                      <a:pt x="173" y="287"/>
                      <a:pt x="173" y="287"/>
                      <a:pt x="173" y="287"/>
                    </a:cubicBezTo>
                    <a:cubicBezTo>
                      <a:pt x="156" y="291"/>
                      <a:pt x="156" y="291"/>
                      <a:pt x="156" y="291"/>
                    </a:cubicBezTo>
                    <a:cubicBezTo>
                      <a:pt x="151" y="303"/>
                      <a:pt x="151" y="303"/>
                      <a:pt x="151" y="303"/>
                    </a:cubicBezTo>
                    <a:cubicBezTo>
                      <a:pt x="156" y="305"/>
                      <a:pt x="156" y="305"/>
                      <a:pt x="156" y="305"/>
                    </a:cubicBezTo>
                    <a:cubicBezTo>
                      <a:pt x="156" y="305"/>
                      <a:pt x="161" y="303"/>
                      <a:pt x="165" y="303"/>
                    </a:cubicBezTo>
                    <a:cubicBezTo>
                      <a:pt x="171" y="303"/>
                      <a:pt x="171" y="303"/>
                      <a:pt x="171" y="303"/>
                    </a:cubicBezTo>
                    <a:cubicBezTo>
                      <a:pt x="171" y="303"/>
                      <a:pt x="168" y="306"/>
                      <a:pt x="165" y="309"/>
                    </a:cubicBezTo>
                    <a:cubicBezTo>
                      <a:pt x="162" y="312"/>
                      <a:pt x="151" y="310"/>
                      <a:pt x="151" y="310"/>
                    </a:cubicBezTo>
                    <a:cubicBezTo>
                      <a:pt x="144" y="314"/>
                      <a:pt x="144" y="314"/>
                      <a:pt x="144" y="314"/>
                    </a:cubicBezTo>
                    <a:cubicBezTo>
                      <a:pt x="136" y="313"/>
                      <a:pt x="136" y="313"/>
                      <a:pt x="136" y="313"/>
                    </a:cubicBezTo>
                    <a:cubicBezTo>
                      <a:pt x="110" y="318"/>
                      <a:pt x="110" y="318"/>
                      <a:pt x="110" y="318"/>
                    </a:cubicBezTo>
                    <a:cubicBezTo>
                      <a:pt x="114" y="312"/>
                      <a:pt x="114" y="312"/>
                      <a:pt x="114" y="312"/>
                    </a:cubicBezTo>
                    <a:cubicBezTo>
                      <a:pt x="97" y="314"/>
                      <a:pt x="97" y="314"/>
                      <a:pt x="97" y="314"/>
                    </a:cubicBezTo>
                    <a:cubicBezTo>
                      <a:pt x="97" y="317"/>
                      <a:pt x="97" y="317"/>
                      <a:pt x="97" y="317"/>
                    </a:cubicBezTo>
                    <a:cubicBezTo>
                      <a:pt x="106" y="322"/>
                      <a:pt x="106" y="322"/>
                      <a:pt x="106" y="322"/>
                    </a:cubicBezTo>
                    <a:cubicBezTo>
                      <a:pt x="106" y="322"/>
                      <a:pt x="102" y="327"/>
                      <a:pt x="96" y="328"/>
                    </a:cubicBezTo>
                    <a:cubicBezTo>
                      <a:pt x="80" y="328"/>
                      <a:pt x="80" y="328"/>
                      <a:pt x="80" y="328"/>
                    </a:cubicBezTo>
                    <a:cubicBezTo>
                      <a:pt x="80" y="321"/>
                      <a:pt x="80" y="321"/>
                      <a:pt x="80" y="321"/>
                    </a:cubicBezTo>
                    <a:cubicBezTo>
                      <a:pt x="69" y="324"/>
                      <a:pt x="69" y="324"/>
                      <a:pt x="69" y="324"/>
                    </a:cubicBezTo>
                    <a:cubicBezTo>
                      <a:pt x="69" y="324"/>
                      <a:pt x="67" y="330"/>
                      <a:pt x="63" y="330"/>
                    </a:cubicBezTo>
                    <a:cubicBezTo>
                      <a:pt x="58" y="330"/>
                      <a:pt x="50" y="333"/>
                      <a:pt x="48" y="337"/>
                    </a:cubicBezTo>
                    <a:cubicBezTo>
                      <a:pt x="47" y="341"/>
                      <a:pt x="45" y="346"/>
                      <a:pt x="40" y="348"/>
                    </a:cubicBezTo>
                    <a:cubicBezTo>
                      <a:pt x="35" y="349"/>
                      <a:pt x="38" y="353"/>
                      <a:pt x="37" y="357"/>
                    </a:cubicBezTo>
                    <a:cubicBezTo>
                      <a:pt x="36" y="362"/>
                      <a:pt x="29" y="363"/>
                      <a:pt x="29" y="363"/>
                    </a:cubicBezTo>
                    <a:cubicBezTo>
                      <a:pt x="28" y="368"/>
                      <a:pt x="28" y="368"/>
                      <a:pt x="28" y="368"/>
                    </a:cubicBezTo>
                    <a:cubicBezTo>
                      <a:pt x="29" y="383"/>
                      <a:pt x="29" y="383"/>
                      <a:pt x="29" y="383"/>
                    </a:cubicBezTo>
                    <a:cubicBezTo>
                      <a:pt x="32" y="384"/>
                      <a:pt x="32" y="384"/>
                      <a:pt x="32" y="384"/>
                    </a:cubicBezTo>
                    <a:cubicBezTo>
                      <a:pt x="26" y="399"/>
                      <a:pt x="26" y="399"/>
                      <a:pt x="26" y="399"/>
                    </a:cubicBezTo>
                    <a:cubicBezTo>
                      <a:pt x="51" y="388"/>
                      <a:pt x="51" y="388"/>
                      <a:pt x="51" y="388"/>
                    </a:cubicBezTo>
                    <a:cubicBezTo>
                      <a:pt x="51" y="388"/>
                      <a:pt x="68" y="380"/>
                      <a:pt x="73" y="385"/>
                    </a:cubicBezTo>
                    <a:cubicBezTo>
                      <a:pt x="78" y="391"/>
                      <a:pt x="58" y="404"/>
                      <a:pt x="58" y="404"/>
                    </a:cubicBezTo>
                    <a:cubicBezTo>
                      <a:pt x="65" y="407"/>
                      <a:pt x="65" y="407"/>
                      <a:pt x="65" y="407"/>
                    </a:cubicBezTo>
                    <a:cubicBezTo>
                      <a:pt x="66" y="411"/>
                      <a:pt x="66" y="411"/>
                      <a:pt x="66" y="411"/>
                    </a:cubicBezTo>
                    <a:cubicBezTo>
                      <a:pt x="74" y="413"/>
                      <a:pt x="74" y="413"/>
                      <a:pt x="74" y="413"/>
                    </a:cubicBezTo>
                    <a:cubicBezTo>
                      <a:pt x="74" y="413"/>
                      <a:pt x="71" y="419"/>
                      <a:pt x="72" y="424"/>
                    </a:cubicBezTo>
                    <a:cubicBezTo>
                      <a:pt x="73" y="429"/>
                      <a:pt x="82" y="422"/>
                      <a:pt x="85" y="426"/>
                    </a:cubicBezTo>
                    <a:cubicBezTo>
                      <a:pt x="88" y="430"/>
                      <a:pt x="80" y="434"/>
                      <a:pt x="75" y="436"/>
                    </a:cubicBezTo>
                    <a:cubicBezTo>
                      <a:pt x="71" y="438"/>
                      <a:pt x="72" y="443"/>
                      <a:pt x="73" y="446"/>
                    </a:cubicBezTo>
                    <a:cubicBezTo>
                      <a:pt x="74" y="448"/>
                      <a:pt x="79" y="446"/>
                      <a:pt x="79" y="446"/>
                    </a:cubicBezTo>
                    <a:cubicBezTo>
                      <a:pt x="79" y="450"/>
                      <a:pt x="79" y="450"/>
                      <a:pt x="79" y="450"/>
                    </a:cubicBezTo>
                    <a:cubicBezTo>
                      <a:pt x="85" y="453"/>
                      <a:pt x="85" y="453"/>
                      <a:pt x="85" y="453"/>
                    </a:cubicBezTo>
                    <a:cubicBezTo>
                      <a:pt x="95" y="453"/>
                      <a:pt x="95" y="453"/>
                      <a:pt x="95" y="453"/>
                    </a:cubicBezTo>
                    <a:cubicBezTo>
                      <a:pt x="79" y="459"/>
                      <a:pt x="79" y="459"/>
                      <a:pt x="79" y="459"/>
                    </a:cubicBezTo>
                    <a:cubicBezTo>
                      <a:pt x="74" y="457"/>
                      <a:pt x="74" y="457"/>
                      <a:pt x="74" y="457"/>
                    </a:cubicBezTo>
                    <a:cubicBezTo>
                      <a:pt x="71" y="458"/>
                      <a:pt x="71" y="458"/>
                      <a:pt x="71" y="458"/>
                    </a:cubicBezTo>
                    <a:cubicBezTo>
                      <a:pt x="72" y="463"/>
                      <a:pt x="72" y="463"/>
                      <a:pt x="72" y="463"/>
                    </a:cubicBezTo>
                    <a:cubicBezTo>
                      <a:pt x="67" y="458"/>
                      <a:pt x="67" y="458"/>
                      <a:pt x="67" y="458"/>
                    </a:cubicBezTo>
                    <a:cubicBezTo>
                      <a:pt x="69" y="453"/>
                      <a:pt x="69" y="453"/>
                      <a:pt x="69" y="453"/>
                    </a:cubicBezTo>
                    <a:cubicBezTo>
                      <a:pt x="69" y="453"/>
                      <a:pt x="59" y="444"/>
                      <a:pt x="55" y="445"/>
                    </a:cubicBezTo>
                    <a:cubicBezTo>
                      <a:pt x="50" y="446"/>
                      <a:pt x="56" y="458"/>
                      <a:pt x="56" y="458"/>
                    </a:cubicBezTo>
                    <a:cubicBezTo>
                      <a:pt x="56" y="458"/>
                      <a:pt x="61" y="458"/>
                      <a:pt x="61" y="464"/>
                    </a:cubicBezTo>
                    <a:cubicBezTo>
                      <a:pt x="62" y="471"/>
                      <a:pt x="52" y="471"/>
                      <a:pt x="52" y="471"/>
                    </a:cubicBezTo>
                    <a:cubicBezTo>
                      <a:pt x="71" y="478"/>
                      <a:pt x="71" y="478"/>
                      <a:pt x="71" y="478"/>
                    </a:cubicBezTo>
                    <a:cubicBezTo>
                      <a:pt x="81" y="471"/>
                      <a:pt x="81" y="471"/>
                      <a:pt x="81" y="471"/>
                    </a:cubicBezTo>
                    <a:cubicBezTo>
                      <a:pt x="86" y="481"/>
                      <a:pt x="86" y="481"/>
                      <a:pt x="86" y="481"/>
                    </a:cubicBezTo>
                    <a:cubicBezTo>
                      <a:pt x="91" y="478"/>
                      <a:pt x="91" y="478"/>
                      <a:pt x="91" y="478"/>
                    </a:cubicBezTo>
                    <a:cubicBezTo>
                      <a:pt x="91" y="478"/>
                      <a:pt x="101" y="478"/>
                      <a:pt x="108" y="480"/>
                    </a:cubicBezTo>
                    <a:cubicBezTo>
                      <a:pt x="115" y="482"/>
                      <a:pt x="107" y="496"/>
                      <a:pt x="107" y="496"/>
                    </a:cubicBezTo>
                    <a:cubicBezTo>
                      <a:pt x="100" y="503"/>
                      <a:pt x="100" y="503"/>
                      <a:pt x="100" y="503"/>
                    </a:cubicBezTo>
                    <a:cubicBezTo>
                      <a:pt x="111" y="505"/>
                      <a:pt x="111" y="505"/>
                      <a:pt x="111" y="505"/>
                    </a:cubicBezTo>
                    <a:cubicBezTo>
                      <a:pt x="111" y="507"/>
                      <a:pt x="111" y="507"/>
                      <a:pt x="111" y="507"/>
                    </a:cubicBezTo>
                    <a:cubicBezTo>
                      <a:pt x="127" y="509"/>
                      <a:pt x="127" y="509"/>
                      <a:pt x="127" y="509"/>
                    </a:cubicBezTo>
                    <a:cubicBezTo>
                      <a:pt x="110" y="510"/>
                      <a:pt x="110" y="510"/>
                      <a:pt x="110" y="510"/>
                    </a:cubicBezTo>
                    <a:cubicBezTo>
                      <a:pt x="112" y="520"/>
                      <a:pt x="112" y="520"/>
                      <a:pt x="112" y="520"/>
                    </a:cubicBezTo>
                    <a:cubicBezTo>
                      <a:pt x="118" y="519"/>
                      <a:pt x="118" y="519"/>
                      <a:pt x="118" y="519"/>
                    </a:cubicBezTo>
                    <a:cubicBezTo>
                      <a:pt x="123" y="515"/>
                      <a:pt x="123" y="515"/>
                      <a:pt x="123" y="515"/>
                    </a:cubicBezTo>
                    <a:cubicBezTo>
                      <a:pt x="122" y="520"/>
                      <a:pt x="122" y="520"/>
                      <a:pt x="122" y="520"/>
                    </a:cubicBezTo>
                    <a:cubicBezTo>
                      <a:pt x="130" y="524"/>
                      <a:pt x="130" y="524"/>
                      <a:pt x="130" y="524"/>
                    </a:cubicBezTo>
                    <a:cubicBezTo>
                      <a:pt x="130" y="524"/>
                      <a:pt x="135" y="522"/>
                      <a:pt x="134" y="527"/>
                    </a:cubicBezTo>
                    <a:cubicBezTo>
                      <a:pt x="134" y="532"/>
                      <a:pt x="129" y="535"/>
                      <a:pt x="129" y="535"/>
                    </a:cubicBezTo>
                    <a:cubicBezTo>
                      <a:pt x="129" y="535"/>
                      <a:pt x="123" y="529"/>
                      <a:pt x="119" y="536"/>
                    </a:cubicBezTo>
                    <a:cubicBezTo>
                      <a:pt x="115" y="542"/>
                      <a:pt x="122" y="543"/>
                      <a:pt x="122" y="543"/>
                    </a:cubicBezTo>
                    <a:cubicBezTo>
                      <a:pt x="128" y="540"/>
                      <a:pt x="128" y="540"/>
                      <a:pt x="128" y="540"/>
                    </a:cubicBezTo>
                    <a:cubicBezTo>
                      <a:pt x="133" y="541"/>
                      <a:pt x="133" y="541"/>
                      <a:pt x="133" y="541"/>
                    </a:cubicBezTo>
                    <a:cubicBezTo>
                      <a:pt x="176" y="530"/>
                      <a:pt x="176" y="530"/>
                      <a:pt x="176" y="530"/>
                    </a:cubicBezTo>
                    <a:cubicBezTo>
                      <a:pt x="162" y="540"/>
                      <a:pt x="162" y="540"/>
                      <a:pt x="162" y="540"/>
                    </a:cubicBezTo>
                    <a:cubicBezTo>
                      <a:pt x="163" y="546"/>
                      <a:pt x="163" y="546"/>
                      <a:pt x="163" y="546"/>
                    </a:cubicBezTo>
                    <a:cubicBezTo>
                      <a:pt x="150" y="548"/>
                      <a:pt x="150" y="548"/>
                      <a:pt x="150" y="548"/>
                    </a:cubicBezTo>
                    <a:cubicBezTo>
                      <a:pt x="137" y="555"/>
                      <a:pt x="137" y="555"/>
                      <a:pt x="137" y="555"/>
                    </a:cubicBezTo>
                    <a:cubicBezTo>
                      <a:pt x="130" y="561"/>
                      <a:pt x="130" y="561"/>
                      <a:pt x="130" y="561"/>
                    </a:cubicBezTo>
                    <a:cubicBezTo>
                      <a:pt x="132" y="562"/>
                      <a:pt x="132" y="562"/>
                      <a:pt x="132" y="562"/>
                    </a:cubicBezTo>
                    <a:cubicBezTo>
                      <a:pt x="147" y="558"/>
                      <a:pt x="147" y="558"/>
                      <a:pt x="147" y="558"/>
                    </a:cubicBezTo>
                    <a:cubicBezTo>
                      <a:pt x="147" y="554"/>
                      <a:pt x="147" y="554"/>
                      <a:pt x="147" y="554"/>
                    </a:cubicBezTo>
                    <a:cubicBezTo>
                      <a:pt x="153" y="553"/>
                      <a:pt x="153" y="553"/>
                      <a:pt x="153" y="553"/>
                    </a:cubicBezTo>
                    <a:cubicBezTo>
                      <a:pt x="155" y="554"/>
                      <a:pt x="155" y="554"/>
                      <a:pt x="155" y="554"/>
                    </a:cubicBezTo>
                    <a:cubicBezTo>
                      <a:pt x="167" y="548"/>
                      <a:pt x="167" y="548"/>
                      <a:pt x="167" y="548"/>
                    </a:cubicBezTo>
                    <a:cubicBezTo>
                      <a:pt x="168" y="551"/>
                      <a:pt x="168" y="551"/>
                      <a:pt x="168" y="551"/>
                    </a:cubicBezTo>
                    <a:cubicBezTo>
                      <a:pt x="162" y="556"/>
                      <a:pt x="162" y="556"/>
                      <a:pt x="162" y="556"/>
                    </a:cubicBezTo>
                    <a:cubicBezTo>
                      <a:pt x="165" y="558"/>
                      <a:pt x="165" y="558"/>
                      <a:pt x="165" y="558"/>
                    </a:cubicBezTo>
                    <a:cubicBezTo>
                      <a:pt x="162" y="560"/>
                      <a:pt x="162" y="560"/>
                      <a:pt x="162" y="560"/>
                    </a:cubicBezTo>
                    <a:cubicBezTo>
                      <a:pt x="165" y="562"/>
                      <a:pt x="165" y="562"/>
                      <a:pt x="165" y="562"/>
                    </a:cubicBezTo>
                    <a:cubicBezTo>
                      <a:pt x="177" y="550"/>
                      <a:pt x="177" y="550"/>
                      <a:pt x="177" y="550"/>
                    </a:cubicBezTo>
                    <a:cubicBezTo>
                      <a:pt x="175" y="543"/>
                      <a:pt x="175" y="543"/>
                      <a:pt x="175" y="543"/>
                    </a:cubicBezTo>
                    <a:cubicBezTo>
                      <a:pt x="175" y="543"/>
                      <a:pt x="179" y="540"/>
                      <a:pt x="185" y="539"/>
                    </a:cubicBezTo>
                    <a:cubicBezTo>
                      <a:pt x="192" y="538"/>
                      <a:pt x="195" y="545"/>
                      <a:pt x="195" y="545"/>
                    </a:cubicBezTo>
                    <a:cubicBezTo>
                      <a:pt x="206" y="551"/>
                      <a:pt x="206" y="551"/>
                      <a:pt x="206" y="551"/>
                    </a:cubicBezTo>
                    <a:cubicBezTo>
                      <a:pt x="210" y="549"/>
                      <a:pt x="210" y="549"/>
                      <a:pt x="210" y="549"/>
                    </a:cubicBezTo>
                    <a:cubicBezTo>
                      <a:pt x="208" y="545"/>
                      <a:pt x="208" y="545"/>
                      <a:pt x="208" y="545"/>
                    </a:cubicBezTo>
                    <a:cubicBezTo>
                      <a:pt x="212" y="541"/>
                      <a:pt x="212" y="541"/>
                      <a:pt x="212" y="541"/>
                    </a:cubicBezTo>
                    <a:cubicBezTo>
                      <a:pt x="221" y="545"/>
                      <a:pt x="221" y="545"/>
                      <a:pt x="221" y="545"/>
                    </a:cubicBezTo>
                    <a:cubicBezTo>
                      <a:pt x="221" y="545"/>
                      <a:pt x="219" y="546"/>
                      <a:pt x="218" y="548"/>
                    </a:cubicBezTo>
                    <a:cubicBezTo>
                      <a:pt x="216" y="548"/>
                      <a:pt x="217" y="552"/>
                      <a:pt x="217" y="552"/>
                    </a:cubicBezTo>
                    <a:cubicBezTo>
                      <a:pt x="221" y="551"/>
                      <a:pt x="221" y="551"/>
                      <a:pt x="221" y="551"/>
                    </a:cubicBezTo>
                    <a:cubicBezTo>
                      <a:pt x="225" y="557"/>
                      <a:pt x="225" y="557"/>
                      <a:pt x="225" y="557"/>
                    </a:cubicBezTo>
                    <a:cubicBezTo>
                      <a:pt x="223" y="548"/>
                      <a:pt x="223" y="548"/>
                      <a:pt x="223" y="548"/>
                    </a:cubicBezTo>
                    <a:cubicBezTo>
                      <a:pt x="227" y="546"/>
                      <a:pt x="232" y="543"/>
                      <a:pt x="233" y="545"/>
                    </a:cubicBezTo>
                    <a:cubicBezTo>
                      <a:pt x="236" y="548"/>
                      <a:pt x="233" y="552"/>
                      <a:pt x="233" y="552"/>
                    </a:cubicBezTo>
                    <a:cubicBezTo>
                      <a:pt x="241" y="560"/>
                      <a:pt x="241" y="560"/>
                      <a:pt x="241" y="560"/>
                    </a:cubicBezTo>
                    <a:cubicBezTo>
                      <a:pt x="241" y="566"/>
                      <a:pt x="241" y="566"/>
                      <a:pt x="241" y="566"/>
                    </a:cubicBezTo>
                    <a:cubicBezTo>
                      <a:pt x="241" y="566"/>
                      <a:pt x="255" y="570"/>
                      <a:pt x="267" y="572"/>
                    </a:cubicBezTo>
                    <a:cubicBezTo>
                      <a:pt x="278" y="573"/>
                      <a:pt x="284" y="564"/>
                      <a:pt x="295" y="556"/>
                    </a:cubicBezTo>
                    <a:cubicBezTo>
                      <a:pt x="305" y="550"/>
                      <a:pt x="312" y="558"/>
                      <a:pt x="312" y="558"/>
                    </a:cubicBezTo>
                    <a:cubicBezTo>
                      <a:pt x="315" y="546"/>
                      <a:pt x="315" y="546"/>
                      <a:pt x="315" y="546"/>
                    </a:cubicBezTo>
                    <a:cubicBezTo>
                      <a:pt x="309" y="546"/>
                      <a:pt x="309" y="546"/>
                      <a:pt x="309" y="546"/>
                    </a:cubicBezTo>
                    <a:cubicBezTo>
                      <a:pt x="309" y="546"/>
                      <a:pt x="312" y="527"/>
                      <a:pt x="310" y="517"/>
                    </a:cubicBezTo>
                    <a:cubicBezTo>
                      <a:pt x="309" y="507"/>
                      <a:pt x="318" y="510"/>
                      <a:pt x="332" y="508"/>
                    </a:cubicBezTo>
                    <a:cubicBezTo>
                      <a:pt x="346" y="506"/>
                      <a:pt x="353" y="506"/>
                      <a:pt x="353" y="506"/>
                    </a:cubicBezTo>
                    <a:cubicBezTo>
                      <a:pt x="353" y="506"/>
                      <a:pt x="379" y="510"/>
                      <a:pt x="391" y="513"/>
                    </a:cubicBezTo>
                    <a:cubicBezTo>
                      <a:pt x="402" y="515"/>
                      <a:pt x="407" y="526"/>
                      <a:pt x="417" y="534"/>
                    </a:cubicBezTo>
                    <a:cubicBezTo>
                      <a:pt x="429" y="540"/>
                      <a:pt x="454" y="525"/>
                      <a:pt x="454" y="525"/>
                    </a:cubicBezTo>
                    <a:cubicBezTo>
                      <a:pt x="454" y="525"/>
                      <a:pt x="484" y="507"/>
                      <a:pt x="494" y="497"/>
                    </a:cubicBezTo>
                    <a:cubicBezTo>
                      <a:pt x="505" y="489"/>
                      <a:pt x="514" y="458"/>
                      <a:pt x="523" y="449"/>
                    </a:cubicBezTo>
                    <a:cubicBezTo>
                      <a:pt x="530" y="442"/>
                      <a:pt x="553" y="456"/>
                      <a:pt x="563" y="456"/>
                    </a:cubicBezTo>
                    <a:cubicBezTo>
                      <a:pt x="575" y="455"/>
                      <a:pt x="578" y="441"/>
                      <a:pt x="578" y="441"/>
                    </a:cubicBezTo>
                    <a:cubicBezTo>
                      <a:pt x="573" y="439"/>
                      <a:pt x="573" y="439"/>
                      <a:pt x="573" y="439"/>
                    </a:cubicBezTo>
                    <a:cubicBezTo>
                      <a:pt x="581" y="436"/>
                      <a:pt x="581" y="436"/>
                      <a:pt x="581" y="436"/>
                    </a:cubicBezTo>
                    <a:cubicBezTo>
                      <a:pt x="581" y="436"/>
                      <a:pt x="578" y="423"/>
                      <a:pt x="592" y="423"/>
                    </a:cubicBezTo>
                    <a:cubicBezTo>
                      <a:pt x="606" y="423"/>
                      <a:pt x="606" y="438"/>
                      <a:pt x="606" y="438"/>
                    </a:cubicBezTo>
                    <a:cubicBezTo>
                      <a:pt x="606" y="438"/>
                      <a:pt x="594" y="446"/>
                      <a:pt x="590" y="458"/>
                    </a:cubicBezTo>
                    <a:cubicBezTo>
                      <a:pt x="587" y="469"/>
                      <a:pt x="606" y="474"/>
                      <a:pt x="607" y="477"/>
                    </a:cubicBezTo>
                    <a:cubicBezTo>
                      <a:pt x="608" y="479"/>
                      <a:pt x="606" y="486"/>
                      <a:pt x="606" y="486"/>
                    </a:cubicBezTo>
                    <a:cubicBezTo>
                      <a:pt x="623" y="489"/>
                      <a:pt x="623" y="489"/>
                      <a:pt x="623" y="489"/>
                    </a:cubicBezTo>
                    <a:cubicBezTo>
                      <a:pt x="631" y="472"/>
                      <a:pt x="631" y="472"/>
                      <a:pt x="631" y="472"/>
                    </a:cubicBezTo>
                    <a:cubicBezTo>
                      <a:pt x="624" y="459"/>
                      <a:pt x="624" y="459"/>
                      <a:pt x="624" y="459"/>
                    </a:cubicBezTo>
                    <a:cubicBezTo>
                      <a:pt x="638" y="451"/>
                      <a:pt x="638" y="451"/>
                      <a:pt x="638" y="451"/>
                    </a:cubicBezTo>
                    <a:cubicBezTo>
                      <a:pt x="625" y="439"/>
                      <a:pt x="625" y="439"/>
                      <a:pt x="625" y="439"/>
                    </a:cubicBezTo>
                    <a:cubicBezTo>
                      <a:pt x="625" y="439"/>
                      <a:pt x="625" y="423"/>
                      <a:pt x="626" y="416"/>
                    </a:cubicBezTo>
                    <a:cubicBezTo>
                      <a:pt x="626" y="410"/>
                      <a:pt x="645" y="413"/>
                      <a:pt x="645" y="413"/>
                    </a:cubicBezTo>
                    <a:cubicBezTo>
                      <a:pt x="648" y="419"/>
                      <a:pt x="648" y="419"/>
                      <a:pt x="648" y="419"/>
                    </a:cubicBezTo>
                    <a:cubicBezTo>
                      <a:pt x="675" y="407"/>
                      <a:pt x="675" y="407"/>
                      <a:pt x="675" y="407"/>
                    </a:cubicBezTo>
                    <a:cubicBezTo>
                      <a:pt x="674" y="400"/>
                      <a:pt x="674" y="400"/>
                      <a:pt x="674" y="400"/>
                    </a:cubicBezTo>
                    <a:cubicBezTo>
                      <a:pt x="684" y="398"/>
                      <a:pt x="684" y="398"/>
                      <a:pt x="684" y="398"/>
                    </a:cubicBezTo>
                    <a:cubicBezTo>
                      <a:pt x="684" y="398"/>
                      <a:pt x="698" y="380"/>
                      <a:pt x="707" y="377"/>
                    </a:cubicBezTo>
                    <a:cubicBezTo>
                      <a:pt x="714" y="372"/>
                      <a:pt x="732" y="382"/>
                      <a:pt x="732" y="382"/>
                    </a:cubicBezTo>
                    <a:cubicBezTo>
                      <a:pt x="751" y="373"/>
                      <a:pt x="751" y="373"/>
                      <a:pt x="751" y="373"/>
                    </a:cubicBezTo>
                    <a:cubicBezTo>
                      <a:pt x="751" y="373"/>
                      <a:pt x="766" y="371"/>
                      <a:pt x="781" y="360"/>
                    </a:cubicBezTo>
                    <a:cubicBezTo>
                      <a:pt x="796" y="348"/>
                      <a:pt x="825" y="313"/>
                      <a:pt x="825" y="313"/>
                    </a:cubicBezTo>
                    <a:cubicBezTo>
                      <a:pt x="825" y="313"/>
                      <a:pt x="845" y="305"/>
                      <a:pt x="865" y="297"/>
                    </a:cubicBezTo>
                    <a:cubicBezTo>
                      <a:pt x="885" y="288"/>
                      <a:pt x="889" y="271"/>
                      <a:pt x="889" y="271"/>
                    </a:cubicBezTo>
                    <a:cubicBezTo>
                      <a:pt x="900" y="272"/>
                      <a:pt x="900" y="272"/>
                      <a:pt x="900" y="272"/>
                    </a:cubicBezTo>
                    <a:cubicBezTo>
                      <a:pt x="904" y="276"/>
                      <a:pt x="904" y="276"/>
                      <a:pt x="904" y="276"/>
                    </a:cubicBezTo>
                    <a:cubicBezTo>
                      <a:pt x="916" y="270"/>
                      <a:pt x="916" y="270"/>
                      <a:pt x="916" y="270"/>
                    </a:cubicBezTo>
                    <a:cubicBezTo>
                      <a:pt x="910" y="253"/>
                      <a:pt x="910" y="253"/>
                      <a:pt x="910" y="253"/>
                    </a:cubicBezTo>
                    <a:cubicBezTo>
                      <a:pt x="930" y="253"/>
                      <a:pt x="930" y="253"/>
                      <a:pt x="930" y="253"/>
                    </a:cubicBezTo>
                    <a:cubicBezTo>
                      <a:pt x="933" y="246"/>
                      <a:pt x="933" y="246"/>
                      <a:pt x="933" y="246"/>
                    </a:cubicBezTo>
                    <a:cubicBezTo>
                      <a:pt x="946" y="246"/>
                      <a:pt x="946" y="246"/>
                      <a:pt x="946" y="246"/>
                    </a:cubicBezTo>
                    <a:cubicBezTo>
                      <a:pt x="946" y="242"/>
                      <a:pt x="946" y="242"/>
                      <a:pt x="946" y="242"/>
                    </a:cubicBezTo>
                    <a:cubicBezTo>
                      <a:pt x="975" y="238"/>
                      <a:pt x="975" y="238"/>
                      <a:pt x="975" y="238"/>
                    </a:cubicBezTo>
                    <a:cubicBezTo>
                      <a:pt x="975" y="238"/>
                      <a:pt x="976" y="225"/>
                      <a:pt x="988" y="225"/>
                    </a:cubicBezTo>
                    <a:cubicBezTo>
                      <a:pt x="1000" y="225"/>
                      <a:pt x="995" y="240"/>
                      <a:pt x="995" y="240"/>
                    </a:cubicBezTo>
                    <a:cubicBezTo>
                      <a:pt x="1002" y="242"/>
                      <a:pt x="1002" y="242"/>
                      <a:pt x="1002" y="242"/>
                    </a:cubicBezTo>
                    <a:cubicBezTo>
                      <a:pt x="1002" y="242"/>
                      <a:pt x="1008" y="227"/>
                      <a:pt x="1011" y="223"/>
                    </a:cubicBezTo>
                    <a:cubicBezTo>
                      <a:pt x="1013" y="220"/>
                      <a:pt x="1020" y="222"/>
                      <a:pt x="1020" y="222"/>
                    </a:cubicBezTo>
                    <a:cubicBezTo>
                      <a:pt x="1020" y="222"/>
                      <a:pt x="1022" y="213"/>
                      <a:pt x="1019" y="210"/>
                    </a:cubicBez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45" name="Switzerland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4438650" y="4432300"/>
                <a:ext cx="442912" cy="274637"/>
              </a:xfrm>
              <a:custGeom>
                <a:avLst/>
                <a:gdLst/>
                <a:ahLst/>
                <a:cxnLst>
                  <a:cxn ang="0">
                    <a:pos x="208" y="59"/>
                  </a:cxn>
                  <a:cxn ang="0">
                    <a:pos x="194" y="63"/>
                  </a:cxn>
                  <a:cxn ang="0">
                    <a:pos x="179" y="59"/>
                  </a:cxn>
                  <a:cxn ang="0">
                    <a:pos x="164" y="49"/>
                  </a:cxn>
                  <a:cxn ang="0">
                    <a:pos x="162" y="39"/>
                  </a:cxn>
                  <a:cxn ang="0">
                    <a:pos x="172" y="18"/>
                  </a:cxn>
                  <a:cxn ang="0">
                    <a:pos x="148" y="9"/>
                  </a:cxn>
                  <a:cxn ang="0">
                    <a:pos x="135" y="4"/>
                  </a:cxn>
                  <a:cxn ang="0">
                    <a:pos x="128" y="2"/>
                  </a:cxn>
                  <a:cxn ang="0">
                    <a:pos x="118" y="8"/>
                  </a:cxn>
                  <a:cxn ang="0">
                    <a:pos x="125" y="14"/>
                  </a:cxn>
                  <a:cxn ang="0">
                    <a:pos x="112" y="13"/>
                  </a:cxn>
                  <a:cxn ang="0">
                    <a:pos x="83" y="15"/>
                  </a:cxn>
                  <a:cxn ang="0">
                    <a:pos x="81" y="13"/>
                  </a:cxn>
                  <a:cxn ang="0">
                    <a:pos x="73" y="16"/>
                  </a:cxn>
                  <a:cxn ang="0">
                    <a:pos x="61" y="24"/>
                  </a:cxn>
                  <a:cxn ang="0">
                    <a:pos x="46" y="27"/>
                  </a:cxn>
                  <a:cxn ang="0">
                    <a:pos x="35" y="47"/>
                  </a:cxn>
                  <a:cxn ang="0">
                    <a:pos x="24" y="64"/>
                  </a:cxn>
                  <a:cxn ang="0">
                    <a:pos x="9" y="90"/>
                  </a:cxn>
                  <a:cxn ang="0">
                    <a:pos x="0" y="97"/>
                  </a:cxn>
                  <a:cxn ang="0">
                    <a:pos x="8" y="103"/>
                  </a:cxn>
                  <a:cxn ang="0">
                    <a:pos x="12" y="93"/>
                  </a:cxn>
                  <a:cxn ang="0">
                    <a:pos x="40" y="87"/>
                  </a:cxn>
                  <a:cxn ang="0">
                    <a:pos x="41" y="98"/>
                  </a:cxn>
                  <a:cxn ang="0">
                    <a:pos x="41" y="107"/>
                  </a:cxn>
                  <a:cxn ang="0">
                    <a:pos x="48" y="120"/>
                  </a:cxn>
                  <a:cxn ang="0">
                    <a:pos x="52" y="124"/>
                  </a:cxn>
                  <a:cxn ang="0">
                    <a:pos x="64" y="121"/>
                  </a:cxn>
                  <a:cxn ang="0">
                    <a:pos x="82" y="122"/>
                  </a:cxn>
                  <a:cxn ang="0">
                    <a:pos x="92" y="116"/>
                  </a:cxn>
                  <a:cxn ang="0">
                    <a:pos x="100" y="107"/>
                  </a:cxn>
                  <a:cxn ang="0">
                    <a:pos x="99" y="96"/>
                  </a:cxn>
                  <a:cxn ang="0">
                    <a:pos x="107" y="93"/>
                  </a:cxn>
                  <a:cxn ang="0">
                    <a:pos x="112" y="88"/>
                  </a:cxn>
                  <a:cxn ang="0">
                    <a:pos x="112" y="99"/>
                  </a:cxn>
                  <a:cxn ang="0">
                    <a:pos x="121" y="110"/>
                  </a:cxn>
                  <a:cxn ang="0">
                    <a:pos x="132" y="114"/>
                  </a:cxn>
                  <a:cxn ang="0">
                    <a:pos x="131" y="119"/>
                  </a:cxn>
                  <a:cxn ang="0">
                    <a:pos x="139" y="129"/>
                  </a:cxn>
                  <a:cxn ang="0">
                    <a:pos x="138" y="122"/>
                  </a:cxn>
                  <a:cxn ang="0">
                    <a:pos x="141" y="114"/>
                  </a:cxn>
                  <a:cxn ang="0">
                    <a:pos x="150" y="102"/>
                  </a:cxn>
                  <a:cxn ang="0">
                    <a:pos x="150" y="91"/>
                  </a:cxn>
                  <a:cxn ang="0">
                    <a:pos x="157" y="88"/>
                  </a:cxn>
                  <a:cxn ang="0">
                    <a:pos x="164" y="99"/>
                  </a:cxn>
                  <a:cxn ang="0">
                    <a:pos x="182" y="95"/>
                  </a:cxn>
                  <a:cxn ang="0">
                    <a:pos x="187" y="103"/>
                  </a:cxn>
                  <a:cxn ang="0">
                    <a:pos x="190" y="105"/>
                  </a:cxn>
                  <a:cxn ang="0">
                    <a:pos x="193" y="93"/>
                  </a:cxn>
                  <a:cxn ang="0">
                    <a:pos x="188" y="92"/>
                  </a:cxn>
                  <a:cxn ang="0">
                    <a:pos x="196" y="77"/>
                  </a:cxn>
                  <a:cxn ang="0">
                    <a:pos x="207" y="86"/>
                  </a:cxn>
                  <a:cxn ang="0">
                    <a:pos x="204" y="79"/>
                  </a:cxn>
                </a:cxnLst>
                <a:rect l="0" t="0" r="r" b="b"/>
                <a:pathLst>
                  <a:path w="208" h="129">
                    <a:moveTo>
                      <a:pt x="204" y="79"/>
                    </a:moveTo>
                    <a:cubicBezTo>
                      <a:pt x="208" y="59"/>
                      <a:pt x="208" y="59"/>
                      <a:pt x="208" y="59"/>
                    </a:cubicBezTo>
                    <a:cubicBezTo>
                      <a:pt x="203" y="55"/>
                      <a:pt x="203" y="55"/>
                      <a:pt x="203" y="55"/>
                    </a:cubicBezTo>
                    <a:cubicBezTo>
                      <a:pt x="203" y="55"/>
                      <a:pt x="197" y="62"/>
                      <a:pt x="194" y="63"/>
                    </a:cubicBezTo>
                    <a:cubicBezTo>
                      <a:pt x="191" y="65"/>
                      <a:pt x="184" y="60"/>
                      <a:pt x="184" y="60"/>
                    </a:cubicBezTo>
                    <a:cubicBezTo>
                      <a:pt x="184" y="60"/>
                      <a:pt x="180" y="61"/>
                      <a:pt x="179" y="59"/>
                    </a:cubicBezTo>
                    <a:cubicBezTo>
                      <a:pt x="178" y="58"/>
                      <a:pt x="180" y="52"/>
                      <a:pt x="180" y="52"/>
                    </a:cubicBezTo>
                    <a:cubicBezTo>
                      <a:pt x="164" y="49"/>
                      <a:pt x="164" y="49"/>
                      <a:pt x="164" y="49"/>
                    </a:cubicBezTo>
                    <a:cubicBezTo>
                      <a:pt x="164" y="49"/>
                      <a:pt x="162" y="48"/>
                      <a:pt x="160" y="46"/>
                    </a:cubicBezTo>
                    <a:cubicBezTo>
                      <a:pt x="158" y="43"/>
                      <a:pt x="162" y="39"/>
                      <a:pt x="162" y="39"/>
                    </a:cubicBezTo>
                    <a:cubicBezTo>
                      <a:pt x="162" y="39"/>
                      <a:pt x="172" y="29"/>
                      <a:pt x="172" y="26"/>
                    </a:cubicBezTo>
                    <a:cubicBezTo>
                      <a:pt x="172" y="18"/>
                      <a:pt x="172" y="18"/>
                      <a:pt x="172" y="18"/>
                    </a:cubicBezTo>
                    <a:cubicBezTo>
                      <a:pt x="165" y="17"/>
                      <a:pt x="165" y="14"/>
                      <a:pt x="158" y="12"/>
                    </a:cubicBezTo>
                    <a:cubicBezTo>
                      <a:pt x="155" y="11"/>
                      <a:pt x="151" y="10"/>
                      <a:pt x="148" y="9"/>
                    </a:cubicBezTo>
                    <a:cubicBezTo>
                      <a:pt x="145" y="8"/>
                      <a:pt x="141" y="11"/>
                      <a:pt x="140" y="11"/>
                    </a:cubicBezTo>
                    <a:cubicBezTo>
                      <a:pt x="138" y="10"/>
                      <a:pt x="137" y="7"/>
                      <a:pt x="135" y="4"/>
                    </a:cubicBezTo>
                    <a:cubicBezTo>
                      <a:pt x="135" y="5"/>
                      <a:pt x="135" y="8"/>
                      <a:pt x="134" y="9"/>
                    </a:cubicBezTo>
                    <a:cubicBezTo>
                      <a:pt x="132" y="5"/>
                      <a:pt x="131" y="0"/>
                      <a:pt x="128" y="2"/>
                    </a:cubicBezTo>
                    <a:cubicBezTo>
                      <a:pt x="127" y="0"/>
                      <a:pt x="125" y="1"/>
                      <a:pt x="125" y="1"/>
                    </a:cubicBezTo>
                    <a:cubicBezTo>
                      <a:pt x="123" y="2"/>
                      <a:pt x="117" y="4"/>
                      <a:pt x="118" y="8"/>
                    </a:cubicBezTo>
                    <a:cubicBezTo>
                      <a:pt x="118" y="11"/>
                      <a:pt x="120" y="9"/>
                      <a:pt x="122" y="10"/>
                    </a:cubicBezTo>
                    <a:cubicBezTo>
                      <a:pt x="123" y="11"/>
                      <a:pt x="132" y="9"/>
                      <a:pt x="125" y="14"/>
                    </a:cubicBezTo>
                    <a:cubicBezTo>
                      <a:pt x="124" y="11"/>
                      <a:pt x="122" y="12"/>
                      <a:pt x="122" y="15"/>
                    </a:cubicBezTo>
                    <a:cubicBezTo>
                      <a:pt x="116" y="17"/>
                      <a:pt x="115" y="13"/>
                      <a:pt x="112" y="13"/>
                    </a:cubicBezTo>
                    <a:cubicBezTo>
                      <a:pt x="107" y="12"/>
                      <a:pt x="105" y="18"/>
                      <a:pt x="101" y="16"/>
                    </a:cubicBezTo>
                    <a:cubicBezTo>
                      <a:pt x="91" y="12"/>
                      <a:pt x="86" y="18"/>
                      <a:pt x="83" y="15"/>
                    </a:cubicBezTo>
                    <a:cubicBezTo>
                      <a:pt x="83" y="14"/>
                      <a:pt x="84" y="14"/>
                      <a:pt x="85" y="14"/>
                    </a:cubicBezTo>
                    <a:cubicBezTo>
                      <a:pt x="84" y="14"/>
                      <a:pt x="82" y="13"/>
                      <a:pt x="81" y="13"/>
                    </a:cubicBezTo>
                    <a:cubicBezTo>
                      <a:pt x="80" y="12"/>
                      <a:pt x="80" y="12"/>
                      <a:pt x="80" y="11"/>
                    </a:cubicBezTo>
                    <a:cubicBezTo>
                      <a:pt x="73" y="16"/>
                      <a:pt x="73" y="16"/>
                      <a:pt x="73" y="16"/>
                    </a:cubicBezTo>
                    <a:cubicBezTo>
                      <a:pt x="73" y="19"/>
                      <a:pt x="73" y="19"/>
                      <a:pt x="73" y="19"/>
                    </a:cubicBezTo>
                    <a:cubicBezTo>
                      <a:pt x="73" y="19"/>
                      <a:pt x="65" y="24"/>
                      <a:pt x="61" y="24"/>
                    </a:cubicBezTo>
                    <a:cubicBezTo>
                      <a:pt x="57" y="23"/>
                      <a:pt x="58" y="16"/>
                      <a:pt x="52" y="16"/>
                    </a:cubicBezTo>
                    <a:cubicBezTo>
                      <a:pt x="48" y="15"/>
                      <a:pt x="46" y="27"/>
                      <a:pt x="46" y="27"/>
                    </a:cubicBezTo>
                    <a:cubicBezTo>
                      <a:pt x="51" y="28"/>
                      <a:pt x="51" y="28"/>
                      <a:pt x="51" y="28"/>
                    </a:cubicBezTo>
                    <a:cubicBezTo>
                      <a:pt x="51" y="28"/>
                      <a:pt x="39" y="44"/>
                      <a:pt x="35" y="47"/>
                    </a:cubicBezTo>
                    <a:cubicBezTo>
                      <a:pt x="32" y="50"/>
                      <a:pt x="28" y="49"/>
                      <a:pt x="25" y="51"/>
                    </a:cubicBezTo>
                    <a:cubicBezTo>
                      <a:pt x="23" y="52"/>
                      <a:pt x="26" y="58"/>
                      <a:pt x="24" y="64"/>
                    </a:cubicBezTo>
                    <a:cubicBezTo>
                      <a:pt x="22" y="70"/>
                      <a:pt x="11" y="73"/>
                      <a:pt x="7" y="79"/>
                    </a:cubicBezTo>
                    <a:cubicBezTo>
                      <a:pt x="2" y="87"/>
                      <a:pt x="9" y="90"/>
                      <a:pt x="9" y="90"/>
                    </a:cubicBezTo>
                    <a:cubicBezTo>
                      <a:pt x="4" y="97"/>
                      <a:pt x="4" y="97"/>
                      <a:pt x="4" y="97"/>
                    </a:cubicBezTo>
                    <a:cubicBezTo>
                      <a:pt x="0" y="97"/>
                      <a:pt x="0" y="97"/>
                      <a:pt x="0" y="97"/>
                    </a:cubicBezTo>
                    <a:cubicBezTo>
                      <a:pt x="1" y="103"/>
                      <a:pt x="1" y="103"/>
                      <a:pt x="1" y="103"/>
                    </a:cubicBezTo>
                    <a:cubicBezTo>
                      <a:pt x="8" y="103"/>
                      <a:pt x="8" y="103"/>
                      <a:pt x="8" y="103"/>
                    </a:cubicBezTo>
                    <a:cubicBezTo>
                      <a:pt x="14" y="96"/>
                      <a:pt x="14" y="96"/>
                      <a:pt x="14" y="96"/>
                    </a:cubicBezTo>
                    <a:cubicBezTo>
                      <a:pt x="14" y="96"/>
                      <a:pt x="12" y="95"/>
                      <a:pt x="12" y="93"/>
                    </a:cubicBezTo>
                    <a:cubicBezTo>
                      <a:pt x="12" y="90"/>
                      <a:pt x="17" y="84"/>
                      <a:pt x="26" y="83"/>
                    </a:cubicBezTo>
                    <a:cubicBezTo>
                      <a:pt x="34" y="82"/>
                      <a:pt x="40" y="87"/>
                      <a:pt x="40" y="87"/>
                    </a:cubicBezTo>
                    <a:cubicBezTo>
                      <a:pt x="39" y="92"/>
                      <a:pt x="39" y="92"/>
                      <a:pt x="39" y="92"/>
                    </a:cubicBezTo>
                    <a:cubicBezTo>
                      <a:pt x="39" y="92"/>
                      <a:pt x="42" y="94"/>
                      <a:pt x="41" y="98"/>
                    </a:cubicBezTo>
                    <a:cubicBezTo>
                      <a:pt x="40" y="103"/>
                      <a:pt x="37" y="107"/>
                      <a:pt x="37" y="107"/>
                    </a:cubicBezTo>
                    <a:cubicBezTo>
                      <a:pt x="41" y="107"/>
                      <a:pt x="41" y="107"/>
                      <a:pt x="41" y="107"/>
                    </a:cubicBezTo>
                    <a:cubicBezTo>
                      <a:pt x="42" y="110"/>
                      <a:pt x="42" y="110"/>
                      <a:pt x="42" y="110"/>
                    </a:cubicBezTo>
                    <a:cubicBezTo>
                      <a:pt x="42" y="110"/>
                      <a:pt x="48" y="112"/>
                      <a:pt x="48" y="120"/>
                    </a:cubicBezTo>
                    <a:cubicBezTo>
                      <a:pt x="48" y="122"/>
                      <a:pt x="48" y="122"/>
                      <a:pt x="48" y="122"/>
                    </a:cubicBezTo>
                    <a:cubicBezTo>
                      <a:pt x="48" y="123"/>
                      <a:pt x="50" y="124"/>
                      <a:pt x="52" y="124"/>
                    </a:cubicBezTo>
                    <a:cubicBezTo>
                      <a:pt x="57" y="123"/>
                      <a:pt x="57" y="120"/>
                      <a:pt x="58" y="120"/>
                    </a:cubicBezTo>
                    <a:cubicBezTo>
                      <a:pt x="60" y="121"/>
                      <a:pt x="61" y="122"/>
                      <a:pt x="64" y="121"/>
                    </a:cubicBezTo>
                    <a:cubicBezTo>
                      <a:pt x="67" y="121"/>
                      <a:pt x="68" y="116"/>
                      <a:pt x="71" y="116"/>
                    </a:cubicBezTo>
                    <a:cubicBezTo>
                      <a:pt x="72" y="116"/>
                      <a:pt x="79" y="122"/>
                      <a:pt x="82" y="122"/>
                    </a:cubicBezTo>
                    <a:cubicBezTo>
                      <a:pt x="86" y="122"/>
                      <a:pt x="85" y="118"/>
                      <a:pt x="86" y="118"/>
                    </a:cubicBezTo>
                    <a:cubicBezTo>
                      <a:pt x="88" y="118"/>
                      <a:pt x="91" y="118"/>
                      <a:pt x="92" y="116"/>
                    </a:cubicBezTo>
                    <a:cubicBezTo>
                      <a:pt x="93" y="115"/>
                      <a:pt x="92" y="112"/>
                      <a:pt x="94" y="111"/>
                    </a:cubicBezTo>
                    <a:cubicBezTo>
                      <a:pt x="97" y="110"/>
                      <a:pt x="100" y="107"/>
                      <a:pt x="100" y="107"/>
                    </a:cubicBezTo>
                    <a:cubicBezTo>
                      <a:pt x="97" y="99"/>
                      <a:pt x="97" y="99"/>
                      <a:pt x="97" y="99"/>
                    </a:cubicBezTo>
                    <a:cubicBezTo>
                      <a:pt x="99" y="96"/>
                      <a:pt x="99" y="96"/>
                      <a:pt x="99" y="96"/>
                    </a:cubicBezTo>
                    <a:cubicBezTo>
                      <a:pt x="101" y="97"/>
                      <a:pt x="101" y="97"/>
                      <a:pt x="101" y="97"/>
                    </a:cubicBezTo>
                    <a:cubicBezTo>
                      <a:pt x="107" y="93"/>
                      <a:pt x="107" y="93"/>
                      <a:pt x="107" y="93"/>
                    </a:cubicBezTo>
                    <a:cubicBezTo>
                      <a:pt x="105" y="90"/>
                      <a:pt x="105" y="90"/>
                      <a:pt x="105" y="90"/>
                    </a:cubicBezTo>
                    <a:cubicBezTo>
                      <a:pt x="112" y="88"/>
                      <a:pt x="112" y="88"/>
                      <a:pt x="112" y="88"/>
                    </a:cubicBezTo>
                    <a:cubicBezTo>
                      <a:pt x="116" y="90"/>
                      <a:pt x="116" y="90"/>
                      <a:pt x="116" y="90"/>
                    </a:cubicBezTo>
                    <a:cubicBezTo>
                      <a:pt x="116" y="90"/>
                      <a:pt x="110" y="96"/>
                      <a:pt x="112" y="99"/>
                    </a:cubicBezTo>
                    <a:cubicBezTo>
                      <a:pt x="114" y="103"/>
                      <a:pt x="118" y="104"/>
                      <a:pt x="118" y="105"/>
                    </a:cubicBezTo>
                    <a:cubicBezTo>
                      <a:pt x="118" y="106"/>
                      <a:pt x="117" y="108"/>
                      <a:pt x="121" y="110"/>
                    </a:cubicBezTo>
                    <a:cubicBezTo>
                      <a:pt x="124" y="112"/>
                      <a:pt x="129" y="111"/>
                      <a:pt x="129" y="111"/>
                    </a:cubicBezTo>
                    <a:cubicBezTo>
                      <a:pt x="132" y="114"/>
                      <a:pt x="132" y="114"/>
                      <a:pt x="132" y="114"/>
                    </a:cubicBezTo>
                    <a:cubicBezTo>
                      <a:pt x="129" y="116"/>
                      <a:pt x="129" y="116"/>
                      <a:pt x="129" y="116"/>
                    </a:cubicBezTo>
                    <a:cubicBezTo>
                      <a:pt x="131" y="119"/>
                      <a:pt x="131" y="119"/>
                      <a:pt x="131" y="119"/>
                    </a:cubicBezTo>
                    <a:cubicBezTo>
                      <a:pt x="135" y="128"/>
                      <a:pt x="135" y="128"/>
                      <a:pt x="135" y="128"/>
                    </a:cubicBezTo>
                    <a:cubicBezTo>
                      <a:pt x="139" y="129"/>
                      <a:pt x="139" y="129"/>
                      <a:pt x="139" y="129"/>
                    </a:cubicBezTo>
                    <a:cubicBezTo>
                      <a:pt x="140" y="124"/>
                      <a:pt x="140" y="124"/>
                      <a:pt x="140" y="124"/>
                    </a:cubicBezTo>
                    <a:cubicBezTo>
                      <a:pt x="138" y="122"/>
                      <a:pt x="138" y="122"/>
                      <a:pt x="138" y="122"/>
                    </a:cubicBezTo>
                    <a:cubicBezTo>
                      <a:pt x="137" y="118"/>
                      <a:pt x="137" y="118"/>
                      <a:pt x="137" y="118"/>
                    </a:cubicBezTo>
                    <a:cubicBezTo>
                      <a:pt x="141" y="114"/>
                      <a:pt x="141" y="114"/>
                      <a:pt x="141" y="114"/>
                    </a:cubicBezTo>
                    <a:cubicBezTo>
                      <a:pt x="142" y="111"/>
                      <a:pt x="142" y="111"/>
                      <a:pt x="142" y="111"/>
                    </a:cubicBezTo>
                    <a:cubicBezTo>
                      <a:pt x="142" y="111"/>
                      <a:pt x="148" y="107"/>
                      <a:pt x="150" y="102"/>
                    </a:cubicBezTo>
                    <a:cubicBezTo>
                      <a:pt x="153" y="96"/>
                      <a:pt x="153" y="93"/>
                      <a:pt x="153" y="93"/>
                    </a:cubicBezTo>
                    <a:cubicBezTo>
                      <a:pt x="150" y="91"/>
                      <a:pt x="150" y="91"/>
                      <a:pt x="150" y="91"/>
                    </a:cubicBezTo>
                    <a:cubicBezTo>
                      <a:pt x="153" y="86"/>
                      <a:pt x="153" y="86"/>
                      <a:pt x="153" y="86"/>
                    </a:cubicBezTo>
                    <a:cubicBezTo>
                      <a:pt x="157" y="88"/>
                      <a:pt x="157" y="88"/>
                      <a:pt x="157" y="88"/>
                    </a:cubicBezTo>
                    <a:cubicBezTo>
                      <a:pt x="160" y="86"/>
                      <a:pt x="160" y="86"/>
                      <a:pt x="160" y="86"/>
                    </a:cubicBezTo>
                    <a:cubicBezTo>
                      <a:pt x="160" y="86"/>
                      <a:pt x="159" y="96"/>
                      <a:pt x="164" y="99"/>
                    </a:cubicBezTo>
                    <a:cubicBezTo>
                      <a:pt x="170" y="102"/>
                      <a:pt x="173" y="97"/>
                      <a:pt x="173" y="97"/>
                    </a:cubicBezTo>
                    <a:cubicBezTo>
                      <a:pt x="182" y="95"/>
                      <a:pt x="182" y="95"/>
                      <a:pt x="182" y="95"/>
                    </a:cubicBezTo>
                    <a:cubicBezTo>
                      <a:pt x="184" y="99"/>
                      <a:pt x="184" y="99"/>
                      <a:pt x="184" y="99"/>
                    </a:cubicBezTo>
                    <a:cubicBezTo>
                      <a:pt x="187" y="103"/>
                      <a:pt x="187" y="103"/>
                      <a:pt x="187" y="103"/>
                    </a:cubicBezTo>
                    <a:cubicBezTo>
                      <a:pt x="188" y="105"/>
                      <a:pt x="188" y="105"/>
                      <a:pt x="188" y="105"/>
                    </a:cubicBezTo>
                    <a:cubicBezTo>
                      <a:pt x="190" y="105"/>
                      <a:pt x="190" y="105"/>
                      <a:pt x="190" y="105"/>
                    </a:cubicBezTo>
                    <a:cubicBezTo>
                      <a:pt x="190" y="98"/>
                      <a:pt x="190" y="98"/>
                      <a:pt x="190" y="98"/>
                    </a:cubicBezTo>
                    <a:cubicBezTo>
                      <a:pt x="193" y="93"/>
                      <a:pt x="193" y="93"/>
                      <a:pt x="193" y="93"/>
                    </a:cubicBezTo>
                    <a:cubicBezTo>
                      <a:pt x="191" y="92"/>
                      <a:pt x="191" y="92"/>
                      <a:pt x="191" y="92"/>
                    </a:cubicBezTo>
                    <a:cubicBezTo>
                      <a:pt x="188" y="92"/>
                      <a:pt x="188" y="92"/>
                      <a:pt x="188" y="92"/>
                    </a:cubicBezTo>
                    <a:cubicBezTo>
                      <a:pt x="188" y="92"/>
                      <a:pt x="182" y="88"/>
                      <a:pt x="188" y="82"/>
                    </a:cubicBezTo>
                    <a:cubicBezTo>
                      <a:pt x="194" y="76"/>
                      <a:pt x="196" y="77"/>
                      <a:pt x="196" y="77"/>
                    </a:cubicBezTo>
                    <a:cubicBezTo>
                      <a:pt x="197" y="83"/>
                      <a:pt x="197" y="83"/>
                      <a:pt x="197" y="83"/>
                    </a:cubicBezTo>
                    <a:cubicBezTo>
                      <a:pt x="207" y="86"/>
                      <a:pt x="207" y="86"/>
                      <a:pt x="207" y="86"/>
                    </a:cubicBezTo>
                    <a:cubicBezTo>
                      <a:pt x="207" y="79"/>
                      <a:pt x="207" y="79"/>
                      <a:pt x="207" y="79"/>
                    </a:cubicBezTo>
                    <a:lnTo>
                      <a:pt x="204" y="79"/>
                    </a:ln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46" name="Sweden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4957763" y="1476375"/>
                <a:ext cx="779462" cy="1914525"/>
              </a:xfrm>
              <a:custGeom>
                <a:avLst/>
                <a:gdLst/>
                <a:ahLst/>
                <a:cxnLst>
                  <a:cxn ang="0">
                    <a:pos x="336" y="111"/>
                  </a:cxn>
                  <a:cxn ang="0">
                    <a:pos x="305" y="38"/>
                  </a:cxn>
                  <a:cxn ang="0">
                    <a:pos x="247" y="2"/>
                  </a:cxn>
                  <a:cxn ang="0">
                    <a:pos x="194" y="36"/>
                  </a:cxn>
                  <a:cxn ang="0">
                    <a:pos x="136" y="151"/>
                  </a:cxn>
                  <a:cxn ang="0">
                    <a:pos x="98" y="268"/>
                  </a:cxn>
                  <a:cxn ang="0">
                    <a:pos x="33" y="410"/>
                  </a:cxn>
                  <a:cxn ang="0">
                    <a:pos x="41" y="538"/>
                  </a:cxn>
                  <a:cxn ang="0">
                    <a:pos x="12" y="671"/>
                  </a:cxn>
                  <a:cxn ang="0">
                    <a:pos x="9" y="707"/>
                  </a:cxn>
                  <a:cxn ang="0">
                    <a:pos x="18" y="737"/>
                  </a:cxn>
                  <a:cxn ang="0">
                    <a:pos x="37" y="779"/>
                  </a:cxn>
                  <a:cxn ang="0">
                    <a:pos x="52" y="826"/>
                  </a:cxn>
                  <a:cxn ang="0">
                    <a:pos x="64" y="871"/>
                  </a:cxn>
                  <a:cxn ang="0">
                    <a:pos x="106" y="895"/>
                  </a:cxn>
                  <a:cxn ang="0">
                    <a:pos x="172" y="847"/>
                  </a:cxn>
                  <a:cxn ang="0">
                    <a:pos x="197" y="756"/>
                  </a:cxn>
                  <a:cxn ang="0">
                    <a:pos x="196" y="719"/>
                  </a:cxn>
                  <a:cxn ang="0">
                    <a:pos x="192" y="677"/>
                  </a:cxn>
                  <a:cxn ang="0">
                    <a:pos x="226" y="648"/>
                  </a:cxn>
                  <a:cxn ang="0">
                    <a:pos x="237" y="628"/>
                  </a:cxn>
                  <a:cxn ang="0">
                    <a:pos x="267" y="592"/>
                  </a:cxn>
                  <a:cxn ang="0">
                    <a:pos x="216" y="557"/>
                  </a:cxn>
                  <a:cxn ang="0">
                    <a:pos x="193" y="502"/>
                  </a:cxn>
                  <a:cxn ang="0">
                    <a:pos x="201" y="450"/>
                  </a:cxn>
                  <a:cxn ang="0">
                    <a:pos x="207" y="432"/>
                  </a:cxn>
                  <a:cxn ang="0">
                    <a:pos x="225" y="405"/>
                  </a:cxn>
                  <a:cxn ang="0">
                    <a:pos x="233" y="375"/>
                  </a:cxn>
                  <a:cxn ang="0">
                    <a:pos x="262" y="357"/>
                  </a:cxn>
                  <a:cxn ang="0">
                    <a:pos x="290" y="333"/>
                  </a:cxn>
                  <a:cxn ang="0">
                    <a:pos x="309" y="283"/>
                  </a:cxn>
                  <a:cxn ang="0">
                    <a:pos x="307" y="221"/>
                  </a:cxn>
                  <a:cxn ang="0">
                    <a:pos x="329" y="199"/>
                  </a:cxn>
                  <a:cxn ang="0">
                    <a:pos x="365" y="195"/>
                  </a:cxn>
                  <a:cxn ang="0">
                    <a:pos x="14" y="718"/>
                  </a:cxn>
                  <a:cxn ang="0">
                    <a:pos x="207" y="765"/>
                  </a:cxn>
                  <a:cxn ang="0">
                    <a:pos x="190" y="816"/>
                  </a:cxn>
                  <a:cxn ang="0">
                    <a:pos x="208" y="788"/>
                  </a:cxn>
                  <a:cxn ang="0">
                    <a:pos x="277" y="731"/>
                  </a:cxn>
                  <a:cxn ang="0">
                    <a:pos x="248" y="746"/>
                  </a:cxn>
                  <a:cxn ang="0">
                    <a:pos x="253" y="787"/>
                  </a:cxn>
                  <a:cxn ang="0">
                    <a:pos x="277" y="750"/>
                  </a:cxn>
                  <a:cxn ang="0">
                    <a:pos x="281" y="712"/>
                  </a:cxn>
                  <a:cxn ang="0">
                    <a:pos x="281" y="689"/>
                  </a:cxn>
                  <a:cxn ang="0">
                    <a:pos x="243" y="630"/>
                  </a:cxn>
                  <a:cxn ang="0">
                    <a:pos x="258" y="630"/>
                  </a:cxn>
                  <a:cxn ang="0">
                    <a:pos x="247" y="656"/>
                  </a:cxn>
                  <a:cxn ang="0">
                    <a:pos x="251" y="636"/>
                  </a:cxn>
                  <a:cxn ang="0">
                    <a:pos x="241" y="554"/>
                  </a:cxn>
                  <a:cxn ang="0">
                    <a:pos x="256" y="573"/>
                  </a:cxn>
                  <a:cxn ang="0">
                    <a:pos x="195" y="740"/>
                  </a:cxn>
                  <a:cxn ang="0">
                    <a:pos x="205" y="485"/>
                  </a:cxn>
                  <a:cxn ang="0">
                    <a:pos x="214" y="425"/>
                  </a:cxn>
                  <a:cxn ang="0">
                    <a:pos x="294" y="343"/>
                  </a:cxn>
                  <a:cxn ang="0">
                    <a:pos x="307" y="241"/>
                  </a:cxn>
                  <a:cxn ang="0">
                    <a:pos x="312" y="222"/>
                  </a:cxn>
                  <a:cxn ang="0">
                    <a:pos x="325" y="217"/>
                  </a:cxn>
                  <a:cxn ang="0">
                    <a:pos x="356" y="200"/>
                  </a:cxn>
                </a:cxnLst>
                <a:rect l="0" t="0" r="r" b="b"/>
                <a:pathLst>
                  <a:path w="365" h="899">
                    <a:moveTo>
                      <a:pt x="364" y="188"/>
                    </a:moveTo>
                    <a:cubicBezTo>
                      <a:pt x="364" y="188"/>
                      <a:pt x="359" y="186"/>
                      <a:pt x="358" y="182"/>
                    </a:cubicBezTo>
                    <a:cubicBezTo>
                      <a:pt x="357" y="178"/>
                      <a:pt x="358" y="175"/>
                      <a:pt x="356" y="173"/>
                    </a:cubicBezTo>
                    <a:cubicBezTo>
                      <a:pt x="354" y="172"/>
                      <a:pt x="347" y="171"/>
                      <a:pt x="347" y="167"/>
                    </a:cubicBezTo>
                    <a:cubicBezTo>
                      <a:pt x="348" y="161"/>
                      <a:pt x="348" y="160"/>
                      <a:pt x="348" y="160"/>
                    </a:cubicBezTo>
                    <a:cubicBezTo>
                      <a:pt x="348" y="160"/>
                      <a:pt x="343" y="159"/>
                      <a:pt x="345" y="155"/>
                    </a:cubicBezTo>
                    <a:cubicBezTo>
                      <a:pt x="348" y="150"/>
                      <a:pt x="353" y="147"/>
                      <a:pt x="352" y="144"/>
                    </a:cubicBezTo>
                    <a:cubicBezTo>
                      <a:pt x="350" y="140"/>
                      <a:pt x="348" y="136"/>
                      <a:pt x="348" y="136"/>
                    </a:cubicBezTo>
                    <a:cubicBezTo>
                      <a:pt x="348" y="136"/>
                      <a:pt x="349" y="129"/>
                      <a:pt x="347" y="125"/>
                    </a:cubicBezTo>
                    <a:cubicBezTo>
                      <a:pt x="345" y="122"/>
                      <a:pt x="336" y="117"/>
                      <a:pt x="336" y="111"/>
                    </a:cubicBezTo>
                    <a:cubicBezTo>
                      <a:pt x="336" y="106"/>
                      <a:pt x="337" y="104"/>
                      <a:pt x="337" y="104"/>
                    </a:cubicBezTo>
                    <a:cubicBezTo>
                      <a:pt x="340" y="101"/>
                      <a:pt x="340" y="101"/>
                      <a:pt x="340" y="101"/>
                    </a:cubicBezTo>
                    <a:cubicBezTo>
                      <a:pt x="339" y="95"/>
                      <a:pt x="339" y="95"/>
                      <a:pt x="339" y="95"/>
                    </a:cubicBezTo>
                    <a:cubicBezTo>
                      <a:pt x="328" y="93"/>
                      <a:pt x="328" y="93"/>
                      <a:pt x="328" y="93"/>
                    </a:cubicBezTo>
                    <a:cubicBezTo>
                      <a:pt x="328" y="93"/>
                      <a:pt x="330" y="87"/>
                      <a:pt x="328" y="81"/>
                    </a:cubicBezTo>
                    <a:cubicBezTo>
                      <a:pt x="327" y="77"/>
                      <a:pt x="325" y="74"/>
                      <a:pt x="326" y="69"/>
                    </a:cubicBezTo>
                    <a:cubicBezTo>
                      <a:pt x="327" y="65"/>
                      <a:pt x="332" y="65"/>
                      <a:pt x="330" y="62"/>
                    </a:cubicBezTo>
                    <a:cubicBezTo>
                      <a:pt x="328" y="59"/>
                      <a:pt x="319" y="50"/>
                      <a:pt x="319" y="50"/>
                    </a:cubicBezTo>
                    <a:cubicBezTo>
                      <a:pt x="315" y="53"/>
                      <a:pt x="315" y="53"/>
                      <a:pt x="315" y="53"/>
                    </a:cubicBezTo>
                    <a:cubicBezTo>
                      <a:pt x="315" y="53"/>
                      <a:pt x="314" y="43"/>
                      <a:pt x="305" y="38"/>
                    </a:cubicBezTo>
                    <a:cubicBezTo>
                      <a:pt x="295" y="33"/>
                      <a:pt x="282" y="31"/>
                      <a:pt x="282" y="31"/>
                    </a:cubicBezTo>
                    <a:cubicBezTo>
                      <a:pt x="278" y="27"/>
                      <a:pt x="278" y="27"/>
                      <a:pt x="278" y="27"/>
                    </a:cubicBezTo>
                    <a:cubicBezTo>
                      <a:pt x="274" y="27"/>
                      <a:pt x="274" y="27"/>
                      <a:pt x="274" y="27"/>
                    </a:cubicBezTo>
                    <a:cubicBezTo>
                      <a:pt x="272" y="24"/>
                      <a:pt x="272" y="24"/>
                      <a:pt x="272" y="24"/>
                    </a:cubicBezTo>
                    <a:cubicBezTo>
                      <a:pt x="267" y="22"/>
                      <a:pt x="267" y="22"/>
                      <a:pt x="267" y="22"/>
                    </a:cubicBezTo>
                    <a:cubicBezTo>
                      <a:pt x="265" y="15"/>
                      <a:pt x="265" y="15"/>
                      <a:pt x="265" y="15"/>
                    </a:cubicBezTo>
                    <a:cubicBezTo>
                      <a:pt x="261" y="15"/>
                      <a:pt x="261" y="15"/>
                      <a:pt x="261" y="15"/>
                    </a:cubicBezTo>
                    <a:cubicBezTo>
                      <a:pt x="251" y="11"/>
                      <a:pt x="251" y="11"/>
                      <a:pt x="251" y="11"/>
                    </a:cubicBezTo>
                    <a:cubicBezTo>
                      <a:pt x="250" y="5"/>
                      <a:pt x="250" y="5"/>
                      <a:pt x="250" y="5"/>
                    </a:cubicBezTo>
                    <a:cubicBezTo>
                      <a:pt x="247" y="2"/>
                      <a:pt x="247" y="2"/>
                      <a:pt x="247" y="2"/>
                    </a:cubicBezTo>
                    <a:cubicBezTo>
                      <a:pt x="242" y="2"/>
                      <a:pt x="242" y="2"/>
                      <a:pt x="242" y="2"/>
                    </a:cubicBezTo>
                    <a:cubicBezTo>
                      <a:pt x="242" y="0"/>
                      <a:pt x="242" y="0"/>
                      <a:pt x="242" y="0"/>
                    </a:cubicBezTo>
                    <a:cubicBezTo>
                      <a:pt x="230" y="2"/>
                      <a:pt x="230" y="2"/>
                      <a:pt x="230" y="2"/>
                    </a:cubicBezTo>
                    <a:cubicBezTo>
                      <a:pt x="230" y="2"/>
                      <a:pt x="237" y="11"/>
                      <a:pt x="238" y="17"/>
                    </a:cubicBezTo>
                    <a:cubicBezTo>
                      <a:pt x="239" y="25"/>
                      <a:pt x="231" y="34"/>
                      <a:pt x="231" y="34"/>
                    </a:cubicBezTo>
                    <a:cubicBezTo>
                      <a:pt x="239" y="38"/>
                      <a:pt x="239" y="38"/>
                      <a:pt x="239" y="38"/>
                    </a:cubicBezTo>
                    <a:cubicBezTo>
                      <a:pt x="232" y="48"/>
                      <a:pt x="232" y="48"/>
                      <a:pt x="232" y="48"/>
                    </a:cubicBezTo>
                    <a:cubicBezTo>
                      <a:pt x="210" y="38"/>
                      <a:pt x="210" y="38"/>
                      <a:pt x="210" y="38"/>
                    </a:cubicBezTo>
                    <a:cubicBezTo>
                      <a:pt x="198" y="41"/>
                      <a:pt x="198" y="41"/>
                      <a:pt x="198" y="41"/>
                    </a:cubicBezTo>
                    <a:cubicBezTo>
                      <a:pt x="194" y="36"/>
                      <a:pt x="194" y="36"/>
                      <a:pt x="194" y="36"/>
                    </a:cubicBezTo>
                    <a:cubicBezTo>
                      <a:pt x="186" y="41"/>
                      <a:pt x="186" y="41"/>
                      <a:pt x="186" y="41"/>
                    </a:cubicBezTo>
                    <a:cubicBezTo>
                      <a:pt x="186" y="41"/>
                      <a:pt x="189" y="56"/>
                      <a:pt x="188" y="61"/>
                    </a:cubicBezTo>
                    <a:cubicBezTo>
                      <a:pt x="186" y="66"/>
                      <a:pt x="183" y="77"/>
                      <a:pt x="183" y="77"/>
                    </a:cubicBezTo>
                    <a:cubicBezTo>
                      <a:pt x="167" y="69"/>
                      <a:pt x="167" y="69"/>
                      <a:pt x="167" y="69"/>
                    </a:cubicBezTo>
                    <a:cubicBezTo>
                      <a:pt x="153" y="84"/>
                      <a:pt x="153" y="84"/>
                      <a:pt x="153" y="84"/>
                    </a:cubicBezTo>
                    <a:cubicBezTo>
                      <a:pt x="153" y="84"/>
                      <a:pt x="149" y="101"/>
                      <a:pt x="149" y="106"/>
                    </a:cubicBezTo>
                    <a:cubicBezTo>
                      <a:pt x="148" y="111"/>
                      <a:pt x="140" y="109"/>
                      <a:pt x="140" y="109"/>
                    </a:cubicBezTo>
                    <a:cubicBezTo>
                      <a:pt x="140" y="116"/>
                      <a:pt x="140" y="116"/>
                      <a:pt x="140" y="116"/>
                    </a:cubicBezTo>
                    <a:cubicBezTo>
                      <a:pt x="140" y="116"/>
                      <a:pt x="147" y="127"/>
                      <a:pt x="148" y="135"/>
                    </a:cubicBezTo>
                    <a:cubicBezTo>
                      <a:pt x="150" y="141"/>
                      <a:pt x="144" y="143"/>
                      <a:pt x="136" y="151"/>
                    </a:cubicBezTo>
                    <a:cubicBezTo>
                      <a:pt x="130" y="157"/>
                      <a:pt x="132" y="162"/>
                      <a:pt x="130" y="169"/>
                    </a:cubicBezTo>
                    <a:cubicBezTo>
                      <a:pt x="128" y="175"/>
                      <a:pt x="123" y="176"/>
                      <a:pt x="123" y="176"/>
                    </a:cubicBezTo>
                    <a:cubicBezTo>
                      <a:pt x="126" y="189"/>
                      <a:pt x="126" y="189"/>
                      <a:pt x="126" y="189"/>
                    </a:cubicBezTo>
                    <a:cubicBezTo>
                      <a:pt x="113" y="199"/>
                      <a:pt x="113" y="199"/>
                      <a:pt x="113" y="199"/>
                    </a:cubicBezTo>
                    <a:cubicBezTo>
                      <a:pt x="100" y="201"/>
                      <a:pt x="100" y="201"/>
                      <a:pt x="100" y="201"/>
                    </a:cubicBezTo>
                    <a:cubicBezTo>
                      <a:pt x="104" y="221"/>
                      <a:pt x="104" y="221"/>
                      <a:pt x="104" y="221"/>
                    </a:cubicBezTo>
                    <a:cubicBezTo>
                      <a:pt x="102" y="233"/>
                      <a:pt x="102" y="233"/>
                      <a:pt x="102" y="233"/>
                    </a:cubicBezTo>
                    <a:cubicBezTo>
                      <a:pt x="103" y="253"/>
                      <a:pt x="103" y="253"/>
                      <a:pt x="103" y="253"/>
                    </a:cubicBezTo>
                    <a:cubicBezTo>
                      <a:pt x="99" y="258"/>
                      <a:pt x="99" y="258"/>
                      <a:pt x="99" y="258"/>
                    </a:cubicBezTo>
                    <a:cubicBezTo>
                      <a:pt x="98" y="268"/>
                      <a:pt x="98" y="268"/>
                      <a:pt x="98" y="268"/>
                    </a:cubicBezTo>
                    <a:cubicBezTo>
                      <a:pt x="79" y="300"/>
                      <a:pt x="79" y="300"/>
                      <a:pt x="79" y="300"/>
                    </a:cubicBezTo>
                    <a:cubicBezTo>
                      <a:pt x="93" y="310"/>
                      <a:pt x="93" y="310"/>
                      <a:pt x="93" y="310"/>
                    </a:cubicBezTo>
                    <a:cubicBezTo>
                      <a:pt x="94" y="325"/>
                      <a:pt x="94" y="325"/>
                      <a:pt x="94" y="325"/>
                    </a:cubicBezTo>
                    <a:cubicBezTo>
                      <a:pt x="89" y="337"/>
                      <a:pt x="89" y="337"/>
                      <a:pt x="89" y="337"/>
                    </a:cubicBezTo>
                    <a:cubicBezTo>
                      <a:pt x="89" y="337"/>
                      <a:pt x="69" y="331"/>
                      <a:pt x="59" y="334"/>
                    </a:cubicBezTo>
                    <a:cubicBezTo>
                      <a:pt x="47" y="337"/>
                      <a:pt x="35" y="365"/>
                      <a:pt x="35" y="365"/>
                    </a:cubicBezTo>
                    <a:cubicBezTo>
                      <a:pt x="38" y="374"/>
                      <a:pt x="38" y="374"/>
                      <a:pt x="38" y="374"/>
                    </a:cubicBezTo>
                    <a:cubicBezTo>
                      <a:pt x="30" y="385"/>
                      <a:pt x="30" y="385"/>
                      <a:pt x="30" y="385"/>
                    </a:cubicBezTo>
                    <a:cubicBezTo>
                      <a:pt x="37" y="404"/>
                      <a:pt x="37" y="404"/>
                      <a:pt x="37" y="404"/>
                    </a:cubicBezTo>
                    <a:cubicBezTo>
                      <a:pt x="33" y="410"/>
                      <a:pt x="33" y="410"/>
                      <a:pt x="33" y="410"/>
                    </a:cubicBezTo>
                    <a:cubicBezTo>
                      <a:pt x="36" y="421"/>
                      <a:pt x="36" y="421"/>
                      <a:pt x="36" y="421"/>
                    </a:cubicBezTo>
                    <a:cubicBezTo>
                      <a:pt x="33" y="429"/>
                      <a:pt x="33" y="429"/>
                      <a:pt x="33" y="429"/>
                    </a:cubicBezTo>
                    <a:cubicBezTo>
                      <a:pt x="41" y="452"/>
                      <a:pt x="41" y="452"/>
                      <a:pt x="41" y="452"/>
                    </a:cubicBezTo>
                    <a:cubicBezTo>
                      <a:pt x="35" y="487"/>
                      <a:pt x="35" y="487"/>
                      <a:pt x="35" y="487"/>
                    </a:cubicBezTo>
                    <a:cubicBezTo>
                      <a:pt x="45" y="497"/>
                      <a:pt x="45" y="497"/>
                      <a:pt x="45" y="497"/>
                    </a:cubicBezTo>
                    <a:cubicBezTo>
                      <a:pt x="45" y="497"/>
                      <a:pt x="50" y="500"/>
                      <a:pt x="54" y="503"/>
                    </a:cubicBezTo>
                    <a:cubicBezTo>
                      <a:pt x="58" y="507"/>
                      <a:pt x="59" y="511"/>
                      <a:pt x="55" y="523"/>
                    </a:cubicBezTo>
                    <a:cubicBezTo>
                      <a:pt x="53" y="535"/>
                      <a:pt x="45" y="529"/>
                      <a:pt x="45" y="529"/>
                    </a:cubicBezTo>
                    <a:cubicBezTo>
                      <a:pt x="36" y="532"/>
                      <a:pt x="36" y="532"/>
                      <a:pt x="36" y="532"/>
                    </a:cubicBezTo>
                    <a:cubicBezTo>
                      <a:pt x="41" y="538"/>
                      <a:pt x="41" y="538"/>
                      <a:pt x="41" y="538"/>
                    </a:cubicBezTo>
                    <a:cubicBezTo>
                      <a:pt x="43" y="547"/>
                      <a:pt x="43" y="547"/>
                      <a:pt x="43" y="547"/>
                    </a:cubicBezTo>
                    <a:cubicBezTo>
                      <a:pt x="43" y="547"/>
                      <a:pt x="49" y="561"/>
                      <a:pt x="51" y="568"/>
                    </a:cubicBezTo>
                    <a:cubicBezTo>
                      <a:pt x="54" y="576"/>
                      <a:pt x="46" y="572"/>
                      <a:pt x="45" y="577"/>
                    </a:cubicBezTo>
                    <a:cubicBezTo>
                      <a:pt x="44" y="581"/>
                      <a:pt x="48" y="584"/>
                      <a:pt x="45" y="597"/>
                    </a:cubicBezTo>
                    <a:cubicBezTo>
                      <a:pt x="41" y="609"/>
                      <a:pt x="30" y="603"/>
                      <a:pt x="26" y="607"/>
                    </a:cubicBezTo>
                    <a:cubicBezTo>
                      <a:pt x="21" y="610"/>
                      <a:pt x="28" y="611"/>
                      <a:pt x="27" y="616"/>
                    </a:cubicBezTo>
                    <a:cubicBezTo>
                      <a:pt x="27" y="620"/>
                      <a:pt x="21" y="619"/>
                      <a:pt x="19" y="623"/>
                    </a:cubicBezTo>
                    <a:cubicBezTo>
                      <a:pt x="16" y="625"/>
                      <a:pt x="25" y="643"/>
                      <a:pt x="25" y="643"/>
                    </a:cubicBezTo>
                    <a:cubicBezTo>
                      <a:pt x="25" y="643"/>
                      <a:pt x="21" y="651"/>
                      <a:pt x="19" y="658"/>
                    </a:cubicBezTo>
                    <a:cubicBezTo>
                      <a:pt x="17" y="665"/>
                      <a:pt x="16" y="671"/>
                      <a:pt x="12" y="671"/>
                    </a:cubicBezTo>
                    <a:cubicBezTo>
                      <a:pt x="8" y="671"/>
                      <a:pt x="11" y="662"/>
                      <a:pt x="10" y="657"/>
                    </a:cubicBezTo>
                    <a:cubicBezTo>
                      <a:pt x="9" y="652"/>
                      <a:pt x="1" y="657"/>
                      <a:pt x="1" y="657"/>
                    </a:cubicBezTo>
                    <a:cubicBezTo>
                      <a:pt x="0" y="664"/>
                      <a:pt x="0" y="664"/>
                      <a:pt x="0" y="664"/>
                    </a:cubicBezTo>
                    <a:cubicBezTo>
                      <a:pt x="0" y="664"/>
                      <a:pt x="3" y="668"/>
                      <a:pt x="3" y="673"/>
                    </a:cubicBezTo>
                    <a:cubicBezTo>
                      <a:pt x="3" y="676"/>
                      <a:pt x="0" y="679"/>
                      <a:pt x="0" y="679"/>
                    </a:cubicBezTo>
                    <a:cubicBezTo>
                      <a:pt x="0" y="679"/>
                      <a:pt x="5" y="693"/>
                      <a:pt x="5" y="696"/>
                    </a:cubicBezTo>
                    <a:cubicBezTo>
                      <a:pt x="5" y="699"/>
                      <a:pt x="1" y="699"/>
                      <a:pt x="1" y="699"/>
                    </a:cubicBezTo>
                    <a:cubicBezTo>
                      <a:pt x="2" y="703"/>
                      <a:pt x="2" y="703"/>
                      <a:pt x="2" y="703"/>
                    </a:cubicBezTo>
                    <a:cubicBezTo>
                      <a:pt x="2" y="703"/>
                      <a:pt x="6" y="700"/>
                      <a:pt x="9" y="702"/>
                    </a:cubicBezTo>
                    <a:cubicBezTo>
                      <a:pt x="10" y="703"/>
                      <a:pt x="9" y="707"/>
                      <a:pt x="9" y="707"/>
                    </a:cubicBezTo>
                    <a:cubicBezTo>
                      <a:pt x="11" y="707"/>
                      <a:pt x="11" y="707"/>
                      <a:pt x="11" y="707"/>
                    </a:cubicBezTo>
                    <a:cubicBezTo>
                      <a:pt x="14" y="697"/>
                      <a:pt x="14" y="697"/>
                      <a:pt x="14" y="697"/>
                    </a:cubicBezTo>
                    <a:cubicBezTo>
                      <a:pt x="17" y="700"/>
                      <a:pt x="17" y="700"/>
                      <a:pt x="17" y="700"/>
                    </a:cubicBezTo>
                    <a:cubicBezTo>
                      <a:pt x="10" y="710"/>
                      <a:pt x="10" y="710"/>
                      <a:pt x="10" y="710"/>
                    </a:cubicBezTo>
                    <a:cubicBezTo>
                      <a:pt x="10" y="712"/>
                      <a:pt x="10" y="712"/>
                      <a:pt x="10" y="712"/>
                    </a:cubicBezTo>
                    <a:cubicBezTo>
                      <a:pt x="25" y="704"/>
                      <a:pt x="25" y="704"/>
                      <a:pt x="25" y="704"/>
                    </a:cubicBezTo>
                    <a:cubicBezTo>
                      <a:pt x="22" y="709"/>
                      <a:pt x="22" y="709"/>
                      <a:pt x="22" y="709"/>
                    </a:cubicBezTo>
                    <a:cubicBezTo>
                      <a:pt x="25" y="713"/>
                      <a:pt x="25" y="713"/>
                      <a:pt x="25" y="713"/>
                    </a:cubicBezTo>
                    <a:cubicBezTo>
                      <a:pt x="21" y="730"/>
                      <a:pt x="21" y="730"/>
                      <a:pt x="21" y="730"/>
                    </a:cubicBezTo>
                    <a:cubicBezTo>
                      <a:pt x="18" y="737"/>
                      <a:pt x="18" y="737"/>
                      <a:pt x="18" y="737"/>
                    </a:cubicBezTo>
                    <a:cubicBezTo>
                      <a:pt x="22" y="741"/>
                      <a:pt x="22" y="741"/>
                      <a:pt x="22" y="741"/>
                    </a:cubicBezTo>
                    <a:cubicBezTo>
                      <a:pt x="17" y="746"/>
                      <a:pt x="17" y="746"/>
                      <a:pt x="17" y="746"/>
                    </a:cubicBezTo>
                    <a:cubicBezTo>
                      <a:pt x="22" y="746"/>
                      <a:pt x="22" y="746"/>
                      <a:pt x="22" y="746"/>
                    </a:cubicBezTo>
                    <a:cubicBezTo>
                      <a:pt x="24" y="746"/>
                      <a:pt x="26" y="754"/>
                      <a:pt x="26" y="757"/>
                    </a:cubicBezTo>
                    <a:cubicBezTo>
                      <a:pt x="26" y="761"/>
                      <a:pt x="27" y="768"/>
                      <a:pt x="29" y="768"/>
                    </a:cubicBezTo>
                    <a:cubicBezTo>
                      <a:pt x="31" y="768"/>
                      <a:pt x="32" y="761"/>
                      <a:pt x="32" y="761"/>
                    </a:cubicBezTo>
                    <a:cubicBezTo>
                      <a:pt x="32" y="770"/>
                      <a:pt x="32" y="770"/>
                      <a:pt x="32" y="770"/>
                    </a:cubicBezTo>
                    <a:cubicBezTo>
                      <a:pt x="34" y="771"/>
                      <a:pt x="34" y="771"/>
                      <a:pt x="34" y="771"/>
                    </a:cubicBezTo>
                    <a:cubicBezTo>
                      <a:pt x="32" y="777"/>
                      <a:pt x="32" y="777"/>
                      <a:pt x="32" y="777"/>
                    </a:cubicBezTo>
                    <a:cubicBezTo>
                      <a:pt x="37" y="779"/>
                      <a:pt x="37" y="779"/>
                      <a:pt x="37" y="779"/>
                    </a:cubicBezTo>
                    <a:cubicBezTo>
                      <a:pt x="37" y="786"/>
                      <a:pt x="37" y="786"/>
                      <a:pt x="37" y="786"/>
                    </a:cubicBezTo>
                    <a:cubicBezTo>
                      <a:pt x="42" y="791"/>
                      <a:pt x="42" y="791"/>
                      <a:pt x="42" y="791"/>
                    </a:cubicBezTo>
                    <a:cubicBezTo>
                      <a:pt x="42" y="796"/>
                      <a:pt x="42" y="796"/>
                      <a:pt x="42" y="796"/>
                    </a:cubicBezTo>
                    <a:cubicBezTo>
                      <a:pt x="48" y="804"/>
                      <a:pt x="48" y="804"/>
                      <a:pt x="48" y="804"/>
                    </a:cubicBezTo>
                    <a:cubicBezTo>
                      <a:pt x="50" y="803"/>
                      <a:pt x="50" y="803"/>
                      <a:pt x="50" y="803"/>
                    </a:cubicBezTo>
                    <a:cubicBezTo>
                      <a:pt x="50" y="803"/>
                      <a:pt x="52" y="815"/>
                      <a:pt x="55" y="816"/>
                    </a:cubicBezTo>
                    <a:cubicBezTo>
                      <a:pt x="60" y="818"/>
                      <a:pt x="61" y="814"/>
                      <a:pt x="61" y="814"/>
                    </a:cubicBezTo>
                    <a:cubicBezTo>
                      <a:pt x="61" y="814"/>
                      <a:pt x="64" y="822"/>
                      <a:pt x="64" y="825"/>
                    </a:cubicBezTo>
                    <a:cubicBezTo>
                      <a:pt x="64" y="829"/>
                      <a:pt x="58" y="828"/>
                      <a:pt x="58" y="828"/>
                    </a:cubicBezTo>
                    <a:cubicBezTo>
                      <a:pt x="58" y="828"/>
                      <a:pt x="57" y="823"/>
                      <a:pt x="52" y="826"/>
                    </a:cubicBezTo>
                    <a:cubicBezTo>
                      <a:pt x="48" y="830"/>
                      <a:pt x="58" y="834"/>
                      <a:pt x="58" y="834"/>
                    </a:cubicBezTo>
                    <a:cubicBezTo>
                      <a:pt x="58" y="834"/>
                      <a:pt x="61" y="839"/>
                      <a:pt x="59" y="841"/>
                    </a:cubicBezTo>
                    <a:cubicBezTo>
                      <a:pt x="55" y="844"/>
                      <a:pt x="51" y="838"/>
                      <a:pt x="49" y="837"/>
                    </a:cubicBezTo>
                    <a:cubicBezTo>
                      <a:pt x="47" y="835"/>
                      <a:pt x="44" y="835"/>
                      <a:pt x="43" y="836"/>
                    </a:cubicBezTo>
                    <a:cubicBezTo>
                      <a:pt x="42" y="837"/>
                      <a:pt x="47" y="839"/>
                      <a:pt x="47" y="839"/>
                    </a:cubicBezTo>
                    <a:cubicBezTo>
                      <a:pt x="48" y="844"/>
                      <a:pt x="48" y="844"/>
                      <a:pt x="48" y="844"/>
                    </a:cubicBezTo>
                    <a:cubicBezTo>
                      <a:pt x="48" y="844"/>
                      <a:pt x="54" y="852"/>
                      <a:pt x="58" y="856"/>
                    </a:cubicBezTo>
                    <a:cubicBezTo>
                      <a:pt x="61" y="861"/>
                      <a:pt x="61" y="865"/>
                      <a:pt x="61" y="865"/>
                    </a:cubicBezTo>
                    <a:cubicBezTo>
                      <a:pt x="65" y="866"/>
                      <a:pt x="65" y="866"/>
                      <a:pt x="65" y="866"/>
                    </a:cubicBezTo>
                    <a:cubicBezTo>
                      <a:pt x="64" y="871"/>
                      <a:pt x="64" y="871"/>
                      <a:pt x="64" y="871"/>
                    </a:cubicBezTo>
                    <a:cubicBezTo>
                      <a:pt x="64" y="871"/>
                      <a:pt x="67" y="871"/>
                      <a:pt x="69" y="877"/>
                    </a:cubicBezTo>
                    <a:cubicBezTo>
                      <a:pt x="71" y="881"/>
                      <a:pt x="64" y="882"/>
                      <a:pt x="64" y="882"/>
                    </a:cubicBezTo>
                    <a:cubicBezTo>
                      <a:pt x="64" y="888"/>
                      <a:pt x="64" y="888"/>
                      <a:pt x="64" y="888"/>
                    </a:cubicBezTo>
                    <a:cubicBezTo>
                      <a:pt x="64" y="888"/>
                      <a:pt x="67" y="891"/>
                      <a:pt x="66" y="894"/>
                    </a:cubicBezTo>
                    <a:cubicBezTo>
                      <a:pt x="65" y="896"/>
                      <a:pt x="62" y="893"/>
                      <a:pt x="62" y="893"/>
                    </a:cubicBezTo>
                    <a:cubicBezTo>
                      <a:pt x="61" y="897"/>
                      <a:pt x="61" y="897"/>
                      <a:pt x="61" y="897"/>
                    </a:cubicBezTo>
                    <a:cubicBezTo>
                      <a:pt x="65" y="896"/>
                      <a:pt x="65" y="896"/>
                      <a:pt x="65" y="896"/>
                    </a:cubicBezTo>
                    <a:cubicBezTo>
                      <a:pt x="65" y="896"/>
                      <a:pt x="78" y="899"/>
                      <a:pt x="82" y="899"/>
                    </a:cubicBezTo>
                    <a:cubicBezTo>
                      <a:pt x="85" y="899"/>
                      <a:pt x="91" y="895"/>
                      <a:pt x="97" y="893"/>
                    </a:cubicBezTo>
                    <a:cubicBezTo>
                      <a:pt x="103" y="891"/>
                      <a:pt x="106" y="895"/>
                      <a:pt x="106" y="895"/>
                    </a:cubicBezTo>
                    <a:cubicBezTo>
                      <a:pt x="112" y="894"/>
                      <a:pt x="112" y="894"/>
                      <a:pt x="112" y="894"/>
                    </a:cubicBezTo>
                    <a:cubicBezTo>
                      <a:pt x="112" y="894"/>
                      <a:pt x="117" y="885"/>
                      <a:pt x="118" y="880"/>
                    </a:cubicBezTo>
                    <a:cubicBezTo>
                      <a:pt x="119" y="876"/>
                      <a:pt x="111" y="875"/>
                      <a:pt x="111" y="869"/>
                    </a:cubicBezTo>
                    <a:cubicBezTo>
                      <a:pt x="111" y="865"/>
                      <a:pt x="118" y="854"/>
                      <a:pt x="120" y="852"/>
                    </a:cubicBezTo>
                    <a:cubicBezTo>
                      <a:pt x="123" y="851"/>
                      <a:pt x="129" y="855"/>
                      <a:pt x="131" y="854"/>
                    </a:cubicBezTo>
                    <a:cubicBezTo>
                      <a:pt x="133" y="852"/>
                      <a:pt x="129" y="844"/>
                      <a:pt x="129" y="844"/>
                    </a:cubicBezTo>
                    <a:cubicBezTo>
                      <a:pt x="147" y="842"/>
                      <a:pt x="147" y="842"/>
                      <a:pt x="147" y="842"/>
                    </a:cubicBezTo>
                    <a:cubicBezTo>
                      <a:pt x="155" y="844"/>
                      <a:pt x="155" y="844"/>
                      <a:pt x="155" y="844"/>
                    </a:cubicBezTo>
                    <a:cubicBezTo>
                      <a:pt x="161" y="839"/>
                      <a:pt x="161" y="839"/>
                      <a:pt x="161" y="839"/>
                    </a:cubicBezTo>
                    <a:cubicBezTo>
                      <a:pt x="172" y="847"/>
                      <a:pt x="172" y="847"/>
                      <a:pt x="172" y="847"/>
                    </a:cubicBezTo>
                    <a:cubicBezTo>
                      <a:pt x="172" y="847"/>
                      <a:pt x="176" y="838"/>
                      <a:pt x="178" y="837"/>
                    </a:cubicBezTo>
                    <a:cubicBezTo>
                      <a:pt x="179" y="835"/>
                      <a:pt x="181" y="820"/>
                      <a:pt x="181" y="820"/>
                    </a:cubicBezTo>
                    <a:cubicBezTo>
                      <a:pt x="184" y="810"/>
                      <a:pt x="184" y="810"/>
                      <a:pt x="184" y="810"/>
                    </a:cubicBezTo>
                    <a:cubicBezTo>
                      <a:pt x="188" y="807"/>
                      <a:pt x="188" y="807"/>
                      <a:pt x="188" y="807"/>
                    </a:cubicBezTo>
                    <a:cubicBezTo>
                      <a:pt x="192" y="791"/>
                      <a:pt x="192" y="791"/>
                      <a:pt x="192" y="791"/>
                    </a:cubicBezTo>
                    <a:cubicBezTo>
                      <a:pt x="190" y="785"/>
                      <a:pt x="190" y="785"/>
                      <a:pt x="190" y="785"/>
                    </a:cubicBezTo>
                    <a:cubicBezTo>
                      <a:pt x="190" y="785"/>
                      <a:pt x="193" y="784"/>
                      <a:pt x="194" y="781"/>
                    </a:cubicBezTo>
                    <a:cubicBezTo>
                      <a:pt x="195" y="777"/>
                      <a:pt x="191" y="775"/>
                      <a:pt x="191" y="775"/>
                    </a:cubicBezTo>
                    <a:cubicBezTo>
                      <a:pt x="192" y="761"/>
                      <a:pt x="192" y="761"/>
                      <a:pt x="192" y="761"/>
                    </a:cubicBezTo>
                    <a:cubicBezTo>
                      <a:pt x="192" y="761"/>
                      <a:pt x="195" y="762"/>
                      <a:pt x="197" y="756"/>
                    </a:cubicBezTo>
                    <a:cubicBezTo>
                      <a:pt x="200" y="751"/>
                      <a:pt x="191" y="746"/>
                      <a:pt x="191" y="746"/>
                    </a:cubicBezTo>
                    <a:cubicBezTo>
                      <a:pt x="193" y="744"/>
                      <a:pt x="193" y="744"/>
                      <a:pt x="193" y="744"/>
                    </a:cubicBezTo>
                    <a:cubicBezTo>
                      <a:pt x="194" y="735"/>
                      <a:pt x="194" y="735"/>
                      <a:pt x="194" y="735"/>
                    </a:cubicBezTo>
                    <a:cubicBezTo>
                      <a:pt x="192" y="728"/>
                      <a:pt x="192" y="728"/>
                      <a:pt x="192" y="728"/>
                    </a:cubicBezTo>
                    <a:cubicBezTo>
                      <a:pt x="188" y="728"/>
                      <a:pt x="188" y="728"/>
                      <a:pt x="188" y="728"/>
                    </a:cubicBezTo>
                    <a:cubicBezTo>
                      <a:pt x="188" y="728"/>
                      <a:pt x="188" y="726"/>
                      <a:pt x="191" y="725"/>
                    </a:cubicBezTo>
                    <a:cubicBezTo>
                      <a:pt x="195" y="725"/>
                      <a:pt x="198" y="728"/>
                      <a:pt x="198" y="728"/>
                    </a:cubicBezTo>
                    <a:cubicBezTo>
                      <a:pt x="197" y="722"/>
                      <a:pt x="197" y="722"/>
                      <a:pt x="197" y="722"/>
                    </a:cubicBezTo>
                    <a:cubicBezTo>
                      <a:pt x="193" y="720"/>
                      <a:pt x="193" y="720"/>
                      <a:pt x="193" y="720"/>
                    </a:cubicBezTo>
                    <a:cubicBezTo>
                      <a:pt x="196" y="719"/>
                      <a:pt x="196" y="719"/>
                      <a:pt x="196" y="719"/>
                    </a:cubicBezTo>
                    <a:cubicBezTo>
                      <a:pt x="196" y="719"/>
                      <a:pt x="196" y="711"/>
                      <a:pt x="198" y="707"/>
                    </a:cubicBezTo>
                    <a:cubicBezTo>
                      <a:pt x="201" y="703"/>
                      <a:pt x="192" y="698"/>
                      <a:pt x="192" y="698"/>
                    </a:cubicBezTo>
                    <a:cubicBezTo>
                      <a:pt x="195" y="697"/>
                      <a:pt x="195" y="697"/>
                      <a:pt x="195" y="697"/>
                    </a:cubicBezTo>
                    <a:cubicBezTo>
                      <a:pt x="192" y="692"/>
                      <a:pt x="192" y="692"/>
                      <a:pt x="192" y="692"/>
                    </a:cubicBezTo>
                    <a:cubicBezTo>
                      <a:pt x="192" y="692"/>
                      <a:pt x="198" y="694"/>
                      <a:pt x="201" y="687"/>
                    </a:cubicBezTo>
                    <a:cubicBezTo>
                      <a:pt x="204" y="679"/>
                      <a:pt x="183" y="679"/>
                      <a:pt x="183" y="679"/>
                    </a:cubicBezTo>
                    <a:cubicBezTo>
                      <a:pt x="182" y="682"/>
                      <a:pt x="182" y="682"/>
                      <a:pt x="182" y="682"/>
                    </a:cubicBezTo>
                    <a:cubicBezTo>
                      <a:pt x="176" y="681"/>
                      <a:pt x="176" y="681"/>
                      <a:pt x="176" y="681"/>
                    </a:cubicBezTo>
                    <a:cubicBezTo>
                      <a:pt x="176" y="677"/>
                      <a:pt x="176" y="677"/>
                      <a:pt x="176" y="677"/>
                    </a:cubicBezTo>
                    <a:cubicBezTo>
                      <a:pt x="192" y="677"/>
                      <a:pt x="192" y="677"/>
                      <a:pt x="192" y="677"/>
                    </a:cubicBezTo>
                    <a:cubicBezTo>
                      <a:pt x="195" y="677"/>
                      <a:pt x="201" y="680"/>
                      <a:pt x="201" y="680"/>
                    </a:cubicBezTo>
                    <a:cubicBezTo>
                      <a:pt x="204" y="675"/>
                      <a:pt x="204" y="675"/>
                      <a:pt x="204" y="675"/>
                    </a:cubicBezTo>
                    <a:cubicBezTo>
                      <a:pt x="202" y="668"/>
                      <a:pt x="202" y="668"/>
                      <a:pt x="202" y="668"/>
                    </a:cubicBezTo>
                    <a:cubicBezTo>
                      <a:pt x="208" y="672"/>
                      <a:pt x="208" y="672"/>
                      <a:pt x="208" y="672"/>
                    </a:cubicBezTo>
                    <a:cubicBezTo>
                      <a:pt x="208" y="672"/>
                      <a:pt x="212" y="671"/>
                      <a:pt x="213" y="671"/>
                    </a:cubicBezTo>
                    <a:cubicBezTo>
                      <a:pt x="214" y="671"/>
                      <a:pt x="218" y="666"/>
                      <a:pt x="218" y="666"/>
                    </a:cubicBezTo>
                    <a:cubicBezTo>
                      <a:pt x="218" y="661"/>
                      <a:pt x="218" y="661"/>
                      <a:pt x="218" y="661"/>
                    </a:cubicBezTo>
                    <a:cubicBezTo>
                      <a:pt x="222" y="662"/>
                      <a:pt x="222" y="662"/>
                      <a:pt x="222" y="662"/>
                    </a:cubicBezTo>
                    <a:cubicBezTo>
                      <a:pt x="223" y="647"/>
                      <a:pt x="223" y="647"/>
                      <a:pt x="223" y="647"/>
                    </a:cubicBezTo>
                    <a:cubicBezTo>
                      <a:pt x="226" y="648"/>
                      <a:pt x="226" y="648"/>
                      <a:pt x="226" y="648"/>
                    </a:cubicBezTo>
                    <a:cubicBezTo>
                      <a:pt x="228" y="658"/>
                      <a:pt x="228" y="658"/>
                      <a:pt x="228" y="658"/>
                    </a:cubicBezTo>
                    <a:cubicBezTo>
                      <a:pt x="235" y="659"/>
                      <a:pt x="235" y="659"/>
                      <a:pt x="235" y="659"/>
                    </a:cubicBezTo>
                    <a:cubicBezTo>
                      <a:pt x="237" y="649"/>
                      <a:pt x="237" y="649"/>
                      <a:pt x="237" y="649"/>
                    </a:cubicBezTo>
                    <a:cubicBezTo>
                      <a:pt x="237" y="649"/>
                      <a:pt x="239" y="649"/>
                      <a:pt x="241" y="648"/>
                    </a:cubicBezTo>
                    <a:cubicBezTo>
                      <a:pt x="242" y="647"/>
                      <a:pt x="242" y="643"/>
                      <a:pt x="242" y="643"/>
                    </a:cubicBezTo>
                    <a:cubicBezTo>
                      <a:pt x="246" y="642"/>
                      <a:pt x="246" y="642"/>
                      <a:pt x="246" y="642"/>
                    </a:cubicBezTo>
                    <a:cubicBezTo>
                      <a:pt x="248" y="640"/>
                      <a:pt x="248" y="640"/>
                      <a:pt x="248" y="640"/>
                    </a:cubicBezTo>
                    <a:cubicBezTo>
                      <a:pt x="245" y="639"/>
                      <a:pt x="245" y="639"/>
                      <a:pt x="245" y="639"/>
                    </a:cubicBezTo>
                    <a:cubicBezTo>
                      <a:pt x="243" y="633"/>
                      <a:pt x="243" y="633"/>
                      <a:pt x="243" y="633"/>
                    </a:cubicBezTo>
                    <a:cubicBezTo>
                      <a:pt x="237" y="628"/>
                      <a:pt x="237" y="628"/>
                      <a:pt x="237" y="628"/>
                    </a:cubicBezTo>
                    <a:cubicBezTo>
                      <a:pt x="239" y="625"/>
                      <a:pt x="239" y="625"/>
                      <a:pt x="239" y="625"/>
                    </a:cubicBezTo>
                    <a:cubicBezTo>
                      <a:pt x="244" y="625"/>
                      <a:pt x="244" y="625"/>
                      <a:pt x="244" y="625"/>
                    </a:cubicBezTo>
                    <a:cubicBezTo>
                      <a:pt x="258" y="610"/>
                      <a:pt x="258" y="610"/>
                      <a:pt x="258" y="610"/>
                    </a:cubicBezTo>
                    <a:cubicBezTo>
                      <a:pt x="258" y="607"/>
                      <a:pt x="258" y="607"/>
                      <a:pt x="258" y="607"/>
                    </a:cubicBezTo>
                    <a:cubicBezTo>
                      <a:pt x="266" y="601"/>
                      <a:pt x="266" y="601"/>
                      <a:pt x="266" y="601"/>
                    </a:cubicBezTo>
                    <a:cubicBezTo>
                      <a:pt x="267" y="600"/>
                      <a:pt x="267" y="600"/>
                      <a:pt x="267" y="600"/>
                    </a:cubicBezTo>
                    <a:cubicBezTo>
                      <a:pt x="259" y="600"/>
                      <a:pt x="259" y="600"/>
                      <a:pt x="259" y="600"/>
                    </a:cubicBezTo>
                    <a:cubicBezTo>
                      <a:pt x="261" y="594"/>
                      <a:pt x="261" y="594"/>
                      <a:pt x="261" y="594"/>
                    </a:cubicBezTo>
                    <a:cubicBezTo>
                      <a:pt x="266" y="595"/>
                      <a:pt x="266" y="595"/>
                      <a:pt x="266" y="595"/>
                    </a:cubicBezTo>
                    <a:cubicBezTo>
                      <a:pt x="267" y="592"/>
                      <a:pt x="267" y="592"/>
                      <a:pt x="267" y="592"/>
                    </a:cubicBezTo>
                    <a:cubicBezTo>
                      <a:pt x="261" y="588"/>
                      <a:pt x="261" y="588"/>
                      <a:pt x="261" y="588"/>
                    </a:cubicBezTo>
                    <a:cubicBezTo>
                      <a:pt x="256" y="578"/>
                      <a:pt x="256" y="578"/>
                      <a:pt x="256" y="578"/>
                    </a:cubicBezTo>
                    <a:cubicBezTo>
                      <a:pt x="247" y="578"/>
                      <a:pt x="247" y="578"/>
                      <a:pt x="247" y="578"/>
                    </a:cubicBezTo>
                    <a:cubicBezTo>
                      <a:pt x="245" y="578"/>
                      <a:pt x="242" y="570"/>
                      <a:pt x="242" y="570"/>
                    </a:cubicBezTo>
                    <a:cubicBezTo>
                      <a:pt x="242" y="566"/>
                      <a:pt x="242" y="566"/>
                      <a:pt x="242" y="566"/>
                    </a:cubicBezTo>
                    <a:cubicBezTo>
                      <a:pt x="241" y="564"/>
                      <a:pt x="241" y="564"/>
                      <a:pt x="241" y="564"/>
                    </a:cubicBezTo>
                    <a:cubicBezTo>
                      <a:pt x="237" y="565"/>
                      <a:pt x="237" y="565"/>
                      <a:pt x="237" y="565"/>
                    </a:cubicBezTo>
                    <a:cubicBezTo>
                      <a:pt x="227" y="554"/>
                      <a:pt x="227" y="554"/>
                      <a:pt x="227" y="554"/>
                    </a:cubicBezTo>
                    <a:cubicBezTo>
                      <a:pt x="227" y="554"/>
                      <a:pt x="228" y="550"/>
                      <a:pt x="225" y="549"/>
                    </a:cubicBezTo>
                    <a:cubicBezTo>
                      <a:pt x="221" y="548"/>
                      <a:pt x="216" y="557"/>
                      <a:pt x="216" y="557"/>
                    </a:cubicBezTo>
                    <a:cubicBezTo>
                      <a:pt x="213" y="552"/>
                      <a:pt x="213" y="552"/>
                      <a:pt x="213" y="552"/>
                    </a:cubicBezTo>
                    <a:cubicBezTo>
                      <a:pt x="213" y="552"/>
                      <a:pt x="215" y="550"/>
                      <a:pt x="213" y="548"/>
                    </a:cubicBezTo>
                    <a:cubicBezTo>
                      <a:pt x="210" y="546"/>
                      <a:pt x="198" y="548"/>
                      <a:pt x="198" y="548"/>
                    </a:cubicBezTo>
                    <a:cubicBezTo>
                      <a:pt x="205" y="541"/>
                      <a:pt x="205" y="541"/>
                      <a:pt x="205" y="541"/>
                    </a:cubicBezTo>
                    <a:cubicBezTo>
                      <a:pt x="200" y="534"/>
                      <a:pt x="200" y="534"/>
                      <a:pt x="200" y="534"/>
                    </a:cubicBezTo>
                    <a:cubicBezTo>
                      <a:pt x="196" y="533"/>
                      <a:pt x="196" y="533"/>
                      <a:pt x="196" y="533"/>
                    </a:cubicBezTo>
                    <a:cubicBezTo>
                      <a:pt x="198" y="525"/>
                      <a:pt x="198" y="525"/>
                      <a:pt x="198" y="525"/>
                    </a:cubicBezTo>
                    <a:cubicBezTo>
                      <a:pt x="196" y="515"/>
                      <a:pt x="196" y="515"/>
                      <a:pt x="196" y="515"/>
                    </a:cubicBezTo>
                    <a:cubicBezTo>
                      <a:pt x="196" y="515"/>
                      <a:pt x="198" y="509"/>
                      <a:pt x="198" y="506"/>
                    </a:cubicBezTo>
                    <a:cubicBezTo>
                      <a:pt x="198" y="504"/>
                      <a:pt x="193" y="502"/>
                      <a:pt x="193" y="502"/>
                    </a:cubicBezTo>
                    <a:cubicBezTo>
                      <a:pt x="195" y="491"/>
                      <a:pt x="195" y="491"/>
                      <a:pt x="195" y="491"/>
                    </a:cubicBezTo>
                    <a:cubicBezTo>
                      <a:pt x="193" y="490"/>
                      <a:pt x="193" y="490"/>
                      <a:pt x="193" y="490"/>
                    </a:cubicBezTo>
                    <a:cubicBezTo>
                      <a:pt x="196" y="488"/>
                      <a:pt x="196" y="488"/>
                      <a:pt x="196" y="488"/>
                    </a:cubicBezTo>
                    <a:cubicBezTo>
                      <a:pt x="192" y="479"/>
                      <a:pt x="192" y="479"/>
                      <a:pt x="192" y="479"/>
                    </a:cubicBezTo>
                    <a:cubicBezTo>
                      <a:pt x="198" y="483"/>
                      <a:pt x="198" y="483"/>
                      <a:pt x="198" y="483"/>
                    </a:cubicBezTo>
                    <a:cubicBezTo>
                      <a:pt x="201" y="479"/>
                      <a:pt x="201" y="479"/>
                      <a:pt x="201" y="479"/>
                    </a:cubicBezTo>
                    <a:cubicBezTo>
                      <a:pt x="201" y="479"/>
                      <a:pt x="200" y="475"/>
                      <a:pt x="198" y="473"/>
                    </a:cubicBezTo>
                    <a:cubicBezTo>
                      <a:pt x="195" y="472"/>
                      <a:pt x="197" y="464"/>
                      <a:pt x="197" y="464"/>
                    </a:cubicBezTo>
                    <a:cubicBezTo>
                      <a:pt x="200" y="461"/>
                      <a:pt x="200" y="461"/>
                      <a:pt x="200" y="461"/>
                    </a:cubicBezTo>
                    <a:cubicBezTo>
                      <a:pt x="201" y="450"/>
                      <a:pt x="201" y="450"/>
                      <a:pt x="201" y="450"/>
                    </a:cubicBezTo>
                    <a:cubicBezTo>
                      <a:pt x="206" y="448"/>
                      <a:pt x="206" y="448"/>
                      <a:pt x="206" y="448"/>
                    </a:cubicBezTo>
                    <a:cubicBezTo>
                      <a:pt x="206" y="445"/>
                      <a:pt x="206" y="445"/>
                      <a:pt x="206" y="445"/>
                    </a:cubicBezTo>
                    <a:cubicBezTo>
                      <a:pt x="200" y="445"/>
                      <a:pt x="200" y="445"/>
                      <a:pt x="200" y="445"/>
                    </a:cubicBezTo>
                    <a:cubicBezTo>
                      <a:pt x="199" y="441"/>
                      <a:pt x="199" y="441"/>
                      <a:pt x="199" y="441"/>
                    </a:cubicBezTo>
                    <a:cubicBezTo>
                      <a:pt x="197" y="442"/>
                      <a:pt x="197" y="442"/>
                      <a:pt x="197" y="442"/>
                    </a:cubicBezTo>
                    <a:cubicBezTo>
                      <a:pt x="196" y="432"/>
                      <a:pt x="196" y="432"/>
                      <a:pt x="196" y="432"/>
                    </a:cubicBezTo>
                    <a:cubicBezTo>
                      <a:pt x="194" y="430"/>
                      <a:pt x="194" y="430"/>
                      <a:pt x="194" y="430"/>
                    </a:cubicBezTo>
                    <a:cubicBezTo>
                      <a:pt x="199" y="428"/>
                      <a:pt x="199" y="428"/>
                      <a:pt x="199" y="428"/>
                    </a:cubicBezTo>
                    <a:cubicBezTo>
                      <a:pt x="202" y="434"/>
                      <a:pt x="202" y="434"/>
                      <a:pt x="202" y="434"/>
                    </a:cubicBezTo>
                    <a:cubicBezTo>
                      <a:pt x="207" y="432"/>
                      <a:pt x="207" y="432"/>
                      <a:pt x="207" y="432"/>
                    </a:cubicBezTo>
                    <a:cubicBezTo>
                      <a:pt x="205" y="430"/>
                      <a:pt x="205" y="430"/>
                      <a:pt x="205" y="430"/>
                    </a:cubicBezTo>
                    <a:cubicBezTo>
                      <a:pt x="207" y="427"/>
                      <a:pt x="207" y="427"/>
                      <a:pt x="207" y="427"/>
                    </a:cubicBezTo>
                    <a:cubicBezTo>
                      <a:pt x="207" y="427"/>
                      <a:pt x="212" y="427"/>
                      <a:pt x="212" y="425"/>
                    </a:cubicBezTo>
                    <a:cubicBezTo>
                      <a:pt x="212" y="418"/>
                      <a:pt x="212" y="418"/>
                      <a:pt x="212" y="418"/>
                    </a:cubicBezTo>
                    <a:cubicBezTo>
                      <a:pt x="213" y="414"/>
                      <a:pt x="213" y="414"/>
                      <a:pt x="213" y="414"/>
                    </a:cubicBezTo>
                    <a:cubicBezTo>
                      <a:pt x="213" y="414"/>
                      <a:pt x="211" y="408"/>
                      <a:pt x="213" y="408"/>
                    </a:cubicBezTo>
                    <a:cubicBezTo>
                      <a:pt x="215" y="407"/>
                      <a:pt x="216" y="410"/>
                      <a:pt x="216" y="410"/>
                    </a:cubicBezTo>
                    <a:cubicBezTo>
                      <a:pt x="221" y="407"/>
                      <a:pt x="221" y="407"/>
                      <a:pt x="221" y="407"/>
                    </a:cubicBezTo>
                    <a:cubicBezTo>
                      <a:pt x="221" y="407"/>
                      <a:pt x="218" y="403"/>
                      <a:pt x="221" y="401"/>
                    </a:cubicBezTo>
                    <a:cubicBezTo>
                      <a:pt x="222" y="400"/>
                      <a:pt x="225" y="405"/>
                      <a:pt x="225" y="405"/>
                    </a:cubicBezTo>
                    <a:cubicBezTo>
                      <a:pt x="229" y="399"/>
                      <a:pt x="229" y="399"/>
                      <a:pt x="229" y="399"/>
                    </a:cubicBezTo>
                    <a:cubicBezTo>
                      <a:pt x="225" y="397"/>
                      <a:pt x="225" y="397"/>
                      <a:pt x="225" y="397"/>
                    </a:cubicBezTo>
                    <a:cubicBezTo>
                      <a:pt x="228" y="396"/>
                      <a:pt x="228" y="396"/>
                      <a:pt x="228" y="396"/>
                    </a:cubicBezTo>
                    <a:cubicBezTo>
                      <a:pt x="228" y="395"/>
                      <a:pt x="228" y="395"/>
                      <a:pt x="228" y="395"/>
                    </a:cubicBezTo>
                    <a:cubicBezTo>
                      <a:pt x="222" y="395"/>
                      <a:pt x="222" y="395"/>
                      <a:pt x="222" y="395"/>
                    </a:cubicBezTo>
                    <a:cubicBezTo>
                      <a:pt x="226" y="392"/>
                      <a:pt x="226" y="392"/>
                      <a:pt x="226" y="392"/>
                    </a:cubicBezTo>
                    <a:cubicBezTo>
                      <a:pt x="231" y="380"/>
                      <a:pt x="231" y="380"/>
                      <a:pt x="231" y="380"/>
                    </a:cubicBezTo>
                    <a:cubicBezTo>
                      <a:pt x="234" y="380"/>
                      <a:pt x="234" y="380"/>
                      <a:pt x="234" y="380"/>
                    </a:cubicBezTo>
                    <a:cubicBezTo>
                      <a:pt x="239" y="377"/>
                      <a:pt x="239" y="377"/>
                      <a:pt x="239" y="377"/>
                    </a:cubicBezTo>
                    <a:cubicBezTo>
                      <a:pt x="233" y="375"/>
                      <a:pt x="233" y="375"/>
                      <a:pt x="233" y="375"/>
                    </a:cubicBezTo>
                    <a:cubicBezTo>
                      <a:pt x="239" y="374"/>
                      <a:pt x="239" y="374"/>
                      <a:pt x="239" y="374"/>
                    </a:cubicBezTo>
                    <a:cubicBezTo>
                      <a:pt x="243" y="378"/>
                      <a:pt x="243" y="378"/>
                      <a:pt x="243" y="378"/>
                    </a:cubicBezTo>
                    <a:cubicBezTo>
                      <a:pt x="243" y="378"/>
                      <a:pt x="244" y="374"/>
                      <a:pt x="246" y="371"/>
                    </a:cubicBezTo>
                    <a:cubicBezTo>
                      <a:pt x="248" y="368"/>
                      <a:pt x="249" y="361"/>
                      <a:pt x="249" y="361"/>
                    </a:cubicBezTo>
                    <a:cubicBezTo>
                      <a:pt x="249" y="361"/>
                      <a:pt x="251" y="362"/>
                      <a:pt x="254" y="360"/>
                    </a:cubicBezTo>
                    <a:cubicBezTo>
                      <a:pt x="256" y="359"/>
                      <a:pt x="255" y="353"/>
                      <a:pt x="255" y="353"/>
                    </a:cubicBezTo>
                    <a:cubicBezTo>
                      <a:pt x="258" y="358"/>
                      <a:pt x="258" y="358"/>
                      <a:pt x="258" y="358"/>
                    </a:cubicBezTo>
                    <a:cubicBezTo>
                      <a:pt x="261" y="363"/>
                      <a:pt x="261" y="363"/>
                      <a:pt x="261" y="363"/>
                    </a:cubicBezTo>
                    <a:cubicBezTo>
                      <a:pt x="263" y="361"/>
                      <a:pt x="263" y="361"/>
                      <a:pt x="263" y="361"/>
                    </a:cubicBezTo>
                    <a:cubicBezTo>
                      <a:pt x="262" y="357"/>
                      <a:pt x="262" y="357"/>
                      <a:pt x="262" y="357"/>
                    </a:cubicBezTo>
                    <a:cubicBezTo>
                      <a:pt x="270" y="348"/>
                      <a:pt x="270" y="348"/>
                      <a:pt x="270" y="348"/>
                    </a:cubicBezTo>
                    <a:cubicBezTo>
                      <a:pt x="268" y="346"/>
                      <a:pt x="268" y="346"/>
                      <a:pt x="268" y="346"/>
                    </a:cubicBezTo>
                    <a:cubicBezTo>
                      <a:pt x="271" y="345"/>
                      <a:pt x="271" y="345"/>
                      <a:pt x="271" y="345"/>
                    </a:cubicBezTo>
                    <a:cubicBezTo>
                      <a:pt x="272" y="346"/>
                      <a:pt x="272" y="346"/>
                      <a:pt x="272" y="346"/>
                    </a:cubicBezTo>
                    <a:cubicBezTo>
                      <a:pt x="278" y="344"/>
                      <a:pt x="278" y="344"/>
                      <a:pt x="278" y="344"/>
                    </a:cubicBezTo>
                    <a:cubicBezTo>
                      <a:pt x="278" y="340"/>
                      <a:pt x="278" y="340"/>
                      <a:pt x="278" y="340"/>
                    </a:cubicBezTo>
                    <a:cubicBezTo>
                      <a:pt x="280" y="344"/>
                      <a:pt x="280" y="344"/>
                      <a:pt x="280" y="344"/>
                    </a:cubicBezTo>
                    <a:cubicBezTo>
                      <a:pt x="281" y="334"/>
                      <a:pt x="281" y="334"/>
                      <a:pt x="281" y="334"/>
                    </a:cubicBezTo>
                    <a:cubicBezTo>
                      <a:pt x="284" y="339"/>
                      <a:pt x="284" y="339"/>
                      <a:pt x="284" y="339"/>
                    </a:cubicBezTo>
                    <a:cubicBezTo>
                      <a:pt x="290" y="333"/>
                      <a:pt x="290" y="333"/>
                      <a:pt x="290" y="333"/>
                    </a:cubicBezTo>
                    <a:cubicBezTo>
                      <a:pt x="290" y="333"/>
                      <a:pt x="293" y="325"/>
                      <a:pt x="294" y="321"/>
                    </a:cubicBezTo>
                    <a:cubicBezTo>
                      <a:pt x="295" y="318"/>
                      <a:pt x="293" y="313"/>
                      <a:pt x="293" y="313"/>
                    </a:cubicBezTo>
                    <a:cubicBezTo>
                      <a:pt x="298" y="308"/>
                      <a:pt x="298" y="308"/>
                      <a:pt x="298" y="308"/>
                    </a:cubicBezTo>
                    <a:cubicBezTo>
                      <a:pt x="299" y="302"/>
                      <a:pt x="299" y="302"/>
                      <a:pt x="299" y="302"/>
                    </a:cubicBezTo>
                    <a:cubicBezTo>
                      <a:pt x="309" y="293"/>
                      <a:pt x="309" y="293"/>
                      <a:pt x="309" y="293"/>
                    </a:cubicBezTo>
                    <a:cubicBezTo>
                      <a:pt x="310" y="287"/>
                      <a:pt x="310" y="287"/>
                      <a:pt x="310" y="287"/>
                    </a:cubicBezTo>
                    <a:cubicBezTo>
                      <a:pt x="306" y="288"/>
                      <a:pt x="306" y="288"/>
                      <a:pt x="306" y="288"/>
                    </a:cubicBezTo>
                    <a:cubicBezTo>
                      <a:pt x="304" y="286"/>
                      <a:pt x="304" y="286"/>
                      <a:pt x="304" y="286"/>
                    </a:cubicBezTo>
                    <a:cubicBezTo>
                      <a:pt x="308" y="285"/>
                      <a:pt x="308" y="285"/>
                      <a:pt x="308" y="285"/>
                    </a:cubicBezTo>
                    <a:cubicBezTo>
                      <a:pt x="309" y="283"/>
                      <a:pt x="309" y="283"/>
                      <a:pt x="309" y="283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295" y="277"/>
                      <a:pt x="295" y="277"/>
                      <a:pt x="295" y="277"/>
                    </a:cubicBezTo>
                    <a:cubicBezTo>
                      <a:pt x="298" y="269"/>
                      <a:pt x="298" y="269"/>
                      <a:pt x="298" y="269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5" y="261"/>
                      <a:pt x="295" y="261"/>
                      <a:pt x="295" y="261"/>
                    </a:cubicBezTo>
                    <a:cubicBezTo>
                      <a:pt x="298" y="259"/>
                      <a:pt x="298" y="259"/>
                      <a:pt x="298" y="259"/>
                    </a:cubicBezTo>
                    <a:cubicBezTo>
                      <a:pt x="303" y="246"/>
                      <a:pt x="303" y="246"/>
                      <a:pt x="303" y="246"/>
                    </a:cubicBezTo>
                    <a:cubicBezTo>
                      <a:pt x="303" y="246"/>
                      <a:pt x="293" y="238"/>
                      <a:pt x="295" y="234"/>
                    </a:cubicBezTo>
                    <a:cubicBezTo>
                      <a:pt x="296" y="230"/>
                      <a:pt x="304" y="231"/>
                      <a:pt x="309" y="229"/>
                    </a:cubicBezTo>
                    <a:cubicBezTo>
                      <a:pt x="315" y="226"/>
                      <a:pt x="307" y="221"/>
                      <a:pt x="307" y="221"/>
                    </a:cubicBezTo>
                    <a:cubicBezTo>
                      <a:pt x="313" y="219"/>
                      <a:pt x="313" y="219"/>
                      <a:pt x="313" y="219"/>
                    </a:cubicBezTo>
                    <a:cubicBezTo>
                      <a:pt x="313" y="216"/>
                      <a:pt x="313" y="216"/>
                      <a:pt x="313" y="216"/>
                    </a:cubicBezTo>
                    <a:cubicBezTo>
                      <a:pt x="319" y="216"/>
                      <a:pt x="319" y="216"/>
                      <a:pt x="319" y="216"/>
                    </a:cubicBezTo>
                    <a:cubicBezTo>
                      <a:pt x="315" y="196"/>
                      <a:pt x="315" y="196"/>
                      <a:pt x="315" y="196"/>
                    </a:cubicBezTo>
                    <a:cubicBezTo>
                      <a:pt x="319" y="196"/>
                      <a:pt x="319" y="196"/>
                      <a:pt x="319" y="196"/>
                    </a:cubicBezTo>
                    <a:cubicBezTo>
                      <a:pt x="322" y="201"/>
                      <a:pt x="322" y="201"/>
                      <a:pt x="322" y="201"/>
                    </a:cubicBezTo>
                    <a:cubicBezTo>
                      <a:pt x="326" y="201"/>
                      <a:pt x="326" y="201"/>
                      <a:pt x="326" y="201"/>
                    </a:cubicBezTo>
                    <a:cubicBezTo>
                      <a:pt x="324" y="193"/>
                      <a:pt x="324" y="193"/>
                      <a:pt x="324" y="193"/>
                    </a:cubicBezTo>
                    <a:cubicBezTo>
                      <a:pt x="329" y="195"/>
                      <a:pt x="329" y="195"/>
                      <a:pt x="329" y="195"/>
                    </a:cubicBezTo>
                    <a:cubicBezTo>
                      <a:pt x="329" y="199"/>
                      <a:pt x="329" y="199"/>
                      <a:pt x="329" y="199"/>
                    </a:cubicBezTo>
                    <a:cubicBezTo>
                      <a:pt x="336" y="201"/>
                      <a:pt x="336" y="201"/>
                      <a:pt x="336" y="201"/>
                    </a:cubicBezTo>
                    <a:cubicBezTo>
                      <a:pt x="337" y="205"/>
                      <a:pt x="337" y="205"/>
                      <a:pt x="337" y="205"/>
                    </a:cubicBezTo>
                    <a:cubicBezTo>
                      <a:pt x="340" y="200"/>
                      <a:pt x="340" y="200"/>
                      <a:pt x="340" y="200"/>
                    </a:cubicBezTo>
                    <a:cubicBezTo>
                      <a:pt x="339" y="196"/>
                      <a:pt x="339" y="196"/>
                      <a:pt x="339" y="196"/>
                    </a:cubicBezTo>
                    <a:cubicBezTo>
                      <a:pt x="350" y="196"/>
                      <a:pt x="350" y="196"/>
                      <a:pt x="350" y="196"/>
                    </a:cubicBezTo>
                    <a:cubicBezTo>
                      <a:pt x="354" y="193"/>
                      <a:pt x="354" y="193"/>
                      <a:pt x="354" y="193"/>
                    </a:cubicBezTo>
                    <a:cubicBezTo>
                      <a:pt x="357" y="196"/>
                      <a:pt x="357" y="196"/>
                      <a:pt x="357" y="196"/>
                    </a:cubicBezTo>
                    <a:cubicBezTo>
                      <a:pt x="360" y="196"/>
                      <a:pt x="360" y="196"/>
                      <a:pt x="360" y="196"/>
                    </a:cubicBezTo>
                    <a:cubicBezTo>
                      <a:pt x="360" y="194"/>
                      <a:pt x="360" y="194"/>
                      <a:pt x="360" y="194"/>
                    </a:cubicBezTo>
                    <a:cubicBezTo>
                      <a:pt x="365" y="195"/>
                      <a:pt x="365" y="195"/>
                      <a:pt x="365" y="195"/>
                    </a:cubicBezTo>
                    <a:lnTo>
                      <a:pt x="364" y="188"/>
                    </a:lnTo>
                    <a:close/>
                    <a:moveTo>
                      <a:pt x="14" y="718"/>
                    </a:moveTo>
                    <a:cubicBezTo>
                      <a:pt x="21" y="719"/>
                      <a:pt x="21" y="719"/>
                      <a:pt x="21" y="719"/>
                    </a:cubicBezTo>
                    <a:cubicBezTo>
                      <a:pt x="22" y="712"/>
                      <a:pt x="22" y="712"/>
                      <a:pt x="22" y="712"/>
                    </a:cubicBezTo>
                    <a:cubicBezTo>
                      <a:pt x="19" y="709"/>
                      <a:pt x="19" y="709"/>
                      <a:pt x="19" y="709"/>
                    </a:cubicBezTo>
                    <a:cubicBezTo>
                      <a:pt x="17" y="712"/>
                      <a:pt x="17" y="712"/>
                      <a:pt x="17" y="712"/>
                    </a:cubicBezTo>
                    <a:cubicBezTo>
                      <a:pt x="16" y="712"/>
                      <a:pt x="16" y="712"/>
                      <a:pt x="16" y="712"/>
                    </a:cubicBezTo>
                    <a:cubicBezTo>
                      <a:pt x="8" y="720"/>
                      <a:pt x="8" y="720"/>
                      <a:pt x="8" y="720"/>
                    </a:cubicBezTo>
                    <a:cubicBezTo>
                      <a:pt x="14" y="721"/>
                      <a:pt x="14" y="721"/>
                      <a:pt x="14" y="721"/>
                    </a:cubicBezTo>
                    <a:lnTo>
                      <a:pt x="14" y="718"/>
                    </a:lnTo>
                    <a:close/>
                    <a:moveTo>
                      <a:pt x="20" y="727"/>
                    </a:moveTo>
                    <a:cubicBezTo>
                      <a:pt x="19" y="723"/>
                      <a:pt x="19" y="723"/>
                      <a:pt x="19" y="723"/>
                    </a:cubicBezTo>
                    <a:cubicBezTo>
                      <a:pt x="11" y="725"/>
                      <a:pt x="11" y="725"/>
                      <a:pt x="11" y="725"/>
                    </a:cubicBezTo>
                    <a:cubicBezTo>
                      <a:pt x="13" y="728"/>
                      <a:pt x="13" y="728"/>
                      <a:pt x="13" y="728"/>
                    </a:cubicBezTo>
                    <a:cubicBezTo>
                      <a:pt x="13" y="730"/>
                      <a:pt x="13" y="730"/>
                      <a:pt x="13" y="730"/>
                    </a:cubicBezTo>
                    <a:cubicBezTo>
                      <a:pt x="16" y="730"/>
                      <a:pt x="16" y="730"/>
                      <a:pt x="16" y="730"/>
                    </a:cubicBezTo>
                    <a:cubicBezTo>
                      <a:pt x="17" y="727"/>
                      <a:pt x="17" y="727"/>
                      <a:pt x="17" y="727"/>
                    </a:cubicBezTo>
                    <a:lnTo>
                      <a:pt x="20" y="727"/>
                    </a:lnTo>
                    <a:close/>
                    <a:moveTo>
                      <a:pt x="211" y="760"/>
                    </a:moveTo>
                    <a:cubicBezTo>
                      <a:pt x="207" y="765"/>
                      <a:pt x="207" y="765"/>
                      <a:pt x="207" y="765"/>
                    </a:cubicBezTo>
                    <a:cubicBezTo>
                      <a:pt x="208" y="771"/>
                      <a:pt x="208" y="771"/>
                      <a:pt x="208" y="771"/>
                    </a:cubicBezTo>
                    <a:cubicBezTo>
                      <a:pt x="207" y="771"/>
                      <a:pt x="207" y="771"/>
                      <a:pt x="207" y="771"/>
                    </a:cubicBezTo>
                    <a:cubicBezTo>
                      <a:pt x="207" y="773"/>
                      <a:pt x="207" y="773"/>
                      <a:pt x="207" y="773"/>
                    </a:cubicBezTo>
                    <a:cubicBezTo>
                      <a:pt x="205" y="783"/>
                      <a:pt x="205" y="783"/>
                      <a:pt x="205" y="783"/>
                    </a:cubicBezTo>
                    <a:cubicBezTo>
                      <a:pt x="202" y="784"/>
                      <a:pt x="202" y="784"/>
                      <a:pt x="202" y="784"/>
                    </a:cubicBezTo>
                    <a:cubicBezTo>
                      <a:pt x="200" y="792"/>
                      <a:pt x="200" y="792"/>
                      <a:pt x="200" y="792"/>
                    </a:cubicBezTo>
                    <a:cubicBezTo>
                      <a:pt x="198" y="792"/>
                      <a:pt x="198" y="792"/>
                      <a:pt x="198" y="792"/>
                    </a:cubicBezTo>
                    <a:cubicBezTo>
                      <a:pt x="198" y="792"/>
                      <a:pt x="195" y="797"/>
                      <a:pt x="194" y="801"/>
                    </a:cubicBezTo>
                    <a:cubicBezTo>
                      <a:pt x="193" y="804"/>
                      <a:pt x="194" y="807"/>
                      <a:pt x="193" y="808"/>
                    </a:cubicBezTo>
                    <a:cubicBezTo>
                      <a:pt x="193" y="810"/>
                      <a:pt x="190" y="812"/>
                      <a:pt x="190" y="816"/>
                    </a:cubicBezTo>
                    <a:cubicBezTo>
                      <a:pt x="190" y="821"/>
                      <a:pt x="190" y="821"/>
                      <a:pt x="190" y="821"/>
                    </a:cubicBezTo>
                    <a:cubicBezTo>
                      <a:pt x="193" y="823"/>
                      <a:pt x="193" y="823"/>
                      <a:pt x="193" y="823"/>
                    </a:cubicBezTo>
                    <a:cubicBezTo>
                      <a:pt x="192" y="836"/>
                      <a:pt x="192" y="836"/>
                      <a:pt x="192" y="836"/>
                    </a:cubicBezTo>
                    <a:cubicBezTo>
                      <a:pt x="192" y="836"/>
                      <a:pt x="196" y="833"/>
                      <a:pt x="197" y="830"/>
                    </a:cubicBezTo>
                    <a:cubicBezTo>
                      <a:pt x="198" y="825"/>
                      <a:pt x="197" y="824"/>
                      <a:pt x="197" y="822"/>
                    </a:cubicBezTo>
                    <a:cubicBezTo>
                      <a:pt x="197" y="820"/>
                      <a:pt x="199" y="817"/>
                      <a:pt x="200" y="815"/>
                    </a:cubicBezTo>
                    <a:cubicBezTo>
                      <a:pt x="201" y="813"/>
                      <a:pt x="200" y="807"/>
                      <a:pt x="200" y="807"/>
                    </a:cubicBezTo>
                    <a:cubicBezTo>
                      <a:pt x="204" y="796"/>
                      <a:pt x="204" y="796"/>
                      <a:pt x="204" y="796"/>
                    </a:cubicBezTo>
                    <a:cubicBezTo>
                      <a:pt x="206" y="796"/>
                      <a:pt x="206" y="796"/>
                      <a:pt x="206" y="796"/>
                    </a:cubicBezTo>
                    <a:cubicBezTo>
                      <a:pt x="208" y="788"/>
                      <a:pt x="208" y="788"/>
                      <a:pt x="208" y="788"/>
                    </a:cubicBezTo>
                    <a:cubicBezTo>
                      <a:pt x="207" y="785"/>
                      <a:pt x="207" y="785"/>
                      <a:pt x="207" y="785"/>
                    </a:cubicBezTo>
                    <a:cubicBezTo>
                      <a:pt x="209" y="783"/>
                      <a:pt x="209" y="783"/>
                      <a:pt x="209" y="783"/>
                    </a:cubicBezTo>
                    <a:cubicBezTo>
                      <a:pt x="208" y="782"/>
                      <a:pt x="208" y="782"/>
                      <a:pt x="208" y="782"/>
                    </a:cubicBezTo>
                    <a:cubicBezTo>
                      <a:pt x="210" y="779"/>
                      <a:pt x="210" y="779"/>
                      <a:pt x="210" y="779"/>
                    </a:cubicBezTo>
                    <a:cubicBezTo>
                      <a:pt x="209" y="777"/>
                      <a:pt x="209" y="777"/>
                      <a:pt x="209" y="777"/>
                    </a:cubicBezTo>
                    <a:cubicBezTo>
                      <a:pt x="212" y="772"/>
                      <a:pt x="212" y="772"/>
                      <a:pt x="212" y="772"/>
                    </a:cubicBezTo>
                    <a:cubicBezTo>
                      <a:pt x="211" y="766"/>
                      <a:pt x="211" y="766"/>
                      <a:pt x="211" y="766"/>
                    </a:cubicBezTo>
                    <a:cubicBezTo>
                      <a:pt x="214" y="763"/>
                      <a:pt x="214" y="763"/>
                      <a:pt x="214" y="763"/>
                    </a:cubicBezTo>
                    <a:lnTo>
                      <a:pt x="211" y="760"/>
                    </a:lnTo>
                    <a:close/>
                    <a:moveTo>
                      <a:pt x="277" y="731"/>
                    </a:moveTo>
                    <a:cubicBezTo>
                      <a:pt x="281" y="724"/>
                      <a:pt x="281" y="724"/>
                      <a:pt x="281" y="724"/>
                    </a:cubicBezTo>
                    <a:cubicBezTo>
                      <a:pt x="278" y="718"/>
                      <a:pt x="278" y="718"/>
                      <a:pt x="278" y="718"/>
                    </a:cubicBezTo>
                    <a:cubicBezTo>
                      <a:pt x="272" y="719"/>
                      <a:pt x="272" y="719"/>
                      <a:pt x="272" y="719"/>
                    </a:cubicBezTo>
                    <a:cubicBezTo>
                      <a:pt x="270" y="724"/>
                      <a:pt x="270" y="724"/>
                      <a:pt x="270" y="724"/>
                    </a:cubicBezTo>
                    <a:cubicBezTo>
                      <a:pt x="270" y="719"/>
                      <a:pt x="270" y="719"/>
                      <a:pt x="270" y="719"/>
                    </a:cubicBezTo>
                    <a:cubicBezTo>
                      <a:pt x="270" y="719"/>
                      <a:pt x="267" y="719"/>
                      <a:pt x="266" y="720"/>
                    </a:cubicBezTo>
                    <a:cubicBezTo>
                      <a:pt x="264" y="721"/>
                      <a:pt x="263" y="724"/>
                      <a:pt x="263" y="724"/>
                    </a:cubicBezTo>
                    <a:cubicBezTo>
                      <a:pt x="263" y="724"/>
                      <a:pt x="262" y="723"/>
                      <a:pt x="259" y="726"/>
                    </a:cubicBezTo>
                    <a:cubicBezTo>
                      <a:pt x="257" y="729"/>
                      <a:pt x="253" y="739"/>
                      <a:pt x="253" y="739"/>
                    </a:cubicBezTo>
                    <a:cubicBezTo>
                      <a:pt x="253" y="739"/>
                      <a:pt x="248" y="741"/>
                      <a:pt x="248" y="746"/>
                    </a:cubicBezTo>
                    <a:cubicBezTo>
                      <a:pt x="247" y="753"/>
                      <a:pt x="253" y="753"/>
                      <a:pt x="253" y="757"/>
                    </a:cubicBezTo>
                    <a:cubicBezTo>
                      <a:pt x="251" y="762"/>
                      <a:pt x="249" y="763"/>
                      <a:pt x="249" y="763"/>
                    </a:cubicBezTo>
                    <a:cubicBezTo>
                      <a:pt x="251" y="765"/>
                      <a:pt x="251" y="765"/>
                      <a:pt x="251" y="765"/>
                    </a:cubicBezTo>
                    <a:cubicBezTo>
                      <a:pt x="251" y="772"/>
                      <a:pt x="251" y="772"/>
                      <a:pt x="251" y="772"/>
                    </a:cubicBezTo>
                    <a:cubicBezTo>
                      <a:pt x="254" y="773"/>
                      <a:pt x="254" y="773"/>
                      <a:pt x="254" y="773"/>
                    </a:cubicBezTo>
                    <a:cubicBezTo>
                      <a:pt x="254" y="776"/>
                      <a:pt x="254" y="776"/>
                      <a:pt x="254" y="776"/>
                    </a:cubicBezTo>
                    <a:cubicBezTo>
                      <a:pt x="254" y="776"/>
                      <a:pt x="257" y="775"/>
                      <a:pt x="257" y="776"/>
                    </a:cubicBezTo>
                    <a:cubicBezTo>
                      <a:pt x="257" y="777"/>
                      <a:pt x="255" y="778"/>
                      <a:pt x="255" y="778"/>
                    </a:cubicBezTo>
                    <a:cubicBezTo>
                      <a:pt x="255" y="782"/>
                      <a:pt x="255" y="782"/>
                      <a:pt x="255" y="782"/>
                    </a:cubicBezTo>
                    <a:cubicBezTo>
                      <a:pt x="255" y="783"/>
                      <a:pt x="253" y="787"/>
                      <a:pt x="253" y="787"/>
                    </a:cubicBezTo>
                    <a:cubicBezTo>
                      <a:pt x="258" y="785"/>
                      <a:pt x="258" y="785"/>
                      <a:pt x="258" y="785"/>
                    </a:cubicBezTo>
                    <a:cubicBezTo>
                      <a:pt x="261" y="779"/>
                      <a:pt x="261" y="779"/>
                      <a:pt x="261" y="779"/>
                    </a:cubicBezTo>
                    <a:cubicBezTo>
                      <a:pt x="260" y="779"/>
                      <a:pt x="260" y="779"/>
                      <a:pt x="260" y="779"/>
                    </a:cubicBezTo>
                    <a:cubicBezTo>
                      <a:pt x="261" y="774"/>
                      <a:pt x="261" y="774"/>
                      <a:pt x="261" y="774"/>
                    </a:cubicBezTo>
                    <a:cubicBezTo>
                      <a:pt x="262" y="772"/>
                      <a:pt x="262" y="772"/>
                      <a:pt x="262" y="772"/>
                    </a:cubicBezTo>
                    <a:cubicBezTo>
                      <a:pt x="261" y="772"/>
                      <a:pt x="261" y="772"/>
                      <a:pt x="261" y="772"/>
                    </a:cubicBezTo>
                    <a:cubicBezTo>
                      <a:pt x="266" y="766"/>
                      <a:pt x="266" y="766"/>
                      <a:pt x="266" y="766"/>
                    </a:cubicBezTo>
                    <a:cubicBezTo>
                      <a:pt x="271" y="763"/>
                      <a:pt x="271" y="763"/>
                      <a:pt x="271" y="763"/>
                    </a:cubicBezTo>
                    <a:cubicBezTo>
                      <a:pt x="271" y="758"/>
                      <a:pt x="271" y="758"/>
                      <a:pt x="271" y="758"/>
                    </a:cubicBezTo>
                    <a:cubicBezTo>
                      <a:pt x="277" y="750"/>
                      <a:pt x="277" y="750"/>
                      <a:pt x="277" y="750"/>
                    </a:cubicBezTo>
                    <a:cubicBezTo>
                      <a:pt x="274" y="750"/>
                      <a:pt x="274" y="750"/>
                      <a:pt x="274" y="750"/>
                    </a:cubicBezTo>
                    <a:cubicBezTo>
                      <a:pt x="271" y="746"/>
                      <a:pt x="271" y="746"/>
                      <a:pt x="271" y="746"/>
                    </a:cubicBezTo>
                    <a:cubicBezTo>
                      <a:pt x="271" y="746"/>
                      <a:pt x="273" y="743"/>
                      <a:pt x="274" y="740"/>
                    </a:cubicBezTo>
                    <a:cubicBezTo>
                      <a:pt x="274" y="738"/>
                      <a:pt x="271" y="735"/>
                      <a:pt x="271" y="735"/>
                    </a:cubicBezTo>
                    <a:cubicBezTo>
                      <a:pt x="272" y="730"/>
                      <a:pt x="272" y="730"/>
                      <a:pt x="272" y="730"/>
                    </a:cubicBezTo>
                    <a:lnTo>
                      <a:pt x="277" y="731"/>
                    </a:lnTo>
                    <a:close/>
                    <a:moveTo>
                      <a:pt x="280" y="719"/>
                    </a:moveTo>
                    <a:cubicBezTo>
                      <a:pt x="282" y="721"/>
                      <a:pt x="282" y="721"/>
                      <a:pt x="282" y="721"/>
                    </a:cubicBezTo>
                    <a:cubicBezTo>
                      <a:pt x="286" y="711"/>
                      <a:pt x="286" y="711"/>
                      <a:pt x="286" y="711"/>
                    </a:cubicBezTo>
                    <a:cubicBezTo>
                      <a:pt x="281" y="712"/>
                      <a:pt x="281" y="712"/>
                      <a:pt x="281" y="712"/>
                    </a:cubicBezTo>
                    <a:lnTo>
                      <a:pt x="280" y="719"/>
                    </a:lnTo>
                    <a:close/>
                    <a:moveTo>
                      <a:pt x="286" y="715"/>
                    </a:moveTo>
                    <a:cubicBezTo>
                      <a:pt x="290" y="715"/>
                      <a:pt x="290" y="715"/>
                      <a:pt x="290" y="715"/>
                    </a:cubicBezTo>
                    <a:cubicBezTo>
                      <a:pt x="291" y="712"/>
                      <a:pt x="291" y="712"/>
                      <a:pt x="291" y="712"/>
                    </a:cubicBezTo>
                    <a:cubicBezTo>
                      <a:pt x="288" y="712"/>
                      <a:pt x="288" y="712"/>
                      <a:pt x="288" y="712"/>
                    </a:cubicBezTo>
                    <a:lnTo>
                      <a:pt x="286" y="715"/>
                    </a:lnTo>
                    <a:close/>
                    <a:moveTo>
                      <a:pt x="282" y="691"/>
                    </a:moveTo>
                    <a:cubicBezTo>
                      <a:pt x="287" y="688"/>
                      <a:pt x="287" y="688"/>
                      <a:pt x="287" y="688"/>
                    </a:cubicBezTo>
                    <a:cubicBezTo>
                      <a:pt x="280" y="684"/>
                      <a:pt x="280" y="684"/>
                      <a:pt x="280" y="684"/>
                    </a:cubicBezTo>
                    <a:cubicBezTo>
                      <a:pt x="281" y="689"/>
                      <a:pt x="281" y="689"/>
                      <a:pt x="281" y="689"/>
                    </a:cubicBezTo>
                    <a:lnTo>
                      <a:pt x="282" y="691"/>
                    </a:lnTo>
                    <a:close/>
                    <a:moveTo>
                      <a:pt x="243" y="630"/>
                    </a:moveTo>
                    <a:cubicBezTo>
                      <a:pt x="255" y="631"/>
                      <a:pt x="255" y="631"/>
                      <a:pt x="255" y="631"/>
                    </a:cubicBezTo>
                    <a:cubicBezTo>
                      <a:pt x="256" y="630"/>
                      <a:pt x="256" y="630"/>
                      <a:pt x="256" y="630"/>
                    </a:cubicBezTo>
                    <a:cubicBezTo>
                      <a:pt x="254" y="626"/>
                      <a:pt x="254" y="626"/>
                      <a:pt x="254" y="626"/>
                    </a:cubicBezTo>
                    <a:cubicBezTo>
                      <a:pt x="251" y="625"/>
                      <a:pt x="251" y="625"/>
                      <a:pt x="251" y="625"/>
                    </a:cubicBezTo>
                    <a:cubicBezTo>
                      <a:pt x="248" y="626"/>
                      <a:pt x="248" y="626"/>
                      <a:pt x="248" y="626"/>
                    </a:cubicBezTo>
                    <a:cubicBezTo>
                      <a:pt x="249" y="628"/>
                      <a:pt x="249" y="628"/>
                      <a:pt x="249" y="628"/>
                    </a:cubicBezTo>
                    <a:cubicBezTo>
                      <a:pt x="243" y="628"/>
                      <a:pt x="243" y="628"/>
                      <a:pt x="243" y="628"/>
                    </a:cubicBezTo>
                    <a:lnTo>
                      <a:pt x="243" y="630"/>
                    </a:lnTo>
                    <a:close/>
                    <a:moveTo>
                      <a:pt x="254" y="615"/>
                    </a:moveTo>
                    <a:cubicBezTo>
                      <a:pt x="253" y="620"/>
                      <a:pt x="253" y="620"/>
                      <a:pt x="253" y="620"/>
                    </a:cubicBezTo>
                    <a:cubicBezTo>
                      <a:pt x="258" y="617"/>
                      <a:pt x="258" y="617"/>
                      <a:pt x="258" y="617"/>
                    </a:cubicBezTo>
                    <a:lnTo>
                      <a:pt x="254" y="615"/>
                    </a:lnTo>
                    <a:close/>
                    <a:moveTo>
                      <a:pt x="266" y="610"/>
                    </a:moveTo>
                    <a:cubicBezTo>
                      <a:pt x="265" y="607"/>
                      <a:pt x="265" y="607"/>
                      <a:pt x="265" y="607"/>
                    </a:cubicBezTo>
                    <a:cubicBezTo>
                      <a:pt x="259" y="610"/>
                      <a:pt x="259" y="610"/>
                      <a:pt x="259" y="610"/>
                    </a:cubicBezTo>
                    <a:cubicBezTo>
                      <a:pt x="262" y="612"/>
                      <a:pt x="262" y="612"/>
                      <a:pt x="262" y="612"/>
                    </a:cubicBezTo>
                    <a:lnTo>
                      <a:pt x="266" y="610"/>
                    </a:lnTo>
                    <a:close/>
                    <a:moveTo>
                      <a:pt x="258" y="630"/>
                    </a:moveTo>
                    <a:cubicBezTo>
                      <a:pt x="261" y="629"/>
                      <a:pt x="261" y="629"/>
                      <a:pt x="261" y="629"/>
                    </a:cubicBezTo>
                    <a:cubicBezTo>
                      <a:pt x="258" y="626"/>
                      <a:pt x="258" y="626"/>
                      <a:pt x="258" y="626"/>
                    </a:cubicBezTo>
                    <a:lnTo>
                      <a:pt x="258" y="630"/>
                    </a:lnTo>
                    <a:close/>
                    <a:moveTo>
                      <a:pt x="249" y="651"/>
                    </a:moveTo>
                    <a:cubicBezTo>
                      <a:pt x="253" y="644"/>
                      <a:pt x="253" y="644"/>
                      <a:pt x="253" y="644"/>
                    </a:cubicBezTo>
                    <a:cubicBezTo>
                      <a:pt x="250" y="643"/>
                      <a:pt x="250" y="643"/>
                      <a:pt x="250" y="643"/>
                    </a:cubicBezTo>
                    <a:cubicBezTo>
                      <a:pt x="246" y="649"/>
                      <a:pt x="246" y="649"/>
                      <a:pt x="246" y="649"/>
                    </a:cubicBezTo>
                    <a:lnTo>
                      <a:pt x="249" y="651"/>
                    </a:lnTo>
                    <a:close/>
                    <a:moveTo>
                      <a:pt x="245" y="653"/>
                    </a:moveTo>
                    <a:cubicBezTo>
                      <a:pt x="244" y="656"/>
                      <a:pt x="245" y="658"/>
                      <a:pt x="247" y="656"/>
                    </a:cubicBezTo>
                    <a:cubicBezTo>
                      <a:pt x="249" y="653"/>
                      <a:pt x="246" y="651"/>
                      <a:pt x="245" y="653"/>
                    </a:cubicBezTo>
                    <a:close/>
                    <a:moveTo>
                      <a:pt x="238" y="652"/>
                    </a:moveTo>
                    <a:cubicBezTo>
                      <a:pt x="241" y="653"/>
                      <a:pt x="241" y="653"/>
                      <a:pt x="241" y="653"/>
                    </a:cubicBezTo>
                    <a:cubicBezTo>
                      <a:pt x="243" y="649"/>
                      <a:pt x="243" y="649"/>
                      <a:pt x="243" y="649"/>
                    </a:cubicBezTo>
                    <a:cubicBezTo>
                      <a:pt x="242" y="649"/>
                      <a:pt x="242" y="649"/>
                      <a:pt x="242" y="649"/>
                    </a:cubicBezTo>
                    <a:lnTo>
                      <a:pt x="238" y="652"/>
                    </a:lnTo>
                    <a:close/>
                    <a:moveTo>
                      <a:pt x="251" y="632"/>
                    </a:moveTo>
                    <a:cubicBezTo>
                      <a:pt x="249" y="633"/>
                      <a:pt x="249" y="633"/>
                      <a:pt x="249" y="633"/>
                    </a:cubicBezTo>
                    <a:cubicBezTo>
                      <a:pt x="246" y="635"/>
                      <a:pt x="246" y="635"/>
                      <a:pt x="246" y="635"/>
                    </a:cubicBezTo>
                    <a:cubicBezTo>
                      <a:pt x="251" y="636"/>
                      <a:pt x="251" y="636"/>
                      <a:pt x="251" y="636"/>
                    </a:cubicBezTo>
                    <a:lnTo>
                      <a:pt x="251" y="632"/>
                    </a:lnTo>
                    <a:close/>
                    <a:moveTo>
                      <a:pt x="229" y="662"/>
                    </a:moveTo>
                    <a:cubicBezTo>
                      <a:pt x="229" y="664"/>
                      <a:pt x="229" y="664"/>
                      <a:pt x="229" y="664"/>
                    </a:cubicBezTo>
                    <a:cubicBezTo>
                      <a:pt x="232" y="666"/>
                      <a:pt x="232" y="666"/>
                      <a:pt x="232" y="666"/>
                    </a:cubicBezTo>
                    <a:cubicBezTo>
                      <a:pt x="231" y="661"/>
                      <a:pt x="231" y="661"/>
                      <a:pt x="231" y="661"/>
                    </a:cubicBezTo>
                    <a:lnTo>
                      <a:pt x="229" y="662"/>
                    </a:lnTo>
                    <a:close/>
                    <a:moveTo>
                      <a:pt x="246" y="562"/>
                    </a:moveTo>
                    <a:cubicBezTo>
                      <a:pt x="244" y="562"/>
                      <a:pt x="244" y="562"/>
                      <a:pt x="244" y="562"/>
                    </a:cubicBezTo>
                    <a:cubicBezTo>
                      <a:pt x="243" y="558"/>
                      <a:pt x="243" y="558"/>
                      <a:pt x="243" y="558"/>
                    </a:cubicBezTo>
                    <a:cubicBezTo>
                      <a:pt x="241" y="554"/>
                      <a:pt x="241" y="554"/>
                      <a:pt x="241" y="554"/>
                    </a:cubicBezTo>
                    <a:cubicBezTo>
                      <a:pt x="240" y="554"/>
                      <a:pt x="240" y="554"/>
                      <a:pt x="240" y="554"/>
                    </a:cubicBezTo>
                    <a:cubicBezTo>
                      <a:pt x="241" y="560"/>
                      <a:pt x="241" y="560"/>
                      <a:pt x="241" y="560"/>
                    </a:cubicBezTo>
                    <a:cubicBezTo>
                      <a:pt x="246" y="567"/>
                      <a:pt x="246" y="567"/>
                      <a:pt x="246" y="567"/>
                    </a:cubicBezTo>
                    <a:lnTo>
                      <a:pt x="246" y="562"/>
                    </a:lnTo>
                    <a:close/>
                    <a:moveTo>
                      <a:pt x="245" y="571"/>
                    </a:moveTo>
                    <a:cubicBezTo>
                      <a:pt x="248" y="572"/>
                      <a:pt x="249" y="569"/>
                      <a:pt x="246" y="569"/>
                    </a:cubicBezTo>
                    <a:cubicBezTo>
                      <a:pt x="243" y="569"/>
                      <a:pt x="243" y="571"/>
                      <a:pt x="245" y="571"/>
                    </a:cubicBezTo>
                    <a:close/>
                    <a:moveTo>
                      <a:pt x="253" y="571"/>
                    </a:moveTo>
                    <a:cubicBezTo>
                      <a:pt x="250" y="571"/>
                      <a:pt x="250" y="574"/>
                      <a:pt x="253" y="576"/>
                    </a:cubicBezTo>
                    <a:cubicBezTo>
                      <a:pt x="255" y="577"/>
                      <a:pt x="256" y="576"/>
                      <a:pt x="256" y="573"/>
                    </a:cubicBezTo>
                    <a:cubicBezTo>
                      <a:pt x="255" y="571"/>
                      <a:pt x="254" y="571"/>
                      <a:pt x="253" y="571"/>
                    </a:cubicBezTo>
                    <a:close/>
                    <a:moveTo>
                      <a:pt x="200" y="696"/>
                    </a:moveTo>
                    <a:cubicBezTo>
                      <a:pt x="199" y="693"/>
                      <a:pt x="199" y="693"/>
                      <a:pt x="199" y="693"/>
                    </a:cubicBezTo>
                    <a:cubicBezTo>
                      <a:pt x="198" y="693"/>
                      <a:pt x="198" y="693"/>
                      <a:pt x="198" y="693"/>
                    </a:cubicBezTo>
                    <a:cubicBezTo>
                      <a:pt x="198" y="699"/>
                      <a:pt x="198" y="699"/>
                      <a:pt x="198" y="699"/>
                    </a:cubicBezTo>
                    <a:cubicBezTo>
                      <a:pt x="202" y="698"/>
                      <a:pt x="202" y="698"/>
                      <a:pt x="202" y="698"/>
                    </a:cubicBezTo>
                    <a:lnTo>
                      <a:pt x="200" y="696"/>
                    </a:lnTo>
                    <a:close/>
                    <a:moveTo>
                      <a:pt x="198" y="739"/>
                    </a:moveTo>
                    <a:cubicBezTo>
                      <a:pt x="195" y="736"/>
                      <a:pt x="195" y="736"/>
                      <a:pt x="195" y="736"/>
                    </a:cubicBezTo>
                    <a:cubicBezTo>
                      <a:pt x="195" y="740"/>
                      <a:pt x="195" y="740"/>
                      <a:pt x="195" y="740"/>
                    </a:cubicBezTo>
                    <a:lnTo>
                      <a:pt x="198" y="739"/>
                    </a:lnTo>
                    <a:close/>
                    <a:moveTo>
                      <a:pt x="266" y="598"/>
                    </a:moveTo>
                    <a:cubicBezTo>
                      <a:pt x="263" y="596"/>
                      <a:pt x="263" y="596"/>
                      <a:pt x="263" y="596"/>
                    </a:cubicBezTo>
                    <a:cubicBezTo>
                      <a:pt x="261" y="598"/>
                      <a:pt x="261" y="598"/>
                      <a:pt x="261" y="598"/>
                    </a:cubicBezTo>
                    <a:lnTo>
                      <a:pt x="266" y="598"/>
                    </a:lnTo>
                    <a:close/>
                    <a:moveTo>
                      <a:pt x="205" y="485"/>
                    </a:moveTo>
                    <a:cubicBezTo>
                      <a:pt x="206" y="482"/>
                      <a:pt x="206" y="482"/>
                      <a:pt x="206" y="482"/>
                    </a:cubicBezTo>
                    <a:cubicBezTo>
                      <a:pt x="202" y="479"/>
                      <a:pt x="202" y="479"/>
                      <a:pt x="202" y="479"/>
                    </a:cubicBezTo>
                    <a:cubicBezTo>
                      <a:pt x="200" y="482"/>
                      <a:pt x="200" y="482"/>
                      <a:pt x="200" y="482"/>
                    </a:cubicBezTo>
                    <a:lnTo>
                      <a:pt x="205" y="485"/>
                    </a:lnTo>
                    <a:close/>
                    <a:moveTo>
                      <a:pt x="199" y="439"/>
                    </a:moveTo>
                    <a:cubicBezTo>
                      <a:pt x="201" y="439"/>
                      <a:pt x="201" y="439"/>
                      <a:pt x="201" y="439"/>
                    </a:cubicBezTo>
                    <a:cubicBezTo>
                      <a:pt x="200" y="432"/>
                      <a:pt x="200" y="432"/>
                      <a:pt x="200" y="432"/>
                    </a:cubicBezTo>
                    <a:cubicBezTo>
                      <a:pt x="198" y="431"/>
                      <a:pt x="198" y="431"/>
                      <a:pt x="198" y="431"/>
                    </a:cubicBezTo>
                    <a:lnTo>
                      <a:pt x="199" y="439"/>
                    </a:lnTo>
                    <a:close/>
                    <a:moveTo>
                      <a:pt x="217" y="421"/>
                    </a:moveTo>
                    <a:cubicBezTo>
                      <a:pt x="216" y="419"/>
                      <a:pt x="216" y="419"/>
                      <a:pt x="216" y="419"/>
                    </a:cubicBezTo>
                    <a:cubicBezTo>
                      <a:pt x="214" y="419"/>
                      <a:pt x="214" y="419"/>
                      <a:pt x="214" y="419"/>
                    </a:cubicBezTo>
                    <a:cubicBezTo>
                      <a:pt x="214" y="421"/>
                      <a:pt x="214" y="421"/>
                      <a:pt x="214" y="421"/>
                    </a:cubicBezTo>
                    <a:cubicBezTo>
                      <a:pt x="214" y="425"/>
                      <a:pt x="214" y="425"/>
                      <a:pt x="214" y="425"/>
                    </a:cubicBezTo>
                    <a:lnTo>
                      <a:pt x="217" y="421"/>
                    </a:lnTo>
                    <a:close/>
                    <a:moveTo>
                      <a:pt x="220" y="411"/>
                    </a:moveTo>
                    <a:cubicBezTo>
                      <a:pt x="215" y="412"/>
                      <a:pt x="214" y="415"/>
                      <a:pt x="216" y="416"/>
                    </a:cubicBezTo>
                    <a:cubicBezTo>
                      <a:pt x="220" y="418"/>
                      <a:pt x="223" y="411"/>
                      <a:pt x="220" y="411"/>
                    </a:cubicBezTo>
                    <a:close/>
                    <a:moveTo>
                      <a:pt x="234" y="392"/>
                    </a:moveTo>
                    <a:cubicBezTo>
                      <a:pt x="232" y="384"/>
                      <a:pt x="232" y="384"/>
                      <a:pt x="232" y="384"/>
                    </a:cubicBezTo>
                    <a:cubicBezTo>
                      <a:pt x="231" y="393"/>
                      <a:pt x="231" y="393"/>
                      <a:pt x="231" y="393"/>
                    </a:cubicBezTo>
                    <a:lnTo>
                      <a:pt x="234" y="392"/>
                    </a:lnTo>
                    <a:close/>
                    <a:moveTo>
                      <a:pt x="294" y="340"/>
                    </a:moveTo>
                    <a:cubicBezTo>
                      <a:pt x="294" y="343"/>
                      <a:pt x="294" y="343"/>
                      <a:pt x="294" y="343"/>
                    </a:cubicBezTo>
                    <a:cubicBezTo>
                      <a:pt x="297" y="342"/>
                      <a:pt x="297" y="342"/>
                      <a:pt x="297" y="342"/>
                    </a:cubicBezTo>
                    <a:cubicBezTo>
                      <a:pt x="296" y="336"/>
                      <a:pt x="296" y="336"/>
                      <a:pt x="296" y="336"/>
                    </a:cubicBezTo>
                    <a:lnTo>
                      <a:pt x="294" y="340"/>
                    </a:lnTo>
                    <a:close/>
                    <a:moveTo>
                      <a:pt x="293" y="335"/>
                    </a:moveTo>
                    <a:cubicBezTo>
                      <a:pt x="290" y="340"/>
                      <a:pt x="294" y="336"/>
                      <a:pt x="294" y="336"/>
                    </a:cubicBezTo>
                    <a:cubicBezTo>
                      <a:pt x="296" y="333"/>
                      <a:pt x="295" y="331"/>
                      <a:pt x="293" y="335"/>
                    </a:cubicBezTo>
                    <a:close/>
                    <a:moveTo>
                      <a:pt x="298" y="236"/>
                    </a:moveTo>
                    <a:cubicBezTo>
                      <a:pt x="300" y="240"/>
                      <a:pt x="300" y="240"/>
                      <a:pt x="300" y="240"/>
                    </a:cubicBezTo>
                    <a:cubicBezTo>
                      <a:pt x="306" y="242"/>
                      <a:pt x="306" y="242"/>
                      <a:pt x="306" y="242"/>
                    </a:cubicBezTo>
                    <a:cubicBezTo>
                      <a:pt x="307" y="241"/>
                      <a:pt x="307" y="241"/>
                      <a:pt x="307" y="241"/>
                    </a:cubicBezTo>
                    <a:cubicBezTo>
                      <a:pt x="304" y="239"/>
                      <a:pt x="304" y="239"/>
                      <a:pt x="304" y="239"/>
                    </a:cubicBezTo>
                    <a:cubicBezTo>
                      <a:pt x="305" y="236"/>
                      <a:pt x="305" y="236"/>
                      <a:pt x="305" y="236"/>
                    </a:cubicBezTo>
                    <a:cubicBezTo>
                      <a:pt x="303" y="235"/>
                      <a:pt x="303" y="235"/>
                      <a:pt x="303" y="235"/>
                    </a:cubicBezTo>
                    <a:cubicBezTo>
                      <a:pt x="302" y="237"/>
                      <a:pt x="302" y="237"/>
                      <a:pt x="302" y="237"/>
                    </a:cubicBezTo>
                    <a:cubicBezTo>
                      <a:pt x="302" y="235"/>
                      <a:pt x="302" y="235"/>
                      <a:pt x="302" y="235"/>
                    </a:cubicBezTo>
                    <a:lnTo>
                      <a:pt x="298" y="236"/>
                    </a:lnTo>
                    <a:close/>
                    <a:moveTo>
                      <a:pt x="312" y="222"/>
                    </a:moveTo>
                    <a:cubicBezTo>
                      <a:pt x="315" y="226"/>
                      <a:pt x="315" y="226"/>
                      <a:pt x="315" y="226"/>
                    </a:cubicBezTo>
                    <a:cubicBezTo>
                      <a:pt x="314" y="221"/>
                      <a:pt x="314" y="221"/>
                      <a:pt x="314" y="221"/>
                    </a:cubicBezTo>
                    <a:lnTo>
                      <a:pt x="312" y="222"/>
                    </a:lnTo>
                    <a:close/>
                    <a:moveTo>
                      <a:pt x="320" y="227"/>
                    </a:moveTo>
                    <a:cubicBezTo>
                      <a:pt x="322" y="224"/>
                      <a:pt x="322" y="224"/>
                      <a:pt x="322" y="224"/>
                    </a:cubicBezTo>
                    <a:cubicBezTo>
                      <a:pt x="317" y="225"/>
                      <a:pt x="317" y="225"/>
                      <a:pt x="317" y="225"/>
                    </a:cubicBezTo>
                    <a:lnTo>
                      <a:pt x="320" y="227"/>
                    </a:lnTo>
                    <a:close/>
                    <a:moveTo>
                      <a:pt x="322" y="222"/>
                    </a:moveTo>
                    <a:cubicBezTo>
                      <a:pt x="326" y="222"/>
                      <a:pt x="326" y="222"/>
                      <a:pt x="326" y="222"/>
                    </a:cubicBezTo>
                    <a:cubicBezTo>
                      <a:pt x="326" y="221"/>
                      <a:pt x="326" y="221"/>
                      <a:pt x="326" y="221"/>
                    </a:cubicBezTo>
                    <a:cubicBezTo>
                      <a:pt x="322" y="220"/>
                      <a:pt x="322" y="220"/>
                      <a:pt x="322" y="220"/>
                    </a:cubicBezTo>
                    <a:lnTo>
                      <a:pt x="322" y="222"/>
                    </a:lnTo>
                    <a:close/>
                    <a:moveTo>
                      <a:pt x="325" y="217"/>
                    </a:moveTo>
                    <a:cubicBezTo>
                      <a:pt x="326" y="213"/>
                      <a:pt x="326" y="213"/>
                      <a:pt x="326" y="213"/>
                    </a:cubicBezTo>
                    <a:cubicBezTo>
                      <a:pt x="322" y="215"/>
                      <a:pt x="322" y="215"/>
                      <a:pt x="322" y="215"/>
                    </a:cubicBezTo>
                    <a:lnTo>
                      <a:pt x="325" y="217"/>
                    </a:lnTo>
                    <a:close/>
                    <a:moveTo>
                      <a:pt x="319" y="219"/>
                    </a:moveTo>
                    <a:cubicBezTo>
                      <a:pt x="317" y="218"/>
                      <a:pt x="315" y="219"/>
                      <a:pt x="315" y="219"/>
                    </a:cubicBezTo>
                    <a:cubicBezTo>
                      <a:pt x="315" y="219"/>
                      <a:pt x="314" y="220"/>
                      <a:pt x="316" y="221"/>
                    </a:cubicBezTo>
                    <a:cubicBezTo>
                      <a:pt x="319" y="221"/>
                      <a:pt x="320" y="220"/>
                      <a:pt x="319" y="219"/>
                    </a:cubicBezTo>
                    <a:close/>
                    <a:moveTo>
                      <a:pt x="354" y="202"/>
                    </a:moveTo>
                    <a:cubicBezTo>
                      <a:pt x="356" y="202"/>
                      <a:pt x="356" y="202"/>
                      <a:pt x="356" y="202"/>
                    </a:cubicBezTo>
                    <a:cubicBezTo>
                      <a:pt x="356" y="200"/>
                      <a:pt x="356" y="200"/>
                      <a:pt x="356" y="200"/>
                    </a:cubicBezTo>
                    <a:cubicBezTo>
                      <a:pt x="354" y="200"/>
                      <a:pt x="354" y="200"/>
                      <a:pt x="354" y="200"/>
                    </a:cubicBezTo>
                    <a:lnTo>
                      <a:pt x="354" y="20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47" name="Spain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2852738" y="4773613"/>
                <a:ext cx="1344612" cy="1111250"/>
              </a:xfrm>
              <a:custGeom>
                <a:avLst/>
                <a:gdLst/>
                <a:ahLst/>
                <a:cxnLst>
                  <a:cxn ang="0">
                    <a:pos x="482" y="410"/>
                  </a:cxn>
                  <a:cxn ang="0">
                    <a:pos x="472" y="381"/>
                  </a:cxn>
                  <a:cxn ang="0">
                    <a:pos x="474" y="395"/>
                  </a:cxn>
                  <a:cxn ang="0">
                    <a:pos x="484" y="379"/>
                  </a:cxn>
                  <a:cxn ang="0">
                    <a:pos x="576" y="333"/>
                  </a:cxn>
                  <a:cxn ang="0">
                    <a:pos x="530" y="360"/>
                  </a:cxn>
                  <a:cxn ang="0">
                    <a:pos x="560" y="372"/>
                  </a:cxn>
                  <a:cxn ang="0">
                    <a:pos x="584" y="358"/>
                  </a:cxn>
                  <a:cxn ang="0">
                    <a:pos x="575" y="348"/>
                  </a:cxn>
                  <a:cxn ang="0">
                    <a:pos x="506" y="163"/>
                  </a:cxn>
                  <a:cxn ang="0">
                    <a:pos x="494" y="147"/>
                  </a:cxn>
                  <a:cxn ang="0">
                    <a:pos x="456" y="138"/>
                  </a:cxn>
                  <a:cxn ang="0">
                    <a:pos x="417" y="128"/>
                  </a:cxn>
                  <a:cxn ang="0">
                    <a:pos x="406" y="115"/>
                  </a:cxn>
                  <a:cxn ang="0">
                    <a:pos x="369" y="104"/>
                  </a:cxn>
                  <a:cxn ang="0">
                    <a:pos x="364" y="86"/>
                  </a:cxn>
                  <a:cxn ang="0">
                    <a:pos x="297" y="75"/>
                  </a:cxn>
                  <a:cxn ang="0">
                    <a:pos x="262" y="62"/>
                  </a:cxn>
                  <a:cxn ang="0">
                    <a:pos x="178" y="37"/>
                  </a:cxn>
                  <a:cxn ang="0">
                    <a:pos x="115" y="21"/>
                  </a:cxn>
                  <a:cxn ang="0">
                    <a:pos x="89" y="10"/>
                  </a:cxn>
                  <a:cxn ang="0">
                    <a:pos x="69" y="1"/>
                  </a:cxn>
                  <a:cxn ang="0">
                    <a:pos x="62" y="17"/>
                  </a:cxn>
                  <a:cxn ang="0">
                    <a:pos x="16" y="19"/>
                  </a:cxn>
                  <a:cxn ang="0">
                    <a:pos x="5" y="37"/>
                  </a:cxn>
                  <a:cxn ang="0">
                    <a:pos x="3" y="58"/>
                  </a:cxn>
                  <a:cxn ang="0">
                    <a:pos x="14" y="69"/>
                  </a:cxn>
                  <a:cxn ang="0">
                    <a:pos x="7" y="78"/>
                  </a:cxn>
                  <a:cxn ang="0">
                    <a:pos x="11" y="87"/>
                  </a:cxn>
                  <a:cxn ang="0">
                    <a:pos x="16" y="98"/>
                  </a:cxn>
                  <a:cxn ang="0">
                    <a:pos x="41" y="107"/>
                  </a:cxn>
                  <a:cxn ang="0">
                    <a:pos x="63" y="126"/>
                  </a:cxn>
                  <a:cxn ang="0">
                    <a:pos x="100" y="128"/>
                  </a:cxn>
                  <a:cxn ang="0">
                    <a:pos x="112" y="150"/>
                  </a:cxn>
                  <a:cxn ang="0">
                    <a:pos x="90" y="185"/>
                  </a:cxn>
                  <a:cxn ang="0">
                    <a:pos x="74" y="235"/>
                  </a:cxn>
                  <a:cxn ang="0">
                    <a:pos x="59" y="270"/>
                  </a:cxn>
                  <a:cxn ang="0">
                    <a:pos x="46" y="306"/>
                  </a:cxn>
                  <a:cxn ang="0">
                    <a:pos x="34" y="364"/>
                  </a:cxn>
                  <a:cxn ang="0">
                    <a:pos x="21" y="384"/>
                  </a:cxn>
                  <a:cxn ang="0">
                    <a:pos x="23" y="428"/>
                  </a:cxn>
                  <a:cxn ang="0">
                    <a:pos x="32" y="433"/>
                  </a:cxn>
                  <a:cxn ang="0">
                    <a:pos x="50" y="466"/>
                  </a:cxn>
                  <a:cxn ang="0">
                    <a:pos x="60" y="483"/>
                  </a:cxn>
                  <a:cxn ang="0">
                    <a:pos x="72" y="507"/>
                  </a:cxn>
                  <a:cxn ang="0">
                    <a:pos x="95" y="520"/>
                  </a:cxn>
                  <a:cxn ang="0">
                    <a:pos x="141" y="498"/>
                  </a:cxn>
                  <a:cxn ang="0">
                    <a:pos x="217" y="498"/>
                  </a:cxn>
                  <a:cxn ang="0">
                    <a:pos x="284" y="500"/>
                  </a:cxn>
                  <a:cxn ang="0">
                    <a:pos x="324" y="462"/>
                  </a:cxn>
                  <a:cxn ang="0">
                    <a:pos x="359" y="455"/>
                  </a:cxn>
                  <a:cxn ang="0">
                    <a:pos x="367" y="428"/>
                  </a:cxn>
                  <a:cxn ang="0">
                    <a:pos x="404" y="403"/>
                  </a:cxn>
                  <a:cxn ang="0">
                    <a:pos x="415" y="317"/>
                  </a:cxn>
                  <a:cxn ang="0">
                    <a:pos x="453" y="277"/>
                  </a:cxn>
                  <a:cxn ang="0">
                    <a:pos x="457" y="277"/>
                  </a:cxn>
                  <a:cxn ang="0">
                    <a:pos x="484" y="248"/>
                  </a:cxn>
                  <a:cxn ang="0">
                    <a:pos x="589" y="199"/>
                  </a:cxn>
                  <a:cxn ang="0">
                    <a:pos x="590" y="174"/>
                  </a:cxn>
                  <a:cxn ang="0">
                    <a:pos x="551" y="171"/>
                  </a:cxn>
                  <a:cxn ang="0">
                    <a:pos x="519" y="161"/>
                  </a:cxn>
                  <a:cxn ang="0">
                    <a:pos x="617" y="340"/>
                  </a:cxn>
                </a:cxnLst>
                <a:rect l="0" t="0" r="r" b="b"/>
                <a:pathLst>
                  <a:path w="631" h="522">
                    <a:moveTo>
                      <a:pt x="476" y="401"/>
                    </a:moveTo>
                    <a:cubicBezTo>
                      <a:pt x="474" y="405"/>
                      <a:pt x="474" y="405"/>
                      <a:pt x="474" y="405"/>
                    </a:cubicBezTo>
                    <a:cubicBezTo>
                      <a:pt x="475" y="410"/>
                      <a:pt x="475" y="410"/>
                      <a:pt x="475" y="410"/>
                    </a:cubicBezTo>
                    <a:cubicBezTo>
                      <a:pt x="478" y="407"/>
                      <a:pt x="478" y="407"/>
                      <a:pt x="478" y="407"/>
                    </a:cubicBezTo>
                    <a:cubicBezTo>
                      <a:pt x="482" y="410"/>
                      <a:pt x="482" y="410"/>
                      <a:pt x="482" y="410"/>
                    </a:cubicBezTo>
                    <a:cubicBezTo>
                      <a:pt x="484" y="408"/>
                      <a:pt x="484" y="408"/>
                      <a:pt x="484" y="408"/>
                    </a:cubicBezTo>
                    <a:cubicBezTo>
                      <a:pt x="480" y="406"/>
                      <a:pt x="480" y="406"/>
                      <a:pt x="480" y="406"/>
                    </a:cubicBezTo>
                    <a:lnTo>
                      <a:pt x="476" y="401"/>
                    </a:lnTo>
                    <a:close/>
                    <a:moveTo>
                      <a:pt x="484" y="379"/>
                    </a:moveTo>
                    <a:cubicBezTo>
                      <a:pt x="480" y="379"/>
                      <a:pt x="472" y="381"/>
                      <a:pt x="472" y="381"/>
                    </a:cubicBezTo>
                    <a:cubicBezTo>
                      <a:pt x="473" y="387"/>
                      <a:pt x="473" y="387"/>
                      <a:pt x="473" y="387"/>
                    </a:cubicBezTo>
                    <a:cubicBezTo>
                      <a:pt x="468" y="388"/>
                      <a:pt x="468" y="388"/>
                      <a:pt x="468" y="388"/>
                    </a:cubicBezTo>
                    <a:cubicBezTo>
                      <a:pt x="467" y="393"/>
                      <a:pt x="467" y="393"/>
                      <a:pt x="467" y="393"/>
                    </a:cubicBezTo>
                    <a:cubicBezTo>
                      <a:pt x="472" y="396"/>
                      <a:pt x="472" y="396"/>
                      <a:pt x="472" y="396"/>
                    </a:cubicBezTo>
                    <a:cubicBezTo>
                      <a:pt x="474" y="395"/>
                      <a:pt x="474" y="395"/>
                      <a:pt x="474" y="395"/>
                    </a:cubicBezTo>
                    <a:cubicBezTo>
                      <a:pt x="475" y="397"/>
                      <a:pt x="475" y="397"/>
                      <a:pt x="475" y="397"/>
                    </a:cubicBezTo>
                    <a:cubicBezTo>
                      <a:pt x="477" y="392"/>
                      <a:pt x="477" y="392"/>
                      <a:pt x="477" y="392"/>
                    </a:cubicBezTo>
                    <a:cubicBezTo>
                      <a:pt x="480" y="392"/>
                      <a:pt x="480" y="392"/>
                      <a:pt x="480" y="392"/>
                    </a:cubicBezTo>
                    <a:cubicBezTo>
                      <a:pt x="488" y="387"/>
                      <a:pt x="488" y="387"/>
                      <a:pt x="488" y="387"/>
                    </a:cubicBezTo>
                    <a:cubicBezTo>
                      <a:pt x="488" y="387"/>
                      <a:pt x="490" y="379"/>
                      <a:pt x="484" y="379"/>
                    </a:cubicBezTo>
                    <a:close/>
                    <a:moveTo>
                      <a:pt x="575" y="348"/>
                    </a:moveTo>
                    <a:cubicBezTo>
                      <a:pt x="572" y="347"/>
                      <a:pt x="571" y="342"/>
                      <a:pt x="571" y="342"/>
                    </a:cubicBezTo>
                    <a:cubicBezTo>
                      <a:pt x="575" y="338"/>
                      <a:pt x="575" y="338"/>
                      <a:pt x="575" y="338"/>
                    </a:cubicBezTo>
                    <a:cubicBezTo>
                      <a:pt x="572" y="338"/>
                      <a:pt x="572" y="338"/>
                      <a:pt x="572" y="338"/>
                    </a:cubicBezTo>
                    <a:cubicBezTo>
                      <a:pt x="576" y="333"/>
                      <a:pt x="576" y="333"/>
                      <a:pt x="576" y="333"/>
                    </a:cubicBezTo>
                    <a:cubicBezTo>
                      <a:pt x="576" y="333"/>
                      <a:pt x="565" y="333"/>
                      <a:pt x="555" y="337"/>
                    </a:cubicBezTo>
                    <a:cubicBezTo>
                      <a:pt x="545" y="341"/>
                      <a:pt x="541" y="348"/>
                      <a:pt x="541" y="348"/>
                    </a:cubicBezTo>
                    <a:cubicBezTo>
                      <a:pt x="538" y="347"/>
                      <a:pt x="538" y="347"/>
                      <a:pt x="538" y="347"/>
                    </a:cubicBezTo>
                    <a:cubicBezTo>
                      <a:pt x="530" y="352"/>
                      <a:pt x="530" y="352"/>
                      <a:pt x="530" y="352"/>
                    </a:cubicBezTo>
                    <a:cubicBezTo>
                      <a:pt x="530" y="360"/>
                      <a:pt x="530" y="360"/>
                      <a:pt x="530" y="360"/>
                    </a:cubicBezTo>
                    <a:cubicBezTo>
                      <a:pt x="534" y="358"/>
                      <a:pt x="534" y="358"/>
                      <a:pt x="534" y="358"/>
                    </a:cubicBezTo>
                    <a:cubicBezTo>
                      <a:pt x="534" y="358"/>
                      <a:pt x="537" y="363"/>
                      <a:pt x="538" y="363"/>
                    </a:cubicBezTo>
                    <a:cubicBezTo>
                      <a:pt x="540" y="363"/>
                      <a:pt x="541" y="358"/>
                      <a:pt x="545" y="358"/>
                    </a:cubicBezTo>
                    <a:cubicBezTo>
                      <a:pt x="550" y="359"/>
                      <a:pt x="547" y="363"/>
                      <a:pt x="550" y="369"/>
                    </a:cubicBezTo>
                    <a:cubicBezTo>
                      <a:pt x="555" y="374"/>
                      <a:pt x="560" y="372"/>
                      <a:pt x="560" y="372"/>
                    </a:cubicBezTo>
                    <a:cubicBezTo>
                      <a:pt x="563" y="378"/>
                      <a:pt x="563" y="378"/>
                      <a:pt x="563" y="378"/>
                    </a:cubicBezTo>
                    <a:cubicBezTo>
                      <a:pt x="568" y="376"/>
                      <a:pt x="568" y="376"/>
                      <a:pt x="568" y="376"/>
                    </a:cubicBezTo>
                    <a:cubicBezTo>
                      <a:pt x="568" y="376"/>
                      <a:pt x="571" y="375"/>
                      <a:pt x="574" y="373"/>
                    </a:cubicBezTo>
                    <a:cubicBezTo>
                      <a:pt x="577" y="371"/>
                      <a:pt x="577" y="365"/>
                      <a:pt x="577" y="365"/>
                    </a:cubicBezTo>
                    <a:cubicBezTo>
                      <a:pt x="584" y="358"/>
                      <a:pt x="584" y="358"/>
                      <a:pt x="584" y="358"/>
                    </a:cubicBezTo>
                    <a:cubicBezTo>
                      <a:pt x="583" y="357"/>
                      <a:pt x="583" y="357"/>
                      <a:pt x="583" y="357"/>
                    </a:cubicBezTo>
                    <a:cubicBezTo>
                      <a:pt x="586" y="357"/>
                      <a:pt x="586" y="357"/>
                      <a:pt x="586" y="357"/>
                    </a:cubicBezTo>
                    <a:cubicBezTo>
                      <a:pt x="589" y="349"/>
                      <a:pt x="589" y="349"/>
                      <a:pt x="589" y="349"/>
                    </a:cubicBezTo>
                    <a:cubicBezTo>
                      <a:pt x="582" y="344"/>
                      <a:pt x="582" y="344"/>
                      <a:pt x="582" y="344"/>
                    </a:cubicBezTo>
                    <a:cubicBezTo>
                      <a:pt x="582" y="344"/>
                      <a:pt x="579" y="348"/>
                      <a:pt x="575" y="348"/>
                    </a:cubicBezTo>
                    <a:close/>
                    <a:moveTo>
                      <a:pt x="520" y="161"/>
                    </a:moveTo>
                    <a:cubicBezTo>
                      <a:pt x="520" y="161"/>
                      <a:pt x="516" y="165"/>
                      <a:pt x="515" y="165"/>
                    </a:cubicBezTo>
                    <a:cubicBezTo>
                      <a:pt x="514" y="165"/>
                      <a:pt x="513" y="164"/>
                      <a:pt x="513" y="164"/>
                    </a:cubicBezTo>
                    <a:cubicBezTo>
                      <a:pt x="509" y="167"/>
                      <a:pt x="509" y="167"/>
                      <a:pt x="509" y="167"/>
                    </a:cubicBezTo>
                    <a:cubicBezTo>
                      <a:pt x="506" y="163"/>
                      <a:pt x="506" y="163"/>
                      <a:pt x="506" y="163"/>
                    </a:cubicBezTo>
                    <a:cubicBezTo>
                      <a:pt x="503" y="160"/>
                      <a:pt x="503" y="160"/>
                      <a:pt x="503" y="160"/>
                    </a:cubicBezTo>
                    <a:cubicBezTo>
                      <a:pt x="506" y="156"/>
                      <a:pt x="506" y="156"/>
                      <a:pt x="506" y="156"/>
                    </a:cubicBezTo>
                    <a:cubicBezTo>
                      <a:pt x="508" y="152"/>
                      <a:pt x="508" y="152"/>
                      <a:pt x="508" y="152"/>
                    </a:cubicBezTo>
                    <a:cubicBezTo>
                      <a:pt x="508" y="152"/>
                      <a:pt x="507" y="148"/>
                      <a:pt x="504" y="145"/>
                    </a:cubicBezTo>
                    <a:cubicBezTo>
                      <a:pt x="501" y="144"/>
                      <a:pt x="494" y="147"/>
                      <a:pt x="494" y="147"/>
                    </a:cubicBezTo>
                    <a:cubicBezTo>
                      <a:pt x="494" y="147"/>
                      <a:pt x="489" y="140"/>
                      <a:pt x="488" y="139"/>
                    </a:cubicBezTo>
                    <a:cubicBezTo>
                      <a:pt x="486" y="137"/>
                      <a:pt x="481" y="138"/>
                      <a:pt x="481" y="138"/>
                    </a:cubicBezTo>
                    <a:cubicBezTo>
                      <a:pt x="481" y="138"/>
                      <a:pt x="477" y="134"/>
                      <a:pt x="472" y="134"/>
                    </a:cubicBezTo>
                    <a:cubicBezTo>
                      <a:pt x="466" y="134"/>
                      <a:pt x="472" y="141"/>
                      <a:pt x="467" y="143"/>
                    </a:cubicBezTo>
                    <a:cubicBezTo>
                      <a:pt x="462" y="147"/>
                      <a:pt x="456" y="138"/>
                      <a:pt x="456" y="138"/>
                    </a:cubicBezTo>
                    <a:cubicBezTo>
                      <a:pt x="456" y="138"/>
                      <a:pt x="455" y="142"/>
                      <a:pt x="452" y="142"/>
                    </a:cubicBezTo>
                    <a:cubicBezTo>
                      <a:pt x="451" y="142"/>
                      <a:pt x="451" y="139"/>
                      <a:pt x="448" y="137"/>
                    </a:cubicBezTo>
                    <a:cubicBezTo>
                      <a:pt x="446" y="135"/>
                      <a:pt x="435" y="139"/>
                      <a:pt x="435" y="139"/>
                    </a:cubicBezTo>
                    <a:cubicBezTo>
                      <a:pt x="425" y="127"/>
                      <a:pt x="425" y="127"/>
                      <a:pt x="425" y="127"/>
                    </a:cubicBezTo>
                    <a:cubicBezTo>
                      <a:pt x="417" y="128"/>
                      <a:pt x="417" y="128"/>
                      <a:pt x="417" y="128"/>
                    </a:cubicBezTo>
                    <a:cubicBezTo>
                      <a:pt x="416" y="127"/>
                      <a:pt x="416" y="127"/>
                      <a:pt x="416" y="127"/>
                    </a:cubicBezTo>
                    <a:cubicBezTo>
                      <a:pt x="412" y="131"/>
                      <a:pt x="412" y="131"/>
                      <a:pt x="412" y="131"/>
                    </a:cubicBezTo>
                    <a:cubicBezTo>
                      <a:pt x="406" y="122"/>
                      <a:pt x="406" y="122"/>
                      <a:pt x="406" y="122"/>
                    </a:cubicBezTo>
                    <a:cubicBezTo>
                      <a:pt x="408" y="116"/>
                      <a:pt x="408" y="116"/>
                      <a:pt x="408" y="116"/>
                    </a:cubicBezTo>
                    <a:cubicBezTo>
                      <a:pt x="406" y="115"/>
                      <a:pt x="406" y="115"/>
                      <a:pt x="406" y="115"/>
                    </a:cubicBezTo>
                    <a:cubicBezTo>
                      <a:pt x="397" y="117"/>
                      <a:pt x="397" y="117"/>
                      <a:pt x="397" y="117"/>
                    </a:cubicBezTo>
                    <a:cubicBezTo>
                      <a:pt x="380" y="106"/>
                      <a:pt x="380" y="106"/>
                      <a:pt x="380" y="106"/>
                    </a:cubicBezTo>
                    <a:cubicBezTo>
                      <a:pt x="380" y="102"/>
                      <a:pt x="380" y="102"/>
                      <a:pt x="380" y="102"/>
                    </a:cubicBezTo>
                    <a:cubicBezTo>
                      <a:pt x="375" y="108"/>
                      <a:pt x="375" y="108"/>
                      <a:pt x="375" y="108"/>
                    </a:cubicBezTo>
                    <a:cubicBezTo>
                      <a:pt x="375" y="108"/>
                      <a:pt x="371" y="107"/>
                      <a:pt x="369" y="104"/>
                    </a:cubicBezTo>
                    <a:cubicBezTo>
                      <a:pt x="367" y="102"/>
                      <a:pt x="370" y="101"/>
                      <a:pt x="374" y="100"/>
                    </a:cubicBezTo>
                    <a:cubicBezTo>
                      <a:pt x="377" y="100"/>
                      <a:pt x="376" y="91"/>
                      <a:pt x="376" y="91"/>
                    </a:cubicBezTo>
                    <a:cubicBezTo>
                      <a:pt x="370" y="89"/>
                      <a:pt x="370" y="89"/>
                      <a:pt x="370" y="89"/>
                    </a:cubicBezTo>
                    <a:cubicBezTo>
                      <a:pt x="370" y="89"/>
                      <a:pt x="367" y="91"/>
                      <a:pt x="365" y="90"/>
                    </a:cubicBezTo>
                    <a:cubicBezTo>
                      <a:pt x="363" y="89"/>
                      <a:pt x="364" y="86"/>
                      <a:pt x="364" y="86"/>
                    </a:cubicBezTo>
                    <a:cubicBezTo>
                      <a:pt x="360" y="86"/>
                      <a:pt x="360" y="86"/>
                      <a:pt x="360" y="86"/>
                    </a:cubicBezTo>
                    <a:cubicBezTo>
                      <a:pt x="360" y="86"/>
                      <a:pt x="357" y="81"/>
                      <a:pt x="358" y="81"/>
                    </a:cubicBezTo>
                    <a:cubicBezTo>
                      <a:pt x="335" y="84"/>
                      <a:pt x="335" y="84"/>
                      <a:pt x="335" y="84"/>
                    </a:cubicBezTo>
                    <a:cubicBezTo>
                      <a:pt x="335" y="84"/>
                      <a:pt x="314" y="70"/>
                      <a:pt x="306" y="70"/>
                    </a:cubicBezTo>
                    <a:cubicBezTo>
                      <a:pt x="300" y="71"/>
                      <a:pt x="297" y="75"/>
                      <a:pt x="297" y="75"/>
                    </a:cubicBezTo>
                    <a:cubicBezTo>
                      <a:pt x="286" y="66"/>
                      <a:pt x="286" y="66"/>
                      <a:pt x="286" y="66"/>
                    </a:cubicBezTo>
                    <a:cubicBezTo>
                      <a:pt x="280" y="66"/>
                      <a:pt x="280" y="66"/>
                      <a:pt x="280" y="66"/>
                    </a:cubicBezTo>
                    <a:cubicBezTo>
                      <a:pt x="281" y="62"/>
                      <a:pt x="281" y="62"/>
                      <a:pt x="281" y="62"/>
                    </a:cubicBezTo>
                    <a:cubicBezTo>
                      <a:pt x="276" y="59"/>
                      <a:pt x="276" y="59"/>
                      <a:pt x="276" y="59"/>
                    </a:cubicBezTo>
                    <a:cubicBezTo>
                      <a:pt x="262" y="62"/>
                      <a:pt x="262" y="62"/>
                      <a:pt x="262" y="62"/>
                    </a:cubicBezTo>
                    <a:cubicBezTo>
                      <a:pt x="265" y="59"/>
                      <a:pt x="265" y="59"/>
                      <a:pt x="265" y="59"/>
                    </a:cubicBezTo>
                    <a:cubicBezTo>
                      <a:pt x="262" y="57"/>
                      <a:pt x="262" y="57"/>
                      <a:pt x="262" y="57"/>
                    </a:cubicBezTo>
                    <a:cubicBezTo>
                      <a:pt x="231" y="59"/>
                      <a:pt x="231" y="59"/>
                      <a:pt x="231" y="59"/>
                    </a:cubicBezTo>
                    <a:cubicBezTo>
                      <a:pt x="197" y="42"/>
                      <a:pt x="197" y="42"/>
                      <a:pt x="197" y="42"/>
                    </a:cubicBezTo>
                    <a:cubicBezTo>
                      <a:pt x="178" y="37"/>
                      <a:pt x="178" y="37"/>
                      <a:pt x="178" y="37"/>
                    </a:cubicBezTo>
                    <a:cubicBezTo>
                      <a:pt x="178" y="37"/>
                      <a:pt x="177" y="29"/>
                      <a:pt x="171" y="28"/>
                    </a:cubicBezTo>
                    <a:cubicBezTo>
                      <a:pt x="166" y="27"/>
                      <a:pt x="161" y="31"/>
                      <a:pt x="161" y="31"/>
                    </a:cubicBezTo>
                    <a:cubicBezTo>
                      <a:pt x="152" y="26"/>
                      <a:pt x="152" y="26"/>
                      <a:pt x="152" y="26"/>
                    </a:cubicBezTo>
                    <a:cubicBezTo>
                      <a:pt x="136" y="27"/>
                      <a:pt x="136" y="27"/>
                      <a:pt x="136" y="27"/>
                    </a:cubicBezTo>
                    <a:cubicBezTo>
                      <a:pt x="115" y="21"/>
                      <a:pt x="115" y="21"/>
                      <a:pt x="115" y="21"/>
                    </a:cubicBezTo>
                    <a:cubicBezTo>
                      <a:pt x="111" y="26"/>
                      <a:pt x="111" y="26"/>
                      <a:pt x="111" y="26"/>
                    </a:cubicBezTo>
                    <a:cubicBezTo>
                      <a:pt x="112" y="22"/>
                      <a:pt x="112" y="22"/>
                      <a:pt x="112" y="22"/>
                    </a:cubicBezTo>
                    <a:cubicBezTo>
                      <a:pt x="103" y="18"/>
                      <a:pt x="103" y="18"/>
                      <a:pt x="103" y="18"/>
                    </a:cubicBezTo>
                    <a:cubicBezTo>
                      <a:pt x="103" y="18"/>
                      <a:pt x="99" y="8"/>
                      <a:pt x="96" y="7"/>
                    </a:cubicBezTo>
                    <a:cubicBezTo>
                      <a:pt x="92" y="6"/>
                      <a:pt x="89" y="10"/>
                      <a:pt x="89" y="10"/>
                    </a:cubicBezTo>
                    <a:cubicBezTo>
                      <a:pt x="88" y="5"/>
                      <a:pt x="88" y="5"/>
                      <a:pt x="88" y="5"/>
                    </a:cubicBezTo>
                    <a:cubicBezTo>
                      <a:pt x="83" y="2"/>
                      <a:pt x="83" y="2"/>
                      <a:pt x="83" y="2"/>
                    </a:cubicBezTo>
                    <a:cubicBezTo>
                      <a:pt x="75" y="5"/>
                      <a:pt x="75" y="5"/>
                      <a:pt x="75" y="5"/>
                    </a:cubicBezTo>
                    <a:cubicBezTo>
                      <a:pt x="79" y="0"/>
                      <a:pt x="79" y="0"/>
                      <a:pt x="79" y="0"/>
                    </a:cubicBezTo>
                    <a:cubicBezTo>
                      <a:pt x="69" y="1"/>
                      <a:pt x="69" y="1"/>
                      <a:pt x="69" y="1"/>
                    </a:cubicBezTo>
                    <a:cubicBezTo>
                      <a:pt x="68" y="5"/>
                      <a:pt x="68" y="5"/>
                      <a:pt x="68" y="5"/>
                    </a:cubicBezTo>
                    <a:cubicBezTo>
                      <a:pt x="68" y="5"/>
                      <a:pt x="63" y="5"/>
                      <a:pt x="57" y="8"/>
                    </a:cubicBezTo>
                    <a:cubicBezTo>
                      <a:pt x="53" y="11"/>
                      <a:pt x="55" y="14"/>
                      <a:pt x="55" y="14"/>
                    </a:cubicBezTo>
                    <a:cubicBezTo>
                      <a:pt x="54" y="17"/>
                      <a:pt x="54" y="17"/>
                      <a:pt x="54" y="17"/>
                    </a:cubicBezTo>
                    <a:cubicBezTo>
                      <a:pt x="62" y="17"/>
                      <a:pt x="62" y="17"/>
                      <a:pt x="62" y="17"/>
                    </a:cubicBezTo>
                    <a:cubicBezTo>
                      <a:pt x="55" y="24"/>
                      <a:pt x="55" y="24"/>
                      <a:pt x="55" y="24"/>
                    </a:cubicBezTo>
                    <a:cubicBezTo>
                      <a:pt x="52" y="18"/>
                      <a:pt x="52" y="18"/>
                      <a:pt x="52" y="18"/>
                    </a:cubicBezTo>
                    <a:cubicBezTo>
                      <a:pt x="33" y="19"/>
                      <a:pt x="33" y="19"/>
                      <a:pt x="33" y="19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16" y="19"/>
                      <a:pt x="16" y="19"/>
                      <a:pt x="16" y="19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8" y="25"/>
                      <a:pt x="8" y="25"/>
                      <a:pt x="8" y="25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5" y="37"/>
                      <a:pt x="5" y="37"/>
                      <a:pt x="5" y="37"/>
                    </a:cubicBezTo>
                    <a:cubicBezTo>
                      <a:pt x="5" y="48"/>
                      <a:pt x="5" y="48"/>
                      <a:pt x="5" y="48"/>
                    </a:cubicBezTo>
                    <a:cubicBezTo>
                      <a:pt x="16" y="45"/>
                      <a:pt x="16" y="45"/>
                      <a:pt x="16" y="45"/>
                    </a:cubicBezTo>
                    <a:cubicBezTo>
                      <a:pt x="15" y="50"/>
                      <a:pt x="15" y="50"/>
                      <a:pt x="15" y="50"/>
                    </a:cubicBezTo>
                    <a:cubicBezTo>
                      <a:pt x="8" y="52"/>
                      <a:pt x="8" y="52"/>
                      <a:pt x="8" y="52"/>
                    </a:cubicBezTo>
                    <a:cubicBezTo>
                      <a:pt x="3" y="58"/>
                      <a:pt x="3" y="58"/>
                      <a:pt x="3" y="58"/>
                    </a:cubicBezTo>
                    <a:cubicBezTo>
                      <a:pt x="6" y="63"/>
                      <a:pt x="6" y="63"/>
                      <a:pt x="6" y="63"/>
                    </a:cubicBezTo>
                    <a:cubicBezTo>
                      <a:pt x="22" y="56"/>
                      <a:pt x="22" y="56"/>
                      <a:pt x="22" y="56"/>
                    </a:cubicBezTo>
                    <a:cubicBezTo>
                      <a:pt x="17" y="62"/>
                      <a:pt x="17" y="62"/>
                      <a:pt x="17" y="62"/>
                    </a:cubicBezTo>
                    <a:cubicBezTo>
                      <a:pt x="13" y="63"/>
                      <a:pt x="13" y="63"/>
                      <a:pt x="13" y="63"/>
                    </a:cubicBezTo>
                    <a:cubicBezTo>
                      <a:pt x="14" y="69"/>
                      <a:pt x="14" y="69"/>
                      <a:pt x="14" y="69"/>
                    </a:cubicBezTo>
                    <a:cubicBezTo>
                      <a:pt x="8" y="68"/>
                      <a:pt x="8" y="68"/>
                      <a:pt x="8" y="68"/>
                    </a:cubicBezTo>
                    <a:cubicBezTo>
                      <a:pt x="11" y="75"/>
                      <a:pt x="11" y="75"/>
                      <a:pt x="11" y="75"/>
                    </a:cubicBezTo>
                    <a:cubicBezTo>
                      <a:pt x="19" y="75"/>
                      <a:pt x="19" y="75"/>
                      <a:pt x="19" y="75"/>
                    </a:cubicBezTo>
                    <a:cubicBezTo>
                      <a:pt x="15" y="78"/>
                      <a:pt x="15" y="78"/>
                      <a:pt x="15" y="78"/>
                    </a:cubicBezTo>
                    <a:cubicBezTo>
                      <a:pt x="7" y="78"/>
                      <a:pt x="7" y="78"/>
                      <a:pt x="7" y="78"/>
                    </a:cubicBezTo>
                    <a:cubicBezTo>
                      <a:pt x="8" y="82"/>
                      <a:pt x="8" y="82"/>
                      <a:pt x="8" y="82"/>
                    </a:cubicBezTo>
                    <a:cubicBezTo>
                      <a:pt x="17" y="82"/>
                      <a:pt x="17" y="82"/>
                      <a:pt x="17" y="82"/>
                    </a:cubicBezTo>
                    <a:cubicBezTo>
                      <a:pt x="19" y="80"/>
                      <a:pt x="19" y="80"/>
                      <a:pt x="19" y="80"/>
                    </a:cubicBezTo>
                    <a:cubicBezTo>
                      <a:pt x="20" y="81"/>
                      <a:pt x="20" y="81"/>
                      <a:pt x="20" y="81"/>
                    </a:cubicBezTo>
                    <a:cubicBezTo>
                      <a:pt x="11" y="87"/>
                      <a:pt x="11" y="87"/>
                      <a:pt x="11" y="87"/>
                    </a:cubicBezTo>
                    <a:cubicBezTo>
                      <a:pt x="5" y="92"/>
                      <a:pt x="5" y="92"/>
                      <a:pt x="5" y="92"/>
                    </a:cubicBezTo>
                    <a:cubicBezTo>
                      <a:pt x="2" y="107"/>
                      <a:pt x="2" y="107"/>
                      <a:pt x="2" y="107"/>
                    </a:cubicBezTo>
                    <a:cubicBezTo>
                      <a:pt x="4" y="107"/>
                      <a:pt x="4" y="107"/>
                      <a:pt x="4" y="107"/>
                    </a:cubicBezTo>
                    <a:cubicBezTo>
                      <a:pt x="11" y="103"/>
                      <a:pt x="11" y="103"/>
                      <a:pt x="11" y="103"/>
                    </a:cubicBezTo>
                    <a:cubicBezTo>
                      <a:pt x="16" y="98"/>
                      <a:pt x="16" y="98"/>
                      <a:pt x="16" y="98"/>
                    </a:cubicBezTo>
                    <a:cubicBezTo>
                      <a:pt x="30" y="101"/>
                      <a:pt x="30" y="101"/>
                      <a:pt x="30" y="101"/>
                    </a:cubicBezTo>
                    <a:cubicBezTo>
                      <a:pt x="39" y="97"/>
                      <a:pt x="39" y="97"/>
                      <a:pt x="39" y="97"/>
                    </a:cubicBezTo>
                    <a:cubicBezTo>
                      <a:pt x="37" y="103"/>
                      <a:pt x="37" y="103"/>
                      <a:pt x="37" y="103"/>
                    </a:cubicBezTo>
                    <a:cubicBezTo>
                      <a:pt x="41" y="104"/>
                      <a:pt x="41" y="104"/>
                      <a:pt x="41" y="104"/>
                    </a:cubicBezTo>
                    <a:cubicBezTo>
                      <a:pt x="41" y="107"/>
                      <a:pt x="41" y="107"/>
                      <a:pt x="41" y="107"/>
                    </a:cubicBezTo>
                    <a:cubicBezTo>
                      <a:pt x="41" y="107"/>
                      <a:pt x="26" y="113"/>
                      <a:pt x="34" y="120"/>
                    </a:cubicBezTo>
                    <a:cubicBezTo>
                      <a:pt x="42" y="127"/>
                      <a:pt x="46" y="118"/>
                      <a:pt x="46" y="118"/>
                    </a:cubicBezTo>
                    <a:cubicBezTo>
                      <a:pt x="49" y="122"/>
                      <a:pt x="49" y="122"/>
                      <a:pt x="49" y="122"/>
                    </a:cubicBezTo>
                    <a:cubicBezTo>
                      <a:pt x="56" y="120"/>
                      <a:pt x="56" y="120"/>
                      <a:pt x="56" y="120"/>
                    </a:cubicBezTo>
                    <a:cubicBezTo>
                      <a:pt x="63" y="126"/>
                      <a:pt x="63" y="126"/>
                      <a:pt x="63" y="126"/>
                    </a:cubicBezTo>
                    <a:cubicBezTo>
                      <a:pt x="68" y="124"/>
                      <a:pt x="68" y="124"/>
                      <a:pt x="68" y="124"/>
                    </a:cubicBezTo>
                    <a:cubicBezTo>
                      <a:pt x="68" y="124"/>
                      <a:pt x="72" y="131"/>
                      <a:pt x="78" y="128"/>
                    </a:cubicBezTo>
                    <a:cubicBezTo>
                      <a:pt x="84" y="127"/>
                      <a:pt x="82" y="121"/>
                      <a:pt x="85" y="121"/>
                    </a:cubicBezTo>
                    <a:cubicBezTo>
                      <a:pt x="89" y="121"/>
                      <a:pt x="90" y="125"/>
                      <a:pt x="90" y="125"/>
                    </a:cubicBezTo>
                    <a:cubicBezTo>
                      <a:pt x="100" y="128"/>
                      <a:pt x="100" y="128"/>
                      <a:pt x="100" y="128"/>
                    </a:cubicBezTo>
                    <a:cubicBezTo>
                      <a:pt x="104" y="125"/>
                      <a:pt x="104" y="125"/>
                      <a:pt x="104" y="125"/>
                    </a:cubicBezTo>
                    <a:cubicBezTo>
                      <a:pt x="104" y="127"/>
                      <a:pt x="104" y="127"/>
                      <a:pt x="104" y="127"/>
                    </a:cubicBezTo>
                    <a:cubicBezTo>
                      <a:pt x="113" y="129"/>
                      <a:pt x="113" y="129"/>
                      <a:pt x="113" y="129"/>
                    </a:cubicBezTo>
                    <a:cubicBezTo>
                      <a:pt x="111" y="141"/>
                      <a:pt x="111" y="141"/>
                      <a:pt x="111" y="141"/>
                    </a:cubicBezTo>
                    <a:cubicBezTo>
                      <a:pt x="111" y="141"/>
                      <a:pt x="108" y="150"/>
                      <a:pt x="112" y="150"/>
                    </a:cubicBezTo>
                    <a:cubicBezTo>
                      <a:pt x="116" y="150"/>
                      <a:pt x="124" y="150"/>
                      <a:pt x="124" y="154"/>
                    </a:cubicBezTo>
                    <a:cubicBezTo>
                      <a:pt x="123" y="159"/>
                      <a:pt x="116" y="168"/>
                      <a:pt x="116" y="168"/>
                    </a:cubicBezTo>
                    <a:cubicBezTo>
                      <a:pt x="116" y="168"/>
                      <a:pt x="106" y="175"/>
                      <a:pt x="104" y="175"/>
                    </a:cubicBezTo>
                    <a:cubicBezTo>
                      <a:pt x="98" y="175"/>
                      <a:pt x="98" y="175"/>
                      <a:pt x="98" y="175"/>
                    </a:cubicBezTo>
                    <a:cubicBezTo>
                      <a:pt x="90" y="185"/>
                      <a:pt x="90" y="185"/>
                      <a:pt x="90" y="185"/>
                    </a:cubicBezTo>
                    <a:cubicBezTo>
                      <a:pt x="83" y="185"/>
                      <a:pt x="83" y="185"/>
                      <a:pt x="83" y="185"/>
                    </a:cubicBezTo>
                    <a:cubicBezTo>
                      <a:pt x="86" y="197"/>
                      <a:pt x="86" y="197"/>
                      <a:pt x="86" y="197"/>
                    </a:cubicBezTo>
                    <a:cubicBezTo>
                      <a:pt x="78" y="222"/>
                      <a:pt x="78" y="222"/>
                      <a:pt x="78" y="222"/>
                    </a:cubicBezTo>
                    <a:cubicBezTo>
                      <a:pt x="80" y="230"/>
                      <a:pt x="80" y="230"/>
                      <a:pt x="80" y="230"/>
                    </a:cubicBezTo>
                    <a:cubicBezTo>
                      <a:pt x="74" y="235"/>
                      <a:pt x="74" y="235"/>
                      <a:pt x="74" y="235"/>
                    </a:cubicBezTo>
                    <a:cubicBezTo>
                      <a:pt x="74" y="235"/>
                      <a:pt x="67" y="234"/>
                      <a:pt x="67" y="239"/>
                    </a:cubicBezTo>
                    <a:cubicBezTo>
                      <a:pt x="67" y="244"/>
                      <a:pt x="71" y="251"/>
                      <a:pt x="71" y="251"/>
                    </a:cubicBezTo>
                    <a:cubicBezTo>
                      <a:pt x="66" y="262"/>
                      <a:pt x="66" y="262"/>
                      <a:pt x="66" y="262"/>
                    </a:cubicBezTo>
                    <a:cubicBezTo>
                      <a:pt x="63" y="262"/>
                      <a:pt x="63" y="262"/>
                      <a:pt x="63" y="262"/>
                    </a:cubicBezTo>
                    <a:cubicBezTo>
                      <a:pt x="59" y="270"/>
                      <a:pt x="59" y="270"/>
                      <a:pt x="59" y="270"/>
                    </a:cubicBezTo>
                    <a:cubicBezTo>
                      <a:pt x="32" y="265"/>
                      <a:pt x="32" y="265"/>
                      <a:pt x="32" y="265"/>
                    </a:cubicBezTo>
                    <a:cubicBezTo>
                      <a:pt x="38" y="280"/>
                      <a:pt x="38" y="280"/>
                      <a:pt x="38" y="280"/>
                    </a:cubicBezTo>
                    <a:cubicBezTo>
                      <a:pt x="38" y="280"/>
                      <a:pt x="42" y="278"/>
                      <a:pt x="42" y="280"/>
                    </a:cubicBezTo>
                    <a:cubicBezTo>
                      <a:pt x="42" y="283"/>
                      <a:pt x="39" y="287"/>
                      <a:pt x="39" y="287"/>
                    </a:cubicBezTo>
                    <a:cubicBezTo>
                      <a:pt x="46" y="306"/>
                      <a:pt x="46" y="306"/>
                      <a:pt x="46" y="306"/>
                    </a:cubicBezTo>
                    <a:cubicBezTo>
                      <a:pt x="46" y="306"/>
                      <a:pt x="56" y="304"/>
                      <a:pt x="54" y="310"/>
                    </a:cubicBezTo>
                    <a:cubicBezTo>
                      <a:pt x="52" y="316"/>
                      <a:pt x="44" y="325"/>
                      <a:pt x="44" y="325"/>
                    </a:cubicBezTo>
                    <a:cubicBezTo>
                      <a:pt x="34" y="328"/>
                      <a:pt x="34" y="328"/>
                      <a:pt x="34" y="328"/>
                    </a:cubicBezTo>
                    <a:cubicBezTo>
                      <a:pt x="25" y="345"/>
                      <a:pt x="25" y="345"/>
                      <a:pt x="25" y="345"/>
                    </a:cubicBezTo>
                    <a:cubicBezTo>
                      <a:pt x="34" y="364"/>
                      <a:pt x="34" y="364"/>
                      <a:pt x="34" y="364"/>
                    </a:cubicBezTo>
                    <a:cubicBezTo>
                      <a:pt x="43" y="364"/>
                      <a:pt x="43" y="364"/>
                      <a:pt x="43" y="364"/>
                    </a:cubicBezTo>
                    <a:cubicBezTo>
                      <a:pt x="41" y="368"/>
                      <a:pt x="41" y="368"/>
                      <a:pt x="41" y="368"/>
                    </a:cubicBezTo>
                    <a:cubicBezTo>
                      <a:pt x="38" y="375"/>
                      <a:pt x="38" y="375"/>
                      <a:pt x="38" y="375"/>
                    </a:cubicBezTo>
                    <a:cubicBezTo>
                      <a:pt x="23" y="376"/>
                      <a:pt x="23" y="376"/>
                      <a:pt x="23" y="376"/>
                    </a:cubicBezTo>
                    <a:cubicBezTo>
                      <a:pt x="21" y="384"/>
                      <a:pt x="21" y="384"/>
                      <a:pt x="21" y="384"/>
                    </a:cubicBezTo>
                    <a:cubicBezTo>
                      <a:pt x="21" y="384"/>
                      <a:pt x="14" y="386"/>
                      <a:pt x="10" y="392"/>
                    </a:cubicBezTo>
                    <a:cubicBezTo>
                      <a:pt x="6" y="397"/>
                      <a:pt x="4" y="401"/>
                      <a:pt x="4" y="401"/>
                    </a:cubicBezTo>
                    <a:cubicBezTo>
                      <a:pt x="6" y="408"/>
                      <a:pt x="6" y="408"/>
                      <a:pt x="6" y="408"/>
                    </a:cubicBezTo>
                    <a:cubicBezTo>
                      <a:pt x="6" y="425"/>
                      <a:pt x="6" y="425"/>
                      <a:pt x="6" y="425"/>
                    </a:cubicBezTo>
                    <a:cubicBezTo>
                      <a:pt x="23" y="428"/>
                      <a:pt x="23" y="428"/>
                      <a:pt x="23" y="428"/>
                    </a:cubicBezTo>
                    <a:cubicBezTo>
                      <a:pt x="26" y="432"/>
                      <a:pt x="26" y="432"/>
                      <a:pt x="26" y="432"/>
                    </a:cubicBezTo>
                    <a:cubicBezTo>
                      <a:pt x="29" y="428"/>
                      <a:pt x="29" y="428"/>
                      <a:pt x="29" y="428"/>
                    </a:cubicBezTo>
                    <a:cubicBezTo>
                      <a:pt x="36" y="425"/>
                      <a:pt x="36" y="425"/>
                      <a:pt x="36" y="425"/>
                    </a:cubicBezTo>
                    <a:cubicBezTo>
                      <a:pt x="33" y="429"/>
                      <a:pt x="33" y="429"/>
                      <a:pt x="33" y="429"/>
                    </a:cubicBezTo>
                    <a:cubicBezTo>
                      <a:pt x="32" y="433"/>
                      <a:pt x="32" y="433"/>
                      <a:pt x="32" y="433"/>
                    </a:cubicBezTo>
                    <a:cubicBezTo>
                      <a:pt x="32" y="433"/>
                      <a:pt x="38" y="439"/>
                      <a:pt x="43" y="443"/>
                    </a:cubicBezTo>
                    <a:cubicBezTo>
                      <a:pt x="50" y="449"/>
                      <a:pt x="54" y="462"/>
                      <a:pt x="54" y="462"/>
                    </a:cubicBezTo>
                    <a:cubicBezTo>
                      <a:pt x="55" y="458"/>
                      <a:pt x="55" y="458"/>
                      <a:pt x="55" y="458"/>
                    </a:cubicBezTo>
                    <a:cubicBezTo>
                      <a:pt x="55" y="458"/>
                      <a:pt x="57" y="463"/>
                      <a:pt x="55" y="465"/>
                    </a:cubicBezTo>
                    <a:cubicBezTo>
                      <a:pt x="53" y="466"/>
                      <a:pt x="50" y="466"/>
                      <a:pt x="50" y="466"/>
                    </a:cubicBezTo>
                    <a:cubicBezTo>
                      <a:pt x="51" y="473"/>
                      <a:pt x="51" y="473"/>
                      <a:pt x="51" y="473"/>
                    </a:cubicBezTo>
                    <a:cubicBezTo>
                      <a:pt x="55" y="473"/>
                      <a:pt x="55" y="473"/>
                      <a:pt x="55" y="473"/>
                    </a:cubicBezTo>
                    <a:cubicBezTo>
                      <a:pt x="55" y="478"/>
                      <a:pt x="55" y="478"/>
                      <a:pt x="55" y="478"/>
                    </a:cubicBezTo>
                    <a:cubicBezTo>
                      <a:pt x="58" y="478"/>
                      <a:pt x="58" y="478"/>
                      <a:pt x="58" y="478"/>
                    </a:cubicBezTo>
                    <a:cubicBezTo>
                      <a:pt x="60" y="483"/>
                      <a:pt x="60" y="483"/>
                      <a:pt x="60" y="483"/>
                    </a:cubicBezTo>
                    <a:cubicBezTo>
                      <a:pt x="58" y="485"/>
                      <a:pt x="58" y="485"/>
                      <a:pt x="58" y="485"/>
                    </a:cubicBezTo>
                    <a:cubicBezTo>
                      <a:pt x="56" y="481"/>
                      <a:pt x="56" y="481"/>
                      <a:pt x="56" y="481"/>
                    </a:cubicBezTo>
                    <a:cubicBezTo>
                      <a:pt x="54" y="481"/>
                      <a:pt x="54" y="481"/>
                      <a:pt x="54" y="481"/>
                    </a:cubicBezTo>
                    <a:cubicBezTo>
                      <a:pt x="63" y="505"/>
                      <a:pt x="63" y="505"/>
                      <a:pt x="63" y="505"/>
                    </a:cubicBezTo>
                    <a:cubicBezTo>
                      <a:pt x="72" y="507"/>
                      <a:pt x="72" y="507"/>
                      <a:pt x="72" y="507"/>
                    </a:cubicBezTo>
                    <a:cubicBezTo>
                      <a:pt x="75" y="515"/>
                      <a:pt x="75" y="515"/>
                      <a:pt x="75" y="515"/>
                    </a:cubicBezTo>
                    <a:cubicBezTo>
                      <a:pt x="83" y="519"/>
                      <a:pt x="83" y="519"/>
                      <a:pt x="83" y="519"/>
                    </a:cubicBezTo>
                    <a:cubicBezTo>
                      <a:pt x="84" y="522"/>
                      <a:pt x="84" y="522"/>
                      <a:pt x="84" y="522"/>
                    </a:cubicBezTo>
                    <a:cubicBezTo>
                      <a:pt x="89" y="519"/>
                      <a:pt x="89" y="519"/>
                      <a:pt x="89" y="519"/>
                    </a:cubicBezTo>
                    <a:cubicBezTo>
                      <a:pt x="95" y="520"/>
                      <a:pt x="95" y="520"/>
                      <a:pt x="95" y="520"/>
                    </a:cubicBezTo>
                    <a:cubicBezTo>
                      <a:pt x="95" y="520"/>
                      <a:pt x="95" y="516"/>
                      <a:pt x="96" y="515"/>
                    </a:cubicBezTo>
                    <a:cubicBezTo>
                      <a:pt x="98" y="513"/>
                      <a:pt x="101" y="517"/>
                      <a:pt x="101" y="517"/>
                    </a:cubicBezTo>
                    <a:cubicBezTo>
                      <a:pt x="113" y="502"/>
                      <a:pt x="113" y="502"/>
                      <a:pt x="113" y="502"/>
                    </a:cubicBezTo>
                    <a:cubicBezTo>
                      <a:pt x="129" y="499"/>
                      <a:pt x="129" y="499"/>
                      <a:pt x="129" y="499"/>
                    </a:cubicBezTo>
                    <a:cubicBezTo>
                      <a:pt x="129" y="499"/>
                      <a:pt x="133" y="502"/>
                      <a:pt x="141" y="498"/>
                    </a:cubicBezTo>
                    <a:cubicBezTo>
                      <a:pt x="150" y="494"/>
                      <a:pt x="154" y="490"/>
                      <a:pt x="154" y="490"/>
                    </a:cubicBezTo>
                    <a:cubicBezTo>
                      <a:pt x="165" y="491"/>
                      <a:pt x="165" y="491"/>
                      <a:pt x="165" y="491"/>
                    </a:cubicBezTo>
                    <a:cubicBezTo>
                      <a:pt x="191" y="493"/>
                      <a:pt x="191" y="493"/>
                      <a:pt x="191" y="493"/>
                    </a:cubicBezTo>
                    <a:cubicBezTo>
                      <a:pt x="206" y="499"/>
                      <a:pt x="206" y="499"/>
                      <a:pt x="206" y="499"/>
                    </a:cubicBezTo>
                    <a:cubicBezTo>
                      <a:pt x="217" y="498"/>
                      <a:pt x="217" y="498"/>
                      <a:pt x="217" y="498"/>
                    </a:cubicBezTo>
                    <a:cubicBezTo>
                      <a:pt x="243" y="505"/>
                      <a:pt x="243" y="505"/>
                      <a:pt x="243" y="505"/>
                    </a:cubicBezTo>
                    <a:cubicBezTo>
                      <a:pt x="249" y="505"/>
                      <a:pt x="249" y="505"/>
                      <a:pt x="249" y="505"/>
                    </a:cubicBezTo>
                    <a:cubicBezTo>
                      <a:pt x="249" y="505"/>
                      <a:pt x="252" y="497"/>
                      <a:pt x="262" y="498"/>
                    </a:cubicBezTo>
                    <a:cubicBezTo>
                      <a:pt x="272" y="499"/>
                      <a:pt x="273" y="509"/>
                      <a:pt x="273" y="509"/>
                    </a:cubicBezTo>
                    <a:cubicBezTo>
                      <a:pt x="284" y="500"/>
                      <a:pt x="284" y="500"/>
                      <a:pt x="284" y="500"/>
                    </a:cubicBezTo>
                    <a:cubicBezTo>
                      <a:pt x="291" y="497"/>
                      <a:pt x="291" y="497"/>
                      <a:pt x="291" y="497"/>
                    </a:cubicBezTo>
                    <a:cubicBezTo>
                      <a:pt x="297" y="480"/>
                      <a:pt x="297" y="480"/>
                      <a:pt x="297" y="480"/>
                    </a:cubicBezTo>
                    <a:cubicBezTo>
                      <a:pt x="312" y="469"/>
                      <a:pt x="312" y="469"/>
                      <a:pt x="312" y="469"/>
                    </a:cubicBezTo>
                    <a:cubicBezTo>
                      <a:pt x="316" y="469"/>
                      <a:pt x="316" y="469"/>
                      <a:pt x="316" y="469"/>
                    </a:cubicBezTo>
                    <a:cubicBezTo>
                      <a:pt x="316" y="469"/>
                      <a:pt x="319" y="462"/>
                      <a:pt x="324" y="462"/>
                    </a:cubicBezTo>
                    <a:cubicBezTo>
                      <a:pt x="329" y="460"/>
                      <a:pt x="334" y="466"/>
                      <a:pt x="334" y="466"/>
                    </a:cubicBezTo>
                    <a:cubicBezTo>
                      <a:pt x="334" y="466"/>
                      <a:pt x="340" y="463"/>
                      <a:pt x="341" y="463"/>
                    </a:cubicBezTo>
                    <a:cubicBezTo>
                      <a:pt x="343" y="463"/>
                      <a:pt x="345" y="465"/>
                      <a:pt x="345" y="465"/>
                    </a:cubicBezTo>
                    <a:cubicBezTo>
                      <a:pt x="360" y="463"/>
                      <a:pt x="360" y="463"/>
                      <a:pt x="360" y="463"/>
                    </a:cubicBezTo>
                    <a:cubicBezTo>
                      <a:pt x="359" y="455"/>
                      <a:pt x="359" y="455"/>
                      <a:pt x="359" y="455"/>
                    </a:cubicBezTo>
                    <a:cubicBezTo>
                      <a:pt x="355" y="459"/>
                      <a:pt x="355" y="459"/>
                      <a:pt x="355" y="459"/>
                    </a:cubicBezTo>
                    <a:cubicBezTo>
                      <a:pt x="351" y="454"/>
                      <a:pt x="351" y="454"/>
                      <a:pt x="351" y="454"/>
                    </a:cubicBezTo>
                    <a:cubicBezTo>
                      <a:pt x="358" y="440"/>
                      <a:pt x="358" y="440"/>
                      <a:pt x="358" y="440"/>
                    </a:cubicBezTo>
                    <a:cubicBezTo>
                      <a:pt x="363" y="439"/>
                      <a:pt x="363" y="439"/>
                      <a:pt x="363" y="439"/>
                    </a:cubicBezTo>
                    <a:cubicBezTo>
                      <a:pt x="363" y="439"/>
                      <a:pt x="365" y="432"/>
                      <a:pt x="367" y="428"/>
                    </a:cubicBezTo>
                    <a:cubicBezTo>
                      <a:pt x="369" y="425"/>
                      <a:pt x="373" y="426"/>
                      <a:pt x="373" y="426"/>
                    </a:cubicBezTo>
                    <a:cubicBezTo>
                      <a:pt x="375" y="418"/>
                      <a:pt x="375" y="418"/>
                      <a:pt x="375" y="418"/>
                    </a:cubicBezTo>
                    <a:cubicBezTo>
                      <a:pt x="379" y="419"/>
                      <a:pt x="379" y="419"/>
                      <a:pt x="379" y="419"/>
                    </a:cubicBezTo>
                    <a:cubicBezTo>
                      <a:pt x="389" y="408"/>
                      <a:pt x="389" y="408"/>
                      <a:pt x="389" y="408"/>
                    </a:cubicBezTo>
                    <a:cubicBezTo>
                      <a:pt x="404" y="403"/>
                      <a:pt x="404" y="403"/>
                      <a:pt x="404" y="403"/>
                    </a:cubicBezTo>
                    <a:cubicBezTo>
                      <a:pt x="413" y="395"/>
                      <a:pt x="413" y="395"/>
                      <a:pt x="413" y="395"/>
                    </a:cubicBezTo>
                    <a:cubicBezTo>
                      <a:pt x="413" y="389"/>
                      <a:pt x="413" y="389"/>
                      <a:pt x="413" y="389"/>
                    </a:cubicBezTo>
                    <a:cubicBezTo>
                      <a:pt x="413" y="389"/>
                      <a:pt x="407" y="389"/>
                      <a:pt x="402" y="385"/>
                    </a:cubicBezTo>
                    <a:cubicBezTo>
                      <a:pt x="398" y="381"/>
                      <a:pt x="392" y="347"/>
                      <a:pt x="392" y="347"/>
                    </a:cubicBezTo>
                    <a:cubicBezTo>
                      <a:pt x="415" y="317"/>
                      <a:pt x="415" y="317"/>
                      <a:pt x="415" y="317"/>
                    </a:cubicBezTo>
                    <a:cubicBezTo>
                      <a:pt x="416" y="309"/>
                      <a:pt x="416" y="309"/>
                      <a:pt x="416" y="309"/>
                    </a:cubicBezTo>
                    <a:cubicBezTo>
                      <a:pt x="420" y="310"/>
                      <a:pt x="420" y="310"/>
                      <a:pt x="420" y="310"/>
                    </a:cubicBezTo>
                    <a:cubicBezTo>
                      <a:pt x="436" y="293"/>
                      <a:pt x="436" y="293"/>
                      <a:pt x="436" y="293"/>
                    </a:cubicBezTo>
                    <a:cubicBezTo>
                      <a:pt x="436" y="293"/>
                      <a:pt x="444" y="281"/>
                      <a:pt x="447" y="279"/>
                    </a:cubicBezTo>
                    <a:cubicBezTo>
                      <a:pt x="450" y="276"/>
                      <a:pt x="453" y="277"/>
                      <a:pt x="453" y="277"/>
                    </a:cubicBezTo>
                    <a:cubicBezTo>
                      <a:pt x="452" y="279"/>
                      <a:pt x="452" y="279"/>
                      <a:pt x="452" y="279"/>
                    </a:cubicBezTo>
                    <a:cubicBezTo>
                      <a:pt x="449" y="279"/>
                      <a:pt x="449" y="279"/>
                      <a:pt x="449" y="279"/>
                    </a:cubicBezTo>
                    <a:cubicBezTo>
                      <a:pt x="449" y="281"/>
                      <a:pt x="449" y="281"/>
                      <a:pt x="449" y="281"/>
                    </a:cubicBezTo>
                    <a:cubicBezTo>
                      <a:pt x="452" y="282"/>
                      <a:pt x="452" y="282"/>
                      <a:pt x="452" y="282"/>
                    </a:cubicBezTo>
                    <a:cubicBezTo>
                      <a:pt x="457" y="277"/>
                      <a:pt x="457" y="277"/>
                      <a:pt x="457" y="277"/>
                    </a:cubicBezTo>
                    <a:cubicBezTo>
                      <a:pt x="457" y="277"/>
                      <a:pt x="462" y="276"/>
                      <a:pt x="464" y="274"/>
                    </a:cubicBezTo>
                    <a:cubicBezTo>
                      <a:pt x="465" y="273"/>
                      <a:pt x="457" y="266"/>
                      <a:pt x="457" y="266"/>
                    </a:cubicBezTo>
                    <a:cubicBezTo>
                      <a:pt x="472" y="251"/>
                      <a:pt x="472" y="251"/>
                      <a:pt x="472" y="251"/>
                    </a:cubicBezTo>
                    <a:cubicBezTo>
                      <a:pt x="481" y="251"/>
                      <a:pt x="481" y="251"/>
                      <a:pt x="481" y="251"/>
                    </a:cubicBezTo>
                    <a:cubicBezTo>
                      <a:pt x="484" y="248"/>
                      <a:pt x="484" y="248"/>
                      <a:pt x="484" y="248"/>
                    </a:cubicBezTo>
                    <a:cubicBezTo>
                      <a:pt x="484" y="248"/>
                      <a:pt x="499" y="245"/>
                      <a:pt x="506" y="245"/>
                    </a:cubicBezTo>
                    <a:cubicBezTo>
                      <a:pt x="511" y="245"/>
                      <a:pt x="524" y="245"/>
                      <a:pt x="530" y="242"/>
                    </a:cubicBezTo>
                    <a:cubicBezTo>
                      <a:pt x="537" y="238"/>
                      <a:pt x="533" y="236"/>
                      <a:pt x="541" y="232"/>
                    </a:cubicBezTo>
                    <a:cubicBezTo>
                      <a:pt x="549" y="227"/>
                      <a:pt x="575" y="221"/>
                      <a:pt x="581" y="216"/>
                    </a:cubicBezTo>
                    <a:cubicBezTo>
                      <a:pt x="588" y="211"/>
                      <a:pt x="590" y="202"/>
                      <a:pt x="589" y="199"/>
                    </a:cubicBezTo>
                    <a:cubicBezTo>
                      <a:pt x="589" y="196"/>
                      <a:pt x="586" y="192"/>
                      <a:pt x="587" y="189"/>
                    </a:cubicBezTo>
                    <a:cubicBezTo>
                      <a:pt x="588" y="186"/>
                      <a:pt x="592" y="189"/>
                      <a:pt x="594" y="187"/>
                    </a:cubicBezTo>
                    <a:cubicBezTo>
                      <a:pt x="597" y="186"/>
                      <a:pt x="597" y="182"/>
                      <a:pt x="597" y="182"/>
                    </a:cubicBezTo>
                    <a:cubicBezTo>
                      <a:pt x="591" y="179"/>
                      <a:pt x="591" y="179"/>
                      <a:pt x="591" y="179"/>
                    </a:cubicBezTo>
                    <a:cubicBezTo>
                      <a:pt x="590" y="174"/>
                      <a:pt x="590" y="174"/>
                      <a:pt x="590" y="174"/>
                    </a:cubicBezTo>
                    <a:cubicBezTo>
                      <a:pt x="583" y="174"/>
                      <a:pt x="583" y="174"/>
                      <a:pt x="583" y="174"/>
                    </a:cubicBezTo>
                    <a:cubicBezTo>
                      <a:pt x="583" y="174"/>
                      <a:pt x="582" y="171"/>
                      <a:pt x="576" y="169"/>
                    </a:cubicBezTo>
                    <a:cubicBezTo>
                      <a:pt x="568" y="168"/>
                      <a:pt x="565" y="178"/>
                      <a:pt x="563" y="178"/>
                    </a:cubicBezTo>
                    <a:cubicBezTo>
                      <a:pt x="558" y="178"/>
                      <a:pt x="558" y="178"/>
                      <a:pt x="558" y="178"/>
                    </a:cubicBezTo>
                    <a:cubicBezTo>
                      <a:pt x="558" y="178"/>
                      <a:pt x="555" y="175"/>
                      <a:pt x="551" y="171"/>
                    </a:cubicBezTo>
                    <a:cubicBezTo>
                      <a:pt x="547" y="167"/>
                      <a:pt x="540" y="174"/>
                      <a:pt x="535" y="174"/>
                    </a:cubicBezTo>
                    <a:cubicBezTo>
                      <a:pt x="531" y="174"/>
                      <a:pt x="530" y="170"/>
                      <a:pt x="530" y="170"/>
                    </a:cubicBezTo>
                    <a:cubicBezTo>
                      <a:pt x="530" y="170"/>
                      <a:pt x="532" y="164"/>
                      <a:pt x="532" y="163"/>
                    </a:cubicBezTo>
                    <a:cubicBezTo>
                      <a:pt x="532" y="161"/>
                      <a:pt x="526" y="166"/>
                      <a:pt x="526" y="166"/>
                    </a:cubicBezTo>
                    <a:cubicBezTo>
                      <a:pt x="519" y="161"/>
                      <a:pt x="519" y="161"/>
                      <a:pt x="519" y="161"/>
                    </a:cubicBezTo>
                    <a:lnTo>
                      <a:pt x="520" y="161"/>
                    </a:lnTo>
                    <a:close/>
                    <a:moveTo>
                      <a:pt x="622" y="329"/>
                    </a:moveTo>
                    <a:cubicBezTo>
                      <a:pt x="616" y="328"/>
                      <a:pt x="607" y="333"/>
                      <a:pt x="607" y="333"/>
                    </a:cubicBezTo>
                    <a:cubicBezTo>
                      <a:pt x="608" y="339"/>
                      <a:pt x="608" y="339"/>
                      <a:pt x="608" y="339"/>
                    </a:cubicBezTo>
                    <a:cubicBezTo>
                      <a:pt x="608" y="339"/>
                      <a:pt x="613" y="339"/>
                      <a:pt x="617" y="340"/>
                    </a:cubicBezTo>
                    <a:cubicBezTo>
                      <a:pt x="621" y="340"/>
                      <a:pt x="624" y="345"/>
                      <a:pt x="624" y="345"/>
                    </a:cubicBezTo>
                    <a:cubicBezTo>
                      <a:pt x="630" y="347"/>
                      <a:pt x="630" y="347"/>
                      <a:pt x="630" y="347"/>
                    </a:cubicBezTo>
                    <a:cubicBezTo>
                      <a:pt x="631" y="341"/>
                      <a:pt x="631" y="341"/>
                      <a:pt x="631" y="341"/>
                    </a:cubicBezTo>
                    <a:cubicBezTo>
                      <a:pt x="631" y="341"/>
                      <a:pt x="627" y="331"/>
                      <a:pt x="622" y="329"/>
                    </a:cubicBez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48" name="Slovenia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165725" y="4545013"/>
                <a:ext cx="307975" cy="217487"/>
              </a:xfrm>
              <a:custGeom>
                <a:avLst/>
                <a:gdLst/>
                <a:ahLst/>
                <a:cxnLst>
                  <a:cxn ang="0">
                    <a:pos x="119" y="13"/>
                  </a:cxn>
                  <a:cxn ang="0">
                    <a:pos x="108" y="13"/>
                  </a:cxn>
                  <a:cxn ang="0">
                    <a:pos x="96" y="20"/>
                  </a:cxn>
                  <a:cxn ang="0">
                    <a:pos x="83" y="20"/>
                  </a:cxn>
                  <a:cxn ang="0">
                    <a:pos x="68" y="22"/>
                  </a:cxn>
                  <a:cxn ang="0">
                    <a:pos x="59" y="30"/>
                  </a:cxn>
                  <a:cxn ang="0">
                    <a:pos x="46" y="34"/>
                  </a:cxn>
                  <a:cxn ang="0">
                    <a:pos x="33" y="33"/>
                  </a:cxn>
                  <a:cxn ang="0">
                    <a:pos x="18" y="31"/>
                  </a:cxn>
                  <a:cxn ang="0">
                    <a:pos x="15" y="36"/>
                  </a:cxn>
                  <a:cxn ang="0">
                    <a:pos x="0" y="45"/>
                  </a:cxn>
                  <a:cxn ang="0">
                    <a:pos x="14" y="53"/>
                  </a:cxn>
                  <a:cxn ang="0">
                    <a:pos x="5" y="68"/>
                  </a:cxn>
                  <a:cxn ang="0">
                    <a:pos x="11" y="78"/>
                  </a:cxn>
                  <a:cxn ang="0">
                    <a:pos x="18" y="91"/>
                  </a:cxn>
                  <a:cxn ang="0">
                    <a:pos x="7" y="99"/>
                  </a:cxn>
                  <a:cxn ang="0">
                    <a:pos x="19" y="98"/>
                  </a:cxn>
                  <a:cxn ang="0">
                    <a:pos x="32" y="97"/>
                  </a:cxn>
                  <a:cxn ang="0">
                    <a:pos x="52" y="93"/>
                  </a:cxn>
                  <a:cxn ang="0">
                    <a:pos x="55" y="88"/>
                  </a:cxn>
                  <a:cxn ang="0">
                    <a:pos x="58" y="88"/>
                  </a:cxn>
                  <a:cxn ang="0">
                    <a:pos x="72" y="97"/>
                  </a:cxn>
                  <a:cxn ang="0">
                    <a:pos x="80" y="96"/>
                  </a:cxn>
                  <a:cxn ang="0">
                    <a:pos x="94" y="94"/>
                  </a:cxn>
                  <a:cxn ang="0">
                    <a:pos x="95" y="83"/>
                  </a:cxn>
                  <a:cxn ang="0">
                    <a:pos x="85" y="80"/>
                  </a:cxn>
                  <a:cxn ang="0">
                    <a:pos x="107" y="71"/>
                  </a:cxn>
                  <a:cxn ang="0">
                    <a:pos x="102" y="50"/>
                  </a:cxn>
                  <a:cxn ang="0">
                    <a:pos x="124" y="31"/>
                  </a:cxn>
                  <a:cxn ang="0">
                    <a:pos x="132" y="23"/>
                  </a:cxn>
                  <a:cxn ang="0">
                    <a:pos x="145" y="20"/>
                  </a:cxn>
                  <a:cxn ang="0">
                    <a:pos x="137" y="11"/>
                  </a:cxn>
                  <a:cxn ang="0">
                    <a:pos x="133" y="3"/>
                  </a:cxn>
                  <a:cxn ang="0">
                    <a:pos x="121" y="3"/>
                  </a:cxn>
                </a:cxnLst>
                <a:rect l="0" t="0" r="r" b="b"/>
                <a:pathLst>
                  <a:path w="145" h="102">
                    <a:moveTo>
                      <a:pt x="117" y="6"/>
                    </a:moveTo>
                    <a:cubicBezTo>
                      <a:pt x="115" y="10"/>
                      <a:pt x="119" y="13"/>
                      <a:pt x="119" y="13"/>
                    </a:cubicBezTo>
                    <a:cubicBezTo>
                      <a:pt x="116" y="15"/>
                      <a:pt x="116" y="15"/>
                      <a:pt x="116" y="15"/>
                    </a:cubicBezTo>
                    <a:cubicBezTo>
                      <a:pt x="116" y="15"/>
                      <a:pt x="114" y="12"/>
                      <a:pt x="108" y="13"/>
                    </a:cubicBezTo>
                    <a:cubicBezTo>
                      <a:pt x="100" y="13"/>
                      <a:pt x="100" y="15"/>
                      <a:pt x="100" y="15"/>
                    </a:cubicBezTo>
                    <a:cubicBezTo>
                      <a:pt x="96" y="20"/>
                      <a:pt x="96" y="20"/>
                      <a:pt x="96" y="20"/>
                    </a:cubicBezTo>
                    <a:cubicBezTo>
                      <a:pt x="96" y="20"/>
                      <a:pt x="94" y="18"/>
                      <a:pt x="91" y="18"/>
                    </a:cubicBezTo>
                    <a:cubicBezTo>
                      <a:pt x="88" y="17"/>
                      <a:pt x="83" y="20"/>
                      <a:pt x="83" y="20"/>
                    </a:cubicBezTo>
                    <a:cubicBezTo>
                      <a:pt x="77" y="19"/>
                      <a:pt x="77" y="19"/>
                      <a:pt x="77" y="19"/>
                    </a:cubicBezTo>
                    <a:cubicBezTo>
                      <a:pt x="77" y="19"/>
                      <a:pt x="72" y="21"/>
                      <a:pt x="68" y="22"/>
                    </a:cubicBezTo>
                    <a:cubicBezTo>
                      <a:pt x="65" y="22"/>
                      <a:pt x="66" y="28"/>
                      <a:pt x="64" y="29"/>
                    </a:cubicBezTo>
                    <a:cubicBezTo>
                      <a:pt x="62" y="30"/>
                      <a:pt x="59" y="30"/>
                      <a:pt x="59" y="30"/>
                    </a:cubicBezTo>
                    <a:cubicBezTo>
                      <a:pt x="53" y="37"/>
                      <a:pt x="53" y="37"/>
                      <a:pt x="53" y="37"/>
                    </a:cubicBezTo>
                    <a:cubicBezTo>
                      <a:pt x="46" y="34"/>
                      <a:pt x="46" y="34"/>
                      <a:pt x="46" y="34"/>
                    </a:cubicBezTo>
                    <a:cubicBezTo>
                      <a:pt x="35" y="36"/>
                      <a:pt x="35" y="36"/>
                      <a:pt x="35" y="36"/>
                    </a:cubicBezTo>
                    <a:cubicBezTo>
                      <a:pt x="33" y="33"/>
                      <a:pt x="33" y="33"/>
                      <a:pt x="33" y="33"/>
                    </a:cubicBezTo>
                    <a:cubicBezTo>
                      <a:pt x="23" y="30"/>
                      <a:pt x="23" y="30"/>
                      <a:pt x="23" y="30"/>
                    </a:cubicBezTo>
                    <a:cubicBezTo>
                      <a:pt x="18" y="31"/>
                      <a:pt x="18" y="31"/>
                      <a:pt x="18" y="31"/>
                    </a:cubicBezTo>
                    <a:cubicBezTo>
                      <a:pt x="14" y="30"/>
                      <a:pt x="14" y="30"/>
                      <a:pt x="14" y="30"/>
                    </a:cubicBezTo>
                    <a:cubicBezTo>
                      <a:pt x="15" y="31"/>
                      <a:pt x="16" y="35"/>
                      <a:pt x="15" y="36"/>
                    </a:cubicBezTo>
                    <a:cubicBezTo>
                      <a:pt x="10" y="36"/>
                      <a:pt x="10" y="36"/>
                      <a:pt x="10" y="36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3" y="51"/>
                      <a:pt x="3" y="51"/>
                      <a:pt x="3" y="51"/>
                    </a:cubicBezTo>
                    <a:cubicBezTo>
                      <a:pt x="3" y="51"/>
                      <a:pt x="13" y="47"/>
                      <a:pt x="14" y="53"/>
                    </a:cubicBezTo>
                    <a:cubicBezTo>
                      <a:pt x="14" y="57"/>
                      <a:pt x="4" y="62"/>
                      <a:pt x="4" y="62"/>
                    </a:cubicBezTo>
                    <a:cubicBezTo>
                      <a:pt x="5" y="68"/>
                      <a:pt x="5" y="68"/>
                      <a:pt x="5" y="68"/>
                    </a:cubicBezTo>
                    <a:cubicBezTo>
                      <a:pt x="5" y="68"/>
                      <a:pt x="13" y="62"/>
                      <a:pt x="14" y="65"/>
                    </a:cubicBezTo>
                    <a:cubicBezTo>
                      <a:pt x="15" y="67"/>
                      <a:pt x="11" y="78"/>
                      <a:pt x="11" y="78"/>
                    </a:cubicBezTo>
                    <a:cubicBezTo>
                      <a:pt x="11" y="78"/>
                      <a:pt x="23" y="78"/>
                      <a:pt x="23" y="84"/>
                    </a:cubicBezTo>
                    <a:cubicBezTo>
                      <a:pt x="23" y="88"/>
                      <a:pt x="18" y="91"/>
                      <a:pt x="18" y="91"/>
                    </a:cubicBezTo>
                    <a:cubicBezTo>
                      <a:pt x="11" y="94"/>
                      <a:pt x="11" y="94"/>
                      <a:pt x="11" y="94"/>
                    </a:cubicBezTo>
                    <a:cubicBezTo>
                      <a:pt x="7" y="99"/>
                      <a:pt x="7" y="99"/>
                      <a:pt x="7" y="99"/>
                    </a:cubicBezTo>
                    <a:cubicBezTo>
                      <a:pt x="7" y="99"/>
                      <a:pt x="12" y="102"/>
                      <a:pt x="14" y="102"/>
                    </a:cubicBezTo>
                    <a:cubicBezTo>
                      <a:pt x="15" y="102"/>
                      <a:pt x="19" y="98"/>
                      <a:pt x="19" y="98"/>
                    </a:cubicBezTo>
                    <a:cubicBezTo>
                      <a:pt x="25" y="102"/>
                      <a:pt x="25" y="102"/>
                      <a:pt x="25" y="102"/>
                    </a:cubicBezTo>
                    <a:cubicBezTo>
                      <a:pt x="32" y="97"/>
                      <a:pt x="32" y="97"/>
                      <a:pt x="32" y="97"/>
                    </a:cubicBezTo>
                    <a:cubicBezTo>
                      <a:pt x="35" y="99"/>
                      <a:pt x="35" y="99"/>
                      <a:pt x="35" y="99"/>
                    </a:cubicBezTo>
                    <a:cubicBezTo>
                      <a:pt x="52" y="93"/>
                      <a:pt x="52" y="93"/>
                      <a:pt x="52" y="93"/>
                    </a:cubicBezTo>
                    <a:cubicBezTo>
                      <a:pt x="53" y="89"/>
                      <a:pt x="53" y="89"/>
                      <a:pt x="53" y="89"/>
                    </a:cubicBezTo>
                    <a:cubicBezTo>
                      <a:pt x="55" y="88"/>
                      <a:pt x="55" y="88"/>
                      <a:pt x="55" y="88"/>
                    </a:cubicBezTo>
                    <a:cubicBezTo>
                      <a:pt x="55" y="88"/>
                      <a:pt x="54" y="85"/>
                      <a:pt x="55" y="84"/>
                    </a:cubicBezTo>
                    <a:cubicBezTo>
                      <a:pt x="58" y="84"/>
                      <a:pt x="58" y="88"/>
                      <a:pt x="58" y="88"/>
                    </a:cubicBezTo>
                    <a:cubicBezTo>
                      <a:pt x="62" y="93"/>
                      <a:pt x="62" y="93"/>
                      <a:pt x="62" y="93"/>
                    </a:cubicBezTo>
                    <a:cubicBezTo>
                      <a:pt x="72" y="97"/>
                      <a:pt x="72" y="97"/>
                      <a:pt x="72" y="97"/>
                    </a:cubicBezTo>
                    <a:cubicBezTo>
                      <a:pt x="72" y="97"/>
                      <a:pt x="71" y="92"/>
                      <a:pt x="72" y="92"/>
                    </a:cubicBezTo>
                    <a:cubicBezTo>
                      <a:pt x="75" y="92"/>
                      <a:pt x="80" y="96"/>
                      <a:pt x="80" y="96"/>
                    </a:cubicBezTo>
                    <a:cubicBezTo>
                      <a:pt x="80" y="96"/>
                      <a:pt x="78" y="99"/>
                      <a:pt x="84" y="99"/>
                    </a:cubicBezTo>
                    <a:cubicBezTo>
                      <a:pt x="91" y="99"/>
                      <a:pt x="94" y="94"/>
                      <a:pt x="94" y="94"/>
                    </a:cubicBezTo>
                    <a:cubicBezTo>
                      <a:pt x="94" y="94"/>
                      <a:pt x="88" y="90"/>
                      <a:pt x="91" y="88"/>
                    </a:cubicBezTo>
                    <a:cubicBezTo>
                      <a:pt x="93" y="86"/>
                      <a:pt x="95" y="83"/>
                      <a:pt x="95" y="83"/>
                    </a:cubicBezTo>
                    <a:cubicBezTo>
                      <a:pt x="93" y="80"/>
                      <a:pt x="93" y="80"/>
                      <a:pt x="93" y="80"/>
                    </a:cubicBezTo>
                    <a:cubicBezTo>
                      <a:pt x="93" y="80"/>
                      <a:pt x="83" y="84"/>
                      <a:pt x="85" y="80"/>
                    </a:cubicBezTo>
                    <a:cubicBezTo>
                      <a:pt x="87" y="76"/>
                      <a:pt x="101" y="69"/>
                      <a:pt x="101" y="69"/>
                    </a:cubicBezTo>
                    <a:cubicBezTo>
                      <a:pt x="107" y="71"/>
                      <a:pt x="107" y="71"/>
                      <a:pt x="107" y="71"/>
                    </a:cubicBezTo>
                    <a:cubicBezTo>
                      <a:pt x="109" y="58"/>
                      <a:pt x="109" y="58"/>
                      <a:pt x="109" y="58"/>
                    </a:cubicBezTo>
                    <a:cubicBezTo>
                      <a:pt x="109" y="58"/>
                      <a:pt x="99" y="54"/>
                      <a:pt x="102" y="50"/>
                    </a:cubicBezTo>
                    <a:cubicBezTo>
                      <a:pt x="105" y="46"/>
                      <a:pt x="124" y="38"/>
                      <a:pt x="124" y="38"/>
                    </a:cubicBezTo>
                    <a:cubicBezTo>
                      <a:pt x="124" y="38"/>
                      <a:pt x="121" y="31"/>
                      <a:pt x="124" y="31"/>
                    </a:cubicBezTo>
                    <a:cubicBezTo>
                      <a:pt x="126" y="31"/>
                      <a:pt x="132" y="34"/>
                      <a:pt x="132" y="34"/>
                    </a:cubicBezTo>
                    <a:cubicBezTo>
                      <a:pt x="132" y="34"/>
                      <a:pt x="129" y="23"/>
                      <a:pt x="132" y="23"/>
                    </a:cubicBezTo>
                    <a:cubicBezTo>
                      <a:pt x="136" y="22"/>
                      <a:pt x="145" y="25"/>
                      <a:pt x="145" y="25"/>
                    </a:cubicBezTo>
                    <a:cubicBezTo>
                      <a:pt x="145" y="20"/>
                      <a:pt x="145" y="20"/>
                      <a:pt x="145" y="20"/>
                    </a:cubicBezTo>
                    <a:cubicBezTo>
                      <a:pt x="145" y="20"/>
                      <a:pt x="137" y="21"/>
                      <a:pt x="137" y="18"/>
                    </a:cubicBezTo>
                    <a:cubicBezTo>
                      <a:pt x="137" y="11"/>
                      <a:pt x="137" y="11"/>
                      <a:pt x="137" y="11"/>
                    </a:cubicBezTo>
                    <a:cubicBezTo>
                      <a:pt x="137" y="11"/>
                      <a:pt x="133" y="12"/>
                      <a:pt x="133" y="9"/>
                    </a:cubicBezTo>
                    <a:cubicBezTo>
                      <a:pt x="134" y="7"/>
                      <a:pt x="137" y="5"/>
                      <a:pt x="133" y="3"/>
                    </a:cubicBezTo>
                    <a:cubicBezTo>
                      <a:pt x="132" y="3"/>
                      <a:pt x="128" y="2"/>
                      <a:pt x="124" y="0"/>
                    </a:cubicBezTo>
                    <a:cubicBezTo>
                      <a:pt x="121" y="3"/>
                      <a:pt x="121" y="3"/>
                      <a:pt x="121" y="3"/>
                    </a:cubicBezTo>
                    <a:cubicBezTo>
                      <a:pt x="121" y="3"/>
                      <a:pt x="119" y="2"/>
                      <a:pt x="117" y="6"/>
                    </a:cubicBezTo>
                    <a:close/>
                  </a:path>
                </a:pathLst>
              </a:custGeom>
              <a:solidFill>
                <a:srgbClr val="80A3CA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49" name="Slovakia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483225" y="4140200"/>
                <a:ext cx="523875" cy="277812"/>
              </a:xfrm>
              <a:custGeom>
                <a:avLst/>
                <a:gdLst/>
                <a:ahLst/>
                <a:cxnLst>
                  <a:cxn ang="0">
                    <a:pos x="221" y="7"/>
                  </a:cxn>
                  <a:cxn ang="0">
                    <a:pos x="202" y="1"/>
                  </a:cxn>
                  <a:cxn ang="0">
                    <a:pos x="179" y="7"/>
                  </a:cxn>
                  <a:cxn ang="0">
                    <a:pos x="165" y="9"/>
                  </a:cxn>
                  <a:cxn ang="0">
                    <a:pos x="141" y="16"/>
                  </a:cxn>
                  <a:cxn ang="0">
                    <a:pos x="130" y="23"/>
                  </a:cxn>
                  <a:cxn ang="0">
                    <a:pos x="125" y="19"/>
                  </a:cxn>
                  <a:cxn ang="0">
                    <a:pos x="116" y="14"/>
                  </a:cxn>
                  <a:cxn ang="0">
                    <a:pos x="113" y="11"/>
                  </a:cxn>
                  <a:cxn ang="0">
                    <a:pos x="102" y="9"/>
                  </a:cxn>
                  <a:cxn ang="0">
                    <a:pos x="96" y="16"/>
                  </a:cxn>
                  <a:cxn ang="0">
                    <a:pos x="86" y="10"/>
                  </a:cxn>
                  <a:cxn ang="0">
                    <a:pos x="76" y="13"/>
                  </a:cxn>
                  <a:cxn ang="0">
                    <a:pos x="64" y="23"/>
                  </a:cxn>
                  <a:cxn ang="0">
                    <a:pos x="51" y="43"/>
                  </a:cxn>
                  <a:cxn ang="0">
                    <a:pos x="43" y="53"/>
                  </a:cxn>
                  <a:cxn ang="0">
                    <a:pos x="14" y="59"/>
                  </a:cxn>
                  <a:cxn ang="0">
                    <a:pos x="4" y="73"/>
                  </a:cxn>
                  <a:cxn ang="0">
                    <a:pos x="0" y="90"/>
                  </a:cxn>
                  <a:cxn ang="0">
                    <a:pos x="9" y="105"/>
                  </a:cxn>
                  <a:cxn ang="0">
                    <a:pos x="14" y="117"/>
                  </a:cxn>
                  <a:cxn ang="0">
                    <a:pos x="37" y="126"/>
                  </a:cxn>
                  <a:cxn ang="0">
                    <a:pos x="56" y="129"/>
                  </a:cxn>
                  <a:cxn ang="0">
                    <a:pos x="76" y="126"/>
                  </a:cxn>
                  <a:cxn ang="0">
                    <a:pos x="93" y="118"/>
                  </a:cxn>
                  <a:cxn ang="0">
                    <a:pos x="102" y="104"/>
                  </a:cxn>
                  <a:cxn ang="0">
                    <a:pos x="123" y="89"/>
                  </a:cxn>
                  <a:cxn ang="0">
                    <a:pos x="155" y="83"/>
                  </a:cxn>
                  <a:cxn ang="0">
                    <a:pos x="185" y="63"/>
                  </a:cxn>
                  <a:cxn ang="0">
                    <a:pos x="210" y="63"/>
                  </a:cxn>
                  <a:cxn ang="0">
                    <a:pos x="225" y="67"/>
                  </a:cxn>
                  <a:cxn ang="0">
                    <a:pos x="232" y="55"/>
                  </a:cxn>
                  <a:cxn ang="0">
                    <a:pos x="241" y="30"/>
                  </a:cxn>
                  <a:cxn ang="0">
                    <a:pos x="222" y="14"/>
                  </a:cxn>
                </a:cxnLst>
                <a:rect l="0" t="0" r="r" b="b"/>
                <a:pathLst>
                  <a:path w="246" h="130">
                    <a:moveTo>
                      <a:pt x="222" y="14"/>
                    </a:moveTo>
                    <a:cubicBezTo>
                      <a:pt x="222" y="14"/>
                      <a:pt x="222" y="9"/>
                      <a:pt x="221" y="7"/>
                    </a:cubicBezTo>
                    <a:cubicBezTo>
                      <a:pt x="220" y="5"/>
                      <a:pt x="208" y="5"/>
                      <a:pt x="208" y="5"/>
                    </a:cubicBezTo>
                    <a:cubicBezTo>
                      <a:pt x="202" y="1"/>
                      <a:pt x="202" y="1"/>
                      <a:pt x="202" y="1"/>
                    </a:cubicBezTo>
                    <a:cubicBezTo>
                      <a:pt x="202" y="1"/>
                      <a:pt x="199" y="0"/>
                      <a:pt x="192" y="1"/>
                    </a:cubicBezTo>
                    <a:cubicBezTo>
                      <a:pt x="184" y="3"/>
                      <a:pt x="179" y="7"/>
                      <a:pt x="179" y="7"/>
                    </a:cubicBezTo>
                    <a:cubicBezTo>
                      <a:pt x="179" y="7"/>
                      <a:pt x="178" y="13"/>
                      <a:pt x="173" y="14"/>
                    </a:cubicBezTo>
                    <a:cubicBezTo>
                      <a:pt x="166" y="15"/>
                      <a:pt x="165" y="9"/>
                      <a:pt x="165" y="9"/>
                    </a:cubicBezTo>
                    <a:cubicBezTo>
                      <a:pt x="153" y="9"/>
                      <a:pt x="153" y="9"/>
                      <a:pt x="153" y="9"/>
                    </a:cubicBezTo>
                    <a:cubicBezTo>
                      <a:pt x="146" y="10"/>
                      <a:pt x="141" y="16"/>
                      <a:pt x="141" y="16"/>
                    </a:cubicBezTo>
                    <a:cubicBezTo>
                      <a:pt x="138" y="26"/>
                      <a:pt x="138" y="26"/>
                      <a:pt x="138" y="26"/>
                    </a:cubicBezTo>
                    <a:cubicBezTo>
                      <a:pt x="130" y="23"/>
                      <a:pt x="130" y="23"/>
                      <a:pt x="130" y="23"/>
                    </a:cubicBezTo>
                    <a:cubicBezTo>
                      <a:pt x="130" y="23"/>
                      <a:pt x="126" y="26"/>
                      <a:pt x="124" y="26"/>
                    </a:cubicBezTo>
                    <a:cubicBezTo>
                      <a:pt x="120" y="26"/>
                      <a:pt x="125" y="19"/>
                      <a:pt x="125" y="19"/>
                    </a:cubicBezTo>
                    <a:cubicBezTo>
                      <a:pt x="122" y="12"/>
                      <a:pt x="122" y="12"/>
                      <a:pt x="122" y="12"/>
                    </a:cubicBezTo>
                    <a:cubicBezTo>
                      <a:pt x="116" y="14"/>
                      <a:pt x="116" y="14"/>
                      <a:pt x="116" y="14"/>
                    </a:cubicBezTo>
                    <a:cubicBezTo>
                      <a:pt x="117" y="11"/>
                      <a:pt x="117" y="11"/>
                      <a:pt x="117" y="11"/>
                    </a:cubicBezTo>
                    <a:cubicBezTo>
                      <a:pt x="113" y="11"/>
                      <a:pt x="113" y="11"/>
                      <a:pt x="113" y="11"/>
                    </a:cubicBezTo>
                    <a:cubicBezTo>
                      <a:pt x="113" y="11"/>
                      <a:pt x="112" y="4"/>
                      <a:pt x="108" y="3"/>
                    </a:cubicBezTo>
                    <a:cubicBezTo>
                      <a:pt x="103" y="3"/>
                      <a:pt x="102" y="9"/>
                      <a:pt x="102" y="9"/>
                    </a:cubicBezTo>
                    <a:cubicBezTo>
                      <a:pt x="99" y="9"/>
                      <a:pt x="99" y="9"/>
                      <a:pt x="99" y="9"/>
                    </a:cubicBezTo>
                    <a:cubicBezTo>
                      <a:pt x="96" y="16"/>
                      <a:pt x="96" y="16"/>
                      <a:pt x="96" y="16"/>
                    </a:cubicBezTo>
                    <a:cubicBezTo>
                      <a:pt x="86" y="18"/>
                      <a:pt x="86" y="18"/>
                      <a:pt x="86" y="18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3" y="10"/>
                      <a:pt x="83" y="10"/>
                      <a:pt x="83" y="10"/>
                    </a:cubicBezTo>
                    <a:cubicBezTo>
                      <a:pt x="76" y="13"/>
                      <a:pt x="76" y="13"/>
                      <a:pt x="76" y="13"/>
                    </a:cubicBezTo>
                    <a:cubicBezTo>
                      <a:pt x="69" y="12"/>
                      <a:pt x="69" y="12"/>
                      <a:pt x="69" y="12"/>
                    </a:cubicBezTo>
                    <a:cubicBezTo>
                      <a:pt x="69" y="12"/>
                      <a:pt x="68" y="20"/>
                      <a:pt x="64" y="23"/>
                    </a:cubicBezTo>
                    <a:cubicBezTo>
                      <a:pt x="60" y="26"/>
                      <a:pt x="58" y="24"/>
                      <a:pt x="54" y="27"/>
                    </a:cubicBezTo>
                    <a:cubicBezTo>
                      <a:pt x="52" y="31"/>
                      <a:pt x="54" y="39"/>
                      <a:pt x="51" y="43"/>
                    </a:cubicBezTo>
                    <a:cubicBezTo>
                      <a:pt x="49" y="47"/>
                      <a:pt x="47" y="43"/>
                      <a:pt x="44" y="46"/>
                    </a:cubicBezTo>
                    <a:cubicBezTo>
                      <a:pt x="41" y="50"/>
                      <a:pt x="43" y="53"/>
                      <a:pt x="43" y="53"/>
                    </a:cubicBezTo>
                    <a:cubicBezTo>
                      <a:pt x="30" y="61"/>
                      <a:pt x="30" y="61"/>
                      <a:pt x="30" y="61"/>
                    </a:cubicBezTo>
                    <a:cubicBezTo>
                      <a:pt x="30" y="61"/>
                      <a:pt x="18" y="57"/>
                      <a:pt x="14" y="59"/>
                    </a:cubicBezTo>
                    <a:cubicBezTo>
                      <a:pt x="10" y="61"/>
                      <a:pt x="5" y="69"/>
                      <a:pt x="4" y="72"/>
                    </a:cubicBezTo>
                    <a:cubicBezTo>
                      <a:pt x="4" y="73"/>
                      <a:pt x="4" y="73"/>
                      <a:pt x="4" y="73"/>
                    </a:cubicBezTo>
                    <a:cubicBezTo>
                      <a:pt x="4" y="83"/>
                      <a:pt x="4" y="83"/>
                      <a:pt x="4" y="83"/>
                    </a:cubicBezTo>
                    <a:cubicBezTo>
                      <a:pt x="4" y="83"/>
                      <a:pt x="1" y="85"/>
                      <a:pt x="0" y="90"/>
                    </a:cubicBezTo>
                    <a:cubicBezTo>
                      <a:pt x="0" y="95"/>
                      <a:pt x="7" y="99"/>
                      <a:pt x="7" y="99"/>
                    </a:cubicBezTo>
                    <a:cubicBezTo>
                      <a:pt x="9" y="105"/>
                      <a:pt x="9" y="105"/>
                      <a:pt x="9" y="105"/>
                    </a:cubicBezTo>
                    <a:cubicBezTo>
                      <a:pt x="9" y="105"/>
                      <a:pt x="12" y="109"/>
                      <a:pt x="14" y="113"/>
                    </a:cubicBezTo>
                    <a:cubicBezTo>
                      <a:pt x="14" y="114"/>
                      <a:pt x="15" y="116"/>
                      <a:pt x="14" y="117"/>
                    </a:cubicBezTo>
                    <a:cubicBezTo>
                      <a:pt x="18" y="116"/>
                      <a:pt x="22" y="116"/>
                      <a:pt x="25" y="117"/>
                    </a:cubicBezTo>
                    <a:cubicBezTo>
                      <a:pt x="30" y="118"/>
                      <a:pt x="37" y="126"/>
                      <a:pt x="37" y="126"/>
                    </a:cubicBezTo>
                    <a:cubicBezTo>
                      <a:pt x="37" y="126"/>
                      <a:pt x="41" y="130"/>
                      <a:pt x="46" y="130"/>
                    </a:cubicBezTo>
                    <a:cubicBezTo>
                      <a:pt x="50" y="130"/>
                      <a:pt x="56" y="129"/>
                      <a:pt x="56" y="129"/>
                    </a:cubicBezTo>
                    <a:cubicBezTo>
                      <a:pt x="63" y="129"/>
                      <a:pt x="63" y="129"/>
                      <a:pt x="63" y="129"/>
                    </a:cubicBezTo>
                    <a:cubicBezTo>
                      <a:pt x="76" y="126"/>
                      <a:pt x="76" y="126"/>
                      <a:pt x="76" y="126"/>
                    </a:cubicBezTo>
                    <a:cubicBezTo>
                      <a:pt x="86" y="125"/>
                      <a:pt x="86" y="125"/>
                      <a:pt x="86" y="125"/>
                    </a:cubicBezTo>
                    <a:cubicBezTo>
                      <a:pt x="93" y="118"/>
                      <a:pt x="93" y="118"/>
                      <a:pt x="93" y="118"/>
                    </a:cubicBezTo>
                    <a:cubicBezTo>
                      <a:pt x="93" y="118"/>
                      <a:pt x="86" y="113"/>
                      <a:pt x="90" y="106"/>
                    </a:cubicBezTo>
                    <a:cubicBezTo>
                      <a:pt x="93" y="101"/>
                      <a:pt x="102" y="104"/>
                      <a:pt x="102" y="104"/>
                    </a:cubicBezTo>
                    <a:cubicBezTo>
                      <a:pt x="119" y="98"/>
                      <a:pt x="119" y="98"/>
                      <a:pt x="119" y="98"/>
                    </a:cubicBezTo>
                    <a:cubicBezTo>
                      <a:pt x="119" y="98"/>
                      <a:pt x="118" y="90"/>
                      <a:pt x="123" y="89"/>
                    </a:cubicBezTo>
                    <a:cubicBezTo>
                      <a:pt x="127" y="88"/>
                      <a:pt x="138" y="94"/>
                      <a:pt x="138" y="94"/>
                    </a:cubicBezTo>
                    <a:cubicBezTo>
                      <a:pt x="138" y="94"/>
                      <a:pt x="150" y="87"/>
                      <a:pt x="155" y="83"/>
                    </a:cubicBezTo>
                    <a:cubicBezTo>
                      <a:pt x="159" y="79"/>
                      <a:pt x="158" y="69"/>
                      <a:pt x="163" y="66"/>
                    </a:cubicBezTo>
                    <a:cubicBezTo>
                      <a:pt x="168" y="62"/>
                      <a:pt x="176" y="61"/>
                      <a:pt x="185" y="63"/>
                    </a:cubicBezTo>
                    <a:cubicBezTo>
                      <a:pt x="194" y="67"/>
                      <a:pt x="201" y="58"/>
                      <a:pt x="201" y="58"/>
                    </a:cubicBezTo>
                    <a:cubicBezTo>
                      <a:pt x="210" y="63"/>
                      <a:pt x="210" y="63"/>
                      <a:pt x="210" y="63"/>
                    </a:cubicBezTo>
                    <a:cubicBezTo>
                      <a:pt x="210" y="63"/>
                      <a:pt x="211" y="71"/>
                      <a:pt x="216" y="72"/>
                    </a:cubicBezTo>
                    <a:cubicBezTo>
                      <a:pt x="222" y="73"/>
                      <a:pt x="222" y="69"/>
                      <a:pt x="225" y="67"/>
                    </a:cubicBezTo>
                    <a:cubicBezTo>
                      <a:pt x="228" y="64"/>
                      <a:pt x="234" y="66"/>
                      <a:pt x="234" y="66"/>
                    </a:cubicBezTo>
                    <a:cubicBezTo>
                      <a:pt x="234" y="66"/>
                      <a:pt x="232" y="59"/>
                      <a:pt x="232" y="55"/>
                    </a:cubicBezTo>
                    <a:cubicBezTo>
                      <a:pt x="232" y="51"/>
                      <a:pt x="240" y="43"/>
                      <a:pt x="240" y="43"/>
                    </a:cubicBezTo>
                    <a:cubicBezTo>
                      <a:pt x="241" y="30"/>
                      <a:pt x="241" y="30"/>
                      <a:pt x="241" y="30"/>
                    </a:cubicBezTo>
                    <a:cubicBezTo>
                      <a:pt x="246" y="18"/>
                      <a:pt x="246" y="18"/>
                      <a:pt x="246" y="18"/>
                    </a:cubicBezTo>
                    <a:lnTo>
                      <a:pt x="222" y="14"/>
                    </a:lnTo>
                    <a:close/>
                  </a:path>
                </a:pathLst>
              </a:custGeom>
              <a:solidFill>
                <a:srgbClr val="FDC795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50" name="Serbia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708650" y="4608513"/>
                <a:ext cx="463550" cy="525041"/>
              </a:xfrm>
              <a:custGeom>
                <a:avLst/>
                <a:gdLst/>
                <a:ahLst/>
                <a:cxnLst>
                  <a:cxn ang="0">
                    <a:pos x="137" y="108"/>
                  </a:cxn>
                  <a:cxn ang="0">
                    <a:pos x="136" y="89"/>
                  </a:cxn>
                  <a:cxn ang="0">
                    <a:pos x="134" y="77"/>
                  </a:cxn>
                  <a:cxn ang="0">
                    <a:pos x="135" y="65"/>
                  </a:cxn>
                  <a:cxn ang="0">
                    <a:pos x="128" y="58"/>
                  </a:cxn>
                  <a:cxn ang="0">
                    <a:pos x="105" y="65"/>
                  </a:cxn>
                  <a:cxn ang="0">
                    <a:pos x="96" y="56"/>
                  </a:cxn>
                  <a:cxn ang="0">
                    <a:pos x="94" y="41"/>
                  </a:cxn>
                  <a:cxn ang="0">
                    <a:pos x="77" y="38"/>
                  </a:cxn>
                  <a:cxn ang="0">
                    <a:pos x="65" y="24"/>
                  </a:cxn>
                  <a:cxn ang="0">
                    <a:pos x="57" y="11"/>
                  </a:cxn>
                  <a:cxn ang="0">
                    <a:pos x="50" y="9"/>
                  </a:cxn>
                  <a:cxn ang="0">
                    <a:pos x="31" y="5"/>
                  </a:cxn>
                  <a:cxn ang="0">
                    <a:pos x="11" y="14"/>
                  </a:cxn>
                  <a:cxn ang="0">
                    <a:pos x="0" y="19"/>
                  </a:cxn>
                  <a:cxn ang="0">
                    <a:pos x="8" y="33"/>
                  </a:cxn>
                  <a:cxn ang="0">
                    <a:pos x="14" y="48"/>
                  </a:cxn>
                  <a:cxn ang="0">
                    <a:pos x="14" y="50"/>
                  </a:cxn>
                  <a:cxn ang="0">
                    <a:pos x="24" y="64"/>
                  </a:cxn>
                  <a:cxn ang="0">
                    <a:pos x="15" y="82"/>
                  </a:cxn>
                  <a:cxn ang="0">
                    <a:pos x="24" y="92"/>
                  </a:cxn>
                  <a:cxn ang="0">
                    <a:pos x="21" y="106"/>
                  </a:cxn>
                  <a:cxn ang="0">
                    <a:pos x="24" y="124"/>
                  </a:cxn>
                  <a:cxn ang="0">
                    <a:pos x="31" y="132"/>
                  </a:cxn>
                  <a:cxn ang="0">
                    <a:pos x="47" y="143"/>
                  </a:cxn>
                  <a:cxn ang="0">
                    <a:pos x="64" y="155"/>
                  </a:cxn>
                  <a:cxn ang="0">
                    <a:pos x="65" y="158"/>
                  </a:cxn>
                  <a:cxn ang="0">
                    <a:pos x="73" y="154"/>
                  </a:cxn>
                  <a:cxn ang="0">
                    <a:pos x="77" y="145"/>
                  </a:cxn>
                  <a:cxn ang="0">
                    <a:pos x="78" y="138"/>
                  </a:cxn>
                  <a:cxn ang="0">
                    <a:pos x="83" y="134"/>
                  </a:cxn>
                  <a:cxn ang="0">
                    <a:pos x="83" y="140"/>
                  </a:cxn>
                  <a:cxn ang="0">
                    <a:pos x="88" y="141"/>
                  </a:cxn>
                  <a:cxn ang="0">
                    <a:pos x="90" y="143"/>
                  </a:cxn>
                  <a:cxn ang="0">
                    <a:pos x="98" y="146"/>
                  </a:cxn>
                  <a:cxn ang="0">
                    <a:pos x="102" y="150"/>
                  </a:cxn>
                  <a:cxn ang="0">
                    <a:pos x="107" y="154"/>
                  </a:cxn>
                  <a:cxn ang="0">
                    <a:pos x="112" y="156"/>
                  </a:cxn>
                  <a:cxn ang="0">
                    <a:pos x="118" y="161"/>
                  </a:cxn>
                  <a:cxn ang="0">
                    <a:pos x="116" y="170"/>
                  </a:cxn>
                  <a:cxn ang="0">
                    <a:pos x="114" y="176"/>
                  </a:cxn>
                  <a:cxn ang="0">
                    <a:pos x="125" y="172"/>
                  </a:cxn>
                  <a:cxn ang="0">
                    <a:pos x="140" y="170"/>
                  </a:cxn>
                  <a:cxn ang="0">
                    <a:pos x="143" y="150"/>
                  </a:cxn>
                  <a:cxn ang="0">
                    <a:pos x="150" y="142"/>
                  </a:cxn>
                  <a:cxn ang="0">
                    <a:pos x="150" y="119"/>
                  </a:cxn>
                </a:cxnLst>
                <a:rect l="0" t="0" r="r" b="b"/>
                <a:pathLst>
                  <a:path w="158" h="177">
                    <a:moveTo>
                      <a:pt x="150" y="119"/>
                    </a:moveTo>
                    <a:cubicBezTo>
                      <a:pt x="148" y="117"/>
                      <a:pt x="139" y="115"/>
                      <a:pt x="139" y="115"/>
                    </a:cubicBezTo>
                    <a:cubicBezTo>
                      <a:pt x="137" y="108"/>
                      <a:pt x="137" y="108"/>
                      <a:pt x="137" y="108"/>
                    </a:cubicBezTo>
                    <a:cubicBezTo>
                      <a:pt x="131" y="102"/>
                      <a:pt x="131" y="102"/>
                      <a:pt x="131" y="102"/>
                    </a:cubicBezTo>
                    <a:cubicBezTo>
                      <a:pt x="132" y="91"/>
                      <a:pt x="132" y="91"/>
                      <a:pt x="132" y="91"/>
                    </a:cubicBezTo>
                    <a:cubicBezTo>
                      <a:pt x="132" y="91"/>
                      <a:pt x="135" y="90"/>
                      <a:pt x="136" y="89"/>
                    </a:cubicBezTo>
                    <a:cubicBezTo>
                      <a:pt x="137" y="87"/>
                      <a:pt x="137" y="83"/>
                      <a:pt x="137" y="83"/>
                    </a:cubicBezTo>
                    <a:cubicBezTo>
                      <a:pt x="137" y="83"/>
                      <a:pt x="140" y="80"/>
                      <a:pt x="139" y="77"/>
                    </a:cubicBezTo>
                    <a:cubicBezTo>
                      <a:pt x="138" y="74"/>
                      <a:pt x="134" y="77"/>
                      <a:pt x="134" y="77"/>
                    </a:cubicBezTo>
                    <a:cubicBezTo>
                      <a:pt x="132" y="69"/>
                      <a:pt x="132" y="69"/>
                      <a:pt x="132" y="69"/>
                    </a:cubicBezTo>
                    <a:cubicBezTo>
                      <a:pt x="134" y="69"/>
                      <a:pt x="134" y="69"/>
                      <a:pt x="134" y="69"/>
                    </a:cubicBezTo>
                    <a:cubicBezTo>
                      <a:pt x="135" y="65"/>
                      <a:pt x="135" y="65"/>
                      <a:pt x="135" y="65"/>
                    </a:cubicBezTo>
                    <a:cubicBezTo>
                      <a:pt x="138" y="66"/>
                      <a:pt x="138" y="66"/>
                      <a:pt x="138" y="66"/>
                    </a:cubicBezTo>
                    <a:cubicBezTo>
                      <a:pt x="139" y="63"/>
                      <a:pt x="139" y="63"/>
                      <a:pt x="139" y="63"/>
                    </a:cubicBezTo>
                    <a:cubicBezTo>
                      <a:pt x="139" y="63"/>
                      <a:pt x="135" y="60"/>
                      <a:pt x="128" y="58"/>
                    </a:cubicBezTo>
                    <a:cubicBezTo>
                      <a:pt x="123" y="58"/>
                      <a:pt x="122" y="71"/>
                      <a:pt x="119" y="71"/>
                    </a:cubicBezTo>
                    <a:cubicBezTo>
                      <a:pt x="116" y="72"/>
                      <a:pt x="116" y="65"/>
                      <a:pt x="113" y="64"/>
                    </a:cubicBezTo>
                    <a:cubicBezTo>
                      <a:pt x="111" y="62"/>
                      <a:pt x="108" y="67"/>
                      <a:pt x="105" y="65"/>
                    </a:cubicBezTo>
                    <a:cubicBezTo>
                      <a:pt x="102" y="65"/>
                      <a:pt x="100" y="61"/>
                      <a:pt x="99" y="60"/>
                    </a:cubicBezTo>
                    <a:cubicBezTo>
                      <a:pt x="97" y="60"/>
                      <a:pt x="90" y="58"/>
                      <a:pt x="90" y="58"/>
                    </a:cubicBezTo>
                    <a:cubicBezTo>
                      <a:pt x="96" y="56"/>
                      <a:pt x="96" y="56"/>
                      <a:pt x="96" y="56"/>
                    </a:cubicBezTo>
                    <a:cubicBezTo>
                      <a:pt x="97" y="53"/>
                      <a:pt x="97" y="53"/>
                      <a:pt x="97" y="53"/>
                    </a:cubicBezTo>
                    <a:cubicBezTo>
                      <a:pt x="90" y="52"/>
                      <a:pt x="90" y="52"/>
                      <a:pt x="90" y="52"/>
                    </a:cubicBezTo>
                    <a:cubicBezTo>
                      <a:pt x="90" y="52"/>
                      <a:pt x="94" y="46"/>
                      <a:pt x="94" y="41"/>
                    </a:cubicBezTo>
                    <a:cubicBezTo>
                      <a:pt x="93" y="35"/>
                      <a:pt x="84" y="39"/>
                      <a:pt x="84" y="39"/>
                    </a:cubicBezTo>
                    <a:cubicBezTo>
                      <a:pt x="81" y="36"/>
                      <a:pt x="81" y="36"/>
                      <a:pt x="81" y="36"/>
                    </a:cubicBezTo>
                    <a:cubicBezTo>
                      <a:pt x="77" y="38"/>
                      <a:pt x="77" y="38"/>
                      <a:pt x="77" y="38"/>
                    </a:cubicBezTo>
                    <a:cubicBezTo>
                      <a:pt x="66" y="30"/>
                      <a:pt x="66" y="30"/>
                      <a:pt x="66" y="30"/>
                    </a:cubicBezTo>
                    <a:cubicBezTo>
                      <a:pt x="69" y="27"/>
                      <a:pt x="69" y="27"/>
                      <a:pt x="69" y="27"/>
                    </a:cubicBezTo>
                    <a:cubicBezTo>
                      <a:pt x="65" y="24"/>
                      <a:pt x="65" y="24"/>
                      <a:pt x="65" y="24"/>
                    </a:cubicBezTo>
                    <a:cubicBezTo>
                      <a:pt x="67" y="16"/>
                      <a:pt x="67" y="16"/>
                      <a:pt x="67" y="16"/>
                    </a:cubicBezTo>
                    <a:cubicBezTo>
                      <a:pt x="67" y="16"/>
                      <a:pt x="63" y="19"/>
                      <a:pt x="61" y="19"/>
                    </a:cubicBezTo>
                    <a:cubicBezTo>
                      <a:pt x="58" y="19"/>
                      <a:pt x="57" y="11"/>
                      <a:pt x="57" y="11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3" y="8"/>
                      <a:pt x="53" y="8"/>
                      <a:pt x="53" y="8"/>
                    </a:cubicBezTo>
                    <a:cubicBezTo>
                      <a:pt x="50" y="9"/>
                      <a:pt x="50" y="9"/>
                      <a:pt x="50" y="9"/>
                    </a:cubicBezTo>
                    <a:cubicBezTo>
                      <a:pt x="45" y="1"/>
                      <a:pt x="45" y="1"/>
                      <a:pt x="45" y="1"/>
                    </a:cubicBezTo>
                    <a:cubicBezTo>
                      <a:pt x="39" y="1"/>
                      <a:pt x="39" y="1"/>
                      <a:pt x="39" y="1"/>
                    </a:cubicBezTo>
                    <a:cubicBezTo>
                      <a:pt x="32" y="0"/>
                      <a:pt x="31" y="5"/>
                      <a:pt x="31" y="5"/>
                    </a:cubicBezTo>
                    <a:cubicBezTo>
                      <a:pt x="31" y="5"/>
                      <a:pt x="28" y="3"/>
                      <a:pt x="26" y="3"/>
                    </a:cubicBezTo>
                    <a:cubicBezTo>
                      <a:pt x="24" y="3"/>
                      <a:pt x="21" y="6"/>
                      <a:pt x="19" y="8"/>
                    </a:cubicBezTo>
                    <a:cubicBezTo>
                      <a:pt x="17" y="11"/>
                      <a:pt x="11" y="14"/>
                      <a:pt x="11" y="14"/>
                    </a:cubicBezTo>
                    <a:cubicBezTo>
                      <a:pt x="7" y="13"/>
                      <a:pt x="7" y="13"/>
                      <a:pt x="7" y="13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2" y="21"/>
                      <a:pt x="4" y="24"/>
                      <a:pt x="4" y="24"/>
                    </a:cubicBezTo>
                    <a:cubicBezTo>
                      <a:pt x="4" y="28"/>
                      <a:pt x="0" y="32"/>
                      <a:pt x="2" y="33"/>
                    </a:cubicBezTo>
                    <a:cubicBezTo>
                      <a:pt x="5" y="37"/>
                      <a:pt x="5" y="33"/>
                      <a:pt x="8" y="33"/>
                    </a:cubicBezTo>
                    <a:cubicBezTo>
                      <a:pt x="12" y="33"/>
                      <a:pt x="11" y="37"/>
                      <a:pt x="6" y="39"/>
                    </a:cubicBezTo>
                    <a:cubicBezTo>
                      <a:pt x="2" y="40"/>
                      <a:pt x="6" y="43"/>
                      <a:pt x="6" y="43"/>
                    </a:cubicBezTo>
                    <a:cubicBezTo>
                      <a:pt x="14" y="48"/>
                      <a:pt x="14" y="48"/>
                      <a:pt x="14" y="48"/>
                    </a:cubicBezTo>
                    <a:cubicBezTo>
                      <a:pt x="22" y="48"/>
                      <a:pt x="22" y="48"/>
                      <a:pt x="22" y="48"/>
                    </a:cubicBezTo>
                    <a:cubicBezTo>
                      <a:pt x="22" y="50"/>
                      <a:pt x="22" y="50"/>
                      <a:pt x="22" y="50"/>
                    </a:cubicBezTo>
                    <a:cubicBezTo>
                      <a:pt x="14" y="50"/>
                      <a:pt x="14" y="50"/>
                      <a:pt x="14" y="50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3" y="62"/>
                      <a:pt x="13" y="62"/>
                      <a:pt x="13" y="62"/>
                    </a:cubicBezTo>
                    <a:cubicBezTo>
                      <a:pt x="24" y="64"/>
                      <a:pt x="24" y="64"/>
                      <a:pt x="24" y="64"/>
                    </a:cubicBezTo>
                    <a:cubicBezTo>
                      <a:pt x="21" y="66"/>
                      <a:pt x="21" y="66"/>
                      <a:pt x="21" y="66"/>
                    </a:cubicBezTo>
                    <a:cubicBezTo>
                      <a:pt x="21" y="66"/>
                      <a:pt x="21" y="73"/>
                      <a:pt x="19" y="75"/>
                    </a:cubicBezTo>
                    <a:cubicBezTo>
                      <a:pt x="18" y="78"/>
                      <a:pt x="15" y="82"/>
                      <a:pt x="15" y="82"/>
                    </a:cubicBezTo>
                    <a:cubicBezTo>
                      <a:pt x="16" y="85"/>
                      <a:pt x="16" y="85"/>
                      <a:pt x="16" y="85"/>
                    </a:cubicBezTo>
                    <a:cubicBezTo>
                      <a:pt x="16" y="85"/>
                      <a:pt x="13" y="90"/>
                      <a:pt x="15" y="91"/>
                    </a:cubicBezTo>
                    <a:cubicBezTo>
                      <a:pt x="18" y="92"/>
                      <a:pt x="24" y="92"/>
                      <a:pt x="24" y="92"/>
                    </a:cubicBezTo>
                    <a:cubicBezTo>
                      <a:pt x="34" y="101"/>
                      <a:pt x="34" y="101"/>
                      <a:pt x="34" y="101"/>
                    </a:cubicBezTo>
                    <a:cubicBezTo>
                      <a:pt x="34" y="101"/>
                      <a:pt x="34" y="106"/>
                      <a:pt x="31" y="106"/>
                    </a:cubicBezTo>
                    <a:cubicBezTo>
                      <a:pt x="27" y="106"/>
                      <a:pt x="21" y="106"/>
                      <a:pt x="21" y="106"/>
                    </a:cubicBezTo>
                    <a:cubicBezTo>
                      <a:pt x="27" y="114"/>
                      <a:pt x="27" y="114"/>
                      <a:pt x="27" y="114"/>
                    </a:cubicBezTo>
                    <a:cubicBezTo>
                      <a:pt x="27" y="114"/>
                      <a:pt x="37" y="122"/>
                      <a:pt x="32" y="124"/>
                    </a:cubicBezTo>
                    <a:cubicBezTo>
                      <a:pt x="28" y="128"/>
                      <a:pt x="24" y="124"/>
                      <a:pt x="24" y="124"/>
                    </a:cubicBezTo>
                    <a:cubicBezTo>
                      <a:pt x="24" y="125"/>
                      <a:pt x="24" y="125"/>
                      <a:pt x="24" y="125"/>
                    </a:cubicBezTo>
                    <a:cubicBezTo>
                      <a:pt x="26" y="129"/>
                      <a:pt x="26" y="129"/>
                      <a:pt x="26" y="129"/>
                    </a:cubicBezTo>
                    <a:cubicBezTo>
                      <a:pt x="31" y="132"/>
                      <a:pt x="31" y="132"/>
                      <a:pt x="31" y="132"/>
                    </a:cubicBezTo>
                    <a:cubicBezTo>
                      <a:pt x="37" y="136"/>
                      <a:pt x="37" y="136"/>
                      <a:pt x="37" y="136"/>
                    </a:cubicBezTo>
                    <a:cubicBezTo>
                      <a:pt x="43" y="141"/>
                      <a:pt x="43" y="141"/>
                      <a:pt x="43" y="141"/>
                    </a:cubicBezTo>
                    <a:cubicBezTo>
                      <a:pt x="47" y="143"/>
                      <a:pt x="47" y="143"/>
                      <a:pt x="47" y="143"/>
                    </a:cubicBezTo>
                    <a:cubicBezTo>
                      <a:pt x="60" y="149"/>
                      <a:pt x="60" y="149"/>
                      <a:pt x="60" y="149"/>
                    </a:cubicBezTo>
                    <a:cubicBezTo>
                      <a:pt x="64" y="150"/>
                      <a:pt x="64" y="150"/>
                      <a:pt x="64" y="150"/>
                    </a:cubicBezTo>
                    <a:cubicBezTo>
                      <a:pt x="64" y="155"/>
                      <a:pt x="64" y="155"/>
                      <a:pt x="64" y="155"/>
                    </a:cubicBezTo>
                    <a:cubicBezTo>
                      <a:pt x="61" y="156"/>
                      <a:pt x="61" y="156"/>
                      <a:pt x="61" y="156"/>
                    </a:cubicBezTo>
                    <a:cubicBezTo>
                      <a:pt x="61" y="157"/>
                      <a:pt x="61" y="157"/>
                      <a:pt x="61" y="158"/>
                    </a:cubicBezTo>
                    <a:cubicBezTo>
                      <a:pt x="65" y="158"/>
                      <a:pt x="65" y="158"/>
                      <a:pt x="65" y="158"/>
                    </a:cubicBezTo>
                    <a:cubicBezTo>
                      <a:pt x="69" y="158"/>
                      <a:pt x="69" y="158"/>
                      <a:pt x="69" y="158"/>
                    </a:cubicBezTo>
                    <a:cubicBezTo>
                      <a:pt x="69" y="158"/>
                      <a:pt x="71" y="157"/>
                      <a:pt x="71" y="157"/>
                    </a:cubicBezTo>
                    <a:cubicBezTo>
                      <a:pt x="72" y="156"/>
                      <a:pt x="72" y="155"/>
                      <a:pt x="73" y="154"/>
                    </a:cubicBezTo>
                    <a:cubicBezTo>
                      <a:pt x="73" y="154"/>
                      <a:pt x="72" y="153"/>
                      <a:pt x="73" y="152"/>
                    </a:cubicBezTo>
                    <a:cubicBezTo>
                      <a:pt x="74" y="151"/>
                      <a:pt x="76" y="149"/>
                      <a:pt x="76" y="149"/>
                    </a:cubicBezTo>
                    <a:cubicBezTo>
                      <a:pt x="76" y="149"/>
                      <a:pt x="77" y="145"/>
                      <a:pt x="77" y="145"/>
                    </a:cubicBezTo>
                    <a:cubicBezTo>
                      <a:pt x="76" y="144"/>
                      <a:pt x="76" y="143"/>
                      <a:pt x="75" y="143"/>
                    </a:cubicBezTo>
                    <a:cubicBezTo>
                      <a:pt x="75" y="142"/>
                      <a:pt x="76" y="139"/>
                      <a:pt x="76" y="139"/>
                    </a:cubicBezTo>
                    <a:cubicBezTo>
                      <a:pt x="76" y="139"/>
                      <a:pt x="77" y="138"/>
                      <a:pt x="78" y="138"/>
                    </a:cubicBezTo>
                    <a:cubicBezTo>
                      <a:pt x="79" y="137"/>
                      <a:pt x="80" y="138"/>
                      <a:pt x="81" y="138"/>
                    </a:cubicBezTo>
                    <a:cubicBezTo>
                      <a:pt x="81" y="138"/>
                      <a:pt x="82" y="135"/>
                      <a:pt x="82" y="135"/>
                    </a:cubicBezTo>
                    <a:cubicBezTo>
                      <a:pt x="82" y="136"/>
                      <a:pt x="82" y="134"/>
                      <a:pt x="83" y="134"/>
                    </a:cubicBezTo>
                    <a:cubicBezTo>
                      <a:pt x="84" y="134"/>
                      <a:pt x="84" y="136"/>
                      <a:pt x="84" y="136"/>
                    </a:cubicBezTo>
                    <a:cubicBezTo>
                      <a:pt x="84" y="136"/>
                      <a:pt x="85" y="137"/>
                      <a:pt x="85" y="138"/>
                    </a:cubicBezTo>
                    <a:cubicBezTo>
                      <a:pt x="84" y="139"/>
                      <a:pt x="83" y="140"/>
                      <a:pt x="83" y="140"/>
                    </a:cubicBezTo>
                    <a:cubicBezTo>
                      <a:pt x="83" y="140"/>
                      <a:pt x="84" y="141"/>
                      <a:pt x="84" y="141"/>
                    </a:cubicBezTo>
                    <a:cubicBezTo>
                      <a:pt x="85" y="141"/>
                      <a:pt x="85" y="141"/>
                      <a:pt x="85" y="141"/>
                    </a:cubicBezTo>
                    <a:cubicBezTo>
                      <a:pt x="88" y="141"/>
                      <a:pt x="88" y="141"/>
                      <a:pt x="88" y="141"/>
                    </a:cubicBezTo>
                    <a:cubicBezTo>
                      <a:pt x="88" y="141"/>
                      <a:pt x="88" y="142"/>
                      <a:pt x="88" y="142"/>
                    </a:cubicBezTo>
                    <a:cubicBezTo>
                      <a:pt x="89" y="142"/>
                      <a:pt x="89" y="142"/>
                      <a:pt x="90" y="143"/>
                    </a:cubicBezTo>
                    <a:cubicBezTo>
                      <a:pt x="90" y="143"/>
                      <a:pt x="90" y="143"/>
                      <a:pt x="90" y="143"/>
                    </a:cubicBezTo>
                    <a:cubicBezTo>
                      <a:pt x="91" y="144"/>
                      <a:pt x="93" y="143"/>
                      <a:pt x="94" y="143"/>
                    </a:cubicBezTo>
                    <a:cubicBezTo>
                      <a:pt x="95" y="143"/>
                      <a:pt x="95" y="145"/>
                      <a:pt x="95" y="145"/>
                    </a:cubicBezTo>
                    <a:cubicBezTo>
                      <a:pt x="95" y="145"/>
                      <a:pt x="97" y="145"/>
                      <a:pt x="98" y="146"/>
                    </a:cubicBezTo>
                    <a:cubicBezTo>
                      <a:pt x="98" y="146"/>
                      <a:pt x="98" y="149"/>
                      <a:pt x="98" y="149"/>
                    </a:cubicBezTo>
                    <a:cubicBezTo>
                      <a:pt x="98" y="149"/>
                      <a:pt x="99" y="150"/>
                      <a:pt x="100" y="150"/>
                    </a:cubicBezTo>
                    <a:cubicBezTo>
                      <a:pt x="101" y="150"/>
                      <a:pt x="102" y="150"/>
                      <a:pt x="102" y="150"/>
                    </a:cubicBezTo>
                    <a:cubicBezTo>
                      <a:pt x="102" y="150"/>
                      <a:pt x="103" y="152"/>
                      <a:pt x="103" y="152"/>
                    </a:cubicBezTo>
                    <a:cubicBezTo>
                      <a:pt x="105" y="153"/>
                      <a:pt x="105" y="153"/>
                      <a:pt x="105" y="153"/>
                    </a:cubicBezTo>
                    <a:cubicBezTo>
                      <a:pt x="107" y="154"/>
                      <a:pt x="107" y="154"/>
                      <a:pt x="107" y="154"/>
                    </a:cubicBezTo>
                    <a:cubicBezTo>
                      <a:pt x="110" y="155"/>
                      <a:pt x="110" y="155"/>
                      <a:pt x="110" y="155"/>
                    </a:cubicBezTo>
                    <a:cubicBezTo>
                      <a:pt x="111" y="155"/>
                      <a:pt x="111" y="155"/>
                      <a:pt x="111" y="155"/>
                    </a:cubicBezTo>
                    <a:cubicBezTo>
                      <a:pt x="112" y="156"/>
                      <a:pt x="112" y="156"/>
                      <a:pt x="112" y="156"/>
                    </a:cubicBezTo>
                    <a:cubicBezTo>
                      <a:pt x="114" y="157"/>
                      <a:pt x="114" y="157"/>
                      <a:pt x="114" y="157"/>
                    </a:cubicBezTo>
                    <a:cubicBezTo>
                      <a:pt x="114" y="157"/>
                      <a:pt x="116" y="157"/>
                      <a:pt x="117" y="158"/>
                    </a:cubicBezTo>
                    <a:cubicBezTo>
                      <a:pt x="117" y="158"/>
                      <a:pt x="118" y="161"/>
                      <a:pt x="118" y="161"/>
                    </a:cubicBezTo>
                    <a:cubicBezTo>
                      <a:pt x="118" y="161"/>
                      <a:pt x="119" y="163"/>
                      <a:pt x="119" y="163"/>
                    </a:cubicBezTo>
                    <a:cubicBezTo>
                      <a:pt x="119" y="164"/>
                      <a:pt x="118" y="166"/>
                      <a:pt x="118" y="166"/>
                    </a:cubicBezTo>
                    <a:cubicBezTo>
                      <a:pt x="116" y="170"/>
                      <a:pt x="116" y="170"/>
                      <a:pt x="116" y="170"/>
                    </a:cubicBezTo>
                    <a:cubicBezTo>
                      <a:pt x="116" y="170"/>
                      <a:pt x="115" y="172"/>
                      <a:pt x="115" y="172"/>
                    </a:cubicBezTo>
                    <a:cubicBezTo>
                      <a:pt x="115" y="173"/>
                      <a:pt x="114" y="174"/>
                      <a:pt x="114" y="174"/>
                    </a:cubicBezTo>
                    <a:cubicBezTo>
                      <a:pt x="114" y="174"/>
                      <a:pt x="114" y="175"/>
                      <a:pt x="114" y="176"/>
                    </a:cubicBezTo>
                    <a:cubicBezTo>
                      <a:pt x="114" y="176"/>
                      <a:pt x="113" y="176"/>
                      <a:pt x="112" y="177"/>
                    </a:cubicBezTo>
                    <a:cubicBezTo>
                      <a:pt x="114" y="177"/>
                      <a:pt x="115" y="177"/>
                      <a:pt x="116" y="177"/>
                    </a:cubicBezTo>
                    <a:cubicBezTo>
                      <a:pt x="120" y="177"/>
                      <a:pt x="125" y="172"/>
                      <a:pt x="125" y="172"/>
                    </a:cubicBezTo>
                    <a:cubicBezTo>
                      <a:pt x="132" y="173"/>
                      <a:pt x="132" y="173"/>
                      <a:pt x="132" y="173"/>
                    </a:cubicBezTo>
                    <a:cubicBezTo>
                      <a:pt x="137" y="168"/>
                      <a:pt x="137" y="168"/>
                      <a:pt x="137" y="168"/>
                    </a:cubicBezTo>
                    <a:cubicBezTo>
                      <a:pt x="140" y="170"/>
                      <a:pt x="140" y="170"/>
                      <a:pt x="140" y="170"/>
                    </a:cubicBezTo>
                    <a:cubicBezTo>
                      <a:pt x="146" y="162"/>
                      <a:pt x="146" y="162"/>
                      <a:pt x="146" y="162"/>
                    </a:cubicBezTo>
                    <a:cubicBezTo>
                      <a:pt x="140" y="156"/>
                      <a:pt x="140" y="156"/>
                      <a:pt x="140" y="156"/>
                    </a:cubicBezTo>
                    <a:cubicBezTo>
                      <a:pt x="143" y="150"/>
                      <a:pt x="143" y="150"/>
                      <a:pt x="143" y="150"/>
                    </a:cubicBezTo>
                    <a:cubicBezTo>
                      <a:pt x="139" y="148"/>
                      <a:pt x="139" y="148"/>
                      <a:pt x="139" y="148"/>
                    </a:cubicBezTo>
                    <a:cubicBezTo>
                      <a:pt x="139" y="148"/>
                      <a:pt x="139" y="146"/>
                      <a:pt x="142" y="144"/>
                    </a:cubicBezTo>
                    <a:cubicBezTo>
                      <a:pt x="145" y="141"/>
                      <a:pt x="148" y="143"/>
                      <a:pt x="150" y="142"/>
                    </a:cubicBezTo>
                    <a:cubicBezTo>
                      <a:pt x="151" y="141"/>
                      <a:pt x="152" y="139"/>
                      <a:pt x="152" y="139"/>
                    </a:cubicBezTo>
                    <a:cubicBezTo>
                      <a:pt x="158" y="128"/>
                      <a:pt x="158" y="128"/>
                      <a:pt x="158" y="128"/>
                    </a:cubicBezTo>
                    <a:cubicBezTo>
                      <a:pt x="158" y="128"/>
                      <a:pt x="155" y="121"/>
                      <a:pt x="150" y="119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51" name="Russia" descr="© INSCALE GmbH, 05.05.2010&#10;http://www.presentationload.com/"/>
              <p:cNvSpPr>
                <a:spLocks noChangeAspect="1"/>
              </p:cNvSpPr>
              <p:nvPr/>
            </p:nvSpPr>
            <p:spPr bwMode="auto">
              <a:xfrm>
                <a:off x="5670550" y="3346450"/>
                <a:ext cx="249237" cy="136525"/>
              </a:xfrm>
              <a:custGeom>
                <a:avLst/>
                <a:gdLst/>
                <a:ahLst/>
                <a:cxnLst>
                  <a:cxn ang="0">
                    <a:pos x="73" y="18"/>
                  </a:cxn>
                  <a:cxn ang="0">
                    <a:pos x="75" y="13"/>
                  </a:cxn>
                  <a:cxn ang="0">
                    <a:pos x="67" y="7"/>
                  </a:cxn>
                  <a:cxn ang="0">
                    <a:pos x="60" y="7"/>
                  </a:cxn>
                  <a:cxn ang="0">
                    <a:pos x="53" y="9"/>
                  </a:cxn>
                  <a:cxn ang="0">
                    <a:pos x="53" y="7"/>
                  </a:cxn>
                  <a:cxn ang="0">
                    <a:pos x="46" y="6"/>
                  </a:cxn>
                  <a:cxn ang="0">
                    <a:pos x="41" y="4"/>
                  </a:cxn>
                  <a:cxn ang="0">
                    <a:pos x="37" y="5"/>
                  </a:cxn>
                  <a:cxn ang="0">
                    <a:pos x="34" y="2"/>
                  </a:cxn>
                  <a:cxn ang="0">
                    <a:pos x="33" y="5"/>
                  </a:cxn>
                  <a:cxn ang="0">
                    <a:pos x="30" y="5"/>
                  </a:cxn>
                  <a:cxn ang="0">
                    <a:pos x="34" y="16"/>
                  </a:cxn>
                  <a:cxn ang="0">
                    <a:pos x="29" y="19"/>
                  </a:cxn>
                  <a:cxn ang="0">
                    <a:pos x="24" y="19"/>
                  </a:cxn>
                  <a:cxn ang="0">
                    <a:pos x="21" y="18"/>
                  </a:cxn>
                  <a:cxn ang="0">
                    <a:pos x="16" y="19"/>
                  </a:cxn>
                  <a:cxn ang="0">
                    <a:pos x="24" y="7"/>
                  </a:cxn>
                  <a:cxn ang="0">
                    <a:pos x="24" y="5"/>
                  </a:cxn>
                  <a:cxn ang="0">
                    <a:pos x="27" y="1"/>
                  </a:cxn>
                  <a:cxn ang="0">
                    <a:pos x="26" y="0"/>
                  </a:cxn>
                  <a:cxn ang="0">
                    <a:pos x="24" y="1"/>
                  </a:cxn>
                  <a:cxn ang="0">
                    <a:pos x="21" y="7"/>
                  </a:cxn>
                  <a:cxn ang="0">
                    <a:pos x="15" y="16"/>
                  </a:cxn>
                  <a:cxn ang="0">
                    <a:pos x="13" y="18"/>
                  </a:cxn>
                  <a:cxn ang="0">
                    <a:pos x="1" y="20"/>
                  </a:cxn>
                  <a:cxn ang="0">
                    <a:pos x="0" y="24"/>
                  </a:cxn>
                  <a:cxn ang="0">
                    <a:pos x="2" y="26"/>
                  </a:cxn>
                  <a:cxn ang="0">
                    <a:pos x="0" y="34"/>
                  </a:cxn>
                  <a:cxn ang="0">
                    <a:pos x="2" y="34"/>
                  </a:cxn>
                  <a:cxn ang="0">
                    <a:pos x="2" y="32"/>
                  </a:cxn>
                  <a:cxn ang="0">
                    <a:pos x="4" y="31"/>
                  </a:cxn>
                  <a:cxn ang="0">
                    <a:pos x="5" y="33"/>
                  </a:cxn>
                  <a:cxn ang="0">
                    <a:pos x="8" y="30"/>
                  </a:cxn>
                  <a:cxn ang="0">
                    <a:pos x="14" y="31"/>
                  </a:cxn>
                  <a:cxn ang="0">
                    <a:pos x="10" y="32"/>
                  </a:cxn>
                  <a:cxn ang="0">
                    <a:pos x="10" y="34"/>
                  </a:cxn>
                  <a:cxn ang="0">
                    <a:pos x="5" y="37"/>
                  </a:cxn>
                  <a:cxn ang="0">
                    <a:pos x="4" y="36"/>
                  </a:cxn>
                  <a:cxn ang="0">
                    <a:pos x="2" y="42"/>
                  </a:cxn>
                  <a:cxn ang="0">
                    <a:pos x="39" y="42"/>
                  </a:cxn>
                  <a:cxn ang="0">
                    <a:pos x="75" y="36"/>
                  </a:cxn>
                  <a:cxn ang="0">
                    <a:pos x="72" y="25"/>
                  </a:cxn>
                  <a:cxn ang="0">
                    <a:pos x="73" y="18"/>
                  </a:cxn>
                </a:cxnLst>
                <a:rect l="0" t="0" r="r" b="b"/>
                <a:pathLst>
                  <a:path w="78" h="43">
                    <a:moveTo>
                      <a:pt x="73" y="18"/>
                    </a:moveTo>
                    <a:cubicBezTo>
                      <a:pt x="73" y="18"/>
                      <a:pt x="78" y="15"/>
                      <a:pt x="75" y="13"/>
                    </a:cubicBezTo>
                    <a:cubicBezTo>
                      <a:pt x="73" y="11"/>
                      <a:pt x="67" y="7"/>
                      <a:pt x="67" y="7"/>
                    </a:cubicBezTo>
                    <a:cubicBezTo>
                      <a:pt x="60" y="7"/>
                      <a:pt x="60" y="7"/>
                      <a:pt x="60" y="7"/>
                    </a:cubicBezTo>
                    <a:cubicBezTo>
                      <a:pt x="53" y="9"/>
                      <a:pt x="53" y="9"/>
                      <a:pt x="53" y="9"/>
                    </a:cubicBezTo>
                    <a:cubicBezTo>
                      <a:pt x="53" y="7"/>
                      <a:pt x="53" y="7"/>
                      <a:pt x="53" y="7"/>
                    </a:cubicBezTo>
                    <a:cubicBezTo>
                      <a:pt x="53" y="7"/>
                      <a:pt x="49" y="8"/>
                      <a:pt x="46" y="6"/>
                    </a:cubicBezTo>
                    <a:cubicBezTo>
                      <a:pt x="43" y="5"/>
                      <a:pt x="41" y="4"/>
                      <a:pt x="41" y="4"/>
                    </a:cubicBezTo>
                    <a:cubicBezTo>
                      <a:pt x="37" y="5"/>
                      <a:pt x="37" y="5"/>
                      <a:pt x="37" y="5"/>
                    </a:cubicBezTo>
                    <a:cubicBezTo>
                      <a:pt x="34" y="2"/>
                      <a:pt x="34" y="2"/>
                      <a:pt x="34" y="2"/>
                    </a:cubicBezTo>
                    <a:cubicBezTo>
                      <a:pt x="33" y="5"/>
                      <a:pt x="33" y="5"/>
                      <a:pt x="33" y="5"/>
                    </a:cubicBezTo>
                    <a:cubicBezTo>
                      <a:pt x="30" y="5"/>
                      <a:pt x="30" y="5"/>
                      <a:pt x="30" y="5"/>
                    </a:cubicBezTo>
                    <a:cubicBezTo>
                      <a:pt x="34" y="16"/>
                      <a:pt x="34" y="16"/>
                      <a:pt x="34" y="16"/>
                    </a:cubicBezTo>
                    <a:cubicBezTo>
                      <a:pt x="29" y="19"/>
                      <a:pt x="29" y="19"/>
                      <a:pt x="29" y="19"/>
                    </a:cubicBezTo>
                    <a:cubicBezTo>
                      <a:pt x="24" y="19"/>
                      <a:pt x="24" y="19"/>
                      <a:pt x="24" y="19"/>
                    </a:cubicBezTo>
                    <a:cubicBezTo>
                      <a:pt x="24" y="19"/>
                      <a:pt x="22" y="18"/>
                      <a:pt x="21" y="18"/>
                    </a:cubicBezTo>
                    <a:cubicBezTo>
                      <a:pt x="20" y="18"/>
                      <a:pt x="16" y="19"/>
                      <a:pt x="16" y="19"/>
                    </a:cubicBezTo>
                    <a:cubicBezTo>
                      <a:pt x="24" y="7"/>
                      <a:pt x="24" y="7"/>
                      <a:pt x="24" y="7"/>
                    </a:cubicBezTo>
                    <a:cubicBezTo>
                      <a:pt x="24" y="5"/>
                      <a:pt x="24" y="5"/>
                      <a:pt x="24" y="5"/>
                    </a:cubicBezTo>
                    <a:cubicBezTo>
                      <a:pt x="27" y="1"/>
                      <a:pt x="27" y="1"/>
                      <a:pt x="27" y="1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21" y="7"/>
                      <a:pt x="21" y="7"/>
                      <a:pt x="21" y="7"/>
                    </a:cubicBezTo>
                    <a:cubicBezTo>
                      <a:pt x="15" y="16"/>
                      <a:pt x="15" y="16"/>
                      <a:pt x="15" y="16"/>
                    </a:cubicBezTo>
                    <a:cubicBezTo>
                      <a:pt x="13" y="18"/>
                      <a:pt x="13" y="18"/>
                      <a:pt x="13" y="18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2" y="26"/>
                      <a:pt x="2" y="26"/>
                      <a:pt x="2" y="26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2" y="34"/>
                      <a:pt x="2" y="34"/>
                      <a:pt x="2" y="34"/>
                    </a:cubicBezTo>
                    <a:cubicBezTo>
                      <a:pt x="2" y="32"/>
                      <a:pt x="2" y="32"/>
                      <a:pt x="2" y="32"/>
                    </a:cubicBezTo>
                    <a:cubicBezTo>
                      <a:pt x="4" y="31"/>
                      <a:pt x="4" y="31"/>
                      <a:pt x="4" y="31"/>
                    </a:cubicBezTo>
                    <a:cubicBezTo>
                      <a:pt x="5" y="33"/>
                      <a:pt x="5" y="33"/>
                      <a:pt x="5" y="33"/>
                    </a:cubicBezTo>
                    <a:cubicBezTo>
                      <a:pt x="8" y="30"/>
                      <a:pt x="8" y="30"/>
                      <a:pt x="8" y="30"/>
                    </a:cubicBezTo>
                    <a:cubicBezTo>
                      <a:pt x="14" y="31"/>
                      <a:pt x="14" y="31"/>
                      <a:pt x="14" y="31"/>
                    </a:cubicBezTo>
                    <a:cubicBezTo>
                      <a:pt x="10" y="32"/>
                      <a:pt x="10" y="32"/>
                      <a:pt x="10" y="32"/>
                    </a:cubicBezTo>
                    <a:cubicBezTo>
                      <a:pt x="10" y="34"/>
                      <a:pt x="10" y="34"/>
                      <a:pt x="10" y="34"/>
                    </a:cubicBezTo>
                    <a:cubicBezTo>
                      <a:pt x="5" y="37"/>
                      <a:pt x="5" y="37"/>
                      <a:pt x="5" y="37"/>
                    </a:cubicBezTo>
                    <a:cubicBezTo>
                      <a:pt x="4" y="36"/>
                      <a:pt x="4" y="36"/>
                      <a:pt x="4" y="36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7" y="42"/>
                      <a:pt x="30" y="43"/>
                      <a:pt x="39" y="42"/>
                    </a:cubicBezTo>
                    <a:cubicBezTo>
                      <a:pt x="49" y="42"/>
                      <a:pt x="75" y="36"/>
                      <a:pt x="75" y="36"/>
                    </a:cubicBezTo>
                    <a:cubicBezTo>
                      <a:pt x="75" y="36"/>
                      <a:pt x="71" y="31"/>
                      <a:pt x="72" y="25"/>
                    </a:cubicBezTo>
                    <a:cubicBezTo>
                      <a:pt x="72" y="21"/>
                      <a:pt x="73" y="18"/>
                      <a:pt x="73" y="18"/>
                    </a:cubicBez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52" name="Romania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5838825" y="4219575"/>
                <a:ext cx="955675" cy="679450"/>
              </a:xfrm>
              <a:custGeom>
                <a:avLst/>
                <a:gdLst/>
                <a:ahLst/>
                <a:cxnLst>
                  <a:cxn ang="0">
                    <a:pos x="428" y="156"/>
                  </a:cxn>
                  <a:cxn ang="0">
                    <a:pos x="402" y="170"/>
                  </a:cxn>
                  <a:cxn ang="0">
                    <a:pos x="387" y="175"/>
                  </a:cxn>
                  <a:cxn ang="0">
                    <a:pos x="365" y="162"/>
                  </a:cxn>
                  <a:cxn ang="0">
                    <a:pos x="361" y="136"/>
                  </a:cxn>
                  <a:cxn ang="0">
                    <a:pos x="361" y="116"/>
                  </a:cxn>
                  <a:cxn ang="0">
                    <a:pos x="350" y="83"/>
                  </a:cxn>
                  <a:cxn ang="0">
                    <a:pos x="332" y="65"/>
                  </a:cxn>
                  <a:cxn ang="0">
                    <a:pos x="291" y="18"/>
                  </a:cxn>
                  <a:cxn ang="0">
                    <a:pos x="247" y="24"/>
                  </a:cxn>
                  <a:cxn ang="0">
                    <a:pos x="202" y="51"/>
                  </a:cxn>
                  <a:cxn ang="0">
                    <a:pos x="164" y="44"/>
                  </a:cxn>
                  <a:cxn ang="0">
                    <a:pos x="115" y="37"/>
                  </a:cxn>
                  <a:cxn ang="0">
                    <a:pos x="107" y="47"/>
                  </a:cxn>
                  <a:cxn ang="0">
                    <a:pos x="93" y="67"/>
                  </a:cxn>
                  <a:cxn ang="0">
                    <a:pos x="81" y="70"/>
                  </a:cxn>
                  <a:cxn ang="0">
                    <a:pos x="71" y="94"/>
                  </a:cxn>
                  <a:cxn ang="0">
                    <a:pos x="65" y="108"/>
                  </a:cxn>
                  <a:cxn ang="0">
                    <a:pos x="59" y="125"/>
                  </a:cxn>
                  <a:cxn ang="0">
                    <a:pos x="55" y="140"/>
                  </a:cxn>
                  <a:cxn ang="0">
                    <a:pos x="45" y="148"/>
                  </a:cxn>
                  <a:cxn ang="0">
                    <a:pos x="43" y="164"/>
                  </a:cxn>
                  <a:cxn ang="0">
                    <a:pos x="27" y="174"/>
                  </a:cxn>
                  <a:cxn ang="0">
                    <a:pos x="12" y="181"/>
                  </a:cxn>
                  <a:cxn ang="0">
                    <a:pos x="0" y="184"/>
                  </a:cxn>
                  <a:cxn ang="0">
                    <a:pos x="12" y="194"/>
                  </a:cxn>
                  <a:cxn ang="0">
                    <a:pos x="17" y="197"/>
                  </a:cxn>
                  <a:cxn ang="0">
                    <a:pos x="31" y="205"/>
                  </a:cxn>
                  <a:cxn ang="0">
                    <a:pos x="33" y="219"/>
                  </a:cxn>
                  <a:cxn ang="0">
                    <a:pos x="45" y="235"/>
                  </a:cxn>
                  <a:cxn ang="0">
                    <a:pos x="55" y="237"/>
                  </a:cxn>
                  <a:cxn ang="0">
                    <a:pos x="63" y="254"/>
                  </a:cxn>
                  <a:cxn ang="0">
                    <a:pos x="71" y="260"/>
                  </a:cxn>
                  <a:cxn ang="0">
                    <a:pos x="75" y="266"/>
                  </a:cxn>
                  <a:cxn ang="0">
                    <a:pos x="95" y="271"/>
                  </a:cxn>
                  <a:cxn ang="0">
                    <a:pos x="115" y="263"/>
                  </a:cxn>
                  <a:cxn ang="0">
                    <a:pos x="129" y="274"/>
                  </a:cxn>
                  <a:cxn ang="0">
                    <a:pos x="123" y="278"/>
                  </a:cxn>
                  <a:cxn ang="0">
                    <a:pos x="123" y="290"/>
                  </a:cxn>
                  <a:cxn ang="0">
                    <a:pos x="129" y="294"/>
                  </a:cxn>
                  <a:cxn ang="0">
                    <a:pos x="148" y="302"/>
                  </a:cxn>
                  <a:cxn ang="0">
                    <a:pos x="151" y="318"/>
                  </a:cxn>
                  <a:cxn ang="0">
                    <a:pos x="179" y="314"/>
                  </a:cxn>
                  <a:cxn ang="0">
                    <a:pos x="206" y="318"/>
                  </a:cxn>
                  <a:cxn ang="0">
                    <a:pos x="229" y="310"/>
                  </a:cxn>
                  <a:cxn ang="0">
                    <a:pos x="250" y="310"/>
                  </a:cxn>
                  <a:cxn ang="0">
                    <a:pos x="271" y="309"/>
                  </a:cxn>
                  <a:cxn ang="0">
                    <a:pos x="308" y="275"/>
                  </a:cxn>
                  <a:cxn ang="0">
                    <a:pos x="355" y="268"/>
                  </a:cxn>
                  <a:cxn ang="0">
                    <a:pos x="372" y="268"/>
                  </a:cxn>
                  <a:cxn ang="0">
                    <a:pos x="385" y="272"/>
                  </a:cxn>
                  <a:cxn ang="0">
                    <a:pos x="413" y="273"/>
                  </a:cxn>
                  <a:cxn ang="0">
                    <a:pos x="408" y="239"/>
                  </a:cxn>
                  <a:cxn ang="0">
                    <a:pos x="411" y="221"/>
                  </a:cxn>
                  <a:cxn ang="0">
                    <a:pos x="407" y="207"/>
                  </a:cxn>
                  <a:cxn ang="0">
                    <a:pos x="413" y="191"/>
                  </a:cxn>
                  <a:cxn ang="0">
                    <a:pos x="420" y="193"/>
                  </a:cxn>
                  <a:cxn ang="0">
                    <a:pos x="424" y="195"/>
                  </a:cxn>
                  <a:cxn ang="0">
                    <a:pos x="419" y="204"/>
                  </a:cxn>
                  <a:cxn ang="0">
                    <a:pos x="431" y="199"/>
                  </a:cxn>
                  <a:cxn ang="0">
                    <a:pos x="443" y="167"/>
                  </a:cxn>
                  <a:cxn ang="0">
                    <a:pos x="418" y="212"/>
                  </a:cxn>
                  <a:cxn ang="0">
                    <a:pos x="418" y="207"/>
                  </a:cxn>
                </a:cxnLst>
                <a:rect l="0" t="0" r="r" b="b"/>
                <a:pathLst>
                  <a:path w="448" h="319">
                    <a:moveTo>
                      <a:pt x="443" y="167"/>
                    </a:moveTo>
                    <a:cubicBezTo>
                      <a:pt x="443" y="167"/>
                      <a:pt x="439" y="158"/>
                      <a:pt x="428" y="156"/>
                    </a:cubicBezTo>
                    <a:cubicBezTo>
                      <a:pt x="419" y="155"/>
                      <a:pt x="407" y="170"/>
                      <a:pt x="407" y="170"/>
                    </a:cubicBezTo>
                    <a:cubicBezTo>
                      <a:pt x="402" y="170"/>
                      <a:pt x="402" y="170"/>
                      <a:pt x="402" y="170"/>
                    </a:cubicBezTo>
                    <a:cubicBezTo>
                      <a:pt x="402" y="177"/>
                      <a:pt x="402" y="177"/>
                      <a:pt x="402" y="177"/>
                    </a:cubicBezTo>
                    <a:cubicBezTo>
                      <a:pt x="402" y="177"/>
                      <a:pt x="399" y="178"/>
                      <a:pt x="387" y="175"/>
                    </a:cubicBezTo>
                    <a:cubicBezTo>
                      <a:pt x="376" y="173"/>
                      <a:pt x="377" y="167"/>
                      <a:pt x="377" y="167"/>
                    </a:cubicBezTo>
                    <a:cubicBezTo>
                      <a:pt x="365" y="162"/>
                      <a:pt x="365" y="162"/>
                      <a:pt x="365" y="162"/>
                    </a:cubicBezTo>
                    <a:cubicBezTo>
                      <a:pt x="368" y="156"/>
                      <a:pt x="368" y="156"/>
                      <a:pt x="368" y="156"/>
                    </a:cubicBezTo>
                    <a:cubicBezTo>
                      <a:pt x="361" y="136"/>
                      <a:pt x="361" y="136"/>
                      <a:pt x="361" y="136"/>
                    </a:cubicBezTo>
                    <a:cubicBezTo>
                      <a:pt x="357" y="119"/>
                      <a:pt x="357" y="119"/>
                      <a:pt x="357" y="119"/>
                    </a:cubicBezTo>
                    <a:cubicBezTo>
                      <a:pt x="361" y="116"/>
                      <a:pt x="361" y="116"/>
                      <a:pt x="361" y="116"/>
                    </a:cubicBezTo>
                    <a:cubicBezTo>
                      <a:pt x="361" y="116"/>
                      <a:pt x="361" y="102"/>
                      <a:pt x="360" y="94"/>
                    </a:cubicBezTo>
                    <a:cubicBezTo>
                      <a:pt x="358" y="85"/>
                      <a:pt x="350" y="83"/>
                      <a:pt x="350" y="83"/>
                    </a:cubicBezTo>
                    <a:cubicBezTo>
                      <a:pt x="350" y="83"/>
                      <a:pt x="349" y="76"/>
                      <a:pt x="346" y="71"/>
                    </a:cubicBezTo>
                    <a:cubicBezTo>
                      <a:pt x="345" y="67"/>
                      <a:pt x="332" y="65"/>
                      <a:pt x="332" y="65"/>
                    </a:cubicBezTo>
                    <a:cubicBezTo>
                      <a:pt x="332" y="65"/>
                      <a:pt x="316" y="46"/>
                      <a:pt x="310" y="40"/>
                    </a:cubicBezTo>
                    <a:cubicBezTo>
                      <a:pt x="304" y="36"/>
                      <a:pt x="299" y="33"/>
                      <a:pt x="291" y="18"/>
                    </a:cubicBezTo>
                    <a:cubicBezTo>
                      <a:pt x="285" y="4"/>
                      <a:pt x="270" y="2"/>
                      <a:pt x="270" y="2"/>
                    </a:cubicBezTo>
                    <a:cubicBezTo>
                      <a:pt x="252" y="0"/>
                      <a:pt x="247" y="24"/>
                      <a:pt x="247" y="24"/>
                    </a:cubicBezTo>
                    <a:cubicBezTo>
                      <a:pt x="247" y="24"/>
                      <a:pt x="230" y="33"/>
                      <a:pt x="215" y="37"/>
                    </a:cubicBezTo>
                    <a:cubicBezTo>
                      <a:pt x="199" y="41"/>
                      <a:pt x="211" y="48"/>
                      <a:pt x="202" y="51"/>
                    </a:cubicBezTo>
                    <a:cubicBezTo>
                      <a:pt x="192" y="53"/>
                      <a:pt x="182" y="40"/>
                      <a:pt x="178" y="39"/>
                    </a:cubicBezTo>
                    <a:cubicBezTo>
                      <a:pt x="173" y="37"/>
                      <a:pt x="164" y="44"/>
                      <a:pt x="164" y="44"/>
                    </a:cubicBezTo>
                    <a:cubicBezTo>
                      <a:pt x="164" y="44"/>
                      <a:pt x="141" y="45"/>
                      <a:pt x="129" y="46"/>
                    </a:cubicBezTo>
                    <a:cubicBezTo>
                      <a:pt x="116" y="47"/>
                      <a:pt x="122" y="37"/>
                      <a:pt x="115" y="37"/>
                    </a:cubicBezTo>
                    <a:cubicBezTo>
                      <a:pt x="110" y="37"/>
                      <a:pt x="111" y="48"/>
                      <a:pt x="111" y="48"/>
                    </a:cubicBezTo>
                    <a:cubicBezTo>
                      <a:pt x="107" y="47"/>
                      <a:pt x="107" y="47"/>
                      <a:pt x="107" y="47"/>
                    </a:cubicBezTo>
                    <a:cubicBezTo>
                      <a:pt x="105" y="52"/>
                      <a:pt x="105" y="52"/>
                      <a:pt x="105" y="52"/>
                    </a:cubicBezTo>
                    <a:cubicBezTo>
                      <a:pt x="93" y="67"/>
                      <a:pt x="93" y="67"/>
                      <a:pt x="93" y="67"/>
                    </a:cubicBezTo>
                    <a:cubicBezTo>
                      <a:pt x="84" y="67"/>
                      <a:pt x="84" y="67"/>
                      <a:pt x="84" y="67"/>
                    </a:cubicBezTo>
                    <a:cubicBezTo>
                      <a:pt x="81" y="70"/>
                      <a:pt x="81" y="70"/>
                      <a:pt x="81" y="70"/>
                    </a:cubicBezTo>
                    <a:cubicBezTo>
                      <a:pt x="70" y="87"/>
                      <a:pt x="70" y="87"/>
                      <a:pt x="70" y="87"/>
                    </a:cubicBezTo>
                    <a:cubicBezTo>
                      <a:pt x="71" y="94"/>
                      <a:pt x="71" y="94"/>
                      <a:pt x="71" y="94"/>
                    </a:cubicBezTo>
                    <a:cubicBezTo>
                      <a:pt x="67" y="97"/>
                      <a:pt x="67" y="97"/>
                      <a:pt x="67" y="97"/>
                    </a:cubicBezTo>
                    <a:cubicBezTo>
                      <a:pt x="65" y="108"/>
                      <a:pt x="65" y="108"/>
                      <a:pt x="65" y="108"/>
                    </a:cubicBezTo>
                    <a:cubicBezTo>
                      <a:pt x="58" y="119"/>
                      <a:pt x="58" y="119"/>
                      <a:pt x="58" y="119"/>
                    </a:cubicBezTo>
                    <a:cubicBezTo>
                      <a:pt x="59" y="125"/>
                      <a:pt x="59" y="125"/>
                      <a:pt x="59" y="125"/>
                    </a:cubicBezTo>
                    <a:cubicBezTo>
                      <a:pt x="53" y="135"/>
                      <a:pt x="53" y="135"/>
                      <a:pt x="53" y="135"/>
                    </a:cubicBezTo>
                    <a:cubicBezTo>
                      <a:pt x="55" y="140"/>
                      <a:pt x="55" y="140"/>
                      <a:pt x="55" y="140"/>
                    </a:cubicBezTo>
                    <a:cubicBezTo>
                      <a:pt x="49" y="148"/>
                      <a:pt x="49" y="148"/>
                      <a:pt x="49" y="148"/>
                    </a:cubicBezTo>
                    <a:cubicBezTo>
                      <a:pt x="45" y="148"/>
                      <a:pt x="45" y="148"/>
                      <a:pt x="45" y="148"/>
                    </a:cubicBezTo>
                    <a:cubicBezTo>
                      <a:pt x="47" y="161"/>
                      <a:pt x="47" y="161"/>
                      <a:pt x="47" y="161"/>
                    </a:cubicBezTo>
                    <a:cubicBezTo>
                      <a:pt x="43" y="164"/>
                      <a:pt x="43" y="164"/>
                      <a:pt x="43" y="164"/>
                    </a:cubicBezTo>
                    <a:cubicBezTo>
                      <a:pt x="43" y="164"/>
                      <a:pt x="45" y="170"/>
                      <a:pt x="42" y="173"/>
                    </a:cubicBezTo>
                    <a:cubicBezTo>
                      <a:pt x="39" y="177"/>
                      <a:pt x="33" y="173"/>
                      <a:pt x="27" y="174"/>
                    </a:cubicBezTo>
                    <a:cubicBezTo>
                      <a:pt x="22" y="175"/>
                      <a:pt x="24" y="182"/>
                      <a:pt x="21" y="183"/>
                    </a:cubicBezTo>
                    <a:cubicBezTo>
                      <a:pt x="17" y="184"/>
                      <a:pt x="12" y="181"/>
                      <a:pt x="12" y="181"/>
                    </a:cubicBezTo>
                    <a:cubicBezTo>
                      <a:pt x="10" y="184"/>
                      <a:pt x="10" y="184"/>
                      <a:pt x="10" y="184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7" y="195"/>
                      <a:pt x="7" y="195"/>
                      <a:pt x="7" y="195"/>
                    </a:cubicBezTo>
                    <a:cubicBezTo>
                      <a:pt x="12" y="194"/>
                      <a:pt x="12" y="194"/>
                      <a:pt x="12" y="194"/>
                    </a:cubicBezTo>
                    <a:cubicBezTo>
                      <a:pt x="15" y="197"/>
                      <a:pt x="15" y="197"/>
                      <a:pt x="15" y="197"/>
                    </a:cubicBezTo>
                    <a:cubicBezTo>
                      <a:pt x="17" y="197"/>
                      <a:pt x="17" y="197"/>
                      <a:pt x="17" y="197"/>
                    </a:cubicBezTo>
                    <a:cubicBezTo>
                      <a:pt x="17" y="197"/>
                      <a:pt x="18" y="208"/>
                      <a:pt x="22" y="208"/>
                    </a:cubicBezTo>
                    <a:cubicBezTo>
                      <a:pt x="25" y="208"/>
                      <a:pt x="31" y="205"/>
                      <a:pt x="31" y="205"/>
                    </a:cubicBezTo>
                    <a:cubicBezTo>
                      <a:pt x="28" y="216"/>
                      <a:pt x="28" y="216"/>
                      <a:pt x="28" y="216"/>
                    </a:cubicBezTo>
                    <a:cubicBezTo>
                      <a:pt x="33" y="219"/>
                      <a:pt x="33" y="219"/>
                      <a:pt x="33" y="219"/>
                    </a:cubicBezTo>
                    <a:cubicBezTo>
                      <a:pt x="30" y="224"/>
                      <a:pt x="30" y="224"/>
                      <a:pt x="30" y="224"/>
                    </a:cubicBezTo>
                    <a:cubicBezTo>
                      <a:pt x="45" y="235"/>
                      <a:pt x="45" y="235"/>
                      <a:pt x="45" y="235"/>
                    </a:cubicBezTo>
                    <a:cubicBezTo>
                      <a:pt x="50" y="233"/>
                      <a:pt x="50" y="233"/>
                      <a:pt x="50" y="233"/>
                    </a:cubicBezTo>
                    <a:cubicBezTo>
                      <a:pt x="55" y="237"/>
                      <a:pt x="55" y="237"/>
                      <a:pt x="55" y="237"/>
                    </a:cubicBezTo>
                    <a:cubicBezTo>
                      <a:pt x="55" y="237"/>
                      <a:pt x="67" y="231"/>
                      <a:pt x="68" y="239"/>
                    </a:cubicBezTo>
                    <a:cubicBezTo>
                      <a:pt x="68" y="247"/>
                      <a:pt x="63" y="254"/>
                      <a:pt x="63" y="254"/>
                    </a:cubicBezTo>
                    <a:cubicBezTo>
                      <a:pt x="72" y="256"/>
                      <a:pt x="72" y="256"/>
                      <a:pt x="72" y="256"/>
                    </a:cubicBezTo>
                    <a:cubicBezTo>
                      <a:pt x="71" y="260"/>
                      <a:pt x="71" y="260"/>
                      <a:pt x="71" y="260"/>
                    </a:cubicBezTo>
                    <a:cubicBezTo>
                      <a:pt x="63" y="263"/>
                      <a:pt x="63" y="263"/>
                      <a:pt x="63" y="263"/>
                    </a:cubicBezTo>
                    <a:cubicBezTo>
                      <a:pt x="63" y="263"/>
                      <a:pt x="72" y="265"/>
                      <a:pt x="75" y="266"/>
                    </a:cubicBezTo>
                    <a:cubicBezTo>
                      <a:pt x="77" y="267"/>
                      <a:pt x="79" y="272"/>
                      <a:pt x="83" y="273"/>
                    </a:cubicBezTo>
                    <a:cubicBezTo>
                      <a:pt x="88" y="275"/>
                      <a:pt x="92" y="268"/>
                      <a:pt x="95" y="271"/>
                    </a:cubicBezTo>
                    <a:cubicBezTo>
                      <a:pt x="99" y="273"/>
                      <a:pt x="99" y="282"/>
                      <a:pt x="103" y="281"/>
                    </a:cubicBezTo>
                    <a:cubicBezTo>
                      <a:pt x="107" y="281"/>
                      <a:pt x="108" y="263"/>
                      <a:pt x="115" y="263"/>
                    </a:cubicBezTo>
                    <a:cubicBezTo>
                      <a:pt x="124" y="265"/>
                      <a:pt x="130" y="270"/>
                      <a:pt x="130" y="270"/>
                    </a:cubicBezTo>
                    <a:cubicBezTo>
                      <a:pt x="129" y="274"/>
                      <a:pt x="129" y="274"/>
                      <a:pt x="129" y="274"/>
                    </a:cubicBezTo>
                    <a:cubicBezTo>
                      <a:pt x="125" y="272"/>
                      <a:pt x="125" y="272"/>
                      <a:pt x="125" y="272"/>
                    </a:cubicBezTo>
                    <a:cubicBezTo>
                      <a:pt x="123" y="278"/>
                      <a:pt x="123" y="278"/>
                      <a:pt x="123" y="278"/>
                    </a:cubicBezTo>
                    <a:cubicBezTo>
                      <a:pt x="120" y="278"/>
                      <a:pt x="120" y="278"/>
                      <a:pt x="120" y="278"/>
                    </a:cubicBezTo>
                    <a:cubicBezTo>
                      <a:pt x="123" y="290"/>
                      <a:pt x="123" y="290"/>
                      <a:pt x="123" y="290"/>
                    </a:cubicBezTo>
                    <a:cubicBezTo>
                      <a:pt x="123" y="290"/>
                      <a:pt x="129" y="286"/>
                      <a:pt x="130" y="290"/>
                    </a:cubicBezTo>
                    <a:cubicBezTo>
                      <a:pt x="131" y="291"/>
                      <a:pt x="130" y="293"/>
                      <a:pt x="129" y="294"/>
                    </a:cubicBezTo>
                    <a:cubicBezTo>
                      <a:pt x="133" y="296"/>
                      <a:pt x="139" y="299"/>
                      <a:pt x="141" y="299"/>
                    </a:cubicBezTo>
                    <a:cubicBezTo>
                      <a:pt x="145" y="300"/>
                      <a:pt x="148" y="298"/>
                      <a:pt x="148" y="302"/>
                    </a:cubicBezTo>
                    <a:cubicBezTo>
                      <a:pt x="149" y="307"/>
                      <a:pt x="142" y="306"/>
                      <a:pt x="141" y="312"/>
                    </a:cubicBezTo>
                    <a:cubicBezTo>
                      <a:pt x="141" y="317"/>
                      <a:pt x="145" y="318"/>
                      <a:pt x="151" y="318"/>
                    </a:cubicBezTo>
                    <a:cubicBezTo>
                      <a:pt x="156" y="319"/>
                      <a:pt x="166" y="310"/>
                      <a:pt x="170" y="310"/>
                    </a:cubicBezTo>
                    <a:cubicBezTo>
                      <a:pt x="173" y="310"/>
                      <a:pt x="179" y="314"/>
                      <a:pt x="179" y="314"/>
                    </a:cubicBezTo>
                    <a:cubicBezTo>
                      <a:pt x="187" y="314"/>
                      <a:pt x="187" y="314"/>
                      <a:pt x="187" y="314"/>
                    </a:cubicBezTo>
                    <a:cubicBezTo>
                      <a:pt x="187" y="314"/>
                      <a:pt x="196" y="319"/>
                      <a:pt x="206" y="318"/>
                    </a:cubicBezTo>
                    <a:cubicBezTo>
                      <a:pt x="217" y="317"/>
                      <a:pt x="218" y="312"/>
                      <a:pt x="221" y="309"/>
                    </a:cubicBezTo>
                    <a:cubicBezTo>
                      <a:pt x="225" y="308"/>
                      <a:pt x="226" y="310"/>
                      <a:pt x="229" y="310"/>
                    </a:cubicBezTo>
                    <a:cubicBezTo>
                      <a:pt x="234" y="312"/>
                      <a:pt x="243" y="307"/>
                      <a:pt x="243" y="307"/>
                    </a:cubicBezTo>
                    <a:cubicBezTo>
                      <a:pt x="250" y="310"/>
                      <a:pt x="250" y="310"/>
                      <a:pt x="250" y="310"/>
                    </a:cubicBezTo>
                    <a:cubicBezTo>
                      <a:pt x="256" y="307"/>
                      <a:pt x="256" y="307"/>
                      <a:pt x="256" y="307"/>
                    </a:cubicBezTo>
                    <a:cubicBezTo>
                      <a:pt x="256" y="307"/>
                      <a:pt x="258" y="312"/>
                      <a:pt x="271" y="309"/>
                    </a:cubicBezTo>
                    <a:cubicBezTo>
                      <a:pt x="283" y="306"/>
                      <a:pt x="286" y="298"/>
                      <a:pt x="290" y="292"/>
                    </a:cubicBezTo>
                    <a:cubicBezTo>
                      <a:pt x="294" y="286"/>
                      <a:pt x="302" y="276"/>
                      <a:pt x="308" y="275"/>
                    </a:cubicBezTo>
                    <a:cubicBezTo>
                      <a:pt x="313" y="274"/>
                      <a:pt x="328" y="265"/>
                      <a:pt x="337" y="262"/>
                    </a:cubicBezTo>
                    <a:cubicBezTo>
                      <a:pt x="345" y="259"/>
                      <a:pt x="351" y="267"/>
                      <a:pt x="355" y="268"/>
                    </a:cubicBezTo>
                    <a:cubicBezTo>
                      <a:pt x="359" y="269"/>
                      <a:pt x="365" y="262"/>
                      <a:pt x="367" y="262"/>
                    </a:cubicBezTo>
                    <a:cubicBezTo>
                      <a:pt x="369" y="262"/>
                      <a:pt x="369" y="267"/>
                      <a:pt x="372" y="268"/>
                    </a:cubicBezTo>
                    <a:cubicBezTo>
                      <a:pt x="375" y="269"/>
                      <a:pt x="381" y="262"/>
                      <a:pt x="381" y="262"/>
                    </a:cubicBezTo>
                    <a:cubicBezTo>
                      <a:pt x="385" y="272"/>
                      <a:pt x="385" y="272"/>
                      <a:pt x="385" y="272"/>
                    </a:cubicBezTo>
                    <a:cubicBezTo>
                      <a:pt x="385" y="272"/>
                      <a:pt x="393" y="274"/>
                      <a:pt x="397" y="274"/>
                    </a:cubicBezTo>
                    <a:cubicBezTo>
                      <a:pt x="401" y="275"/>
                      <a:pt x="413" y="273"/>
                      <a:pt x="413" y="273"/>
                    </a:cubicBezTo>
                    <a:cubicBezTo>
                      <a:pt x="413" y="273"/>
                      <a:pt x="415" y="265"/>
                      <a:pt x="414" y="257"/>
                    </a:cubicBezTo>
                    <a:cubicBezTo>
                      <a:pt x="414" y="249"/>
                      <a:pt x="408" y="239"/>
                      <a:pt x="408" y="239"/>
                    </a:cubicBezTo>
                    <a:cubicBezTo>
                      <a:pt x="419" y="214"/>
                      <a:pt x="419" y="214"/>
                      <a:pt x="419" y="214"/>
                    </a:cubicBezTo>
                    <a:cubicBezTo>
                      <a:pt x="411" y="221"/>
                      <a:pt x="411" y="221"/>
                      <a:pt x="411" y="221"/>
                    </a:cubicBezTo>
                    <a:cubicBezTo>
                      <a:pt x="411" y="209"/>
                      <a:pt x="411" y="209"/>
                      <a:pt x="411" y="209"/>
                    </a:cubicBezTo>
                    <a:cubicBezTo>
                      <a:pt x="407" y="207"/>
                      <a:pt x="407" y="207"/>
                      <a:pt x="407" y="207"/>
                    </a:cubicBezTo>
                    <a:cubicBezTo>
                      <a:pt x="415" y="203"/>
                      <a:pt x="415" y="203"/>
                      <a:pt x="415" y="203"/>
                    </a:cubicBezTo>
                    <a:cubicBezTo>
                      <a:pt x="415" y="203"/>
                      <a:pt x="411" y="197"/>
                      <a:pt x="413" y="191"/>
                    </a:cubicBezTo>
                    <a:cubicBezTo>
                      <a:pt x="414" y="184"/>
                      <a:pt x="421" y="189"/>
                      <a:pt x="421" y="189"/>
                    </a:cubicBezTo>
                    <a:cubicBezTo>
                      <a:pt x="420" y="193"/>
                      <a:pt x="420" y="193"/>
                      <a:pt x="420" y="193"/>
                    </a:cubicBezTo>
                    <a:cubicBezTo>
                      <a:pt x="422" y="198"/>
                      <a:pt x="422" y="198"/>
                      <a:pt x="422" y="198"/>
                    </a:cubicBezTo>
                    <a:cubicBezTo>
                      <a:pt x="424" y="195"/>
                      <a:pt x="424" y="195"/>
                      <a:pt x="424" y="195"/>
                    </a:cubicBezTo>
                    <a:cubicBezTo>
                      <a:pt x="426" y="198"/>
                      <a:pt x="426" y="198"/>
                      <a:pt x="426" y="198"/>
                    </a:cubicBezTo>
                    <a:cubicBezTo>
                      <a:pt x="419" y="204"/>
                      <a:pt x="419" y="204"/>
                      <a:pt x="419" y="204"/>
                    </a:cubicBezTo>
                    <a:cubicBezTo>
                      <a:pt x="423" y="207"/>
                      <a:pt x="423" y="207"/>
                      <a:pt x="423" y="207"/>
                    </a:cubicBezTo>
                    <a:cubicBezTo>
                      <a:pt x="423" y="207"/>
                      <a:pt x="428" y="202"/>
                      <a:pt x="431" y="199"/>
                    </a:cubicBezTo>
                    <a:cubicBezTo>
                      <a:pt x="434" y="198"/>
                      <a:pt x="439" y="198"/>
                      <a:pt x="443" y="192"/>
                    </a:cubicBezTo>
                    <a:cubicBezTo>
                      <a:pt x="448" y="187"/>
                      <a:pt x="443" y="167"/>
                      <a:pt x="443" y="167"/>
                    </a:cubicBezTo>
                    <a:close/>
                    <a:moveTo>
                      <a:pt x="415" y="211"/>
                    </a:moveTo>
                    <a:cubicBezTo>
                      <a:pt x="418" y="212"/>
                      <a:pt x="418" y="212"/>
                      <a:pt x="418" y="212"/>
                    </a:cubicBezTo>
                    <a:cubicBezTo>
                      <a:pt x="420" y="209"/>
                      <a:pt x="420" y="209"/>
                      <a:pt x="420" y="209"/>
                    </a:cubicBezTo>
                    <a:cubicBezTo>
                      <a:pt x="418" y="207"/>
                      <a:pt x="418" y="207"/>
                      <a:pt x="418" y="207"/>
                    </a:cubicBezTo>
                    <a:lnTo>
                      <a:pt x="415" y="211"/>
                    </a:ln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53" name="Portugal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2684463" y="4979988"/>
                <a:ext cx="431800" cy="715962"/>
              </a:xfrm>
              <a:custGeom>
                <a:avLst/>
                <a:gdLst/>
                <a:ahLst/>
                <a:cxnLst>
                  <a:cxn ang="0">
                    <a:pos x="89" y="295"/>
                  </a:cxn>
                  <a:cxn ang="0">
                    <a:pos x="102" y="279"/>
                  </a:cxn>
                  <a:cxn ang="0">
                    <a:pos x="120" y="271"/>
                  </a:cxn>
                  <a:cxn ang="0">
                    <a:pos x="113" y="267"/>
                  </a:cxn>
                  <a:cxn ang="0">
                    <a:pos x="113" y="231"/>
                  </a:cxn>
                  <a:cxn ang="0">
                    <a:pos x="133" y="213"/>
                  </a:cxn>
                  <a:cxn ang="0">
                    <a:pos x="118" y="190"/>
                  </a:cxn>
                  <a:cxn ang="0">
                    <a:pos x="117" y="183"/>
                  </a:cxn>
                  <a:cxn ang="0">
                    <a:pos x="138" y="173"/>
                  </a:cxn>
                  <a:cxn ang="0">
                    <a:pos x="145" y="165"/>
                  </a:cxn>
                  <a:cxn ang="0">
                    <a:pos x="146" y="142"/>
                  </a:cxn>
                  <a:cxn ang="0">
                    <a:pos x="159" y="133"/>
                  </a:cxn>
                  <a:cxn ang="0">
                    <a:pos x="165" y="100"/>
                  </a:cxn>
                  <a:cxn ang="0">
                    <a:pos x="169" y="88"/>
                  </a:cxn>
                  <a:cxn ang="0">
                    <a:pos x="183" y="78"/>
                  </a:cxn>
                  <a:cxn ang="0">
                    <a:pos x="203" y="57"/>
                  </a:cxn>
                  <a:cxn ang="0">
                    <a:pos x="190" y="44"/>
                  </a:cxn>
                  <a:cxn ang="0">
                    <a:pos x="183" y="30"/>
                  </a:cxn>
                  <a:cxn ang="0">
                    <a:pos x="179" y="31"/>
                  </a:cxn>
                  <a:cxn ang="0">
                    <a:pos x="164" y="24"/>
                  </a:cxn>
                  <a:cxn ang="0">
                    <a:pos x="147" y="27"/>
                  </a:cxn>
                  <a:cxn ang="0">
                    <a:pos x="135" y="23"/>
                  </a:cxn>
                  <a:cxn ang="0">
                    <a:pos x="125" y="21"/>
                  </a:cxn>
                  <a:cxn ang="0">
                    <a:pos x="120" y="10"/>
                  </a:cxn>
                  <a:cxn ang="0">
                    <a:pos x="116" y="6"/>
                  </a:cxn>
                  <a:cxn ang="0">
                    <a:pos x="109" y="4"/>
                  </a:cxn>
                  <a:cxn ang="0">
                    <a:pos x="90" y="6"/>
                  </a:cxn>
                  <a:cxn ang="0">
                    <a:pos x="78" y="14"/>
                  </a:cxn>
                  <a:cxn ang="0">
                    <a:pos x="82" y="21"/>
                  </a:cxn>
                  <a:cxn ang="0">
                    <a:pos x="79" y="30"/>
                  </a:cxn>
                  <a:cxn ang="0">
                    <a:pos x="79" y="67"/>
                  </a:cxn>
                  <a:cxn ang="0">
                    <a:pos x="70" y="89"/>
                  </a:cxn>
                  <a:cxn ang="0">
                    <a:pos x="77" y="81"/>
                  </a:cxn>
                  <a:cxn ang="0">
                    <a:pos x="77" y="90"/>
                  </a:cxn>
                  <a:cxn ang="0">
                    <a:pos x="53" y="115"/>
                  </a:cxn>
                  <a:cxn ang="0">
                    <a:pos x="39" y="147"/>
                  </a:cxn>
                  <a:cxn ang="0">
                    <a:pos x="35" y="155"/>
                  </a:cxn>
                  <a:cxn ang="0">
                    <a:pos x="28" y="164"/>
                  </a:cxn>
                  <a:cxn ang="0">
                    <a:pos x="17" y="165"/>
                  </a:cxn>
                  <a:cxn ang="0">
                    <a:pos x="10" y="181"/>
                  </a:cxn>
                  <a:cxn ang="0">
                    <a:pos x="2" y="197"/>
                  </a:cxn>
                  <a:cxn ang="0">
                    <a:pos x="17" y="209"/>
                  </a:cxn>
                  <a:cxn ang="0">
                    <a:pos x="30" y="207"/>
                  </a:cxn>
                  <a:cxn ang="0">
                    <a:pos x="20" y="216"/>
                  </a:cxn>
                  <a:cxn ang="0">
                    <a:pos x="12" y="213"/>
                  </a:cxn>
                  <a:cxn ang="0">
                    <a:pos x="11" y="226"/>
                  </a:cxn>
                  <a:cxn ang="0">
                    <a:pos x="29" y="225"/>
                  </a:cxn>
                  <a:cxn ang="0">
                    <a:pos x="36" y="224"/>
                  </a:cxn>
                  <a:cxn ang="0">
                    <a:pos x="40" y="233"/>
                  </a:cxn>
                  <a:cxn ang="0">
                    <a:pos x="30" y="228"/>
                  </a:cxn>
                  <a:cxn ang="0">
                    <a:pos x="19" y="260"/>
                  </a:cxn>
                  <a:cxn ang="0">
                    <a:pos x="21" y="275"/>
                  </a:cxn>
                  <a:cxn ang="0">
                    <a:pos x="16" y="297"/>
                  </a:cxn>
                  <a:cxn ang="0">
                    <a:pos x="10" y="308"/>
                  </a:cxn>
                  <a:cxn ang="0">
                    <a:pos x="0" y="322"/>
                  </a:cxn>
                  <a:cxn ang="0">
                    <a:pos x="51" y="334"/>
                  </a:cxn>
                  <a:cxn ang="0">
                    <a:pos x="73" y="328"/>
                  </a:cxn>
                  <a:cxn ang="0">
                    <a:pos x="85" y="311"/>
                  </a:cxn>
                </a:cxnLst>
                <a:rect l="0" t="0" r="r" b="b"/>
                <a:pathLst>
                  <a:path w="203" h="336">
                    <a:moveTo>
                      <a:pt x="83" y="304"/>
                    </a:moveTo>
                    <a:cubicBezTo>
                      <a:pt x="83" y="304"/>
                      <a:pt x="85" y="300"/>
                      <a:pt x="89" y="295"/>
                    </a:cubicBezTo>
                    <a:cubicBezTo>
                      <a:pt x="93" y="289"/>
                      <a:pt x="100" y="287"/>
                      <a:pt x="100" y="287"/>
                    </a:cubicBezTo>
                    <a:cubicBezTo>
                      <a:pt x="102" y="279"/>
                      <a:pt x="102" y="279"/>
                      <a:pt x="102" y="279"/>
                    </a:cubicBezTo>
                    <a:cubicBezTo>
                      <a:pt x="117" y="278"/>
                      <a:pt x="117" y="278"/>
                      <a:pt x="117" y="278"/>
                    </a:cubicBezTo>
                    <a:cubicBezTo>
                      <a:pt x="120" y="271"/>
                      <a:pt x="120" y="271"/>
                      <a:pt x="120" y="271"/>
                    </a:cubicBezTo>
                    <a:cubicBezTo>
                      <a:pt x="122" y="267"/>
                      <a:pt x="122" y="267"/>
                      <a:pt x="122" y="267"/>
                    </a:cubicBezTo>
                    <a:cubicBezTo>
                      <a:pt x="113" y="267"/>
                      <a:pt x="113" y="267"/>
                      <a:pt x="113" y="267"/>
                    </a:cubicBezTo>
                    <a:cubicBezTo>
                      <a:pt x="104" y="248"/>
                      <a:pt x="104" y="248"/>
                      <a:pt x="104" y="248"/>
                    </a:cubicBezTo>
                    <a:cubicBezTo>
                      <a:pt x="113" y="231"/>
                      <a:pt x="113" y="231"/>
                      <a:pt x="113" y="231"/>
                    </a:cubicBezTo>
                    <a:cubicBezTo>
                      <a:pt x="123" y="228"/>
                      <a:pt x="123" y="228"/>
                      <a:pt x="123" y="228"/>
                    </a:cubicBezTo>
                    <a:cubicBezTo>
                      <a:pt x="123" y="228"/>
                      <a:pt x="131" y="219"/>
                      <a:pt x="133" y="213"/>
                    </a:cubicBezTo>
                    <a:cubicBezTo>
                      <a:pt x="135" y="207"/>
                      <a:pt x="125" y="209"/>
                      <a:pt x="125" y="209"/>
                    </a:cubicBezTo>
                    <a:cubicBezTo>
                      <a:pt x="118" y="190"/>
                      <a:pt x="118" y="190"/>
                      <a:pt x="118" y="190"/>
                    </a:cubicBezTo>
                    <a:cubicBezTo>
                      <a:pt x="118" y="190"/>
                      <a:pt x="121" y="186"/>
                      <a:pt x="121" y="183"/>
                    </a:cubicBezTo>
                    <a:cubicBezTo>
                      <a:pt x="121" y="181"/>
                      <a:pt x="117" y="183"/>
                      <a:pt x="117" y="183"/>
                    </a:cubicBezTo>
                    <a:cubicBezTo>
                      <a:pt x="111" y="168"/>
                      <a:pt x="111" y="168"/>
                      <a:pt x="111" y="168"/>
                    </a:cubicBezTo>
                    <a:cubicBezTo>
                      <a:pt x="138" y="173"/>
                      <a:pt x="138" y="173"/>
                      <a:pt x="138" y="173"/>
                    </a:cubicBezTo>
                    <a:cubicBezTo>
                      <a:pt x="142" y="165"/>
                      <a:pt x="142" y="165"/>
                      <a:pt x="142" y="165"/>
                    </a:cubicBezTo>
                    <a:cubicBezTo>
                      <a:pt x="145" y="165"/>
                      <a:pt x="145" y="165"/>
                      <a:pt x="145" y="165"/>
                    </a:cubicBezTo>
                    <a:cubicBezTo>
                      <a:pt x="150" y="154"/>
                      <a:pt x="150" y="154"/>
                      <a:pt x="150" y="154"/>
                    </a:cubicBezTo>
                    <a:cubicBezTo>
                      <a:pt x="150" y="154"/>
                      <a:pt x="146" y="147"/>
                      <a:pt x="146" y="142"/>
                    </a:cubicBezTo>
                    <a:cubicBezTo>
                      <a:pt x="146" y="137"/>
                      <a:pt x="153" y="138"/>
                      <a:pt x="153" y="138"/>
                    </a:cubicBezTo>
                    <a:cubicBezTo>
                      <a:pt x="159" y="133"/>
                      <a:pt x="159" y="133"/>
                      <a:pt x="159" y="133"/>
                    </a:cubicBezTo>
                    <a:cubicBezTo>
                      <a:pt x="157" y="125"/>
                      <a:pt x="157" y="125"/>
                      <a:pt x="157" y="125"/>
                    </a:cubicBezTo>
                    <a:cubicBezTo>
                      <a:pt x="165" y="100"/>
                      <a:pt x="165" y="100"/>
                      <a:pt x="165" y="100"/>
                    </a:cubicBezTo>
                    <a:cubicBezTo>
                      <a:pt x="162" y="88"/>
                      <a:pt x="162" y="88"/>
                      <a:pt x="162" y="88"/>
                    </a:cubicBezTo>
                    <a:cubicBezTo>
                      <a:pt x="169" y="88"/>
                      <a:pt x="169" y="88"/>
                      <a:pt x="169" y="88"/>
                    </a:cubicBezTo>
                    <a:cubicBezTo>
                      <a:pt x="177" y="78"/>
                      <a:pt x="177" y="78"/>
                      <a:pt x="177" y="78"/>
                    </a:cubicBezTo>
                    <a:cubicBezTo>
                      <a:pt x="183" y="78"/>
                      <a:pt x="183" y="78"/>
                      <a:pt x="183" y="78"/>
                    </a:cubicBezTo>
                    <a:cubicBezTo>
                      <a:pt x="185" y="78"/>
                      <a:pt x="195" y="71"/>
                      <a:pt x="195" y="71"/>
                    </a:cubicBezTo>
                    <a:cubicBezTo>
                      <a:pt x="195" y="71"/>
                      <a:pt x="202" y="62"/>
                      <a:pt x="203" y="57"/>
                    </a:cubicBezTo>
                    <a:cubicBezTo>
                      <a:pt x="203" y="53"/>
                      <a:pt x="195" y="53"/>
                      <a:pt x="191" y="53"/>
                    </a:cubicBezTo>
                    <a:cubicBezTo>
                      <a:pt x="187" y="53"/>
                      <a:pt x="190" y="44"/>
                      <a:pt x="190" y="44"/>
                    </a:cubicBezTo>
                    <a:cubicBezTo>
                      <a:pt x="192" y="32"/>
                      <a:pt x="192" y="32"/>
                      <a:pt x="192" y="32"/>
                    </a:cubicBezTo>
                    <a:cubicBezTo>
                      <a:pt x="183" y="30"/>
                      <a:pt x="183" y="30"/>
                      <a:pt x="183" y="30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79" y="31"/>
                      <a:pt x="179" y="31"/>
                      <a:pt x="179" y="31"/>
                    </a:cubicBezTo>
                    <a:cubicBezTo>
                      <a:pt x="169" y="28"/>
                      <a:pt x="169" y="28"/>
                      <a:pt x="169" y="28"/>
                    </a:cubicBezTo>
                    <a:cubicBezTo>
                      <a:pt x="169" y="28"/>
                      <a:pt x="168" y="24"/>
                      <a:pt x="164" y="24"/>
                    </a:cubicBezTo>
                    <a:cubicBezTo>
                      <a:pt x="161" y="24"/>
                      <a:pt x="163" y="30"/>
                      <a:pt x="157" y="31"/>
                    </a:cubicBezTo>
                    <a:cubicBezTo>
                      <a:pt x="151" y="34"/>
                      <a:pt x="147" y="27"/>
                      <a:pt x="147" y="27"/>
                    </a:cubicBezTo>
                    <a:cubicBezTo>
                      <a:pt x="142" y="29"/>
                      <a:pt x="142" y="29"/>
                      <a:pt x="142" y="29"/>
                    </a:cubicBezTo>
                    <a:cubicBezTo>
                      <a:pt x="135" y="23"/>
                      <a:pt x="135" y="23"/>
                      <a:pt x="135" y="23"/>
                    </a:cubicBezTo>
                    <a:cubicBezTo>
                      <a:pt x="128" y="25"/>
                      <a:pt x="128" y="25"/>
                      <a:pt x="128" y="25"/>
                    </a:cubicBezTo>
                    <a:cubicBezTo>
                      <a:pt x="125" y="21"/>
                      <a:pt x="125" y="21"/>
                      <a:pt x="125" y="21"/>
                    </a:cubicBezTo>
                    <a:cubicBezTo>
                      <a:pt x="125" y="21"/>
                      <a:pt x="121" y="30"/>
                      <a:pt x="113" y="23"/>
                    </a:cubicBezTo>
                    <a:cubicBezTo>
                      <a:pt x="105" y="16"/>
                      <a:pt x="120" y="10"/>
                      <a:pt x="120" y="10"/>
                    </a:cubicBezTo>
                    <a:cubicBezTo>
                      <a:pt x="120" y="7"/>
                      <a:pt x="120" y="7"/>
                      <a:pt x="120" y="7"/>
                    </a:cubicBezTo>
                    <a:cubicBezTo>
                      <a:pt x="116" y="6"/>
                      <a:pt x="116" y="6"/>
                      <a:pt x="116" y="6"/>
                    </a:cubicBezTo>
                    <a:cubicBezTo>
                      <a:pt x="118" y="0"/>
                      <a:pt x="118" y="0"/>
                      <a:pt x="118" y="0"/>
                    </a:cubicBezTo>
                    <a:cubicBezTo>
                      <a:pt x="109" y="4"/>
                      <a:pt x="109" y="4"/>
                      <a:pt x="109" y="4"/>
                    </a:cubicBezTo>
                    <a:cubicBezTo>
                      <a:pt x="95" y="1"/>
                      <a:pt x="95" y="1"/>
                      <a:pt x="95" y="1"/>
                    </a:cubicBezTo>
                    <a:cubicBezTo>
                      <a:pt x="90" y="6"/>
                      <a:pt x="90" y="6"/>
                      <a:pt x="90" y="6"/>
                    </a:cubicBezTo>
                    <a:cubicBezTo>
                      <a:pt x="83" y="10"/>
                      <a:pt x="83" y="10"/>
                      <a:pt x="83" y="10"/>
                    </a:cubicBezTo>
                    <a:cubicBezTo>
                      <a:pt x="78" y="14"/>
                      <a:pt x="78" y="14"/>
                      <a:pt x="78" y="14"/>
                    </a:cubicBezTo>
                    <a:cubicBezTo>
                      <a:pt x="77" y="21"/>
                      <a:pt x="77" y="21"/>
                      <a:pt x="77" y="21"/>
                    </a:cubicBezTo>
                    <a:cubicBezTo>
                      <a:pt x="82" y="21"/>
                      <a:pt x="82" y="21"/>
                      <a:pt x="82" y="21"/>
                    </a:cubicBezTo>
                    <a:cubicBezTo>
                      <a:pt x="79" y="24"/>
                      <a:pt x="79" y="24"/>
                      <a:pt x="79" y="24"/>
                    </a:cubicBezTo>
                    <a:cubicBezTo>
                      <a:pt x="79" y="30"/>
                      <a:pt x="79" y="30"/>
                      <a:pt x="79" y="30"/>
                    </a:cubicBezTo>
                    <a:cubicBezTo>
                      <a:pt x="78" y="39"/>
                      <a:pt x="78" y="39"/>
                      <a:pt x="78" y="39"/>
                    </a:cubicBezTo>
                    <a:cubicBezTo>
                      <a:pt x="79" y="67"/>
                      <a:pt x="79" y="67"/>
                      <a:pt x="79" y="67"/>
                    </a:cubicBezTo>
                    <a:cubicBezTo>
                      <a:pt x="69" y="86"/>
                      <a:pt x="69" y="86"/>
                      <a:pt x="69" y="86"/>
                    </a:cubicBezTo>
                    <a:cubicBezTo>
                      <a:pt x="70" y="89"/>
                      <a:pt x="70" y="89"/>
                      <a:pt x="70" y="89"/>
                    </a:cubicBezTo>
                    <a:cubicBezTo>
                      <a:pt x="75" y="81"/>
                      <a:pt x="75" y="81"/>
                      <a:pt x="75" y="81"/>
                    </a:cubicBezTo>
                    <a:cubicBezTo>
                      <a:pt x="77" y="81"/>
                      <a:pt x="77" y="81"/>
                      <a:pt x="77" y="81"/>
                    </a:cubicBezTo>
                    <a:cubicBezTo>
                      <a:pt x="75" y="86"/>
                      <a:pt x="75" y="86"/>
                      <a:pt x="75" y="86"/>
                    </a:cubicBezTo>
                    <a:cubicBezTo>
                      <a:pt x="77" y="90"/>
                      <a:pt x="77" y="90"/>
                      <a:pt x="77" y="90"/>
                    </a:cubicBezTo>
                    <a:cubicBezTo>
                      <a:pt x="68" y="91"/>
                      <a:pt x="68" y="91"/>
                      <a:pt x="68" y="91"/>
                    </a:cubicBezTo>
                    <a:cubicBezTo>
                      <a:pt x="53" y="115"/>
                      <a:pt x="53" y="115"/>
                      <a:pt x="53" y="115"/>
                    </a:cubicBezTo>
                    <a:cubicBezTo>
                      <a:pt x="54" y="119"/>
                      <a:pt x="54" y="119"/>
                      <a:pt x="54" y="119"/>
                    </a:cubicBezTo>
                    <a:cubicBezTo>
                      <a:pt x="39" y="147"/>
                      <a:pt x="39" y="147"/>
                      <a:pt x="39" y="147"/>
                    </a:cubicBezTo>
                    <a:cubicBezTo>
                      <a:pt x="34" y="152"/>
                      <a:pt x="34" y="152"/>
                      <a:pt x="34" y="152"/>
                    </a:cubicBezTo>
                    <a:cubicBezTo>
                      <a:pt x="35" y="155"/>
                      <a:pt x="35" y="155"/>
                      <a:pt x="35" y="155"/>
                    </a:cubicBezTo>
                    <a:cubicBezTo>
                      <a:pt x="28" y="160"/>
                      <a:pt x="28" y="160"/>
                      <a:pt x="28" y="160"/>
                    </a:cubicBezTo>
                    <a:cubicBezTo>
                      <a:pt x="28" y="164"/>
                      <a:pt x="28" y="164"/>
                      <a:pt x="28" y="164"/>
                    </a:cubicBezTo>
                    <a:cubicBezTo>
                      <a:pt x="26" y="163"/>
                      <a:pt x="26" y="163"/>
                      <a:pt x="26" y="163"/>
                    </a:cubicBezTo>
                    <a:cubicBezTo>
                      <a:pt x="17" y="165"/>
                      <a:pt x="17" y="165"/>
                      <a:pt x="17" y="165"/>
                    </a:cubicBezTo>
                    <a:cubicBezTo>
                      <a:pt x="17" y="172"/>
                      <a:pt x="17" y="172"/>
                      <a:pt x="17" y="172"/>
                    </a:cubicBezTo>
                    <a:cubicBezTo>
                      <a:pt x="10" y="181"/>
                      <a:pt x="10" y="181"/>
                      <a:pt x="10" y="181"/>
                    </a:cubicBezTo>
                    <a:cubicBezTo>
                      <a:pt x="10" y="189"/>
                      <a:pt x="10" y="189"/>
                      <a:pt x="10" y="189"/>
                    </a:cubicBezTo>
                    <a:cubicBezTo>
                      <a:pt x="2" y="197"/>
                      <a:pt x="2" y="197"/>
                      <a:pt x="2" y="197"/>
                    </a:cubicBezTo>
                    <a:cubicBezTo>
                      <a:pt x="2" y="204"/>
                      <a:pt x="2" y="204"/>
                      <a:pt x="2" y="204"/>
                    </a:cubicBezTo>
                    <a:cubicBezTo>
                      <a:pt x="17" y="209"/>
                      <a:pt x="17" y="209"/>
                      <a:pt x="17" y="209"/>
                    </a:cubicBezTo>
                    <a:cubicBezTo>
                      <a:pt x="29" y="197"/>
                      <a:pt x="29" y="197"/>
                      <a:pt x="29" y="197"/>
                    </a:cubicBezTo>
                    <a:cubicBezTo>
                      <a:pt x="30" y="207"/>
                      <a:pt x="30" y="207"/>
                      <a:pt x="30" y="207"/>
                    </a:cubicBezTo>
                    <a:cubicBezTo>
                      <a:pt x="23" y="211"/>
                      <a:pt x="23" y="211"/>
                      <a:pt x="23" y="211"/>
                    </a:cubicBezTo>
                    <a:cubicBezTo>
                      <a:pt x="20" y="216"/>
                      <a:pt x="20" y="216"/>
                      <a:pt x="20" y="216"/>
                    </a:cubicBezTo>
                    <a:cubicBezTo>
                      <a:pt x="19" y="212"/>
                      <a:pt x="19" y="212"/>
                      <a:pt x="19" y="212"/>
                    </a:cubicBezTo>
                    <a:cubicBezTo>
                      <a:pt x="12" y="213"/>
                      <a:pt x="12" y="213"/>
                      <a:pt x="12" y="213"/>
                    </a:cubicBezTo>
                    <a:cubicBezTo>
                      <a:pt x="12" y="218"/>
                      <a:pt x="12" y="218"/>
                      <a:pt x="12" y="218"/>
                    </a:cubicBezTo>
                    <a:cubicBezTo>
                      <a:pt x="11" y="220"/>
                      <a:pt x="11" y="226"/>
                      <a:pt x="11" y="226"/>
                    </a:cubicBezTo>
                    <a:cubicBezTo>
                      <a:pt x="11" y="226"/>
                      <a:pt x="18" y="229"/>
                      <a:pt x="20" y="228"/>
                    </a:cubicBezTo>
                    <a:cubicBezTo>
                      <a:pt x="22" y="227"/>
                      <a:pt x="29" y="225"/>
                      <a:pt x="29" y="225"/>
                    </a:cubicBezTo>
                    <a:cubicBezTo>
                      <a:pt x="33" y="227"/>
                      <a:pt x="33" y="227"/>
                      <a:pt x="33" y="227"/>
                    </a:cubicBezTo>
                    <a:cubicBezTo>
                      <a:pt x="36" y="224"/>
                      <a:pt x="36" y="224"/>
                      <a:pt x="36" y="224"/>
                    </a:cubicBezTo>
                    <a:cubicBezTo>
                      <a:pt x="35" y="229"/>
                      <a:pt x="35" y="229"/>
                      <a:pt x="35" y="229"/>
                    </a:cubicBezTo>
                    <a:cubicBezTo>
                      <a:pt x="40" y="233"/>
                      <a:pt x="40" y="233"/>
                      <a:pt x="40" y="233"/>
                    </a:cubicBezTo>
                    <a:cubicBezTo>
                      <a:pt x="36" y="233"/>
                      <a:pt x="36" y="233"/>
                      <a:pt x="36" y="233"/>
                    </a:cubicBezTo>
                    <a:cubicBezTo>
                      <a:pt x="30" y="228"/>
                      <a:pt x="30" y="228"/>
                      <a:pt x="30" y="228"/>
                    </a:cubicBezTo>
                    <a:cubicBezTo>
                      <a:pt x="30" y="228"/>
                      <a:pt x="32" y="239"/>
                      <a:pt x="30" y="244"/>
                    </a:cubicBezTo>
                    <a:cubicBezTo>
                      <a:pt x="27" y="250"/>
                      <a:pt x="19" y="260"/>
                      <a:pt x="19" y="260"/>
                    </a:cubicBezTo>
                    <a:cubicBezTo>
                      <a:pt x="23" y="264"/>
                      <a:pt x="23" y="264"/>
                      <a:pt x="23" y="264"/>
                    </a:cubicBezTo>
                    <a:cubicBezTo>
                      <a:pt x="21" y="275"/>
                      <a:pt x="21" y="275"/>
                      <a:pt x="21" y="275"/>
                    </a:cubicBezTo>
                    <a:cubicBezTo>
                      <a:pt x="21" y="275"/>
                      <a:pt x="17" y="282"/>
                      <a:pt x="17" y="286"/>
                    </a:cubicBezTo>
                    <a:cubicBezTo>
                      <a:pt x="17" y="289"/>
                      <a:pt x="18" y="295"/>
                      <a:pt x="16" y="297"/>
                    </a:cubicBezTo>
                    <a:cubicBezTo>
                      <a:pt x="13" y="300"/>
                      <a:pt x="10" y="304"/>
                      <a:pt x="10" y="304"/>
                    </a:cubicBezTo>
                    <a:cubicBezTo>
                      <a:pt x="10" y="308"/>
                      <a:pt x="10" y="308"/>
                      <a:pt x="10" y="308"/>
                    </a:cubicBezTo>
                    <a:cubicBezTo>
                      <a:pt x="0" y="318"/>
                      <a:pt x="0" y="318"/>
                      <a:pt x="0" y="318"/>
                    </a:cubicBezTo>
                    <a:cubicBezTo>
                      <a:pt x="0" y="322"/>
                      <a:pt x="0" y="322"/>
                      <a:pt x="0" y="322"/>
                    </a:cubicBezTo>
                    <a:cubicBezTo>
                      <a:pt x="0" y="322"/>
                      <a:pt x="12" y="319"/>
                      <a:pt x="19" y="318"/>
                    </a:cubicBezTo>
                    <a:cubicBezTo>
                      <a:pt x="27" y="318"/>
                      <a:pt x="51" y="334"/>
                      <a:pt x="51" y="334"/>
                    </a:cubicBezTo>
                    <a:cubicBezTo>
                      <a:pt x="51" y="334"/>
                      <a:pt x="57" y="336"/>
                      <a:pt x="63" y="334"/>
                    </a:cubicBezTo>
                    <a:cubicBezTo>
                      <a:pt x="68" y="332"/>
                      <a:pt x="73" y="328"/>
                      <a:pt x="73" y="328"/>
                    </a:cubicBezTo>
                    <a:cubicBezTo>
                      <a:pt x="85" y="328"/>
                      <a:pt x="85" y="328"/>
                      <a:pt x="85" y="328"/>
                    </a:cubicBezTo>
                    <a:cubicBezTo>
                      <a:pt x="85" y="311"/>
                      <a:pt x="85" y="311"/>
                      <a:pt x="85" y="311"/>
                    </a:cubicBezTo>
                    <a:lnTo>
                      <a:pt x="83" y="304"/>
                    </a:ln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54" name="Poland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195888" y="3438525"/>
                <a:ext cx="917575" cy="757237"/>
              </a:xfrm>
              <a:custGeom>
                <a:avLst/>
                <a:gdLst/>
                <a:ahLst/>
                <a:cxnLst>
                  <a:cxn ang="0">
                    <a:pos x="430" y="225"/>
                  </a:cxn>
                  <a:cxn ang="0">
                    <a:pos x="402" y="196"/>
                  </a:cxn>
                  <a:cxn ang="0">
                    <a:pos x="398" y="168"/>
                  </a:cxn>
                  <a:cxn ang="0">
                    <a:pos x="390" y="146"/>
                  </a:cxn>
                  <a:cxn ang="0">
                    <a:pos x="398" y="112"/>
                  </a:cxn>
                  <a:cxn ang="0">
                    <a:pos x="393" y="84"/>
                  </a:cxn>
                  <a:cxn ang="0">
                    <a:pos x="376" y="44"/>
                  </a:cxn>
                  <a:cxn ang="0">
                    <a:pos x="364" y="17"/>
                  </a:cxn>
                  <a:cxn ang="0">
                    <a:pos x="337" y="9"/>
                  </a:cxn>
                  <a:cxn ang="0">
                    <a:pos x="224" y="18"/>
                  </a:cxn>
                  <a:cxn ang="0">
                    <a:pos x="216" y="26"/>
                  </a:cxn>
                  <a:cxn ang="0">
                    <a:pos x="204" y="33"/>
                  </a:cxn>
                  <a:cxn ang="0">
                    <a:pos x="212" y="23"/>
                  </a:cxn>
                  <a:cxn ang="0">
                    <a:pos x="211" y="22"/>
                  </a:cxn>
                  <a:cxn ang="0">
                    <a:pos x="173" y="8"/>
                  </a:cxn>
                  <a:cxn ang="0">
                    <a:pos x="175" y="5"/>
                  </a:cxn>
                  <a:cxn ang="0">
                    <a:pos x="123" y="9"/>
                  </a:cxn>
                  <a:cxn ang="0">
                    <a:pos x="88" y="30"/>
                  </a:cxn>
                  <a:cxn ang="0">
                    <a:pos x="38" y="46"/>
                  </a:cxn>
                  <a:cxn ang="0">
                    <a:pos x="6" y="60"/>
                  </a:cxn>
                  <a:cxn ang="0">
                    <a:pos x="16" y="63"/>
                  </a:cxn>
                  <a:cxn ang="0">
                    <a:pos x="24" y="58"/>
                  </a:cxn>
                  <a:cxn ang="0">
                    <a:pos x="19" y="80"/>
                  </a:cxn>
                  <a:cxn ang="0">
                    <a:pos x="22" y="88"/>
                  </a:cxn>
                  <a:cxn ang="0">
                    <a:pos x="6" y="83"/>
                  </a:cxn>
                  <a:cxn ang="0">
                    <a:pos x="2" y="124"/>
                  </a:cxn>
                  <a:cxn ang="0">
                    <a:pos x="19" y="163"/>
                  </a:cxn>
                  <a:cxn ang="0">
                    <a:pos x="24" y="195"/>
                  </a:cxn>
                  <a:cxn ang="0">
                    <a:pos x="39" y="226"/>
                  </a:cxn>
                  <a:cxn ang="0">
                    <a:pos x="36" y="261"/>
                  </a:cxn>
                  <a:cxn ang="0">
                    <a:pos x="44" y="258"/>
                  </a:cxn>
                  <a:cxn ang="0">
                    <a:pos x="58" y="264"/>
                  </a:cxn>
                  <a:cxn ang="0">
                    <a:pos x="88" y="275"/>
                  </a:cxn>
                  <a:cxn ang="0">
                    <a:pos x="109" y="280"/>
                  </a:cxn>
                  <a:cxn ang="0">
                    <a:pos x="114" y="308"/>
                  </a:cxn>
                  <a:cxn ang="0">
                    <a:pos x="134" y="302"/>
                  </a:cxn>
                  <a:cxn ang="0">
                    <a:pos x="127" y="287"/>
                  </a:cxn>
                  <a:cxn ang="0">
                    <a:pos x="162" y="293"/>
                  </a:cxn>
                  <a:cxn ang="0">
                    <a:pos x="166" y="308"/>
                  </a:cxn>
                  <a:cxn ang="0">
                    <a:pos x="176" y="309"/>
                  </a:cxn>
                  <a:cxn ang="0">
                    <a:pos x="205" y="329"/>
                  </a:cxn>
                  <a:cxn ang="0">
                    <a:pos x="221" y="340"/>
                  </a:cxn>
                  <a:cxn ang="0">
                    <a:pos x="234" y="339"/>
                  </a:cxn>
                  <a:cxn ang="0">
                    <a:pos x="248" y="341"/>
                  </a:cxn>
                  <a:cxn ang="0">
                    <a:pos x="257" y="342"/>
                  </a:cxn>
                  <a:cxn ang="0">
                    <a:pos x="265" y="353"/>
                  </a:cxn>
                  <a:cxn ang="0">
                    <a:pos x="288" y="339"/>
                  </a:cxn>
                  <a:cxn ang="0">
                    <a:pos x="314" y="337"/>
                  </a:cxn>
                  <a:cxn ang="0">
                    <a:pos x="343" y="335"/>
                  </a:cxn>
                  <a:cxn ang="0">
                    <a:pos x="381" y="348"/>
                  </a:cxn>
                  <a:cxn ang="0">
                    <a:pos x="386" y="341"/>
                  </a:cxn>
                  <a:cxn ang="0">
                    <a:pos x="392" y="301"/>
                  </a:cxn>
                  <a:cxn ang="0">
                    <a:pos x="428" y="254"/>
                  </a:cxn>
                </a:cxnLst>
                <a:rect l="0" t="0" r="r" b="b"/>
                <a:pathLst>
                  <a:path w="431" h="356">
                    <a:moveTo>
                      <a:pt x="422" y="231"/>
                    </a:moveTo>
                    <a:cubicBezTo>
                      <a:pt x="423" y="229"/>
                      <a:pt x="427" y="228"/>
                      <a:pt x="427" y="228"/>
                    </a:cubicBezTo>
                    <a:cubicBezTo>
                      <a:pt x="430" y="225"/>
                      <a:pt x="430" y="225"/>
                      <a:pt x="430" y="225"/>
                    </a:cubicBezTo>
                    <a:cubicBezTo>
                      <a:pt x="430" y="225"/>
                      <a:pt x="422" y="222"/>
                      <a:pt x="419" y="218"/>
                    </a:cubicBezTo>
                    <a:cubicBezTo>
                      <a:pt x="417" y="215"/>
                      <a:pt x="415" y="210"/>
                      <a:pt x="411" y="207"/>
                    </a:cubicBezTo>
                    <a:cubicBezTo>
                      <a:pt x="407" y="203"/>
                      <a:pt x="402" y="202"/>
                      <a:pt x="402" y="196"/>
                    </a:cubicBezTo>
                    <a:cubicBezTo>
                      <a:pt x="402" y="189"/>
                      <a:pt x="398" y="185"/>
                      <a:pt x="396" y="181"/>
                    </a:cubicBezTo>
                    <a:cubicBezTo>
                      <a:pt x="394" y="178"/>
                      <a:pt x="394" y="172"/>
                      <a:pt x="394" y="172"/>
                    </a:cubicBezTo>
                    <a:cubicBezTo>
                      <a:pt x="398" y="168"/>
                      <a:pt x="398" y="168"/>
                      <a:pt x="398" y="168"/>
                    </a:cubicBezTo>
                    <a:cubicBezTo>
                      <a:pt x="395" y="162"/>
                      <a:pt x="395" y="162"/>
                      <a:pt x="395" y="162"/>
                    </a:cubicBezTo>
                    <a:cubicBezTo>
                      <a:pt x="397" y="154"/>
                      <a:pt x="397" y="154"/>
                      <a:pt x="397" y="154"/>
                    </a:cubicBezTo>
                    <a:cubicBezTo>
                      <a:pt x="397" y="154"/>
                      <a:pt x="399" y="149"/>
                      <a:pt x="390" y="146"/>
                    </a:cubicBezTo>
                    <a:cubicBezTo>
                      <a:pt x="380" y="141"/>
                      <a:pt x="373" y="141"/>
                      <a:pt x="373" y="141"/>
                    </a:cubicBezTo>
                    <a:cubicBezTo>
                      <a:pt x="373" y="141"/>
                      <a:pt x="374" y="126"/>
                      <a:pt x="380" y="120"/>
                    </a:cubicBezTo>
                    <a:cubicBezTo>
                      <a:pt x="386" y="115"/>
                      <a:pt x="398" y="112"/>
                      <a:pt x="398" y="112"/>
                    </a:cubicBezTo>
                    <a:cubicBezTo>
                      <a:pt x="396" y="93"/>
                      <a:pt x="396" y="93"/>
                      <a:pt x="396" y="93"/>
                    </a:cubicBezTo>
                    <a:cubicBezTo>
                      <a:pt x="398" y="92"/>
                      <a:pt x="398" y="92"/>
                      <a:pt x="398" y="92"/>
                    </a:cubicBezTo>
                    <a:cubicBezTo>
                      <a:pt x="393" y="84"/>
                      <a:pt x="393" y="84"/>
                      <a:pt x="393" y="84"/>
                    </a:cubicBezTo>
                    <a:cubicBezTo>
                      <a:pt x="395" y="80"/>
                      <a:pt x="395" y="80"/>
                      <a:pt x="395" y="80"/>
                    </a:cubicBezTo>
                    <a:cubicBezTo>
                      <a:pt x="395" y="80"/>
                      <a:pt x="380" y="62"/>
                      <a:pt x="379" y="56"/>
                    </a:cubicBezTo>
                    <a:cubicBezTo>
                      <a:pt x="377" y="50"/>
                      <a:pt x="376" y="44"/>
                      <a:pt x="376" y="44"/>
                    </a:cubicBezTo>
                    <a:cubicBezTo>
                      <a:pt x="368" y="31"/>
                      <a:pt x="368" y="31"/>
                      <a:pt x="368" y="31"/>
                    </a:cubicBezTo>
                    <a:cubicBezTo>
                      <a:pt x="365" y="28"/>
                      <a:pt x="365" y="28"/>
                      <a:pt x="365" y="28"/>
                    </a:cubicBezTo>
                    <a:cubicBezTo>
                      <a:pt x="365" y="28"/>
                      <a:pt x="368" y="25"/>
                      <a:pt x="364" y="17"/>
                    </a:cubicBezTo>
                    <a:cubicBezTo>
                      <a:pt x="359" y="9"/>
                      <a:pt x="351" y="11"/>
                      <a:pt x="347" y="11"/>
                    </a:cubicBezTo>
                    <a:cubicBezTo>
                      <a:pt x="343" y="10"/>
                      <a:pt x="344" y="6"/>
                      <a:pt x="341" y="5"/>
                    </a:cubicBezTo>
                    <a:cubicBezTo>
                      <a:pt x="338" y="4"/>
                      <a:pt x="337" y="9"/>
                      <a:pt x="337" y="9"/>
                    </a:cubicBezTo>
                    <a:cubicBezTo>
                      <a:pt x="335" y="9"/>
                      <a:pt x="335" y="9"/>
                      <a:pt x="335" y="9"/>
                    </a:cubicBezTo>
                    <a:cubicBezTo>
                      <a:pt x="334" y="9"/>
                      <a:pt x="296" y="19"/>
                      <a:pt x="280" y="19"/>
                    </a:cubicBezTo>
                    <a:cubicBezTo>
                      <a:pt x="265" y="20"/>
                      <a:pt x="224" y="18"/>
                      <a:pt x="224" y="18"/>
                    </a:cubicBezTo>
                    <a:cubicBezTo>
                      <a:pt x="221" y="21"/>
                      <a:pt x="221" y="21"/>
                      <a:pt x="221" y="21"/>
                    </a:cubicBezTo>
                    <a:cubicBezTo>
                      <a:pt x="217" y="21"/>
                      <a:pt x="217" y="21"/>
                      <a:pt x="217" y="21"/>
                    </a:cubicBezTo>
                    <a:cubicBezTo>
                      <a:pt x="216" y="26"/>
                      <a:pt x="216" y="26"/>
                      <a:pt x="216" y="26"/>
                    </a:cubicBezTo>
                    <a:cubicBezTo>
                      <a:pt x="216" y="26"/>
                      <a:pt x="212" y="27"/>
                      <a:pt x="210" y="29"/>
                    </a:cubicBezTo>
                    <a:cubicBezTo>
                      <a:pt x="209" y="30"/>
                      <a:pt x="208" y="35"/>
                      <a:pt x="208" y="35"/>
                    </a:cubicBezTo>
                    <a:cubicBezTo>
                      <a:pt x="204" y="33"/>
                      <a:pt x="204" y="33"/>
                      <a:pt x="204" y="33"/>
                    </a:cubicBezTo>
                    <a:cubicBezTo>
                      <a:pt x="200" y="33"/>
                      <a:pt x="200" y="33"/>
                      <a:pt x="200" y="33"/>
                    </a:cubicBezTo>
                    <a:cubicBezTo>
                      <a:pt x="202" y="29"/>
                      <a:pt x="202" y="29"/>
                      <a:pt x="202" y="29"/>
                    </a:cubicBezTo>
                    <a:cubicBezTo>
                      <a:pt x="202" y="29"/>
                      <a:pt x="209" y="25"/>
                      <a:pt x="212" y="23"/>
                    </a:cubicBezTo>
                    <a:cubicBezTo>
                      <a:pt x="216" y="21"/>
                      <a:pt x="224" y="9"/>
                      <a:pt x="224" y="9"/>
                    </a:cubicBezTo>
                    <a:cubicBezTo>
                      <a:pt x="222" y="7"/>
                      <a:pt x="222" y="7"/>
                      <a:pt x="222" y="7"/>
                    </a:cubicBezTo>
                    <a:cubicBezTo>
                      <a:pt x="222" y="7"/>
                      <a:pt x="214" y="21"/>
                      <a:pt x="211" y="22"/>
                    </a:cubicBezTo>
                    <a:cubicBezTo>
                      <a:pt x="209" y="22"/>
                      <a:pt x="191" y="36"/>
                      <a:pt x="180" y="27"/>
                    </a:cubicBezTo>
                    <a:cubicBezTo>
                      <a:pt x="168" y="19"/>
                      <a:pt x="166" y="6"/>
                      <a:pt x="166" y="6"/>
                    </a:cubicBezTo>
                    <a:cubicBezTo>
                      <a:pt x="166" y="6"/>
                      <a:pt x="171" y="7"/>
                      <a:pt x="173" y="8"/>
                    </a:cubicBezTo>
                    <a:cubicBezTo>
                      <a:pt x="176" y="9"/>
                      <a:pt x="181" y="14"/>
                      <a:pt x="181" y="14"/>
                    </a:cubicBezTo>
                    <a:cubicBezTo>
                      <a:pt x="182" y="12"/>
                      <a:pt x="182" y="12"/>
                      <a:pt x="182" y="12"/>
                    </a:cubicBezTo>
                    <a:cubicBezTo>
                      <a:pt x="182" y="12"/>
                      <a:pt x="178" y="7"/>
                      <a:pt x="175" y="5"/>
                    </a:cubicBezTo>
                    <a:cubicBezTo>
                      <a:pt x="171" y="4"/>
                      <a:pt x="164" y="0"/>
                      <a:pt x="160" y="0"/>
                    </a:cubicBezTo>
                    <a:cubicBezTo>
                      <a:pt x="156" y="0"/>
                      <a:pt x="140" y="6"/>
                      <a:pt x="136" y="7"/>
                    </a:cubicBezTo>
                    <a:cubicBezTo>
                      <a:pt x="132" y="7"/>
                      <a:pt x="128" y="9"/>
                      <a:pt x="123" y="9"/>
                    </a:cubicBezTo>
                    <a:cubicBezTo>
                      <a:pt x="119" y="10"/>
                      <a:pt x="111" y="18"/>
                      <a:pt x="107" y="20"/>
                    </a:cubicBezTo>
                    <a:cubicBezTo>
                      <a:pt x="103" y="22"/>
                      <a:pt x="98" y="21"/>
                      <a:pt x="95" y="24"/>
                    </a:cubicBezTo>
                    <a:cubicBezTo>
                      <a:pt x="92" y="26"/>
                      <a:pt x="92" y="26"/>
                      <a:pt x="88" y="30"/>
                    </a:cubicBezTo>
                    <a:cubicBezTo>
                      <a:pt x="85" y="34"/>
                      <a:pt x="82" y="37"/>
                      <a:pt x="82" y="37"/>
                    </a:cubicBezTo>
                    <a:cubicBezTo>
                      <a:pt x="60" y="43"/>
                      <a:pt x="42" y="43"/>
                      <a:pt x="42" y="43"/>
                    </a:cubicBezTo>
                    <a:cubicBezTo>
                      <a:pt x="38" y="46"/>
                      <a:pt x="38" y="46"/>
                      <a:pt x="38" y="46"/>
                    </a:cubicBezTo>
                    <a:cubicBezTo>
                      <a:pt x="24" y="51"/>
                      <a:pt x="24" y="51"/>
                      <a:pt x="24" y="51"/>
                    </a:cubicBezTo>
                    <a:cubicBezTo>
                      <a:pt x="20" y="52"/>
                      <a:pt x="20" y="52"/>
                      <a:pt x="20" y="52"/>
                    </a:cubicBezTo>
                    <a:cubicBezTo>
                      <a:pt x="6" y="60"/>
                      <a:pt x="6" y="60"/>
                      <a:pt x="6" y="60"/>
                    </a:cubicBezTo>
                    <a:cubicBezTo>
                      <a:pt x="7" y="62"/>
                      <a:pt x="7" y="62"/>
                      <a:pt x="7" y="62"/>
                    </a:cubicBezTo>
                    <a:cubicBezTo>
                      <a:pt x="11" y="61"/>
                      <a:pt x="11" y="61"/>
                      <a:pt x="11" y="61"/>
                    </a:cubicBezTo>
                    <a:cubicBezTo>
                      <a:pt x="16" y="63"/>
                      <a:pt x="16" y="63"/>
                      <a:pt x="16" y="63"/>
                    </a:cubicBezTo>
                    <a:cubicBezTo>
                      <a:pt x="20" y="55"/>
                      <a:pt x="20" y="55"/>
                      <a:pt x="20" y="55"/>
                    </a:cubicBezTo>
                    <a:cubicBezTo>
                      <a:pt x="25" y="53"/>
                      <a:pt x="25" y="53"/>
                      <a:pt x="25" y="53"/>
                    </a:cubicBezTo>
                    <a:cubicBezTo>
                      <a:pt x="24" y="58"/>
                      <a:pt x="24" y="58"/>
                      <a:pt x="24" y="58"/>
                    </a:cubicBezTo>
                    <a:cubicBezTo>
                      <a:pt x="24" y="58"/>
                      <a:pt x="19" y="60"/>
                      <a:pt x="19" y="63"/>
                    </a:cubicBezTo>
                    <a:cubicBezTo>
                      <a:pt x="20" y="66"/>
                      <a:pt x="22" y="72"/>
                      <a:pt x="22" y="73"/>
                    </a:cubicBezTo>
                    <a:cubicBezTo>
                      <a:pt x="22" y="74"/>
                      <a:pt x="18" y="77"/>
                      <a:pt x="19" y="80"/>
                    </a:cubicBezTo>
                    <a:cubicBezTo>
                      <a:pt x="21" y="81"/>
                      <a:pt x="30" y="94"/>
                      <a:pt x="26" y="96"/>
                    </a:cubicBezTo>
                    <a:cubicBezTo>
                      <a:pt x="24" y="98"/>
                      <a:pt x="19" y="97"/>
                      <a:pt x="20" y="94"/>
                    </a:cubicBezTo>
                    <a:cubicBezTo>
                      <a:pt x="21" y="91"/>
                      <a:pt x="22" y="88"/>
                      <a:pt x="22" y="88"/>
                    </a:cubicBezTo>
                    <a:cubicBezTo>
                      <a:pt x="19" y="82"/>
                      <a:pt x="19" y="82"/>
                      <a:pt x="19" y="82"/>
                    </a:cubicBezTo>
                    <a:cubicBezTo>
                      <a:pt x="19" y="82"/>
                      <a:pt x="12" y="81"/>
                      <a:pt x="9" y="81"/>
                    </a:cubicBezTo>
                    <a:cubicBezTo>
                      <a:pt x="8" y="81"/>
                      <a:pt x="7" y="82"/>
                      <a:pt x="6" y="83"/>
                    </a:cubicBezTo>
                    <a:cubicBezTo>
                      <a:pt x="7" y="87"/>
                      <a:pt x="7" y="94"/>
                      <a:pt x="9" y="98"/>
                    </a:cubicBezTo>
                    <a:cubicBezTo>
                      <a:pt x="13" y="104"/>
                      <a:pt x="11" y="110"/>
                      <a:pt x="9" y="117"/>
                    </a:cubicBezTo>
                    <a:cubicBezTo>
                      <a:pt x="8" y="121"/>
                      <a:pt x="4" y="121"/>
                      <a:pt x="2" y="124"/>
                    </a:cubicBezTo>
                    <a:cubicBezTo>
                      <a:pt x="1" y="125"/>
                      <a:pt x="1" y="131"/>
                      <a:pt x="0" y="133"/>
                    </a:cubicBezTo>
                    <a:cubicBezTo>
                      <a:pt x="9" y="134"/>
                      <a:pt x="22" y="148"/>
                      <a:pt x="22" y="155"/>
                    </a:cubicBezTo>
                    <a:cubicBezTo>
                      <a:pt x="22" y="159"/>
                      <a:pt x="18" y="157"/>
                      <a:pt x="19" y="163"/>
                    </a:cubicBezTo>
                    <a:cubicBezTo>
                      <a:pt x="20" y="167"/>
                      <a:pt x="20" y="168"/>
                      <a:pt x="24" y="170"/>
                    </a:cubicBezTo>
                    <a:cubicBezTo>
                      <a:pt x="28" y="171"/>
                      <a:pt x="24" y="181"/>
                      <a:pt x="25" y="181"/>
                    </a:cubicBezTo>
                    <a:cubicBezTo>
                      <a:pt x="31" y="182"/>
                      <a:pt x="26" y="192"/>
                      <a:pt x="24" y="195"/>
                    </a:cubicBezTo>
                    <a:cubicBezTo>
                      <a:pt x="20" y="200"/>
                      <a:pt x="28" y="204"/>
                      <a:pt x="30" y="210"/>
                    </a:cubicBezTo>
                    <a:cubicBezTo>
                      <a:pt x="32" y="212"/>
                      <a:pt x="26" y="216"/>
                      <a:pt x="30" y="218"/>
                    </a:cubicBezTo>
                    <a:cubicBezTo>
                      <a:pt x="34" y="220"/>
                      <a:pt x="39" y="219"/>
                      <a:pt x="39" y="226"/>
                    </a:cubicBezTo>
                    <a:cubicBezTo>
                      <a:pt x="39" y="232"/>
                      <a:pt x="45" y="235"/>
                      <a:pt x="42" y="242"/>
                    </a:cubicBezTo>
                    <a:cubicBezTo>
                      <a:pt x="42" y="246"/>
                      <a:pt x="40" y="257"/>
                      <a:pt x="37" y="259"/>
                    </a:cubicBezTo>
                    <a:cubicBezTo>
                      <a:pt x="37" y="260"/>
                      <a:pt x="37" y="260"/>
                      <a:pt x="36" y="261"/>
                    </a:cubicBezTo>
                    <a:cubicBezTo>
                      <a:pt x="44" y="263"/>
                      <a:pt x="44" y="263"/>
                      <a:pt x="44" y="263"/>
                    </a:cubicBezTo>
                    <a:cubicBezTo>
                      <a:pt x="46" y="261"/>
                      <a:pt x="46" y="261"/>
                      <a:pt x="46" y="261"/>
                    </a:cubicBezTo>
                    <a:cubicBezTo>
                      <a:pt x="44" y="258"/>
                      <a:pt x="44" y="258"/>
                      <a:pt x="44" y="258"/>
                    </a:cubicBezTo>
                    <a:cubicBezTo>
                      <a:pt x="46" y="255"/>
                      <a:pt x="46" y="255"/>
                      <a:pt x="46" y="255"/>
                    </a:cubicBezTo>
                    <a:cubicBezTo>
                      <a:pt x="60" y="257"/>
                      <a:pt x="60" y="257"/>
                      <a:pt x="60" y="257"/>
                    </a:cubicBezTo>
                    <a:cubicBezTo>
                      <a:pt x="58" y="264"/>
                      <a:pt x="58" y="264"/>
                      <a:pt x="58" y="264"/>
                    </a:cubicBezTo>
                    <a:cubicBezTo>
                      <a:pt x="66" y="272"/>
                      <a:pt x="66" y="272"/>
                      <a:pt x="66" y="272"/>
                    </a:cubicBezTo>
                    <a:cubicBezTo>
                      <a:pt x="66" y="267"/>
                      <a:pt x="66" y="267"/>
                      <a:pt x="66" y="267"/>
                    </a:cubicBezTo>
                    <a:cubicBezTo>
                      <a:pt x="88" y="275"/>
                      <a:pt x="88" y="275"/>
                      <a:pt x="88" y="275"/>
                    </a:cubicBezTo>
                    <a:cubicBezTo>
                      <a:pt x="89" y="281"/>
                      <a:pt x="89" y="281"/>
                      <a:pt x="89" y="281"/>
                    </a:cubicBezTo>
                    <a:cubicBezTo>
                      <a:pt x="102" y="275"/>
                      <a:pt x="102" y="275"/>
                      <a:pt x="102" y="275"/>
                    </a:cubicBezTo>
                    <a:cubicBezTo>
                      <a:pt x="109" y="280"/>
                      <a:pt x="109" y="280"/>
                      <a:pt x="109" y="280"/>
                    </a:cubicBezTo>
                    <a:cubicBezTo>
                      <a:pt x="109" y="280"/>
                      <a:pt x="96" y="288"/>
                      <a:pt x="98" y="291"/>
                    </a:cubicBezTo>
                    <a:cubicBezTo>
                      <a:pt x="100" y="293"/>
                      <a:pt x="109" y="292"/>
                      <a:pt x="110" y="295"/>
                    </a:cubicBezTo>
                    <a:cubicBezTo>
                      <a:pt x="112" y="298"/>
                      <a:pt x="111" y="306"/>
                      <a:pt x="114" y="308"/>
                    </a:cubicBezTo>
                    <a:cubicBezTo>
                      <a:pt x="117" y="310"/>
                      <a:pt x="123" y="308"/>
                      <a:pt x="124" y="306"/>
                    </a:cubicBezTo>
                    <a:cubicBezTo>
                      <a:pt x="124" y="304"/>
                      <a:pt x="130" y="301"/>
                      <a:pt x="130" y="301"/>
                    </a:cubicBezTo>
                    <a:cubicBezTo>
                      <a:pt x="134" y="302"/>
                      <a:pt x="134" y="302"/>
                      <a:pt x="134" y="302"/>
                    </a:cubicBezTo>
                    <a:cubicBezTo>
                      <a:pt x="134" y="302"/>
                      <a:pt x="136" y="296"/>
                      <a:pt x="134" y="296"/>
                    </a:cubicBezTo>
                    <a:cubicBezTo>
                      <a:pt x="132" y="296"/>
                      <a:pt x="128" y="293"/>
                      <a:pt x="128" y="293"/>
                    </a:cubicBezTo>
                    <a:cubicBezTo>
                      <a:pt x="127" y="287"/>
                      <a:pt x="127" y="287"/>
                      <a:pt x="127" y="287"/>
                    </a:cubicBezTo>
                    <a:cubicBezTo>
                      <a:pt x="127" y="287"/>
                      <a:pt x="134" y="289"/>
                      <a:pt x="140" y="291"/>
                    </a:cubicBezTo>
                    <a:cubicBezTo>
                      <a:pt x="146" y="293"/>
                      <a:pt x="150" y="298"/>
                      <a:pt x="150" y="298"/>
                    </a:cubicBezTo>
                    <a:cubicBezTo>
                      <a:pt x="162" y="293"/>
                      <a:pt x="162" y="293"/>
                      <a:pt x="162" y="293"/>
                    </a:cubicBezTo>
                    <a:cubicBezTo>
                      <a:pt x="166" y="298"/>
                      <a:pt x="166" y="298"/>
                      <a:pt x="166" y="298"/>
                    </a:cubicBezTo>
                    <a:cubicBezTo>
                      <a:pt x="162" y="303"/>
                      <a:pt x="162" y="303"/>
                      <a:pt x="162" y="303"/>
                    </a:cubicBezTo>
                    <a:cubicBezTo>
                      <a:pt x="162" y="303"/>
                      <a:pt x="165" y="307"/>
                      <a:pt x="166" y="308"/>
                    </a:cubicBezTo>
                    <a:cubicBezTo>
                      <a:pt x="168" y="309"/>
                      <a:pt x="170" y="315"/>
                      <a:pt x="170" y="315"/>
                    </a:cubicBezTo>
                    <a:cubicBezTo>
                      <a:pt x="175" y="313"/>
                      <a:pt x="175" y="313"/>
                      <a:pt x="175" y="313"/>
                    </a:cubicBezTo>
                    <a:cubicBezTo>
                      <a:pt x="176" y="309"/>
                      <a:pt x="176" y="309"/>
                      <a:pt x="176" y="309"/>
                    </a:cubicBezTo>
                    <a:cubicBezTo>
                      <a:pt x="192" y="314"/>
                      <a:pt x="192" y="314"/>
                      <a:pt x="192" y="314"/>
                    </a:cubicBezTo>
                    <a:cubicBezTo>
                      <a:pt x="202" y="317"/>
                      <a:pt x="202" y="317"/>
                      <a:pt x="202" y="317"/>
                    </a:cubicBezTo>
                    <a:cubicBezTo>
                      <a:pt x="205" y="329"/>
                      <a:pt x="205" y="329"/>
                      <a:pt x="205" y="329"/>
                    </a:cubicBezTo>
                    <a:cubicBezTo>
                      <a:pt x="214" y="329"/>
                      <a:pt x="214" y="329"/>
                      <a:pt x="214" y="329"/>
                    </a:cubicBezTo>
                    <a:cubicBezTo>
                      <a:pt x="218" y="340"/>
                      <a:pt x="218" y="340"/>
                      <a:pt x="218" y="340"/>
                    </a:cubicBezTo>
                    <a:cubicBezTo>
                      <a:pt x="221" y="340"/>
                      <a:pt x="221" y="340"/>
                      <a:pt x="221" y="340"/>
                    </a:cubicBezTo>
                    <a:cubicBezTo>
                      <a:pt x="221" y="348"/>
                      <a:pt x="221" y="348"/>
                      <a:pt x="221" y="348"/>
                    </a:cubicBezTo>
                    <a:cubicBezTo>
                      <a:pt x="231" y="346"/>
                      <a:pt x="231" y="346"/>
                      <a:pt x="231" y="346"/>
                    </a:cubicBezTo>
                    <a:cubicBezTo>
                      <a:pt x="234" y="339"/>
                      <a:pt x="234" y="339"/>
                      <a:pt x="234" y="339"/>
                    </a:cubicBezTo>
                    <a:cubicBezTo>
                      <a:pt x="237" y="339"/>
                      <a:pt x="237" y="339"/>
                      <a:pt x="237" y="339"/>
                    </a:cubicBezTo>
                    <a:cubicBezTo>
                      <a:pt x="237" y="339"/>
                      <a:pt x="238" y="333"/>
                      <a:pt x="243" y="333"/>
                    </a:cubicBezTo>
                    <a:cubicBezTo>
                      <a:pt x="247" y="334"/>
                      <a:pt x="248" y="341"/>
                      <a:pt x="248" y="341"/>
                    </a:cubicBezTo>
                    <a:cubicBezTo>
                      <a:pt x="252" y="341"/>
                      <a:pt x="252" y="341"/>
                      <a:pt x="252" y="341"/>
                    </a:cubicBezTo>
                    <a:cubicBezTo>
                      <a:pt x="251" y="344"/>
                      <a:pt x="251" y="344"/>
                      <a:pt x="251" y="344"/>
                    </a:cubicBezTo>
                    <a:cubicBezTo>
                      <a:pt x="257" y="342"/>
                      <a:pt x="257" y="342"/>
                      <a:pt x="257" y="342"/>
                    </a:cubicBezTo>
                    <a:cubicBezTo>
                      <a:pt x="260" y="349"/>
                      <a:pt x="260" y="349"/>
                      <a:pt x="260" y="349"/>
                    </a:cubicBezTo>
                    <a:cubicBezTo>
                      <a:pt x="260" y="349"/>
                      <a:pt x="255" y="356"/>
                      <a:pt x="259" y="356"/>
                    </a:cubicBezTo>
                    <a:cubicBezTo>
                      <a:pt x="261" y="356"/>
                      <a:pt x="265" y="353"/>
                      <a:pt x="265" y="353"/>
                    </a:cubicBezTo>
                    <a:cubicBezTo>
                      <a:pt x="273" y="356"/>
                      <a:pt x="273" y="356"/>
                      <a:pt x="273" y="356"/>
                    </a:cubicBezTo>
                    <a:cubicBezTo>
                      <a:pt x="276" y="346"/>
                      <a:pt x="276" y="346"/>
                      <a:pt x="276" y="346"/>
                    </a:cubicBezTo>
                    <a:cubicBezTo>
                      <a:pt x="276" y="346"/>
                      <a:pt x="281" y="340"/>
                      <a:pt x="288" y="339"/>
                    </a:cubicBezTo>
                    <a:cubicBezTo>
                      <a:pt x="300" y="339"/>
                      <a:pt x="300" y="339"/>
                      <a:pt x="300" y="339"/>
                    </a:cubicBezTo>
                    <a:cubicBezTo>
                      <a:pt x="300" y="339"/>
                      <a:pt x="301" y="345"/>
                      <a:pt x="308" y="344"/>
                    </a:cubicBezTo>
                    <a:cubicBezTo>
                      <a:pt x="313" y="343"/>
                      <a:pt x="314" y="337"/>
                      <a:pt x="314" y="337"/>
                    </a:cubicBezTo>
                    <a:cubicBezTo>
                      <a:pt x="314" y="337"/>
                      <a:pt x="319" y="333"/>
                      <a:pt x="327" y="331"/>
                    </a:cubicBezTo>
                    <a:cubicBezTo>
                      <a:pt x="334" y="330"/>
                      <a:pt x="337" y="331"/>
                      <a:pt x="337" y="331"/>
                    </a:cubicBezTo>
                    <a:cubicBezTo>
                      <a:pt x="343" y="335"/>
                      <a:pt x="343" y="335"/>
                      <a:pt x="343" y="335"/>
                    </a:cubicBezTo>
                    <a:cubicBezTo>
                      <a:pt x="343" y="335"/>
                      <a:pt x="355" y="335"/>
                      <a:pt x="356" y="337"/>
                    </a:cubicBezTo>
                    <a:cubicBezTo>
                      <a:pt x="357" y="339"/>
                      <a:pt x="357" y="344"/>
                      <a:pt x="357" y="344"/>
                    </a:cubicBezTo>
                    <a:cubicBezTo>
                      <a:pt x="381" y="348"/>
                      <a:pt x="381" y="348"/>
                      <a:pt x="381" y="348"/>
                    </a:cubicBezTo>
                    <a:cubicBezTo>
                      <a:pt x="395" y="352"/>
                      <a:pt x="395" y="352"/>
                      <a:pt x="395" y="352"/>
                    </a:cubicBezTo>
                    <a:cubicBezTo>
                      <a:pt x="396" y="346"/>
                      <a:pt x="396" y="346"/>
                      <a:pt x="396" y="346"/>
                    </a:cubicBezTo>
                    <a:cubicBezTo>
                      <a:pt x="396" y="346"/>
                      <a:pt x="388" y="344"/>
                      <a:pt x="386" y="341"/>
                    </a:cubicBezTo>
                    <a:cubicBezTo>
                      <a:pt x="385" y="338"/>
                      <a:pt x="386" y="335"/>
                      <a:pt x="385" y="330"/>
                    </a:cubicBezTo>
                    <a:cubicBezTo>
                      <a:pt x="385" y="325"/>
                      <a:pt x="379" y="318"/>
                      <a:pt x="379" y="318"/>
                    </a:cubicBezTo>
                    <a:cubicBezTo>
                      <a:pt x="379" y="318"/>
                      <a:pt x="389" y="308"/>
                      <a:pt x="392" y="301"/>
                    </a:cubicBezTo>
                    <a:cubicBezTo>
                      <a:pt x="396" y="294"/>
                      <a:pt x="397" y="283"/>
                      <a:pt x="400" y="279"/>
                    </a:cubicBezTo>
                    <a:cubicBezTo>
                      <a:pt x="404" y="276"/>
                      <a:pt x="414" y="258"/>
                      <a:pt x="414" y="258"/>
                    </a:cubicBezTo>
                    <a:cubicBezTo>
                      <a:pt x="414" y="258"/>
                      <a:pt x="425" y="261"/>
                      <a:pt x="428" y="254"/>
                    </a:cubicBezTo>
                    <a:cubicBezTo>
                      <a:pt x="431" y="246"/>
                      <a:pt x="431" y="238"/>
                      <a:pt x="428" y="235"/>
                    </a:cubicBezTo>
                    <a:cubicBezTo>
                      <a:pt x="425" y="234"/>
                      <a:pt x="421" y="233"/>
                      <a:pt x="422" y="231"/>
                    </a:cubicBez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55" name="Norway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4508500" y="1143000"/>
                <a:ext cx="1471612" cy="1873250"/>
              </a:xfrm>
              <a:custGeom>
                <a:avLst/>
                <a:gdLst/>
                <a:ahLst/>
                <a:cxnLst>
                  <a:cxn ang="0">
                    <a:pos x="626" y="61"/>
                  </a:cxn>
                  <a:cxn ang="0">
                    <a:pos x="605" y="40"/>
                  </a:cxn>
                  <a:cxn ang="0">
                    <a:pos x="586" y="22"/>
                  </a:cxn>
                  <a:cxn ang="0">
                    <a:pos x="547" y="55"/>
                  </a:cxn>
                  <a:cxn ang="0">
                    <a:pos x="532" y="46"/>
                  </a:cxn>
                  <a:cxn ang="0">
                    <a:pos x="465" y="77"/>
                  </a:cxn>
                  <a:cxn ang="0">
                    <a:pos x="445" y="116"/>
                  </a:cxn>
                  <a:cxn ang="0">
                    <a:pos x="410" y="132"/>
                  </a:cxn>
                  <a:cxn ang="0">
                    <a:pos x="380" y="181"/>
                  </a:cxn>
                  <a:cxn ang="0">
                    <a:pos x="374" y="209"/>
                  </a:cxn>
                  <a:cxn ang="0">
                    <a:pos x="330" y="227"/>
                  </a:cxn>
                  <a:cxn ang="0">
                    <a:pos x="331" y="254"/>
                  </a:cxn>
                  <a:cxn ang="0">
                    <a:pos x="331" y="290"/>
                  </a:cxn>
                  <a:cxn ang="0">
                    <a:pos x="275" y="339"/>
                  </a:cxn>
                  <a:cxn ang="0">
                    <a:pos x="261" y="381"/>
                  </a:cxn>
                  <a:cxn ang="0">
                    <a:pos x="252" y="428"/>
                  </a:cxn>
                  <a:cxn ang="0">
                    <a:pos x="198" y="471"/>
                  </a:cxn>
                  <a:cxn ang="0">
                    <a:pos x="224" y="509"/>
                  </a:cxn>
                  <a:cxn ang="0">
                    <a:pos x="141" y="534"/>
                  </a:cxn>
                  <a:cxn ang="0">
                    <a:pos x="122" y="571"/>
                  </a:cxn>
                  <a:cxn ang="0">
                    <a:pos x="96" y="584"/>
                  </a:cxn>
                  <a:cxn ang="0">
                    <a:pos x="69" y="595"/>
                  </a:cxn>
                  <a:cxn ang="0">
                    <a:pos x="26" y="611"/>
                  </a:cxn>
                  <a:cxn ang="0">
                    <a:pos x="23" y="650"/>
                  </a:cxn>
                  <a:cxn ang="0">
                    <a:pos x="83" y="675"/>
                  </a:cxn>
                  <a:cxn ang="0">
                    <a:pos x="74" y="678"/>
                  </a:cxn>
                  <a:cxn ang="0">
                    <a:pos x="38" y="704"/>
                  </a:cxn>
                  <a:cxn ang="0">
                    <a:pos x="55" y="723"/>
                  </a:cxn>
                  <a:cxn ang="0">
                    <a:pos x="42" y="766"/>
                  </a:cxn>
                  <a:cxn ang="0">
                    <a:pos x="26" y="785"/>
                  </a:cxn>
                  <a:cxn ang="0">
                    <a:pos x="34" y="813"/>
                  </a:cxn>
                  <a:cxn ang="0">
                    <a:pos x="65" y="873"/>
                  </a:cxn>
                  <a:cxn ang="0">
                    <a:pos x="182" y="789"/>
                  </a:cxn>
                  <a:cxn ang="0">
                    <a:pos x="230" y="815"/>
                  </a:cxn>
                  <a:cxn ang="0">
                    <a:pos x="305" y="482"/>
                  </a:cxn>
                  <a:cxn ang="0">
                    <a:pos x="443" y="205"/>
                  </a:cxn>
                  <a:cxn ang="0">
                    <a:pos x="595" y="78"/>
                  </a:cxn>
                  <a:cxn ang="0">
                    <a:pos x="18" y="803"/>
                  </a:cxn>
                  <a:cxn ang="0">
                    <a:pos x="10" y="767"/>
                  </a:cxn>
                  <a:cxn ang="0">
                    <a:pos x="14" y="743"/>
                  </a:cxn>
                  <a:cxn ang="0">
                    <a:pos x="10" y="711"/>
                  </a:cxn>
                  <a:cxn ang="0">
                    <a:pos x="8" y="699"/>
                  </a:cxn>
                  <a:cxn ang="0">
                    <a:pos x="7" y="680"/>
                  </a:cxn>
                  <a:cxn ang="0">
                    <a:pos x="15" y="632"/>
                  </a:cxn>
                  <a:cxn ang="0">
                    <a:pos x="44" y="600"/>
                  </a:cxn>
                  <a:cxn ang="0">
                    <a:pos x="58" y="582"/>
                  </a:cxn>
                  <a:cxn ang="0">
                    <a:pos x="106" y="551"/>
                  </a:cxn>
                  <a:cxn ang="0">
                    <a:pos x="123" y="537"/>
                  </a:cxn>
                  <a:cxn ang="0">
                    <a:pos x="162" y="515"/>
                  </a:cxn>
                  <a:cxn ang="0">
                    <a:pos x="259" y="367"/>
                  </a:cxn>
                  <a:cxn ang="0">
                    <a:pos x="264" y="359"/>
                  </a:cxn>
                  <a:cxn ang="0">
                    <a:pos x="301" y="294"/>
                  </a:cxn>
                  <a:cxn ang="0">
                    <a:pos x="351" y="208"/>
                  </a:cxn>
                  <a:cxn ang="0">
                    <a:pos x="296" y="220"/>
                  </a:cxn>
                  <a:cxn ang="0">
                    <a:pos x="362" y="187"/>
                  </a:cxn>
                  <a:cxn ang="0">
                    <a:pos x="322" y="218"/>
                  </a:cxn>
                  <a:cxn ang="0">
                    <a:pos x="320" y="183"/>
                  </a:cxn>
                  <a:cxn ang="0">
                    <a:pos x="367" y="152"/>
                  </a:cxn>
                  <a:cxn ang="0">
                    <a:pos x="411" y="97"/>
                  </a:cxn>
                  <a:cxn ang="0">
                    <a:pos x="407" y="97"/>
                  </a:cxn>
                  <a:cxn ang="0">
                    <a:pos x="492" y="40"/>
                  </a:cxn>
                  <a:cxn ang="0">
                    <a:pos x="514" y="56"/>
                  </a:cxn>
                  <a:cxn ang="0">
                    <a:pos x="538" y="19"/>
                  </a:cxn>
                </a:cxnLst>
                <a:rect l="0" t="0" r="r" b="b"/>
                <a:pathLst>
                  <a:path w="690" h="880">
                    <a:moveTo>
                      <a:pt x="685" y="71"/>
                    </a:moveTo>
                    <a:cubicBezTo>
                      <a:pt x="685" y="68"/>
                      <a:pt x="685" y="68"/>
                      <a:pt x="685" y="68"/>
                    </a:cubicBezTo>
                    <a:cubicBezTo>
                      <a:pt x="681" y="68"/>
                      <a:pt x="681" y="68"/>
                      <a:pt x="681" y="68"/>
                    </a:cubicBezTo>
                    <a:cubicBezTo>
                      <a:pt x="681" y="68"/>
                      <a:pt x="681" y="66"/>
                      <a:pt x="678" y="66"/>
                    </a:cubicBezTo>
                    <a:cubicBezTo>
                      <a:pt x="673" y="66"/>
                      <a:pt x="673" y="66"/>
                      <a:pt x="673" y="66"/>
                    </a:cubicBezTo>
                    <a:cubicBezTo>
                      <a:pt x="675" y="75"/>
                      <a:pt x="675" y="75"/>
                      <a:pt x="675" y="75"/>
                    </a:cubicBezTo>
                    <a:cubicBezTo>
                      <a:pt x="673" y="76"/>
                      <a:pt x="673" y="76"/>
                      <a:pt x="673" y="76"/>
                    </a:cubicBezTo>
                    <a:cubicBezTo>
                      <a:pt x="673" y="72"/>
                      <a:pt x="673" y="72"/>
                      <a:pt x="673" y="72"/>
                    </a:cubicBezTo>
                    <a:cubicBezTo>
                      <a:pt x="668" y="64"/>
                      <a:pt x="668" y="64"/>
                      <a:pt x="668" y="64"/>
                    </a:cubicBezTo>
                    <a:cubicBezTo>
                      <a:pt x="666" y="64"/>
                      <a:pt x="666" y="64"/>
                      <a:pt x="666" y="64"/>
                    </a:cubicBezTo>
                    <a:cubicBezTo>
                      <a:pt x="668" y="72"/>
                      <a:pt x="668" y="72"/>
                      <a:pt x="668" y="72"/>
                    </a:cubicBezTo>
                    <a:cubicBezTo>
                      <a:pt x="666" y="76"/>
                      <a:pt x="666" y="76"/>
                      <a:pt x="666" y="76"/>
                    </a:cubicBezTo>
                    <a:cubicBezTo>
                      <a:pt x="664" y="73"/>
                      <a:pt x="664" y="73"/>
                      <a:pt x="664" y="73"/>
                    </a:cubicBezTo>
                    <a:cubicBezTo>
                      <a:pt x="662" y="76"/>
                      <a:pt x="662" y="76"/>
                      <a:pt x="662" y="76"/>
                    </a:cubicBezTo>
                    <a:cubicBezTo>
                      <a:pt x="659" y="77"/>
                      <a:pt x="659" y="77"/>
                      <a:pt x="659" y="77"/>
                    </a:cubicBezTo>
                    <a:cubicBezTo>
                      <a:pt x="659" y="77"/>
                      <a:pt x="656" y="81"/>
                      <a:pt x="655" y="81"/>
                    </a:cubicBezTo>
                    <a:cubicBezTo>
                      <a:pt x="654" y="80"/>
                      <a:pt x="655" y="77"/>
                      <a:pt x="656" y="75"/>
                    </a:cubicBezTo>
                    <a:cubicBezTo>
                      <a:pt x="657" y="74"/>
                      <a:pt x="657" y="67"/>
                      <a:pt x="654" y="66"/>
                    </a:cubicBezTo>
                    <a:cubicBezTo>
                      <a:pt x="652" y="64"/>
                      <a:pt x="649" y="71"/>
                      <a:pt x="649" y="71"/>
                    </a:cubicBezTo>
                    <a:cubicBezTo>
                      <a:pt x="647" y="71"/>
                      <a:pt x="647" y="71"/>
                      <a:pt x="647" y="71"/>
                    </a:cubicBezTo>
                    <a:cubicBezTo>
                      <a:pt x="647" y="71"/>
                      <a:pt x="653" y="64"/>
                      <a:pt x="649" y="62"/>
                    </a:cubicBezTo>
                    <a:cubicBezTo>
                      <a:pt x="645" y="59"/>
                      <a:pt x="641" y="62"/>
                      <a:pt x="641" y="62"/>
                    </a:cubicBezTo>
                    <a:cubicBezTo>
                      <a:pt x="637" y="59"/>
                      <a:pt x="637" y="59"/>
                      <a:pt x="637" y="59"/>
                    </a:cubicBezTo>
                    <a:cubicBezTo>
                      <a:pt x="633" y="61"/>
                      <a:pt x="633" y="61"/>
                      <a:pt x="633" y="61"/>
                    </a:cubicBezTo>
                    <a:cubicBezTo>
                      <a:pt x="632" y="59"/>
                      <a:pt x="632" y="59"/>
                      <a:pt x="632" y="59"/>
                    </a:cubicBezTo>
                    <a:cubicBezTo>
                      <a:pt x="632" y="59"/>
                      <a:pt x="629" y="62"/>
                      <a:pt x="626" y="61"/>
                    </a:cubicBezTo>
                    <a:cubicBezTo>
                      <a:pt x="624" y="60"/>
                      <a:pt x="626" y="58"/>
                      <a:pt x="626" y="58"/>
                    </a:cubicBezTo>
                    <a:cubicBezTo>
                      <a:pt x="626" y="57"/>
                      <a:pt x="624" y="56"/>
                      <a:pt x="625" y="53"/>
                    </a:cubicBezTo>
                    <a:cubicBezTo>
                      <a:pt x="625" y="51"/>
                      <a:pt x="646" y="57"/>
                      <a:pt x="646" y="57"/>
                    </a:cubicBezTo>
                    <a:cubicBezTo>
                      <a:pt x="646" y="57"/>
                      <a:pt x="655" y="57"/>
                      <a:pt x="662" y="52"/>
                    </a:cubicBezTo>
                    <a:cubicBezTo>
                      <a:pt x="668" y="47"/>
                      <a:pt x="666" y="41"/>
                      <a:pt x="666" y="41"/>
                    </a:cubicBezTo>
                    <a:cubicBezTo>
                      <a:pt x="666" y="41"/>
                      <a:pt x="678" y="35"/>
                      <a:pt x="677" y="30"/>
                    </a:cubicBezTo>
                    <a:cubicBezTo>
                      <a:pt x="675" y="26"/>
                      <a:pt x="667" y="28"/>
                      <a:pt x="667" y="28"/>
                    </a:cubicBezTo>
                    <a:cubicBezTo>
                      <a:pt x="667" y="28"/>
                      <a:pt x="664" y="24"/>
                      <a:pt x="661" y="24"/>
                    </a:cubicBezTo>
                    <a:cubicBezTo>
                      <a:pt x="656" y="24"/>
                      <a:pt x="652" y="27"/>
                      <a:pt x="652" y="27"/>
                    </a:cubicBezTo>
                    <a:cubicBezTo>
                      <a:pt x="655" y="19"/>
                      <a:pt x="655" y="19"/>
                      <a:pt x="655" y="19"/>
                    </a:cubicBezTo>
                    <a:cubicBezTo>
                      <a:pt x="651" y="19"/>
                      <a:pt x="651" y="19"/>
                      <a:pt x="651" y="19"/>
                    </a:cubicBezTo>
                    <a:cubicBezTo>
                      <a:pt x="651" y="19"/>
                      <a:pt x="652" y="16"/>
                      <a:pt x="648" y="16"/>
                    </a:cubicBezTo>
                    <a:cubicBezTo>
                      <a:pt x="644" y="15"/>
                      <a:pt x="645" y="21"/>
                      <a:pt x="642" y="21"/>
                    </a:cubicBezTo>
                    <a:cubicBezTo>
                      <a:pt x="640" y="22"/>
                      <a:pt x="642" y="16"/>
                      <a:pt x="640" y="16"/>
                    </a:cubicBezTo>
                    <a:cubicBezTo>
                      <a:pt x="639" y="16"/>
                      <a:pt x="632" y="22"/>
                      <a:pt x="632" y="22"/>
                    </a:cubicBezTo>
                    <a:cubicBezTo>
                      <a:pt x="632" y="15"/>
                      <a:pt x="632" y="15"/>
                      <a:pt x="632" y="15"/>
                    </a:cubicBezTo>
                    <a:cubicBezTo>
                      <a:pt x="632" y="15"/>
                      <a:pt x="629" y="10"/>
                      <a:pt x="622" y="11"/>
                    </a:cubicBezTo>
                    <a:cubicBezTo>
                      <a:pt x="615" y="11"/>
                      <a:pt x="616" y="22"/>
                      <a:pt x="616" y="22"/>
                    </a:cubicBezTo>
                    <a:cubicBezTo>
                      <a:pt x="617" y="25"/>
                      <a:pt x="617" y="25"/>
                      <a:pt x="617" y="25"/>
                    </a:cubicBezTo>
                    <a:cubicBezTo>
                      <a:pt x="616" y="36"/>
                      <a:pt x="616" y="36"/>
                      <a:pt x="616" y="36"/>
                    </a:cubicBezTo>
                    <a:cubicBezTo>
                      <a:pt x="619" y="36"/>
                      <a:pt x="619" y="36"/>
                      <a:pt x="619" y="36"/>
                    </a:cubicBezTo>
                    <a:cubicBezTo>
                      <a:pt x="619" y="39"/>
                      <a:pt x="619" y="39"/>
                      <a:pt x="619" y="39"/>
                    </a:cubicBezTo>
                    <a:cubicBezTo>
                      <a:pt x="614" y="39"/>
                      <a:pt x="614" y="39"/>
                      <a:pt x="614" y="39"/>
                    </a:cubicBezTo>
                    <a:cubicBezTo>
                      <a:pt x="613" y="35"/>
                      <a:pt x="613" y="35"/>
                      <a:pt x="613" y="35"/>
                    </a:cubicBezTo>
                    <a:cubicBezTo>
                      <a:pt x="608" y="40"/>
                      <a:pt x="608" y="40"/>
                      <a:pt x="608" y="40"/>
                    </a:cubicBezTo>
                    <a:cubicBezTo>
                      <a:pt x="605" y="40"/>
                      <a:pt x="605" y="40"/>
                      <a:pt x="605" y="40"/>
                    </a:cubicBezTo>
                    <a:cubicBezTo>
                      <a:pt x="605" y="42"/>
                      <a:pt x="605" y="42"/>
                      <a:pt x="605" y="42"/>
                    </a:cubicBezTo>
                    <a:cubicBezTo>
                      <a:pt x="603" y="37"/>
                      <a:pt x="603" y="37"/>
                      <a:pt x="603" y="37"/>
                    </a:cubicBezTo>
                    <a:cubicBezTo>
                      <a:pt x="603" y="37"/>
                      <a:pt x="606" y="34"/>
                      <a:pt x="608" y="33"/>
                    </a:cubicBezTo>
                    <a:cubicBezTo>
                      <a:pt x="610" y="31"/>
                      <a:pt x="612" y="25"/>
                      <a:pt x="610" y="22"/>
                    </a:cubicBezTo>
                    <a:cubicBezTo>
                      <a:pt x="609" y="21"/>
                      <a:pt x="605" y="26"/>
                      <a:pt x="604" y="28"/>
                    </a:cubicBezTo>
                    <a:cubicBezTo>
                      <a:pt x="604" y="30"/>
                      <a:pt x="599" y="32"/>
                      <a:pt x="599" y="32"/>
                    </a:cubicBezTo>
                    <a:cubicBezTo>
                      <a:pt x="599" y="32"/>
                      <a:pt x="601" y="29"/>
                      <a:pt x="602" y="28"/>
                    </a:cubicBezTo>
                    <a:cubicBezTo>
                      <a:pt x="603" y="27"/>
                      <a:pt x="606" y="21"/>
                      <a:pt x="606" y="21"/>
                    </a:cubicBezTo>
                    <a:cubicBezTo>
                      <a:pt x="602" y="21"/>
                      <a:pt x="602" y="21"/>
                      <a:pt x="602" y="21"/>
                    </a:cubicBezTo>
                    <a:cubicBezTo>
                      <a:pt x="601" y="21"/>
                      <a:pt x="598" y="25"/>
                      <a:pt x="598" y="25"/>
                    </a:cubicBezTo>
                    <a:cubicBezTo>
                      <a:pt x="598" y="25"/>
                      <a:pt x="598" y="22"/>
                      <a:pt x="599" y="21"/>
                    </a:cubicBezTo>
                    <a:cubicBezTo>
                      <a:pt x="599" y="19"/>
                      <a:pt x="604" y="19"/>
                      <a:pt x="608" y="18"/>
                    </a:cubicBezTo>
                    <a:cubicBezTo>
                      <a:pt x="613" y="17"/>
                      <a:pt x="612" y="5"/>
                      <a:pt x="612" y="5"/>
                    </a:cubicBezTo>
                    <a:cubicBezTo>
                      <a:pt x="606" y="5"/>
                      <a:pt x="606" y="5"/>
                      <a:pt x="606" y="5"/>
                    </a:cubicBezTo>
                    <a:cubicBezTo>
                      <a:pt x="606" y="5"/>
                      <a:pt x="604" y="8"/>
                      <a:pt x="603" y="6"/>
                    </a:cubicBezTo>
                    <a:cubicBezTo>
                      <a:pt x="601" y="6"/>
                      <a:pt x="604" y="2"/>
                      <a:pt x="602" y="1"/>
                    </a:cubicBezTo>
                    <a:cubicBezTo>
                      <a:pt x="600" y="0"/>
                      <a:pt x="598" y="5"/>
                      <a:pt x="596" y="5"/>
                    </a:cubicBezTo>
                    <a:cubicBezTo>
                      <a:pt x="593" y="6"/>
                      <a:pt x="591" y="1"/>
                      <a:pt x="587" y="2"/>
                    </a:cubicBezTo>
                    <a:cubicBezTo>
                      <a:pt x="584" y="4"/>
                      <a:pt x="591" y="11"/>
                      <a:pt x="589" y="11"/>
                    </a:cubicBezTo>
                    <a:cubicBezTo>
                      <a:pt x="587" y="12"/>
                      <a:pt x="585" y="9"/>
                      <a:pt x="581" y="8"/>
                    </a:cubicBezTo>
                    <a:cubicBezTo>
                      <a:pt x="577" y="8"/>
                      <a:pt x="584" y="13"/>
                      <a:pt x="584" y="13"/>
                    </a:cubicBezTo>
                    <a:cubicBezTo>
                      <a:pt x="581" y="14"/>
                      <a:pt x="581" y="14"/>
                      <a:pt x="581" y="14"/>
                    </a:cubicBezTo>
                    <a:cubicBezTo>
                      <a:pt x="583" y="17"/>
                      <a:pt x="583" y="17"/>
                      <a:pt x="583" y="17"/>
                    </a:cubicBezTo>
                    <a:cubicBezTo>
                      <a:pt x="586" y="17"/>
                      <a:pt x="586" y="17"/>
                      <a:pt x="586" y="17"/>
                    </a:cubicBezTo>
                    <a:cubicBezTo>
                      <a:pt x="593" y="21"/>
                      <a:pt x="593" y="21"/>
                      <a:pt x="593" y="21"/>
                    </a:cubicBezTo>
                    <a:cubicBezTo>
                      <a:pt x="586" y="22"/>
                      <a:pt x="586" y="22"/>
                      <a:pt x="586" y="22"/>
                    </a:cubicBezTo>
                    <a:cubicBezTo>
                      <a:pt x="587" y="27"/>
                      <a:pt x="587" y="27"/>
                      <a:pt x="587" y="27"/>
                    </a:cubicBezTo>
                    <a:cubicBezTo>
                      <a:pt x="583" y="27"/>
                      <a:pt x="583" y="27"/>
                      <a:pt x="583" y="27"/>
                    </a:cubicBezTo>
                    <a:cubicBezTo>
                      <a:pt x="583" y="30"/>
                      <a:pt x="583" y="30"/>
                      <a:pt x="583" y="30"/>
                    </a:cubicBezTo>
                    <a:cubicBezTo>
                      <a:pt x="585" y="31"/>
                      <a:pt x="585" y="31"/>
                      <a:pt x="585" y="31"/>
                    </a:cubicBezTo>
                    <a:cubicBezTo>
                      <a:pt x="585" y="35"/>
                      <a:pt x="585" y="35"/>
                      <a:pt x="585" y="35"/>
                    </a:cubicBezTo>
                    <a:cubicBezTo>
                      <a:pt x="587" y="36"/>
                      <a:pt x="587" y="36"/>
                      <a:pt x="587" y="36"/>
                    </a:cubicBezTo>
                    <a:cubicBezTo>
                      <a:pt x="582" y="37"/>
                      <a:pt x="582" y="37"/>
                      <a:pt x="582" y="37"/>
                    </a:cubicBezTo>
                    <a:cubicBezTo>
                      <a:pt x="587" y="45"/>
                      <a:pt x="587" y="45"/>
                      <a:pt x="587" y="45"/>
                    </a:cubicBezTo>
                    <a:cubicBezTo>
                      <a:pt x="580" y="45"/>
                      <a:pt x="580" y="45"/>
                      <a:pt x="580" y="45"/>
                    </a:cubicBezTo>
                    <a:cubicBezTo>
                      <a:pt x="576" y="55"/>
                      <a:pt x="576" y="55"/>
                      <a:pt x="576" y="55"/>
                    </a:cubicBezTo>
                    <a:cubicBezTo>
                      <a:pt x="574" y="35"/>
                      <a:pt x="574" y="35"/>
                      <a:pt x="574" y="35"/>
                    </a:cubicBezTo>
                    <a:cubicBezTo>
                      <a:pt x="569" y="37"/>
                      <a:pt x="569" y="37"/>
                      <a:pt x="569" y="37"/>
                    </a:cubicBezTo>
                    <a:cubicBezTo>
                      <a:pt x="575" y="26"/>
                      <a:pt x="575" y="26"/>
                      <a:pt x="575" y="26"/>
                    </a:cubicBezTo>
                    <a:cubicBezTo>
                      <a:pt x="573" y="24"/>
                      <a:pt x="573" y="24"/>
                      <a:pt x="573" y="24"/>
                    </a:cubicBezTo>
                    <a:cubicBezTo>
                      <a:pt x="573" y="24"/>
                      <a:pt x="574" y="17"/>
                      <a:pt x="569" y="17"/>
                    </a:cubicBezTo>
                    <a:cubicBezTo>
                      <a:pt x="564" y="18"/>
                      <a:pt x="564" y="32"/>
                      <a:pt x="564" y="32"/>
                    </a:cubicBezTo>
                    <a:cubicBezTo>
                      <a:pt x="560" y="33"/>
                      <a:pt x="560" y="33"/>
                      <a:pt x="560" y="33"/>
                    </a:cubicBezTo>
                    <a:cubicBezTo>
                      <a:pt x="560" y="33"/>
                      <a:pt x="561" y="41"/>
                      <a:pt x="558" y="45"/>
                    </a:cubicBezTo>
                    <a:cubicBezTo>
                      <a:pt x="556" y="50"/>
                      <a:pt x="550" y="60"/>
                      <a:pt x="550" y="60"/>
                    </a:cubicBezTo>
                    <a:cubicBezTo>
                      <a:pt x="550" y="60"/>
                      <a:pt x="555" y="62"/>
                      <a:pt x="554" y="65"/>
                    </a:cubicBezTo>
                    <a:cubicBezTo>
                      <a:pt x="553" y="68"/>
                      <a:pt x="551" y="73"/>
                      <a:pt x="551" y="73"/>
                    </a:cubicBezTo>
                    <a:cubicBezTo>
                      <a:pt x="549" y="78"/>
                      <a:pt x="549" y="78"/>
                      <a:pt x="549" y="78"/>
                    </a:cubicBezTo>
                    <a:cubicBezTo>
                      <a:pt x="546" y="74"/>
                      <a:pt x="546" y="74"/>
                      <a:pt x="546" y="74"/>
                    </a:cubicBezTo>
                    <a:cubicBezTo>
                      <a:pt x="544" y="77"/>
                      <a:pt x="544" y="77"/>
                      <a:pt x="544" y="77"/>
                    </a:cubicBezTo>
                    <a:cubicBezTo>
                      <a:pt x="541" y="71"/>
                      <a:pt x="541" y="71"/>
                      <a:pt x="541" y="71"/>
                    </a:cubicBezTo>
                    <a:cubicBezTo>
                      <a:pt x="547" y="55"/>
                      <a:pt x="547" y="55"/>
                      <a:pt x="547" y="55"/>
                    </a:cubicBezTo>
                    <a:cubicBezTo>
                      <a:pt x="542" y="55"/>
                      <a:pt x="542" y="55"/>
                      <a:pt x="542" y="55"/>
                    </a:cubicBezTo>
                    <a:cubicBezTo>
                      <a:pt x="541" y="52"/>
                      <a:pt x="541" y="52"/>
                      <a:pt x="541" y="52"/>
                    </a:cubicBezTo>
                    <a:cubicBezTo>
                      <a:pt x="553" y="34"/>
                      <a:pt x="553" y="34"/>
                      <a:pt x="553" y="34"/>
                    </a:cubicBezTo>
                    <a:cubicBezTo>
                      <a:pt x="551" y="32"/>
                      <a:pt x="551" y="32"/>
                      <a:pt x="551" y="32"/>
                    </a:cubicBezTo>
                    <a:cubicBezTo>
                      <a:pt x="551" y="32"/>
                      <a:pt x="556" y="25"/>
                      <a:pt x="554" y="24"/>
                    </a:cubicBezTo>
                    <a:cubicBezTo>
                      <a:pt x="552" y="22"/>
                      <a:pt x="546" y="29"/>
                      <a:pt x="546" y="29"/>
                    </a:cubicBezTo>
                    <a:cubicBezTo>
                      <a:pt x="546" y="22"/>
                      <a:pt x="546" y="22"/>
                      <a:pt x="546" y="22"/>
                    </a:cubicBezTo>
                    <a:cubicBezTo>
                      <a:pt x="540" y="22"/>
                      <a:pt x="540" y="22"/>
                      <a:pt x="540" y="22"/>
                    </a:cubicBezTo>
                    <a:cubicBezTo>
                      <a:pt x="542" y="26"/>
                      <a:pt x="542" y="26"/>
                      <a:pt x="542" y="26"/>
                    </a:cubicBezTo>
                    <a:cubicBezTo>
                      <a:pt x="541" y="31"/>
                      <a:pt x="541" y="31"/>
                      <a:pt x="541" y="31"/>
                    </a:cubicBezTo>
                    <a:cubicBezTo>
                      <a:pt x="537" y="26"/>
                      <a:pt x="537" y="26"/>
                      <a:pt x="537" y="26"/>
                    </a:cubicBezTo>
                    <a:cubicBezTo>
                      <a:pt x="534" y="29"/>
                      <a:pt x="534" y="29"/>
                      <a:pt x="534" y="29"/>
                    </a:cubicBezTo>
                    <a:cubicBezTo>
                      <a:pt x="535" y="24"/>
                      <a:pt x="535" y="24"/>
                      <a:pt x="535" y="24"/>
                    </a:cubicBezTo>
                    <a:cubicBezTo>
                      <a:pt x="534" y="22"/>
                      <a:pt x="534" y="22"/>
                      <a:pt x="534" y="22"/>
                    </a:cubicBezTo>
                    <a:cubicBezTo>
                      <a:pt x="532" y="26"/>
                      <a:pt x="532" y="26"/>
                      <a:pt x="532" y="26"/>
                    </a:cubicBezTo>
                    <a:cubicBezTo>
                      <a:pt x="525" y="21"/>
                      <a:pt x="525" y="21"/>
                      <a:pt x="525" y="21"/>
                    </a:cubicBezTo>
                    <a:cubicBezTo>
                      <a:pt x="523" y="27"/>
                      <a:pt x="523" y="27"/>
                      <a:pt x="523" y="27"/>
                    </a:cubicBezTo>
                    <a:cubicBezTo>
                      <a:pt x="530" y="30"/>
                      <a:pt x="530" y="30"/>
                      <a:pt x="530" y="30"/>
                    </a:cubicBezTo>
                    <a:cubicBezTo>
                      <a:pt x="526" y="31"/>
                      <a:pt x="526" y="31"/>
                      <a:pt x="526" y="31"/>
                    </a:cubicBezTo>
                    <a:cubicBezTo>
                      <a:pt x="526" y="35"/>
                      <a:pt x="526" y="35"/>
                      <a:pt x="526" y="35"/>
                    </a:cubicBezTo>
                    <a:cubicBezTo>
                      <a:pt x="523" y="34"/>
                      <a:pt x="523" y="34"/>
                      <a:pt x="523" y="34"/>
                    </a:cubicBezTo>
                    <a:cubicBezTo>
                      <a:pt x="522" y="32"/>
                      <a:pt x="522" y="32"/>
                      <a:pt x="522" y="32"/>
                    </a:cubicBezTo>
                    <a:cubicBezTo>
                      <a:pt x="519" y="32"/>
                      <a:pt x="519" y="32"/>
                      <a:pt x="519" y="32"/>
                    </a:cubicBezTo>
                    <a:cubicBezTo>
                      <a:pt x="519" y="39"/>
                      <a:pt x="519" y="39"/>
                      <a:pt x="519" y="39"/>
                    </a:cubicBezTo>
                    <a:cubicBezTo>
                      <a:pt x="526" y="40"/>
                      <a:pt x="526" y="40"/>
                      <a:pt x="526" y="40"/>
                    </a:cubicBezTo>
                    <a:cubicBezTo>
                      <a:pt x="532" y="46"/>
                      <a:pt x="532" y="46"/>
                      <a:pt x="532" y="46"/>
                    </a:cubicBezTo>
                    <a:cubicBezTo>
                      <a:pt x="532" y="48"/>
                      <a:pt x="532" y="48"/>
                      <a:pt x="532" y="48"/>
                    </a:cubicBezTo>
                    <a:cubicBezTo>
                      <a:pt x="532" y="48"/>
                      <a:pt x="530" y="46"/>
                      <a:pt x="527" y="45"/>
                    </a:cubicBezTo>
                    <a:cubicBezTo>
                      <a:pt x="525" y="43"/>
                      <a:pt x="521" y="43"/>
                      <a:pt x="521" y="43"/>
                    </a:cubicBezTo>
                    <a:cubicBezTo>
                      <a:pt x="520" y="53"/>
                      <a:pt x="520" y="53"/>
                      <a:pt x="520" y="53"/>
                    </a:cubicBezTo>
                    <a:cubicBezTo>
                      <a:pt x="522" y="52"/>
                      <a:pt x="522" y="52"/>
                      <a:pt x="522" y="52"/>
                    </a:cubicBezTo>
                    <a:cubicBezTo>
                      <a:pt x="525" y="58"/>
                      <a:pt x="525" y="58"/>
                      <a:pt x="525" y="58"/>
                    </a:cubicBezTo>
                    <a:cubicBezTo>
                      <a:pt x="525" y="58"/>
                      <a:pt x="522" y="57"/>
                      <a:pt x="519" y="56"/>
                    </a:cubicBezTo>
                    <a:cubicBezTo>
                      <a:pt x="515" y="56"/>
                      <a:pt x="514" y="59"/>
                      <a:pt x="514" y="59"/>
                    </a:cubicBezTo>
                    <a:cubicBezTo>
                      <a:pt x="505" y="75"/>
                      <a:pt x="505" y="75"/>
                      <a:pt x="505" y="75"/>
                    </a:cubicBezTo>
                    <a:cubicBezTo>
                      <a:pt x="507" y="75"/>
                      <a:pt x="507" y="75"/>
                      <a:pt x="507" y="75"/>
                    </a:cubicBezTo>
                    <a:cubicBezTo>
                      <a:pt x="504" y="78"/>
                      <a:pt x="504" y="78"/>
                      <a:pt x="504" y="78"/>
                    </a:cubicBezTo>
                    <a:cubicBezTo>
                      <a:pt x="508" y="83"/>
                      <a:pt x="508" y="83"/>
                      <a:pt x="508" y="83"/>
                    </a:cubicBezTo>
                    <a:cubicBezTo>
                      <a:pt x="505" y="85"/>
                      <a:pt x="505" y="85"/>
                      <a:pt x="505" y="85"/>
                    </a:cubicBezTo>
                    <a:cubicBezTo>
                      <a:pt x="513" y="90"/>
                      <a:pt x="513" y="90"/>
                      <a:pt x="513" y="90"/>
                    </a:cubicBezTo>
                    <a:cubicBezTo>
                      <a:pt x="504" y="92"/>
                      <a:pt x="504" y="92"/>
                      <a:pt x="504" y="92"/>
                    </a:cubicBezTo>
                    <a:cubicBezTo>
                      <a:pt x="499" y="83"/>
                      <a:pt x="499" y="83"/>
                      <a:pt x="499" y="83"/>
                    </a:cubicBezTo>
                    <a:cubicBezTo>
                      <a:pt x="486" y="91"/>
                      <a:pt x="486" y="91"/>
                      <a:pt x="486" y="91"/>
                    </a:cubicBezTo>
                    <a:cubicBezTo>
                      <a:pt x="486" y="89"/>
                      <a:pt x="486" y="89"/>
                      <a:pt x="486" y="89"/>
                    </a:cubicBezTo>
                    <a:cubicBezTo>
                      <a:pt x="486" y="89"/>
                      <a:pt x="497" y="83"/>
                      <a:pt x="498" y="79"/>
                    </a:cubicBezTo>
                    <a:cubicBezTo>
                      <a:pt x="499" y="76"/>
                      <a:pt x="489" y="78"/>
                      <a:pt x="489" y="78"/>
                    </a:cubicBezTo>
                    <a:cubicBezTo>
                      <a:pt x="489" y="78"/>
                      <a:pt x="486" y="75"/>
                      <a:pt x="484" y="78"/>
                    </a:cubicBezTo>
                    <a:cubicBezTo>
                      <a:pt x="481" y="81"/>
                      <a:pt x="487" y="84"/>
                      <a:pt x="487" y="84"/>
                    </a:cubicBezTo>
                    <a:cubicBezTo>
                      <a:pt x="483" y="84"/>
                      <a:pt x="483" y="84"/>
                      <a:pt x="483" y="84"/>
                    </a:cubicBezTo>
                    <a:cubicBezTo>
                      <a:pt x="483" y="84"/>
                      <a:pt x="481" y="76"/>
                      <a:pt x="476" y="76"/>
                    </a:cubicBezTo>
                    <a:cubicBezTo>
                      <a:pt x="472" y="76"/>
                      <a:pt x="472" y="82"/>
                      <a:pt x="472" y="82"/>
                    </a:cubicBezTo>
                    <a:cubicBezTo>
                      <a:pt x="465" y="77"/>
                      <a:pt x="465" y="77"/>
                      <a:pt x="465" y="77"/>
                    </a:cubicBezTo>
                    <a:cubicBezTo>
                      <a:pt x="464" y="80"/>
                      <a:pt x="464" y="80"/>
                      <a:pt x="464" y="80"/>
                    </a:cubicBezTo>
                    <a:cubicBezTo>
                      <a:pt x="464" y="80"/>
                      <a:pt x="460" y="79"/>
                      <a:pt x="458" y="82"/>
                    </a:cubicBezTo>
                    <a:cubicBezTo>
                      <a:pt x="456" y="87"/>
                      <a:pt x="465" y="87"/>
                      <a:pt x="465" y="87"/>
                    </a:cubicBezTo>
                    <a:cubicBezTo>
                      <a:pt x="462" y="90"/>
                      <a:pt x="462" y="90"/>
                      <a:pt x="462" y="90"/>
                    </a:cubicBezTo>
                    <a:cubicBezTo>
                      <a:pt x="472" y="92"/>
                      <a:pt x="472" y="92"/>
                      <a:pt x="472" y="92"/>
                    </a:cubicBezTo>
                    <a:cubicBezTo>
                      <a:pt x="477" y="91"/>
                      <a:pt x="477" y="91"/>
                      <a:pt x="477" y="91"/>
                    </a:cubicBezTo>
                    <a:cubicBezTo>
                      <a:pt x="473" y="94"/>
                      <a:pt x="473" y="94"/>
                      <a:pt x="473" y="94"/>
                    </a:cubicBezTo>
                    <a:cubicBezTo>
                      <a:pt x="474" y="95"/>
                      <a:pt x="474" y="95"/>
                      <a:pt x="474" y="95"/>
                    </a:cubicBezTo>
                    <a:cubicBezTo>
                      <a:pt x="478" y="94"/>
                      <a:pt x="478" y="94"/>
                      <a:pt x="478" y="94"/>
                    </a:cubicBezTo>
                    <a:cubicBezTo>
                      <a:pt x="478" y="97"/>
                      <a:pt x="478" y="97"/>
                      <a:pt x="478" y="97"/>
                    </a:cubicBezTo>
                    <a:cubicBezTo>
                      <a:pt x="475" y="97"/>
                      <a:pt x="475" y="97"/>
                      <a:pt x="475" y="97"/>
                    </a:cubicBezTo>
                    <a:cubicBezTo>
                      <a:pt x="478" y="103"/>
                      <a:pt x="478" y="103"/>
                      <a:pt x="478" y="103"/>
                    </a:cubicBezTo>
                    <a:cubicBezTo>
                      <a:pt x="478" y="106"/>
                      <a:pt x="478" y="106"/>
                      <a:pt x="478" y="106"/>
                    </a:cubicBezTo>
                    <a:cubicBezTo>
                      <a:pt x="478" y="106"/>
                      <a:pt x="484" y="110"/>
                      <a:pt x="482" y="111"/>
                    </a:cubicBezTo>
                    <a:cubicBezTo>
                      <a:pt x="479" y="112"/>
                      <a:pt x="474" y="103"/>
                      <a:pt x="474" y="103"/>
                    </a:cubicBezTo>
                    <a:cubicBezTo>
                      <a:pt x="469" y="100"/>
                      <a:pt x="469" y="100"/>
                      <a:pt x="469" y="100"/>
                    </a:cubicBezTo>
                    <a:cubicBezTo>
                      <a:pt x="469" y="100"/>
                      <a:pt x="465" y="94"/>
                      <a:pt x="460" y="94"/>
                    </a:cubicBezTo>
                    <a:cubicBezTo>
                      <a:pt x="457" y="94"/>
                      <a:pt x="459" y="100"/>
                      <a:pt x="459" y="100"/>
                    </a:cubicBezTo>
                    <a:cubicBezTo>
                      <a:pt x="461" y="104"/>
                      <a:pt x="461" y="104"/>
                      <a:pt x="461" y="104"/>
                    </a:cubicBezTo>
                    <a:cubicBezTo>
                      <a:pt x="458" y="106"/>
                      <a:pt x="458" y="106"/>
                      <a:pt x="458" y="106"/>
                    </a:cubicBezTo>
                    <a:cubicBezTo>
                      <a:pt x="456" y="111"/>
                      <a:pt x="456" y="111"/>
                      <a:pt x="456" y="111"/>
                    </a:cubicBezTo>
                    <a:cubicBezTo>
                      <a:pt x="454" y="106"/>
                      <a:pt x="454" y="106"/>
                      <a:pt x="454" y="106"/>
                    </a:cubicBezTo>
                    <a:cubicBezTo>
                      <a:pt x="457" y="102"/>
                      <a:pt x="457" y="102"/>
                      <a:pt x="457" y="102"/>
                    </a:cubicBezTo>
                    <a:cubicBezTo>
                      <a:pt x="457" y="100"/>
                      <a:pt x="457" y="100"/>
                      <a:pt x="457" y="100"/>
                    </a:cubicBezTo>
                    <a:cubicBezTo>
                      <a:pt x="451" y="106"/>
                      <a:pt x="451" y="106"/>
                      <a:pt x="451" y="106"/>
                    </a:cubicBezTo>
                    <a:cubicBezTo>
                      <a:pt x="445" y="116"/>
                      <a:pt x="445" y="116"/>
                      <a:pt x="445" y="116"/>
                    </a:cubicBezTo>
                    <a:cubicBezTo>
                      <a:pt x="448" y="124"/>
                      <a:pt x="448" y="124"/>
                      <a:pt x="448" y="124"/>
                    </a:cubicBezTo>
                    <a:cubicBezTo>
                      <a:pt x="452" y="129"/>
                      <a:pt x="452" y="129"/>
                      <a:pt x="452" y="129"/>
                    </a:cubicBezTo>
                    <a:cubicBezTo>
                      <a:pt x="444" y="126"/>
                      <a:pt x="444" y="126"/>
                      <a:pt x="444" y="126"/>
                    </a:cubicBezTo>
                    <a:cubicBezTo>
                      <a:pt x="442" y="140"/>
                      <a:pt x="442" y="140"/>
                      <a:pt x="442" y="140"/>
                    </a:cubicBezTo>
                    <a:cubicBezTo>
                      <a:pt x="440" y="140"/>
                      <a:pt x="440" y="140"/>
                      <a:pt x="440" y="140"/>
                    </a:cubicBezTo>
                    <a:cubicBezTo>
                      <a:pt x="436" y="147"/>
                      <a:pt x="436" y="147"/>
                      <a:pt x="436" y="147"/>
                    </a:cubicBezTo>
                    <a:cubicBezTo>
                      <a:pt x="434" y="144"/>
                      <a:pt x="434" y="144"/>
                      <a:pt x="434" y="144"/>
                    </a:cubicBezTo>
                    <a:cubicBezTo>
                      <a:pt x="439" y="138"/>
                      <a:pt x="439" y="138"/>
                      <a:pt x="439" y="138"/>
                    </a:cubicBezTo>
                    <a:cubicBezTo>
                      <a:pt x="441" y="129"/>
                      <a:pt x="441" y="129"/>
                      <a:pt x="441" y="129"/>
                    </a:cubicBezTo>
                    <a:cubicBezTo>
                      <a:pt x="440" y="128"/>
                      <a:pt x="440" y="128"/>
                      <a:pt x="440" y="128"/>
                    </a:cubicBezTo>
                    <a:cubicBezTo>
                      <a:pt x="443" y="125"/>
                      <a:pt x="443" y="125"/>
                      <a:pt x="443" y="125"/>
                    </a:cubicBezTo>
                    <a:cubicBezTo>
                      <a:pt x="441" y="120"/>
                      <a:pt x="441" y="120"/>
                      <a:pt x="441" y="120"/>
                    </a:cubicBezTo>
                    <a:cubicBezTo>
                      <a:pt x="441" y="112"/>
                      <a:pt x="441" y="112"/>
                      <a:pt x="441" y="112"/>
                    </a:cubicBezTo>
                    <a:cubicBezTo>
                      <a:pt x="441" y="109"/>
                      <a:pt x="439" y="102"/>
                      <a:pt x="439" y="102"/>
                    </a:cubicBezTo>
                    <a:cubicBezTo>
                      <a:pt x="434" y="106"/>
                      <a:pt x="434" y="106"/>
                      <a:pt x="434" y="106"/>
                    </a:cubicBezTo>
                    <a:cubicBezTo>
                      <a:pt x="434" y="106"/>
                      <a:pt x="435" y="112"/>
                      <a:pt x="432" y="115"/>
                    </a:cubicBezTo>
                    <a:cubicBezTo>
                      <a:pt x="428" y="118"/>
                      <a:pt x="431" y="124"/>
                      <a:pt x="431" y="124"/>
                    </a:cubicBezTo>
                    <a:cubicBezTo>
                      <a:pt x="434" y="126"/>
                      <a:pt x="434" y="126"/>
                      <a:pt x="434" y="126"/>
                    </a:cubicBezTo>
                    <a:cubicBezTo>
                      <a:pt x="429" y="128"/>
                      <a:pt x="429" y="128"/>
                      <a:pt x="429" y="128"/>
                    </a:cubicBezTo>
                    <a:cubicBezTo>
                      <a:pt x="429" y="137"/>
                      <a:pt x="429" y="137"/>
                      <a:pt x="429" y="137"/>
                    </a:cubicBezTo>
                    <a:cubicBezTo>
                      <a:pt x="424" y="138"/>
                      <a:pt x="424" y="138"/>
                      <a:pt x="424" y="138"/>
                    </a:cubicBezTo>
                    <a:cubicBezTo>
                      <a:pt x="427" y="124"/>
                      <a:pt x="427" y="124"/>
                      <a:pt x="427" y="124"/>
                    </a:cubicBezTo>
                    <a:cubicBezTo>
                      <a:pt x="426" y="124"/>
                      <a:pt x="426" y="124"/>
                      <a:pt x="426" y="124"/>
                    </a:cubicBezTo>
                    <a:cubicBezTo>
                      <a:pt x="426" y="113"/>
                      <a:pt x="426" y="113"/>
                      <a:pt x="426" y="113"/>
                    </a:cubicBezTo>
                    <a:cubicBezTo>
                      <a:pt x="426" y="113"/>
                      <a:pt x="421" y="115"/>
                      <a:pt x="413" y="119"/>
                    </a:cubicBezTo>
                    <a:cubicBezTo>
                      <a:pt x="405" y="121"/>
                      <a:pt x="410" y="132"/>
                      <a:pt x="410" y="132"/>
                    </a:cubicBezTo>
                    <a:cubicBezTo>
                      <a:pt x="413" y="132"/>
                      <a:pt x="413" y="132"/>
                      <a:pt x="413" y="132"/>
                    </a:cubicBezTo>
                    <a:cubicBezTo>
                      <a:pt x="413" y="132"/>
                      <a:pt x="413" y="134"/>
                      <a:pt x="412" y="137"/>
                    </a:cubicBezTo>
                    <a:cubicBezTo>
                      <a:pt x="411" y="139"/>
                      <a:pt x="416" y="142"/>
                      <a:pt x="420" y="142"/>
                    </a:cubicBezTo>
                    <a:cubicBezTo>
                      <a:pt x="424" y="143"/>
                      <a:pt x="424" y="150"/>
                      <a:pt x="424" y="150"/>
                    </a:cubicBezTo>
                    <a:cubicBezTo>
                      <a:pt x="427" y="151"/>
                      <a:pt x="427" y="151"/>
                      <a:pt x="427" y="151"/>
                    </a:cubicBezTo>
                    <a:cubicBezTo>
                      <a:pt x="425" y="152"/>
                      <a:pt x="425" y="152"/>
                      <a:pt x="425" y="152"/>
                    </a:cubicBezTo>
                    <a:cubicBezTo>
                      <a:pt x="425" y="152"/>
                      <a:pt x="421" y="150"/>
                      <a:pt x="421" y="147"/>
                    </a:cubicBezTo>
                    <a:cubicBezTo>
                      <a:pt x="421" y="144"/>
                      <a:pt x="416" y="144"/>
                      <a:pt x="412" y="143"/>
                    </a:cubicBezTo>
                    <a:cubicBezTo>
                      <a:pt x="410" y="143"/>
                      <a:pt x="407" y="134"/>
                      <a:pt x="407" y="134"/>
                    </a:cubicBezTo>
                    <a:cubicBezTo>
                      <a:pt x="399" y="136"/>
                      <a:pt x="399" y="136"/>
                      <a:pt x="399" y="136"/>
                    </a:cubicBezTo>
                    <a:cubicBezTo>
                      <a:pt x="399" y="136"/>
                      <a:pt x="400" y="140"/>
                      <a:pt x="402" y="143"/>
                    </a:cubicBezTo>
                    <a:cubicBezTo>
                      <a:pt x="405" y="146"/>
                      <a:pt x="409" y="147"/>
                      <a:pt x="409" y="147"/>
                    </a:cubicBezTo>
                    <a:cubicBezTo>
                      <a:pt x="409" y="147"/>
                      <a:pt x="405" y="148"/>
                      <a:pt x="402" y="146"/>
                    </a:cubicBezTo>
                    <a:cubicBezTo>
                      <a:pt x="399" y="145"/>
                      <a:pt x="394" y="138"/>
                      <a:pt x="394" y="138"/>
                    </a:cubicBezTo>
                    <a:cubicBezTo>
                      <a:pt x="390" y="139"/>
                      <a:pt x="390" y="139"/>
                      <a:pt x="390" y="139"/>
                    </a:cubicBezTo>
                    <a:cubicBezTo>
                      <a:pt x="392" y="145"/>
                      <a:pt x="392" y="145"/>
                      <a:pt x="392" y="145"/>
                    </a:cubicBezTo>
                    <a:cubicBezTo>
                      <a:pt x="388" y="151"/>
                      <a:pt x="388" y="151"/>
                      <a:pt x="388" y="151"/>
                    </a:cubicBezTo>
                    <a:cubicBezTo>
                      <a:pt x="392" y="159"/>
                      <a:pt x="392" y="159"/>
                      <a:pt x="392" y="159"/>
                    </a:cubicBezTo>
                    <a:cubicBezTo>
                      <a:pt x="380" y="160"/>
                      <a:pt x="380" y="160"/>
                      <a:pt x="380" y="160"/>
                    </a:cubicBezTo>
                    <a:cubicBezTo>
                      <a:pt x="384" y="165"/>
                      <a:pt x="384" y="165"/>
                      <a:pt x="384" y="165"/>
                    </a:cubicBezTo>
                    <a:cubicBezTo>
                      <a:pt x="379" y="169"/>
                      <a:pt x="379" y="169"/>
                      <a:pt x="379" y="169"/>
                    </a:cubicBezTo>
                    <a:cubicBezTo>
                      <a:pt x="379" y="175"/>
                      <a:pt x="379" y="175"/>
                      <a:pt x="379" y="175"/>
                    </a:cubicBezTo>
                    <a:cubicBezTo>
                      <a:pt x="384" y="174"/>
                      <a:pt x="384" y="174"/>
                      <a:pt x="384" y="174"/>
                    </a:cubicBezTo>
                    <a:cubicBezTo>
                      <a:pt x="387" y="176"/>
                      <a:pt x="387" y="176"/>
                      <a:pt x="387" y="176"/>
                    </a:cubicBezTo>
                    <a:cubicBezTo>
                      <a:pt x="383" y="176"/>
                      <a:pt x="383" y="176"/>
                      <a:pt x="383" y="176"/>
                    </a:cubicBezTo>
                    <a:cubicBezTo>
                      <a:pt x="380" y="181"/>
                      <a:pt x="380" y="181"/>
                      <a:pt x="380" y="181"/>
                    </a:cubicBezTo>
                    <a:cubicBezTo>
                      <a:pt x="385" y="183"/>
                      <a:pt x="385" y="183"/>
                      <a:pt x="385" y="183"/>
                    </a:cubicBezTo>
                    <a:cubicBezTo>
                      <a:pt x="377" y="183"/>
                      <a:pt x="377" y="183"/>
                      <a:pt x="377" y="183"/>
                    </a:cubicBezTo>
                    <a:cubicBezTo>
                      <a:pt x="371" y="184"/>
                      <a:pt x="377" y="187"/>
                      <a:pt x="377" y="187"/>
                    </a:cubicBezTo>
                    <a:cubicBezTo>
                      <a:pt x="382" y="189"/>
                      <a:pt x="382" y="189"/>
                      <a:pt x="382" y="189"/>
                    </a:cubicBezTo>
                    <a:cubicBezTo>
                      <a:pt x="382" y="189"/>
                      <a:pt x="375" y="187"/>
                      <a:pt x="372" y="188"/>
                    </a:cubicBezTo>
                    <a:cubicBezTo>
                      <a:pt x="370" y="188"/>
                      <a:pt x="371" y="190"/>
                      <a:pt x="371" y="190"/>
                    </a:cubicBezTo>
                    <a:cubicBezTo>
                      <a:pt x="375" y="191"/>
                      <a:pt x="375" y="191"/>
                      <a:pt x="375" y="191"/>
                    </a:cubicBezTo>
                    <a:cubicBezTo>
                      <a:pt x="374" y="195"/>
                      <a:pt x="374" y="195"/>
                      <a:pt x="374" y="195"/>
                    </a:cubicBezTo>
                    <a:cubicBezTo>
                      <a:pt x="374" y="192"/>
                      <a:pt x="374" y="192"/>
                      <a:pt x="374" y="192"/>
                    </a:cubicBezTo>
                    <a:cubicBezTo>
                      <a:pt x="370" y="191"/>
                      <a:pt x="370" y="191"/>
                      <a:pt x="370" y="191"/>
                    </a:cubicBezTo>
                    <a:cubicBezTo>
                      <a:pt x="368" y="188"/>
                      <a:pt x="368" y="188"/>
                      <a:pt x="368" y="188"/>
                    </a:cubicBezTo>
                    <a:cubicBezTo>
                      <a:pt x="367" y="191"/>
                      <a:pt x="367" y="191"/>
                      <a:pt x="367" y="191"/>
                    </a:cubicBezTo>
                    <a:cubicBezTo>
                      <a:pt x="367" y="191"/>
                      <a:pt x="366" y="192"/>
                      <a:pt x="361" y="192"/>
                    </a:cubicBezTo>
                    <a:cubicBezTo>
                      <a:pt x="357" y="192"/>
                      <a:pt x="357" y="200"/>
                      <a:pt x="357" y="200"/>
                    </a:cubicBezTo>
                    <a:cubicBezTo>
                      <a:pt x="355" y="202"/>
                      <a:pt x="355" y="202"/>
                      <a:pt x="355" y="202"/>
                    </a:cubicBezTo>
                    <a:cubicBezTo>
                      <a:pt x="357" y="206"/>
                      <a:pt x="357" y="206"/>
                      <a:pt x="357" y="206"/>
                    </a:cubicBezTo>
                    <a:cubicBezTo>
                      <a:pt x="368" y="203"/>
                      <a:pt x="368" y="203"/>
                      <a:pt x="368" y="203"/>
                    </a:cubicBezTo>
                    <a:cubicBezTo>
                      <a:pt x="368" y="203"/>
                      <a:pt x="369" y="205"/>
                      <a:pt x="372" y="205"/>
                    </a:cubicBezTo>
                    <a:cubicBezTo>
                      <a:pt x="375" y="205"/>
                      <a:pt x="382" y="199"/>
                      <a:pt x="382" y="199"/>
                    </a:cubicBezTo>
                    <a:cubicBezTo>
                      <a:pt x="380" y="203"/>
                      <a:pt x="380" y="203"/>
                      <a:pt x="380" y="203"/>
                    </a:cubicBezTo>
                    <a:cubicBezTo>
                      <a:pt x="385" y="204"/>
                      <a:pt x="385" y="204"/>
                      <a:pt x="385" y="204"/>
                    </a:cubicBezTo>
                    <a:cubicBezTo>
                      <a:pt x="376" y="207"/>
                      <a:pt x="376" y="207"/>
                      <a:pt x="376" y="207"/>
                    </a:cubicBezTo>
                    <a:cubicBezTo>
                      <a:pt x="376" y="213"/>
                      <a:pt x="376" y="213"/>
                      <a:pt x="376" y="213"/>
                    </a:cubicBezTo>
                    <a:cubicBezTo>
                      <a:pt x="379" y="217"/>
                      <a:pt x="379" y="217"/>
                      <a:pt x="379" y="217"/>
                    </a:cubicBezTo>
                    <a:cubicBezTo>
                      <a:pt x="378" y="218"/>
                      <a:pt x="378" y="218"/>
                      <a:pt x="378" y="218"/>
                    </a:cubicBezTo>
                    <a:cubicBezTo>
                      <a:pt x="374" y="209"/>
                      <a:pt x="374" y="209"/>
                      <a:pt x="374" y="209"/>
                    </a:cubicBezTo>
                    <a:cubicBezTo>
                      <a:pt x="367" y="211"/>
                      <a:pt x="367" y="211"/>
                      <a:pt x="367" y="211"/>
                    </a:cubicBezTo>
                    <a:cubicBezTo>
                      <a:pt x="367" y="211"/>
                      <a:pt x="364" y="208"/>
                      <a:pt x="361" y="208"/>
                    </a:cubicBezTo>
                    <a:cubicBezTo>
                      <a:pt x="358" y="207"/>
                      <a:pt x="353" y="209"/>
                      <a:pt x="351" y="213"/>
                    </a:cubicBezTo>
                    <a:cubicBezTo>
                      <a:pt x="348" y="215"/>
                      <a:pt x="355" y="215"/>
                      <a:pt x="358" y="216"/>
                    </a:cubicBezTo>
                    <a:cubicBezTo>
                      <a:pt x="362" y="217"/>
                      <a:pt x="361" y="221"/>
                      <a:pt x="361" y="221"/>
                    </a:cubicBezTo>
                    <a:cubicBezTo>
                      <a:pt x="364" y="223"/>
                      <a:pt x="364" y="223"/>
                      <a:pt x="364" y="223"/>
                    </a:cubicBezTo>
                    <a:cubicBezTo>
                      <a:pt x="363" y="224"/>
                      <a:pt x="363" y="224"/>
                      <a:pt x="363" y="224"/>
                    </a:cubicBezTo>
                    <a:cubicBezTo>
                      <a:pt x="363" y="224"/>
                      <a:pt x="359" y="221"/>
                      <a:pt x="357" y="219"/>
                    </a:cubicBezTo>
                    <a:cubicBezTo>
                      <a:pt x="355" y="217"/>
                      <a:pt x="348" y="216"/>
                      <a:pt x="348" y="216"/>
                    </a:cubicBezTo>
                    <a:cubicBezTo>
                      <a:pt x="347" y="218"/>
                      <a:pt x="347" y="218"/>
                      <a:pt x="347" y="218"/>
                    </a:cubicBezTo>
                    <a:cubicBezTo>
                      <a:pt x="353" y="219"/>
                      <a:pt x="353" y="219"/>
                      <a:pt x="353" y="219"/>
                    </a:cubicBezTo>
                    <a:cubicBezTo>
                      <a:pt x="350" y="221"/>
                      <a:pt x="350" y="221"/>
                      <a:pt x="350" y="221"/>
                    </a:cubicBezTo>
                    <a:cubicBezTo>
                      <a:pt x="352" y="223"/>
                      <a:pt x="352" y="223"/>
                      <a:pt x="352" y="223"/>
                    </a:cubicBezTo>
                    <a:cubicBezTo>
                      <a:pt x="355" y="222"/>
                      <a:pt x="355" y="222"/>
                      <a:pt x="355" y="222"/>
                    </a:cubicBezTo>
                    <a:cubicBezTo>
                      <a:pt x="358" y="223"/>
                      <a:pt x="358" y="223"/>
                      <a:pt x="358" y="223"/>
                    </a:cubicBezTo>
                    <a:cubicBezTo>
                      <a:pt x="351" y="226"/>
                      <a:pt x="351" y="226"/>
                      <a:pt x="351" y="226"/>
                    </a:cubicBezTo>
                    <a:cubicBezTo>
                      <a:pt x="352" y="230"/>
                      <a:pt x="352" y="230"/>
                      <a:pt x="352" y="230"/>
                    </a:cubicBezTo>
                    <a:cubicBezTo>
                      <a:pt x="352" y="230"/>
                      <a:pt x="354" y="229"/>
                      <a:pt x="356" y="231"/>
                    </a:cubicBezTo>
                    <a:cubicBezTo>
                      <a:pt x="357" y="233"/>
                      <a:pt x="352" y="236"/>
                      <a:pt x="348" y="235"/>
                    </a:cubicBezTo>
                    <a:cubicBezTo>
                      <a:pt x="345" y="233"/>
                      <a:pt x="346" y="221"/>
                      <a:pt x="346" y="221"/>
                    </a:cubicBezTo>
                    <a:cubicBezTo>
                      <a:pt x="343" y="221"/>
                      <a:pt x="343" y="221"/>
                      <a:pt x="343" y="221"/>
                    </a:cubicBezTo>
                    <a:cubicBezTo>
                      <a:pt x="338" y="230"/>
                      <a:pt x="338" y="230"/>
                      <a:pt x="338" y="230"/>
                    </a:cubicBezTo>
                    <a:cubicBezTo>
                      <a:pt x="337" y="224"/>
                      <a:pt x="337" y="224"/>
                      <a:pt x="337" y="224"/>
                    </a:cubicBezTo>
                    <a:cubicBezTo>
                      <a:pt x="335" y="224"/>
                      <a:pt x="335" y="224"/>
                      <a:pt x="335" y="224"/>
                    </a:cubicBezTo>
                    <a:cubicBezTo>
                      <a:pt x="334" y="229"/>
                      <a:pt x="334" y="229"/>
                      <a:pt x="334" y="229"/>
                    </a:cubicBezTo>
                    <a:cubicBezTo>
                      <a:pt x="330" y="227"/>
                      <a:pt x="330" y="227"/>
                      <a:pt x="330" y="227"/>
                    </a:cubicBezTo>
                    <a:cubicBezTo>
                      <a:pt x="327" y="235"/>
                      <a:pt x="327" y="235"/>
                      <a:pt x="327" y="235"/>
                    </a:cubicBezTo>
                    <a:cubicBezTo>
                      <a:pt x="329" y="238"/>
                      <a:pt x="329" y="238"/>
                      <a:pt x="329" y="238"/>
                    </a:cubicBezTo>
                    <a:cubicBezTo>
                      <a:pt x="331" y="237"/>
                      <a:pt x="331" y="237"/>
                      <a:pt x="331" y="237"/>
                    </a:cubicBezTo>
                    <a:cubicBezTo>
                      <a:pt x="331" y="234"/>
                      <a:pt x="331" y="234"/>
                      <a:pt x="331" y="234"/>
                    </a:cubicBezTo>
                    <a:cubicBezTo>
                      <a:pt x="335" y="232"/>
                      <a:pt x="335" y="232"/>
                      <a:pt x="335" y="232"/>
                    </a:cubicBezTo>
                    <a:cubicBezTo>
                      <a:pt x="337" y="234"/>
                      <a:pt x="337" y="234"/>
                      <a:pt x="337" y="234"/>
                    </a:cubicBezTo>
                    <a:cubicBezTo>
                      <a:pt x="333" y="237"/>
                      <a:pt x="333" y="237"/>
                      <a:pt x="333" y="237"/>
                    </a:cubicBezTo>
                    <a:cubicBezTo>
                      <a:pt x="335" y="238"/>
                      <a:pt x="335" y="238"/>
                      <a:pt x="335" y="238"/>
                    </a:cubicBezTo>
                    <a:cubicBezTo>
                      <a:pt x="335" y="238"/>
                      <a:pt x="339" y="238"/>
                      <a:pt x="341" y="239"/>
                    </a:cubicBezTo>
                    <a:cubicBezTo>
                      <a:pt x="343" y="239"/>
                      <a:pt x="340" y="236"/>
                      <a:pt x="340" y="234"/>
                    </a:cubicBezTo>
                    <a:cubicBezTo>
                      <a:pt x="340" y="233"/>
                      <a:pt x="344" y="234"/>
                      <a:pt x="345" y="236"/>
                    </a:cubicBezTo>
                    <a:cubicBezTo>
                      <a:pt x="346" y="238"/>
                      <a:pt x="344" y="242"/>
                      <a:pt x="343" y="242"/>
                    </a:cubicBezTo>
                    <a:cubicBezTo>
                      <a:pt x="341" y="244"/>
                      <a:pt x="342" y="242"/>
                      <a:pt x="339" y="240"/>
                    </a:cubicBezTo>
                    <a:cubicBezTo>
                      <a:pt x="336" y="239"/>
                      <a:pt x="334" y="244"/>
                      <a:pt x="330" y="244"/>
                    </a:cubicBezTo>
                    <a:cubicBezTo>
                      <a:pt x="327" y="244"/>
                      <a:pt x="322" y="245"/>
                      <a:pt x="322" y="245"/>
                    </a:cubicBezTo>
                    <a:cubicBezTo>
                      <a:pt x="320" y="246"/>
                      <a:pt x="320" y="246"/>
                      <a:pt x="320" y="246"/>
                    </a:cubicBezTo>
                    <a:cubicBezTo>
                      <a:pt x="322" y="248"/>
                      <a:pt x="322" y="248"/>
                      <a:pt x="322" y="248"/>
                    </a:cubicBezTo>
                    <a:cubicBezTo>
                      <a:pt x="318" y="248"/>
                      <a:pt x="318" y="248"/>
                      <a:pt x="318" y="248"/>
                    </a:cubicBezTo>
                    <a:cubicBezTo>
                      <a:pt x="315" y="252"/>
                      <a:pt x="315" y="252"/>
                      <a:pt x="315" y="252"/>
                    </a:cubicBezTo>
                    <a:cubicBezTo>
                      <a:pt x="321" y="253"/>
                      <a:pt x="321" y="253"/>
                      <a:pt x="321" y="253"/>
                    </a:cubicBezTo>
                    <a:cubicBezTo>
                      <a:pt x="315" y="256"/>
                      <a:pt x="315" y="256"/>
                      <a:pt x="315" y="256"/>
                    </a:cubicBezTo>
                    <a:cubicBezTo>
                      <a:pt x="315" y="256"/>
                      <a:pt x="318" y="260"/>
                      <a:pt x="322" y="258"/>
                    </a:cubicBezTo>
                    <a:cubicBezTo>
                      <a:pt x="327" y="256"/>
                      <a:pt x="331" y="249"/>
                      <a:pt x="331" y="249"/>
                    </a:cubicBezTo>
                    <a:cubicBezTo>
                      <a:pt x="342" y="256"/>
                      <a:pt x="342" y="256"/>
                      <a:pt x="342" y="256"/>
                    </a:cubicBezTo>
                    <a:cubicBezTo>
                      <a:pt x="334" y="253"/>
                      <a:pt x="334" y="253"/>
                      <a:pt x="334" y="253"/>
                    </a:cubicBezTo>
                    <a:cubicBezTo>
                      <a:pt x="331" y="254"/>
                      <a:pt x="331" y="254"/>
                      <a:pt x="331" y="254"/>
                    </a:cubicBezTo>
                    <a:cubicBezTo>
                      <a:pt x="337" y="257"/>
                      <a:pt x="337" y="257"/>
                      <a:pt x="337" y="257"/>
                    </a:cubicBezTo>
                    <a:cubicBezTo>
                      <a:pt x="329" y="256"/>
                      <a:pt x="329" y="256"/>
                      <a:pt x="329" y="256"/>
                    </a:cubicBezTo>
                    <a:cubicBezTo>
                      <a:pt x="326" y="262"/>
                      <a:pt x="326" y="262"/>
                      <a:pt x="326" y="262"/>
                    </a:cubicBezTo>
                    <a:cubicBezTo>
                      <a:pt x="330" y="263"/>
                      <a:pt x="330" y="263"/>
                      <a:pt x="330" y="263"/>
                    </a:cubicBezTo>
                    <a:cubicBezTo>
                      <a:pt x="328" y="267"/>
                      <a:pt x="328" y="267"/>
                      <a:pt x="328" y="267"/>
                    </a:cubicBezTo>
                    <a:cubicBezTo>
                      <a:pt x="329" y="269"/>
                      <a:pt x="335" y="267"/>
                      <a:pt x="335" y="267"/>
                    </a:cubicBezTo>
                    <a:cubicBezTo>
                      <a:pt x="339" y="265"/>
                      <a:pt x="339" y="265"/>
                      <a:pt x="339" y="265"/>
                    </a:cubicBezTo>
                    <a:cubicBezTo>
                      <a:pt x="336" y="274"/>
                      <a:pt x="336" y="274"/>
                      <a:pt x="336" y="274"/>
                    </a:cubicBezTo>
                    <a:cubicBezTo>
                      <a:pt x="340" y="277"/>
                      <a:pt x="340" y="277"/>
                      <a:pt x="340" y="277"/>
                    </a:cubicBezTo>
                    <a:cubicBezTo>
                      <a:pt x="337" y="278"/>
                      <a:pt x="337" y="278"/>
                      <a:pt x="337" y="278"/>
                    </a:cubicBezTo>
                    <a:cubicBezTo>
                      <a:pt x="340" y="281"/>
                      <a:pt x="340" y="281"/>
                      <a:pt x="340" y="281"/>
                    </a:cubicBezTo>
                    <a:cubicBezTo>
                      <a:pt x="340" y="281"/>
                      <a:pt x="339" y="281"/>
                      <a:pt x="337" y="280"/>
                    </a:cubicBezTo>
                    <a:cubicBezTo>
                      <a:pt x="335" y="280"/>
                      <a:pt x="333" y="271"/>
                      <a:pt x="331" y="270"/>
                    </a:cubicBezTo>
                    <a:cubicBezTo>
                      <a:pt x="329" y="270"/>
                      <a:pt x="327" y="271"/>
                      <a:pt x="327" y="271"/>
                    </a:cubicBezTo>
                    <a:cubicBezTo>
                      <a:pt x="327" y="271"/>
                      <a:pt x="325" y="267"/>
                      <a:pt x="322" y="266"/>
                    </a:cubicBezTo>
                    <a:cubicBezTo>
                      <a:pt x="319" y="266"/>
                      <a:pt x="313" y="273"/>
                      <a:pt x="313" y="273"/>
                    </a:cubicBezTo>
                    <a:cubicBezTo>
                      <a:pt x="321" y="274"/>
                      <a:pt x="321" y="274"/>
                      <a:pt x="321" y="274"/>
                    </a:cubicBezTo>
                    <a:cubicBezTo>
                      <a:pt x="321" y="274"/>
                      <a:pt x="318" y="276"/>
                      <a:pt x="314" y="276"/>
                    </a:cubicBezTo>
                    <a:cubicBezTo>
                      <a:pt x="312" y="276"/>
                      <a:pt x="313" y="279"/>
                      <a:pt x="312" y="281"/>
                    </a:cubicBezTo>
                    <a:cubicBezTo>
                      <a:pt x="310" y="283"/>
                      <a:pt x="306" y="285"/>
                      <a:pt x="306" y="285"/>
                    </a:cubicBezTo>
                    <a:cubicBezTo>
                      <a:pt x="317" y="285"/>
                      <a:pt x="317" y="285"/>
                      <a:pt x="317" y="285"/>
                    </a:cubicBezTo>
                    <a:cubicBezTo>
                      <a:pt x="322" y="285"/>
                      <a:pt x="327" y="282"/>
                      <a:pt x="327" y="282"/>
                    </a:cubicBezTo>
                    <a:cubicBezTo>
                      <a:pt x="325" y="286"/>
                      <a:pt x="325" y="286"/>
                      <a:pt x="325" y="286"/>
                    </a:cubicBezTo>
                    <a:cubicBezTo>
                      <a:pt x="335" y="285"/>
                      <a:pt x="335" y="285"/>
                      <a:pt x="335" y="285"/>
                    </a:cubicBezTo>
                    <a:cubicBezTo>
                      <a:pt x="334" y="295"/>
                      <a:pt x="334" y="295"/>
                      <a:pt x="334" y="295"/>
                    </a:cubicBezTo>
                    <a:cubicBezTo>
                      <a:pt x="331" y="290"/>
                      <a:pt x="331" y="290"/>
                      <a:pt x="331" y="290"/>
                    </a:cubicBezTo>
                    <a:cubicBezTo>
                      <a:pt x="323" y="287"/>
                      <a:pt x="323" y="287"/>
                      <a:pt x="323" y="287"/>
                    </a:cubicBezTo>
                    <a:cubicBezTo>
                      <a:pt x="318" y="294"/>
                      <a:pt x="318" y="294"/>
                      <a:pt x="318" y="294"/>
                    </a:cubicBezTo>
                    <a:cubicBezTo>
                      <a:pt x="321" y="287"/>
                      <a:pt x="321" y="287"/>
                      <a:pt x="321" y="287"/>
                    </a:cubicBezTo>
                    <a:cubicBezTo>
                      <a:pt x="308" y="288"/>
                      <a:pt x="308" y="288"/>
                      <a:pt x="308" y="288"/>
                    </a:cubicBezTo>
                    <a:cubicBezTo>
                      <a:pt x="303" y="302"/>
                      <a:pt x="303" y="302"/>
                      <a:pt x="303" y="302"/>
                    </a:cubicBezTo>
                    <a:cubicBezTo>
                      <a:pt x="297" y="301"/>
                      <a:pt x="297" y="301"/>
                      <a:pt x="297" y="301"/>
                    </a:cubicBezTo>
                    <a:cubicBezTo>
                      <a:pt x="296" y="304"/>
                      <a:pt x="296" y="304"/>
                      <a:pt x="296" y="304"/>
                    </a:cubicBezTo>
                    <a:cubicBezTo>
                      <a:pt x="296" y="304"/>
                      <a:pt x="295" y="303"/>
                      <a:pt x="290" y="305"/>
                    </a:cubicBezTo>
                    <a:cubicBezTo>
                      <a:pt x="284" y="308"/>
                      <a:pt x="284" y="311"/>
                      <a:pt x="284" y="311"/>
                    </a:cubicBezTo>
                    <a:cubicBezTo>
                      <a:pt x="293" y="316"/>
                      <a:pt x="293" y="316"/>
                      <a:pt x="293" y="316"/>
                    </a:cubicBezTo>
                    <a:cubicBezTo>
                      <a:pt x="286" y="316"/>
                      <a:pt x="286" y="316"/>
                      <a:pt x="286" y="316"/>
                    </a:cubicBezTo>
                    <a:cubicBezTo>
                      <a:pt x="281" y="317"/>
                      <a:pt x="281" y="317"/>
                      <a:pt x="281" y="317"/>
                    </a:cubicBezTo>
                    <a:cubicBezTo>
                      <a:pt x="288" y="324"/>
                      <a:pt x="288" y="324"/>
                      <a:pt x="288" y="324"/>
                    </a:cubicBezTo>
                    <a:cubicBezTo>
                      <a:pt x="279" y="321"/>
                      <a:pt x="279" y="321"/>
                      <a:pt x="279" y="321"/>
                    </a:cubicBezTo>
                    <a:cubicBezTo>
                      <a:pt x="276" y="321"/>
                      <a:pt x="276" y="321"/>
                      <a:pt x="276" y="321"/>
                    </a:cubicBezTo>
                    <a:cubicBezTo>
                      <a:pt x="282" y="327"/>
                      <a:pt x="282" y="327"/>
                      <a:pt x="282" y="327"/>
                    </a:cubicBezTo>
                    <a:cubicBezTo>
                      <a:pt x="275" y="326"/>
                      <a:pt x="275" y="326"/>
                      <a:pt x="275" y="326"/>
                    </a:cubicBezTo>
                    <a:cubicBezTo>
                      <a:pt x="275" y="328"/>
                      <a:pt x="275" y="328"/>
                      <a:pt x="275" y="328"/>
                    </a:cubicBezTo>
                    <a:cubicBezTo>
                      <a:pt x="278" y="330"/>
                      <a:pt x="278" y="330"/>
                      <a:pt x="278" y="330"/>
                    </a:cubicBezTo>
                    <a:cubicBezTo>
                      <a:pt x="275" y="331"/>
                      <a:pt x="275" y="331"/>
                      <a:pt x="275" y="331"/>
                    </a:cubicBezTo>
                    <a:cubicBezTo>
                      <a:pt x="277" y="333"/>
                      <a:pt x="277" y="333"/>
                      <a:pt x="277" y="333"/>
                    </a:cubicBezTo>
                    <a:cubicBezTo>
                      <a:pt x="281" y="332"/>
                      <a:pt x="281" y="332"/>
                      <a:pt x="281" y="332"/>
                    </a:cubicBezTo>
                    <a:cubicBezTo>
                      <a:pt x="287" y="335"/>
                      <a:pt x="287" y="335"/>
                      <a:pt x="287" y="335"/>
                    </a:cubicBezTo>
                    <a:cubicBezTo>
                      <a:pt x="287" y="335"/>
                      <a:pt x="282" y="334"/>
                      <a:pt x="279" y="335"/>
                    </a:cubicBezTo>
                    <a:cubicBezTo>
                      <a:pt x="276" y="336"/>
                      <a:pt x="278" y="339"/>
                      <a:pt x="278" y="339"/>
                    </a:cubicBezTo>
                    <a:cubicBezTo>
                      <a:pt x="275" y="339"/>
                      <a:pt x="275" y="339"/>
                      <a:pt x="275" y="339"/>
                    </a:cubicBezTo>
                    <a:cubicBezTo>
                      <a:pt x="275" y="335"/>
                      <a:pt x="275" y="335"/>
                      <a:pt x="275" y="335"/>
                    </a:cubicBezTo>
                    <a:cubicBezTo>
                      <a:pt x="271" y="334"/>
                      <a:pt x="271" y="334"/>
                      <a:pt x="271" y="334"/>
                    </a:cubicBezTo>
                    <a:cubicBezTo>
                      <a:pt x="270" y="336"/>
                      <a:pt x="270" y="336"/>
                      <a:pt x="270" y="336"/>
                    </a:cubicBezTo>
                    <a:cubicBezTo>
                      <a:pt x="273" y="340"/>
                      <a:pt x="273" y="340"/>
                      <a:pt x="273" y="340"/>
                    </a:cubicBezTo>
                    <a:cubicBezTo>
                      <a:pt x="273" y="340"/>
                      <a:pt x="270" y="346"/>
                      <a:pt x="272" y="348"/>
                    </a:cubicBezTo>
                    <a:cubicBezTo>
                      <a:pt x="275" y="350"/>
                      <a:pt x="284" y="347"/>
                      <a:pt x="284" y="348"/>
                    </a:cubicBezTo>
                    <a:cubicBezTo>
                      <a:pt x="284" y="349"/>
                      <a:pt x="275" y="350"/>
                      <a:pt x="275" y="350"/>
                    </a:cubicBezTo>
                    <a:cubicBezTo>
                      <a:pt x="271" y="356"/>
                      <a:pt x="271" y="356"/>
                      <a:pt x="271" y="356"/>
                    </a:cubicBezTo>
                    <a:cubicBezTo>
                      <a:pt x="273" y="356"/>
                      <a:pt x="273" y="356"/>
                      <a:pt x="273" y="356"/>
                    </a:cubicBezTo>
                    <a:cubicBezTo>
                      <a:pt x="276" y="353"/>
                      <a:pt x="276" y="353"/>
                      <a:pt x="276" y="353"/>
                    </a:cubicBezTo>
                    <a:cubicBezTo>
                      <a:pt x="285" y="351"/>
                      <a:pt x="285" y="351"/>
                      <a:pt x="285" y="351"/>
                    </a:cubicBezTo>
                    <a:cubicBezTo>
                      <a:pt x="287" y="351"/>
                      <a:pt x="287" y="351"/>
                      <a:pt x="287" y="351"/>
                    </a:cubicBezTo>
                    <a:cubicBezTo>
                      <a:pt x="300" y="347"/>
                      <a:pt x="300" y="347"/>
                      <a:pt x="300" y="347"/>
                    </a:cubicBezTo>
                    <a:cubicBezTo>
                      <a:pt x="292" y="353"/>
                      <a:pt x="292" y="353"/>
                      <a:pt x="292" y="353"/>
                    </a:cubicBezTo>
                    <a:cubicBezTo>
                      <a:pt x="290" y="353"/>
                      <a:pt x="290" y="353"/>
                      <a:pt x="290" y="353"/>
                    </a:cubicBezTo>
                    <a:cubicBezTo>
                      <a:pt x="288" y="355"/>
                      <a:pt x="288" y="355"/>
                      <a:pt x="288" y="355"/>
                    </a:cubicBezTo>
                    <a:cubicBezTo>
                      <a:pt x="292" y="358"/>
                      <a:pt x="292" y="358"/>
                      <a:pt x="292" y="358"/>
                    </a:cubicBezTo>
                    <a:cubicBezTo>
                      <a:pt x="285" y="360"/>
                      <a:pt x="285" y="360"/>
                      <a:pt x="285" y="360"/>
                    </a:cubicBezTo>
                    <a:cubicBezTo>
                      <a:pt x="285" y="360"/>
                      <a:pt x="286" y="355"/>
                      <a:pt x="285" y="353"/>
                    </a:cubicBezTo>
                    <a:cubicBezTo>
                      <a:pt x="282" y="351"/>
                      <a:pt x="277" y="356"/>
                      <a:pt x="275" y="357"/>
                    </a:cubicBezTo>
                    <a:cubicBezTo>
                      <a:pt x="273" y="359"/>
                      <a:pt x="263" y="360"/>
                      <a:pt x="262" y="363"/>
                    </a:cubicBezTo>
                    <a:cubicBezTo>
                      <a:pt x="260" y="366"/>
                      <a:pt x="269" y="364"/>
                      <a:pt x="269" y="364"/>
                    </a:cubicBezTo>
                    <a:cubicBezTo>
                      <a:pt x="268" y="371"/>
                      <a:pt x="268" y="371"/>
                      <a:pt x="268" y="371"/>
                    </a:cubicBezTo>
                    <a:cubicBezTo>
                      <a:pt x="274" y="375"/>
                      <a:pt x="274" y="375"/>
                      <a:pt x="274" y="375"/>
                    </a:cubicBezTo>
                    <a:cubicBezTo>
                      <a:pt x="274" y="375"/>
                      <a:pt x="262" y="372"/>
                      <a:pt x="261" y="375"/>
                    </a:cubicBezTo>
                    <a:cubicBezTo>
                      <a:pt x="259" y="378"/>
                      <a:pt x="261" y="381"/>
                      <a:pt x="261" y="381"/>
                    </a:cubicBezTo>
                    <a:cubicBezTo>
                      <a:pt x="259" y="381"/>
                      <a:pt x="259" y="381"/>
                      <a:pt x="259" y="381"/>
                    </a:cubicBezTo>
                    <a:cubicBezTo>
                      <a:pt x="257" y="383"/>
                      <a:pt x="257" y="383"/>
                      <a:pt x="257" y="383"/>
                    </a:cubicBezTo>
                    <a:cubicBezTo>
                      <a:pt x="259" y="387"/>
                      <a:pt x="259" y="387"/>
                      <a:pt x="259" y="387"/>
                    </a:cubicBezTo>
                    <a:cubicBezTo>
                      <a:pt x="259" y="387"/>
                      <a:pt x="256" y="386"/>
                      <a:pt x="253" y="389"/>
                    </a:cubicBezTo>
                    <a:cubicBezTo>
                      <a:pt x="249" y="391"/>
                      <a:pt x="254" y="398"/>
                      <a:pt x="254" y="398"/>
                    </a:cubicBezTo>
                    <a:cubicBezTo>
                      <a:pt x="258" y="399"/>
                      <a:pt x="258" y="399"/>
                      <a:pt x="258" y="399"/>
                    </a:cubicBezTo>
                    <a:cubicBezTo>
                      <a:pt x="259" y="405"/>
                      <a:pt x="259" y="405"/>
                      <a:pt x="259" y="405"/>
                    </a:cubicBezTo>
                    <a:cubicBezTo>
                      <a:pt x="256" y="406"/>
                      <a:pt x="256" y="406"/>
                      <a:pt x="256" y="406"/>
                    </a:cubicBezTo>
                    <a:cubicBezTo>
                      <a:pt x="249" y="396"/>
                      <a:pt x="249" y="396"/>
                      <a:pt x="249" y="396"/>
                    </a:cubicBezTo>
                    <a:cubicBezTo>
                      <a:pt x="247" y="404"/>
                      <a:pt x="247" y="404"/>
                      <a:pt x="247" y="404"/>
                    </a:cubicBezTo>
                    <a:cubicBezTo>
                      <a:pt x="252" y="404"/>
                      <a:pt x="252" y="404"/>
                      <a:pt x="252" y="404"/>
                    </a:cubicBezTo>
                    <a:cubicBezTo>
                      <a:pt x="252" y="404"/>
                      <a:pt x="248" y="406"/>
                      <a:pt x="246" y="409"/>
                    </a:cubicBezTo>
                    <a:cubicBezTo>
                      <a:pt x="244" y="411"/>
                      <a:pt x="246" y="416"/>
                      <a:pt x="246" y="416"/>
                    </a:cubicBezTo>
                    <a:cubicBezTo>
                      <a:pt x="241" y="418"/>
                      <a:pt x="241" y="418"/>
                      <a:pt x="241" y="418"/>
                    </a:cubicBezTo>
                    <a:cubicBezTo>
                      <a:pt x="243" y="420"/>
                      <a:pt x="243" y="420"/>
                      <a:pt x="243" y="420"/>
                    </a:cubicBezTo>
                    <a:cubicBezTo>
                      <a:pt x="248" y="416"/>
                      <a:pt x="248" y="416"/>
                      <a:pt x="248" y="416"/>
                    </a:cubicBezTo>
                    <a:cubicBezTo>
                      <a:pt x="248" y="413"/>
                      <a:pt x="248" y="413"/>
                      <a:pt x="248" y="413"/>
                    </a:cubicBezTo>
                    <a:cubicBezTo>
                      <a:pt x="253" y="411"/>
                      <a:pt x="253" y="411"/>
                      <a:pt x="253" y="411"/>
                    </a:cubicBezTo>
                    <a:cubicBezTo>
                      <a:pt x="249" y="415"/>
                      <a:pt x="249" y="415"/>
                      <a:pt x="249" y="415"/>
                    </a:cubicBezTo>
                    <a:cubicBezTo>
                      <a:pt x="254" y="419"/>
                      <a:pt x="254" y="419"/>
                      <a:pt x="254" y="419"/>
                    </a:cubicBezTo>
                    <a:cubicBezTo>
                      <a:pt x="253" y="423"/>
                      <a:pt x="253" y="423"/>
                      <a:pt x="253" y="423"/>
                    </a:cubicBezTo>
                    <a:cubicBezTo>
                      <a:pt x="256" y="425"/>
                      <a:pt x="256" y="425"/>
                      <a:pt x="256" y="425"/>
                    </a:cubicBezTo>
                    <a:cubicBezTo>
                      <a:pt x="268" y="412"/>
                      <a:pt x="268" y="412"/>
                      <a:pt x="268" y="412"/>
                    </a:cubicBezTo>
                    <a:cubicBezTo>
                      <a:pt x="271" y="414"/>
                      <a:pt x="271" y="414"/>
                      <a:pt x="271" y="414"/>
                    </a:cubicBezTo>
                    <a:cubicBezTo>
                      <a:pt x="256" y="427"/>
                      <a:pt x="256" y="427"/>
                      <a:pt x="256" y="427"/>
                    </a:cubicBezTo>
                    <a:cubicBezTo>
                      <a:pt x="252" y="428"/>
                      <a:pt x="252" y="428"/>
                      <a:pt x="252" y="428"/>
                    </a:cubicBezTo>
                    <a:cubicBezTo>
                      <a:pt x="249" y="421"/>
                      <a:pt x="249" y="421"/>
                      <a:pt x="249" y="421"/>
                    </a:cubicBezTo>
                    <a:cubicBezTo>
                      <a:pt x="244" y="422"/>
                      <a:pt x="244" y="422"/>
                      <a:pt x="244" y="422"/>
                    </a:cubicBezTo>
                    <a:cubicBezTo>
                      <a:pt x="243" y="424"/>
                      <a:pt x="243" y="424"/>
                      <a:pt x="243" y="424"/>
                    </a:cubicBezTo>
                    <a:cubicBezTo>
                      <a:pt x="243" y="424"/>
                      <a:pt x="239" y="424"/>
                      <a:pt x="239" y="426"/>
                    </a:cubicBezTo>
                    <a:cubicBezTo>
                      <a:pt x="239" y="427"/>
                      <a:pt x="235" y="435"/>
                      <a:pt x="231" y="435"/>
                    </a:cubicBezTo>
                    <a:cubicBezTo>
                      <a:pt x="228" y="436"/>
                      <a:pt x="222" y="440"/>
                      <a:pt x="222" y="440"/>
                    </a:cubicBezTo>
                    <a:cubicBezTo>
                      <a:pt x="224" y="442"/>
                      <a:pt x="224" y="442"/>
                      <a:pt x="224" y="442"/>
                    </a:cubicBezTo>
                    <a:cubicBezTo>
                      <a:pt x="224" y="442"/>
                      <a:pt x="216" y="446"/>
                      <a:pt x="221" y="450"/>
                    </a:cubicBezTo>
                    <a:cubicBezTo>
                      <a:pt x="224" y="452"/>
                      <a:pt x="231" y="441"/>
                      <a:pt x="231" y="441"/>
                    </a:cubicBezTo>
                    <a:cubicBezTo>
                      <a:pt x="242" y="436"/>
                      <a:pt x="242" y="436"/>
                      <a:pt x="242" y="436"/>
                    </a:cubicBezTo>
                    <a:cubicBezTo>
                      <a:pt x="233" y="443"/>
                      <a:pt x="233" y="443"/>
                      <a:pt x="233" y="443"/>
                    </a:cubicBezTo>
                    <a:cubicBezTo>
                      <a:pt x="238" y="446"/>
                      <a:pt x="238" y="446"/>
                      <a:pt x="238" y="446"/>
                    </a:cubicBezTo>
                    <a:cubicBezTo>
                      <a:pt x="238" y="446"/>
                      <a:pt x="232" y="447"/>
                      <a:pt x="228" y="450"/>
                    </a:cubicBezTo>
                    <a:cubicBezTo>
                      <a:pt x="223" y="452"/>
                      <a:pt x="226" y="457"/>
                      <a:pt x="226" y="457"/>
                    </a:cubicBezTo>
                    <a:cubicBezTo>
                      <a:pt x="223" y="458"/>
                      <a:pt x="223" y="458"/>
                      <a:pt x="223" y="458"/>
                    </a:cubicBezTo>
                    <a:cubicBezTo>
                      <a:pt x="219" y="455"/>
                      <a:pt x="219" y="455"/>
                      <a:pt x="219" y="455"/>
                    </a:cubicBezTo>
                    <a:cubicBezTo>
                      <a:pt x="215" y="457"/>
                      <a:pt x="215" y="457"/>
                      <a:pt x="215" y="457"/>
                    </a:cubicBezTo>
                    <a:cubicBezTo>
                      <a:pt x="215" y="457"/>
                      <a:pt x="219" y="463"/>
                      <a:pt x="221" y="465"/>
                    </a:cubicBezTo>
                    <a:cubicBezTo>
                      <a:pt x="222" y="467"/>
                      <a:pt x="231" y="459"/>
                      <a:pt x="231" y="459"/>
                    </a:cubicBezTo>
                    <a:cubicBezTo>
                      <a:pt x="226" y="468"/>
                      <a:pt x="226" y="468"/>
                      <a:pt x="226" y="468"/>
                    </a:cubicBezTo>
                    <a:cubicBezTo>
                      <a:pt x="221" y="471"/>
                      <a:pt x="221" y="471"/>
                      <a:pt x="221" y="471"/>
                    </a:cubicBezTo>
                    <a:cubicBezTo>
                      <a:pt x="213" y="459"/>
                      <a:pt x="213" y="459"/>
                      <a:pt x="213" y="459"/>
                    </a:cubicBezTo>
                    <a:cubicBezTo>
                      <a:pt x="204" y="467"/>
                      <a:pt x="204" y="467"/>
                      <a:pt x="204" y="467"/>
                    </a:cubicBezTo>
                    <a:cubicBezTo>
                      <a:pt x="207" y="470"/>
                      <a:pt x="207" y="470"/>
                      <a:pt x="207" y="470"/>
                    </a:cubicBezTo>
                    <a:cubicBezTo>
                      <a:pt x="200" y="468"/>
                      <a:pt x="200" y="468"/>
                      <a:pt x="200" y="468"/>
                    </a:cubicBezTo>
                    <a:cubicBezTo>
                      <a:pt x="198" y="471"/>
                      <a:pt x="198" y="471"/>
                      <a:pt x="198" y="471"/>
                    </a:cubicBezTo>
                    <a:cubicBezTo>
                      <a:pt x="203" y="474"/>
                      <a:pt x="203" y="474"/>
                      <a:pt x="203" y="474"/>
                    </a:cubicBezTo>
                    <a:cubicBezTo>
                      <a:pt x="198" y="475"/>
                      <a:pt x="198" y="475"/>
                      <a:pt x="198" y="475"/>
                    </a:cubicBezTo>
                    <a:cubicBezTo>
                      <a:pt x="198" y="475"/>
                      <a:pt x="189" y="485"/>
                      <a:pt x="188" y="486"/>
                    </a:cubicBezTo>
                    <a:cubicBezTo>
                      <a:pt x="188" y="487"/>
                      <a:pt x="191" y="490"/>
                      <a:pt x="191" y="490"/>
                    </a:cubicBezTo>
                    <a:cubicBezTo>
                      <a:pt x="184" y="489"/>
                      <a:pt x="184" y="489"/>
                      <a:pt x="184" y="489"/>
                    </a:cubicBezTo>
                    <a:cubicBezTo>
                      <a:pt x="182" y="498"/>
                      <a:pt x="182" y="498"/>
                      <a:pt x="182" y="498"/>
                    </a:cubicBezTo>
                    <a:cubicBezTo>
                      <a:pt x="182" y="498"/>
                      <a:pt x="188" y="498"/>
                      <a:pt x="188" y="500"/>
                    </a:cubicBezTo>
                    <a:cubicBezTo>
                      <a:pt x="188" y="502"/>
                      <a:pt x="179" y="504"/>
                      <a:pt x="174" y="505"/>
                    </a:cubicBezTo>
                    <a:cubicBezTo>
                      <a:pt x="169" y="507"/>
                      <a:pt x="169" y="517"/>
                      <a:pt x="169" y="517"/>
                    </a:cubicBezTo>
                    <a:cubicBezTo>
                      <a:pt x="169" y="517"/>
                      <a:pt x="184" y="509"/>
                      <a:pt x="183" y="514"/>
                    </a:cubicBezTo>
                    <a:cubicBezTo>
                      <a:pt x="183" y="518"/>
                      <a:pt x="176" y="517"/>
                      <a:pt x="176" y="517"/>
                    </a:cubicBezTo>
                    <a:cubicBezTo>
                      <a:pt x="177" y="520"/>
                      <a:pt x="177" y="520"/>
                      <a:pt x="177" y="520"/>
                    </a:cubicBezTo>
                    <a:cubicBezTo>
                      <a:pt x="182" y="522"/>
                      <a:pt x="182" y="522"/>
                      <a:pt x="182" y="522"/>
                    </a:cubicBezTo>
                    <a:cubicBezTo>
                      <a:pt x="179" y="525"/>
                      <a:pt x="179" y="525"/>
                      <a:pt x="179" y="525"/>
                    </a:cubicBezTo>
                    <a:cubicBezTo>
                      <a:pt x="181" y="529"/>
                      <a:pt x="181" y="529"/>
                      <a:pt x="181" y="529"/>
                    </a:cubicBezTo>
                    <a:cubicBezTo>
                      <a:pt x="198" y="520"/>
                      <a:pt x="198" y="520"/>
                      <a:pt x="198" y="520"/>
                    </a:cubicBezTo>
                    <a:cubicBezTo>
                      <a:pt x="198" y="520"/>
                      <a:pt x="202" y="517"/>
                      <a:pt x="203" y="516"/>
                    </a:cubicBezTo>
                    <a:cubicBezTo>
                      <a:pt x="205" y="515"/>
                      <a:pt x="206" y="513"/>
                      <a:pt x="209" y="512"/>
                    </a:cubicBezTo>
                    <a:cubicBezTo>
                      <a:pt x="211" y="512"/>
                      <a:pt x="213" y="508"/>
                      <a:pt x="213" y="505"/>
                    </a:cubicBezTo>
                    <a:cubicBezTo>
                      <a:pt x="213" y="502"/>
                      <a:pt x="202" y="507"/>
                      <a:pt x="202" y="507"/>
                    </a:cubicBezTo>
                    <a:cubicBezTo>
                      <a:pt x="202" y="507"/>
                      <a:pt x="209" y="502"/>
                      <a:pt x="212" y="500"/>
                    </a:cubicBezTo>
                    <a:cubicBezTo>
                      <a:pt x="214" y="499"/>
                      <a:pt x="215" y="494"/>
                      <a:pt x="221" y="494"/>
                    </a:cubicBezTo>
                    <a:cubicBezTo>
                      <a:pt x="225" y="494"/>
                      <a:pt x="226" y="498"/>
                      <a:pt x="226" y="498"/>
                    </a:cubicBezTo>
                    <a:cubicBezTo>
                      <a:pt x="215" y="503"/>
                      <a:pt x="215" y="503"/>
                      <a:pt x="215" y="503"/>
                    </a:cubicBezTo>
                    <a:cubicBezTo>
                      <a:pt x="214" y="506"/>
                      <a:pt x="214" y="506"/>
                      <a:pt x="214" y="506"/>
                    </a:cubicBezTo>
                    <a:cubicBezTo>
                      <a:pt x="214" y="506"/>
                      <a:pt x="223" y="506"/>
                      <a:pt x="224" y="509"/>
                    </a:cubicBezTo>
                    <a:cubicBezTo>
                      <a:pt x="224" y="513"/>
                      <a:pt x="214" y="515"/>
                      <a:pt x="211" y="516"/>
                    </a:cubicBezTo>
                    <a:cubicBezTo>
                      <a:pt x="208" y="516"/>
                      <a:pt x="203" y="521"/>
                      <a:pt x="202" y="524"/>
                    </a:cubicBezTo>
                    <a:cubicBezTo>
                      <a:pt x="202" y="528"/>
                      <a:pt x="206" y="522"/>
                      <a:pt x="208" y="523"/>
                    </a:cubicBezTo>
                    <a:cubicBezTo>
                      <a:pt x="209" y="525"/>
                      <a:pt x="206" y="526"/>
                      <a:pt x="205" y="528"/>
                    </a:cubicBezTo>
                    <a:cubicBezTo>
                      <a:pt x="203" y="530"/>
                      <a:pt x="208" y="531"/>
                      <a:pt x="208" y="531"/>
                    </a:cubicBezTo>
                    <a:cubicBezTo>
                      <a:pt x="205" y="533"/>
                      <a:pt x="205" y="533"/>
                      <a:pt x="205" y="533"/>
                    </a:cubicBezTo>
                    <a:cubicBezTo>
                      <a:pt x="205" y="533"/>
                      <a:pt x="194" y="530"/>
                      <a:pt x="188" y="532"/>
                    </a:cubicBezTo>
                    <a:cubicBezTo>
                      <a:pt x="181" y="534"/>
                      <a:pt x="187" y="539"/>
                      <a:pt x="187" y="539"/>
                    </a:cubicBezTo>
                    <a:cubicBezTo>
                      <a:pt x="180" y="538"/>
                      <a:pt x="180" y="538"/>
                      <a:pt x="180" y="538"/>
                    </a:cubicBezTo>
                    <a:cubicBezTo>
                      <a:pt x="175" y="540"/>
                      <a:pt x="175" y="540"/>
                      <a:pt x="175" y="540"/>
                    </a:cubicBezTo>
                    <a:cubicBezTo>
                      <a:pt x="180" y="532"/>
                      <a:pt x="180" y="532"/>
                      <a:pt x="180" y="532"/>
                    </a:cubicBezTo>
                    <a:cubicBezTo>
                      <a:pt x="175" y="518"/>
                      <a:pt x="175" y="518"/>
                      <a:pt x="175" y="518"/>
                    </a:cubicBezTo>
                    <a:cubicBezTo>
                      <a:pt x="167" y="521"/>
                      <a:pt x="167" y="521"/>
                      <a:pt x="167" y="521"/>
                    </a:cubicBezTo>
                    <a:cubicBezTo>
                      <a:pt x="166" y="523"/>
                      <a:pt x="166" y="523"/>
                      <a:pt x="166" y="523"/>
                    </a:cubicBezTo>
                    <a:cubicBezTo>
                      <a:pt x="158" y="526"/>
                      <a:pt x="158" y="526"/>
                      <a:pt x="158" y="526"/>
                    </a:cubicBezTo>
                    <a:cubicBezTo>
                      <a:pt x="157" y="530"/>
                      <a:pt x="157" y="530"/>
                      <a:pt x="157" y="530"/>
                    </a:cubicBezTo>
                    <a:cubicBezTo>
                      <a:pt x="164" y="531"/>
                      <a:pt x="164" y="531"/>
                      <a:pt x="164" y="531"/>
                    </a:cubicBezTo>
                    <a:cubicBezTo>
                      <a:pt x="157" y="532"/>
                      <a:pt x="157" y="532"/>
                      <a:pt x="157" y="532"/>
                    </a:cubicBezTo>
                    <a:cubicBezTo>
                      <a:pt x="156" y="536"/>
                      <a:pt x="156" y="536"/>
                      <a:pt x="156" y="536"/>
                    </a:cubicBezTo>
                    <a:cubicBezTo>
                      <a:pt x="162" y="537"/>
                      <a:pt x="162" y="537"/>
                      <a:pt x="162" y="537"/>
                    </a:cubicBezTo>
                    <a:cubicBezTo>
                      <a:pt x="150" y="539"/>
                      <a:pt x="150" y="539"/>
                      <a:pt x="150" y="539"/>
                    </a:cubicBezTo>
                    <a:cubicBezTo>
                      <a:pt x="155" y="532"/>
                      <a:pt x="155" y="532"/>
                      <a:pt x="155" y="532"/>
                    </a:cubicBezTo>
                    <a:cubicBezTo>
                      <a:pt x="153" y="530"/>
                      <a:pt x="153" y="530"/>
                      <a:pt x="153" y="530"/>
                    </a:cubicBezTo>
                    <a:cubicBezTo>
                      <a:pt x="147" y="534"/>
                      <a:pt x="147" y="534"/>
                      <a:pt x="147" y="534"/>
                    </a:cubicBezTo>
                    <a:cubicBezTo>
                      <a:pt x="145" y="532"/>
                      <a:pt x="145" y="532"/>
                      <a:pt x="145" y="532"/>
                    </a:cubicBezTo>
                    <a:cubicBezTo>
                      <a:pt x="141" y="534"/>
                      <a:pt x="141" y="534"/>
                      <a:pt x="141" y="534"/>
                    </a:cubicBezTo>
                    <a:cubicBezTo>
                      <a:pt x="145" y="538"/>
                      <a:pt x="145" y="538"/>
                      <a:pt x="145" y="538"/>
                    </a:cubicBezTo>
                    <a:cubicBezTo>
                      <a:pt x="138" y="538"/>
                      <a:pt x="138" y="538"/>
                      <a:pt x="138" y="538"/>
                    </a:cubicBezTo>
                    <a:cubicBezTo>
                      <a:pt x="134" y="541"/>
                      <a:pt x="134" y="541"/>
                      <a:pt x="134" y="541"/>
                    </a:cubicBezTo>
                    <a:cubicBezTo>
                      <a:pt x="139" y="547"/>
                      <a:pt x="139" y="547"/>
                      <a:pt x="139" y="547"/>
                    </a:cubicBezTo>
                    <a:cubicBezTo>
                      <a:pt x="143" y="548"/>
                      <a:pt x="143" y="548"/>
                      <a:pt x="143" y="548"/>
                    </a:cubicBezTo>
                    <a:cubicBezTo>
                      <a:pt x="138" y="549"/>
                      <a:pt x="138" y="549"/>
                      <a:pt x="138" y="549"/>
                    </a:cubicBezTo>
                    <a:cubicBezTo>
                      <a:pt x="135" y="552"/>
                      <a:pt x="135" y="552"/>
                      <a:pt x="135" y="552"/>
                    </a:cubicBezTo>
                    <a:cubicBezTo>
                      <a:pt x="126" y="551"/>
                      <a:pt x="126" y="551"/>
                      <a:pt x="126" y="551"/>
                    </a:cubicBezTo>
                    <a:cubicBezTo>
                      <a:pt x="126" y="555"/>
                      <a:pt x="126" y="555"/>
                      <a:pt x="126" y="555"/>
                    </a:cubicBezTo>
                    <a:cubicBezTo>
                      <a:pt x="132" y="563"/>
                      <a:pt x="132" y="563"/>
                      <a:pt x="132" y="563"/>
                    </a:cubicBezTo>
                    <a:cubicBezTo>
                      <a:pt x="138" y="561"/>
                      <a:pt x="138" y="561"/>
                      <a:pt x="138" y="561"/>
                    </a:cubicBezTo>
                    <a:cubicBezTo>
                      <a:pt x="139" y="562"/>
                      <a:pt x="139" y="562"/>
                      <a:pt x="139" y="562"/>
                    </a:cubicBezTo>
                    <a:cubicBezTo>
                      <a:pt x="132" y="566"/>
                      <a:pt x="132" y="566"/>
                      <a:pt x="132" y="566"/>
                    </a:cubicBezTo>
                    <a:cubicBezTo>
                      <a:pt x="137" y="568"/>
                      <a:pt x="137" y="568"/>
                      <a:pt x="137" y="568"/>
                    </a:cubicBezTo>
                    <a:cubicBezTo>
                      <a:pt x="135" y="569"/>
                      <a:pt x="135" y="569"/>
                      <a:pt x="135" y="569"/>
                    </a:cubicBezTo>
                    <a:cubicBezTo>
                      <a:pt x="130" y="567"/>
                      <a:pt x="130" y="567"/>
                      <a:pt x="130" y="567"/>
                    </a:cubicBezTo>
                    <a:cubicBezTo>
                      <a:pt x="129" y="561"/>
                      <a:pt x="129" y="561"/>
                      <a:pt x="129" y="561"/>
                    </a:cubicBezTo>
                    <a:cubicBezTo>
                      <a:pt x="123" y="552"/>
                      <a:pt x="123" y="552"/>
                      <a:pt x="123" y="552"/>
                    </a:cubicBezTo>
                    <a:cubicBezTo>
                      <a:pt x="114" y="557"/>
                      <a:pt x="114" y="557"/>
                      <a:pt x="114" y="557"/>
                    </a:cubicBezTo>
                    <a:cubicBezTo>
                      <a:pt x="116" y="558"/>
                      <a:pt x="116" y="558"/>
                      <a:pt x="116" y="558"/>
                    </a:cubicBezTo>
                    <a:cubicBezTo>
                      <a:pt x="118" y="558"/>
                      <a:pt x="118" y="558"/>
                      <a:pt x="118" y="558"/>
                    </a:cubicBezTo>
                    <a:cubicBezTo>
                      <a:pt x="123" y="563"/>
                      <a:pt x="123" y="563"/>
                      <a:pt x="123" y="563"/>
                    </a:cubicBezTo>
                    <a:cubicBezTo>
                      <a:pt x="123" y="570"/>
                      <a:pt x="123" y="570"/>
                      <a:pt x="123" y="570"/>
                    </a:cubicBezTo>
                    <a:cubicBezTo>
                      <a:pt x="132" y="577"/>
                      <a:pt x="132" y="577"/>
                      <a:pt x="132" y="577"/>
                    </a:cubicBezTo>
                    <a:cubicBezTo>
                      <a:pt x="133" y="579"/>
                      <a:pt x="133" y="579"/>
                      <a:pt x="133" y="579"/>
                    </a:cubicBezTo>
                    <a:cubicBezTo>
                      <a:pt x="122" y="571"/>
                      <a:pt x="122" y="571"/>
                      <a:pt x="122" y="571"/>
                    </a:cubicBezTo>
                    <a:cubicBezTo>
                      <a:pt x="122" y="562"/>
                      <a:pt x="122" y="562"/>
                      <a:pt x="122" y="562"/>
                    </a:cubicBezTo>
                    <a:cubicBezTo>
                      <a:pt x="113" y="562"/>
                      <a:pt x="113" y="562"/>
                      <a:pt x="113" y="562"/>
                    </a:cubicBezTo>
                    <a:cubicBezTo>
                      <a:pt x="111" y="565"/>
                      <a:pt x="111" y="565"/>
                      <a:pt x="111" y="565"/>
                    </a:cubicBezTo>
                    <a:cubicBezTo>
                      <a:pt x="112" y="560"/>
                      <a:pt x="112" y="560"/>
                      <a:pt x="112" y="560"/>
                    </a:cubicBezTo>
                    <a:cubicBezTo>
                      <a:pt x="108" y="560"/>
                      <a:pt x="108" y="560"/>
                      <a:pt x="108" y="560"/>
                    </a:cubicBezTo>
                    <a:cubicBezTo>
                      <a:pt x="107" y="563"/>
                      <a:pt x="107" y="563"/>
                      <a:pt x="107" y="563"/>
                    </a:cubicBezTo>
                    <a:cubicBezTo>
                      <a:pt x="101" y="564"/>
                      <a:pt x="101" y="564"/>
                      <a:pt x="101" y="564"/>
                    </a:cubicBezTo>
                    <a:cubicBezTo>
                      <a:pt x="96" y="557"/>
                      <a:pt x="96" y="557"/>
                      <a:pt x="96" y="557"/>
                    </a:cubicBezTo>
                    <a:cubicBezTo>
                      <a:pt x="96" y="557"/>
                      <a:pt x="92" y="557"/>
                      <a:pt x="85" y="562"/>
                    </a:cubicBezTo>
                    <a:cubicBezTo>
                      <a:pt x="80" y="567"/>
                      <a:pt x="93" y="567"/>
                      <a:pt x="94" y="569"/>
                    </a:cubicBezTo>
                    <a:cubicBezTo>
                      <a:pt x="94" y="571"/>
                      <a:pt x="91" y="570"/>
                      <a:pt x="88" y="570"/>
                    </a:cubicBezTo>
                    <a:cubicBezTo>
                      <a:pt x="83" y="571"/>
                      <a:pt x="87" y="577"/>
                      <a:pt x="87" y="577"/>
                    </a:cubicBezTo>
                    <a:cubicBezTo>
                      <a:pt x="87" y="577"/>
                      <a:pt x="104" y="571"/>
                      <a:pt x="105" y="573"/>
                    </a:cubicBezTo>
                    <a:cubicBezTo>
                      <a:pt x="106" y="575"/>
                      <a:pt x="99" y="575"/>
                      <a:pt x="99" y="575"/>
                    </a:cubicBezTo>
                    <a:cubicBezTo>
                      <a:pt x="99" y="578"/>
                      <a:pt x="99" y="578"/>
                      <a:pt x="99" y="578"/>
                    </a:cubicBezTo>
                    <a:cubicBezTo>
                      <a:pt x="99" y="578"/>
                      <a:pt x="108" y="575"/>
                      <a:pt x="113" y="573"/>
                    </a:cubicBezTo>
                    <a:cubicBezTo>
                      <a:pt x="118" y="573"/>
                      <a:pt x="122" y="579"/>
                      <a:pt x="122" y="579"/>
                    </a:cubicBezTo>
                    <a:cubicBezTo>
                      <a:pt x="122" y="579"/>
                      <a:pt x="117" y="576"/>
                      <a:pt x="114" y="575"/>
                    </a:cubicBezTo>
                    <a:cubicBezTo>
                      <a:pt x="112" y="575"/>
                      <a:pt x="104" y="578"/>
                      <a:pt x="104" y="578"/>
                    </a:cubicBezTo>
                    <a:cubicBezTo>
                      <a:pt x="104" y="583"/>
                      <a:pt x="104" y="583"/>
                      <a:pt x="104" y="583"/>
                    </a:cubicBezTo>
                    <a:cubicBezTo>
                      <a:pt x="102" y="581"/>
                      <a:pt x="102" y="581"/>
                      <a:pt x="102" y="581"/>
                    </a:cubicBezTo>
                    <a:cubicBezTo>
                      <a:pt x="100" y="582"/>
                      <a:pt x="100" y="582"/>
                      <a:pt x="100" y="582"/>
                    </a:cubicBezTo>
                    <a:cubicBezTo>
                      <a:pt x="102" y="586"/>
                      <a:pt x="102" y="586"/>
                      <a:pt x="102" y="586"/>
                    </a:cubicBezTo>
                    <a:cubicBezTo>
                      <a:pt x="108" y="586"/>
                      <a:pt x="108" y="586"/>
                      <a:pt x="108" y="586"/>
                    </a:cubicBezTo>
                    <a:cubicBezTo>
                      <a:pt x="104" y="591"/>
                      <a:pt x="104" y="591"/>
                      <a:pt x="104" y="591"/>
                    </a:cubicBezTo>
                    <a:cubicBezTo>
                      <a:pt x="96" y="584"/>
                      <a:pt x="96" y="584"/>
                      <a:pt x="96" y="584"/>
                    </a:cubicBezTo>
                    <a:cubicBezTo>
                      <a:pt x="92" y="582"/>
                      <a:pt x="92" y="582"/>
                      <a:pt x="92" y="582"/>
                    </a:cubicBezTo>
                    <a:cubicBezTo>
                      <a:pt x="92" y="585"/>
                      <a:pt x="92" y="585"/>
                      <a:pt x="92" y="585"/>
                    </a:cubicBezTo>
                    <a:cubicBezTo>
                      <a:pt x="92" y="585"/>
                      <a:pt x="90" y="581"/>
                      <a:pt x="87" y="580"/>
                    </a:cubicBezTo>
                    <a:cubicBezTo>
                      <a:pt x="83" y="579"/>
                      <a:pt x="83" y="583"/>
                      <a:pt x="83" y="583"/>
                    </a:cubicBezTo>
                    <a:cubicBezTo>
                      <a:pt x="83" y="583"/>
                      <a:pt x="81" y="581"/>
                      <a:pt x="80" y="580"/>
                    </a:cubicBezTo>
                    <a:cubicBezTo>
                      <a:pt x="78" y="580"/>
                      <a:pt x="74" y="583"/>
                      <a:pt x="74" y="583"/>
                    </a:cubicBezTo>
                    <a:cubicBezTo>
                      <a:pt x="74" y="583"/>
                      <a:pt x="72" y="582"/>
                      <a:pt x="69" y="581"/>
                    </a:cubicBezTo>
                    <a:cubicBezTo>
                      <a:pt x="66" y="581"/>
                      <a:pt x="65" y="584"/>
                      <a:pt x="63" y="587"/>
                    </a:cubicBezTo>
                    <a:cubicBezTo>
                      <a:pt x="62" y="589"/>
                      <a:pt x="74" y="586"/>
                      <a:pt x="74" y="586"/>
                    </a:cubicBezTo>
                    <a:cubicBezTo>
                      <a:pt x="74" y="586"/>
                      <a:pt x="82" y="592"/>
                      <a:pt x="84" y="594"/>
                    </a:cubicBezTo>
                    <a:cubicBezTo>
                      <a:pt x="85" y="595"/>
                      <a:pt x="84" y="600"/>
                      <a:pt x="84" y="600"/>
                    </a:cubicBezTo>
                    <a:cubicBezTo>
                      <a:pt x="87" y="603"/>
                      <a:pt x="87" y="603"/>
                      <a:pt x="87" y="603"/>
                    </a:cubicBezTo>
                    <a:cubicBezTo>
                      <a:pt x="92" y="604"/>
                      <a:pt x="92" y="604"/>
                      <a:pt x="92" y="604"/>
                    </a:cubicBezTo>
                    <a:cubicBezTo>
                      <a:pt x="94" y="603"/>
                      <a:pt x="94" y="603"/>
                      <a:pt x="94" y="603"/>
                    </a:cubicBezTo>
                    <a:cubicBezTo>
                      <a:pt x="93" y="605"/>
                      <a:pt x="93" y="605"/>
                      <a:pt x="93" y="605"/>
                    </a:cubicBezTo>
                    <a:cubicBezTo>
                      <a:pt x="85" y="605"/>
                      <a:pt x="85" y="605"/>
                      <a:pt x="85" y="605"/>
                    </a:cubicBezTo>
                    <a:cubicBezTo>
                      <a:pt x="87" y="608"/>
                      <a:pt x="87" y="608"/>
                      <a:pt x="87" y="608"/>
                    </a:cubicBezTo>
                    <a:cubicBezTo>
                      <a:pt x="83" y="614"/>
                      <a:pt x="83" y="614"/>
                      <a:pt x="83" y="614"/>
                    </a:cubicBezTo>
                    <a:cubicBezTo>
                      <a:pt x="85" y="616"/>
                      <a:pt x="85" y="616"/>
                      <a:pt x="85" y="616"/>
                    </a:cubicBezTo>
                    <a:cubicBezTo>
                      <a:pt x="80" y="615"/>
                      <a:pt x="80" y="615"/>
                      <a:pt x="80" y="615"/>
                    </a:cubicBezTo>
                    <a:cubicBezTo>
                      <a:pt x="84" y="607"/>
                      <a:pt x="84" y="607"/>
                      <a:pt x="84" y="607"/>
                    </a:cubicBezTo>
                    <a:cubicBezTo>
                      <a:pt x="82" y="602"/>
                      <a:pt x="82" y="602"/>
                      <a:pt x="82" y="602"/>
                    </a:cubicBezTo>
                    <a:cubicBezTo>
                      <a:pt x="82" y="594"/>
                      <a:pt x="82" y="594"/>
                      <a:pt x="82" y="594"/>
                    </a:cubicBezTo>
                    <a:cubicBezTo>
                      <a:pt x="73" y="593"/>
                      <a:pt x="73" y="593"/>
                      <a:pt x="73" y="593"/>
                    </a:cubicBezTo>
                    <a:cubicBezTo>
                      <a:pt x="73" y="597"/>
                      <a:pt x="73" y="597"/>
                      <a:pt x="73" y="597"/>
                    </a:cubicBezTo>
                    <a:cubicBezTo>
                      <a:pt x="69" y="595"/>
                      <a:pt x="69" y="595"/>
                      <a:pt x="69" y="595"/>
                    </a:cubicBezTo>
                    <a:cubicBezTo>
                      <a:pt x="66" y="595"/>
                      <a:pt x="66" y="595"/>
                      <a:pt x="66" y="595"/>
                    </a:cubicBezTo>
                    <a:cubicBezTo>
                      <a:pt x="72" y="611"/>
                      <a:pt x="72" y="611"/>
                      <a:pt x="72" y="611"/>
                    </a:cubicBezTo>
                    <a:cubicBezTo>
                      <a:pt x="71" y="613"/>
                      <a:pt x="71" y="613"/>
                      <a:pt x="71" y="613"/>
                    </a:cubicBezTo>
                    <a:cubicBezTo>
                      <a:pt x="68" y="607"/>
                      <a:pt x="68" y="607"/>
                      <a:pt x="68" y="607"/>
                    </a:cubicBezTo>
                    <a:cubicBezTo>
                      <a:pt x="65" y="602"/>
                      <a:pt x="65" y="602"/>
                      <a:pt x="65" y="602"/>
                    </a:cubicBezTo>
                    <a:cubicBezTo>
                      <a:pt x="65" y="602"/>
                      <a:pt x="66" y="598"/>
                      <a:pt x="63" y="597"/>
                    </a:cubicBezTo>
                    <a:cubicBezTo>
                      <a:pt x="61" y="596"/>
                      <a:pt x="52" y="603"/>
                      <a:pt x="52" y="603"/>
                    </a:cubicBezTo>
                    <a:cubicBezTo>
                      <a:pt x="56" y="607"/>
                      <a:pt x="56" y="607"/>
                      <a:pt x="56" y="607"/>
                    </a:cubicBezTo>
                    <a:cubicBezTo>
                      <a:pt x="50" y="607"/>
                      <a:pt x="50" y="607"/>
                      <a:pt x="50" y="607"/>
                    </a:cubicBezTo>
                    <a:cubicBezTo>
                      <a:pt x="50" y="607"/>
                      <a:pt x="52" y="608"/>
                      <a:pt x="55" y="610"/>
                    </a:cubicBezTo>
                    <a:cubicBezTo>
                      <a:pt x="57" y="613"/>
                      <a:pt x="61" y="616"/>
                      <a:pt x="61" y="616"/>
                    </a:cubicBezTo>
                    <a:cubicBezTo>
                      <a:pt x="55" y="615"/>
                      <a:pt x="55" y="615"/>
                      <a:pt x="55" y="615"/>
                    </a:cubicBezTo>
                    <a:cubicBezTo>
                      <a:pt x="52" y="613"/>
                      <a:pt x="52" y="613"/>
                      <a:pt x="52" y="613"/>
                    </a:cubicBezTo>
                    <a:cubicBezTo>
                      <a:pt x="48" y="617"/>
                      <a:pt x="48" y="617"/>
                      <a:pt x="48" y="617"/>
                    </a:cubicBezTo>
                    <a:cubicBezTo>
                      <a:pt x="51" y="610"/>
                      <a:pt x="51" y="610"/>
                      <a:pt x="51" y="610"/>
                    </a:cubicBezTo>
                    <a:cubicBezTo>
                      <a:pt x="51" y="610"/>
                      <a:pt x="50" y="608"/>
                      <a:pt x="46" y="608"/>
                    </a:cubicBezTo>
                    <a:cubicBezTo>
                      <a:pt x="42" y="608"/>
                      <a:pt x="43" y="612"/>
                      <a:pt x="43" y="612"/>
                    </a:cubicBezTo>
                    <a:cubicBezTo>
                      <a:pt x="43" y="612"/>
                      <a:pt x="40" y="608"/>
                      <a:pt x="38" y="608"/>
                    </a:cubicBezTo>
                    <a:cubicBezTo>
                      <a:pt x="34" y="608"/>
                      <a:pt x="33" y="612"/>
                      <a:pt x="33" y="612"/>
                    </a:cubicBezTo>
                    <a:cubicBezTo>
                      <a:pt x="39" y="615"/>
                      <a:pt x="39" y="615"/>
                      <a:pt x="39" y="615"/>
                    </a:cubicBezTo>
                    <a:cubicBezTo>
                      <a:pt x="38" y="616"/>
                      <a:pt x="38" y="616"/>
                      <a:pt x="38" y="616"/>
                    </a:cubicBezTo>
                    <a:cubicBezTo>
                      <a:pt x="31" y="611"/>
                      <a:pt x="31" y="611"/>
                      <a:pt x="31" y="611"/>
                    </a:cubicBezTo>
                    <a:cubicBezTo>
                      <a:pt x="32" y="609"/>
                      <a:pt x="32" y="609"/>
                      <a:pt x="32" y="609"/>
                    </a:cubicBezTo>
                    <a:cubicBezTo>
                      <a:pt x="28" y="605"/>
                      <a:pt x="28" y="605"/>
                      <a:pt x="28" y="605"/>
                    </a:cubicBezTo>
                    <a:cubicBezTo>
                      <a:pt x="25" y="609"/>
                      <a:pt x="25" y="609"/>
                      <a:pt x="25" y="609"/>
                    </a:cubicBezTo>
                    <a:cubicBezTo>
                      <a:pt x="26" y="611"/>
                      <a:pt x="26" y="611"/>
                      <a:pt x="26" y="611"/>
                    </a:cubicBezTo>
                    <a:cubicBezTo>
                      <a:pt x="26" y="611"/>
                      <a:pt x="32" y="616"/>
                      <a:pt x="32" y="618"/>
                    </a:cubicBezTo>
                    <a:cubicBezTo>
                      <a:pt x="31" y="621"/>
                      <a:pt x="25" y="620"/>
                      <a:pt x="25" y="624"/>
                    </a:cubicBezTo>
                    <a:cubicBezTo>
                      <a:pt x="25" y="627"/>
                      <a:pt x="34" y="623"/>
                      <a:pt x="34" y="623"/>
                    </a:cubicBezTo>
                    <a:cubicBezTo>
                      <a:pt x="50" y="627"/>
                      <a:pt x="50" y="627"/>
                      <a:pt x="50" y="627"/>
                    </a:cubicBezTo>
                    <a:cubicBezTo>
                      <a:pt x="49" y="628"/>
                      <a:pt x="49" y="628"/>
                      <a:pt x="49" y="628"/>
                    </a:cubicBezTo>
                    <a:cubicBezTo>
                      <a:pt x="64" y="632"/>
                      <a:pt x="64" y="632"/>
                      <a:pt x="64" y="632"/>
                    </a:cubicBezTo>
                    <a:cubicBezTo>
                      <a:pt x="71" y="629"/>
                      <a:pt x="71" y="629"/>
                      <a:pt x="71" y="629"/>
                    </a:cubicBezTo>
                    <a:cubicBezTo>
                      <a:pt x="78" y="631"/>
                      <a:pt x="78" y="631"/>
                      <a:pt x="78" y="631"/>
                    </a:cubicBezTo>
                    <a:cubicBezTo>
                      <a:pt x="78" y="632"/>
                      <a:pt x="78" y="632"/>
                      <a:pt x="78" y="632"/>
                    </a:cubicBezTo>
                    <a:cubicBezTo>
                      <a:pt x="72" y="631"/>
                      <a:pt x="72" y="631"/>
                      <a:pt x="72" y="631"/>
                    </a:cubicBezTo>
                    <a:cubicBezTo>
                      <a:pt x="65" y="633"/>
                      <a:pt x="65" y="633"/>
                      <a:pt x="65" y="633"/>
                    </a:cubicBezTo>
                    <a:cubicBezTo>
                      <a:pt x="56" y="631"/>
                      <a:pt x="56" y="631"/>
                      <a:pt x="56" y="631"/>
                    </a:cubicBezTo>
                    <a:cubicBezTo>
                      <a:pt x="55" y="633"/>
                      <a:pt x="55" y="633"/>
                      <a:pt x="55" y="633"/>
                    </a:cubicBezTo>
                    <a:cubicBezTo>
                      <a:pt x="55" y="633"/>
                      <a:pt x="42" y="626"/>
                      <a:pt x="35" y="626"/>
                    </a:cubicBezTo>
                    <a:cubicBezTo>
                      <a:pt x="28" y="626"/>
                      <a:pt x="29" y="629"/>
                      <a:pt x="29" y="629"/>
                    </a:cubicBezTo>
                    <a:cubicBezTo>
                      <a:pt x="29" y="629"/>
                      <a:pt x="28" y="629"/>
                      <a:pt x="25" y="631"/>
                    </a:cubicBezTo>
                    <a:cubicBezTo>
                      <a:pt x="23" y="632"/>
                      <a:pt x="25" y="635"/>
                      <a:pt x="25" y="635"/>
                    </a:cubicBezTo>
                    <a:cubicBezTo>
                      <a:pt x="25" y="635"/>
                      <a:pt x="19" y="634"/>
                      <a:pt x="17" y="638"/>
                    </a:cubicBezTo>
                    <a:cubicBezTo>
                      <a:pt x="16" y="641"/>
                      <a:pt x="19" y="642"/>
                      <a:pt x="19" y="642"/>
                    </a:cubicBezTo>
                    <a:cubicBezTo>
                      <a:pt x="27" y="642"/>
                      <a:pt x="27" y="642"/>
                      <a:pt x="27" y="642"/>
                    </a:cubicBezTo>
                    <a:cubicBezTo>
                      <a:pt x="32" y="646"/>
                      <a:pt x="32" y="646"/>
                      <a:pt x="32" y="646"/>
                    </a:cubicBezTo>
                    <a:cubicBezTo>
                      <a:pt x="26" y="644"/>
                      <a:pt x="26" y="644"/>
                      <a:pt x="26" y="644"/>
                    </a:cubicBezTo>
                    <a:cubicBezTo>
                      <a:pt x="24" y="646"/>
                      <a:pt x="24" y="646"/>
                      <a:pt x="24" y="646"/>
                    </a:cubicBezTo>
                    <a:cubicBezTo>
                      <a:pt x="28" y="648"/>
                      <a:pt x="28" y="648"/>
                      <a:pt x="28" y="648"/>
                    </a:cubicBezTo>
                    <a:cubicBezTo>
                      <a:pt x="23" y="648"/>
                      <a:pt x="23" y="648"/>
                      <a:pt x="23" y="648"/>
                    </a:cubicBezTo>
                    <a:cubicBezTo>
                      <a:pt x="23" y="650"/>
                      <a:pt x="23" y="650"/>
                      <a:pt x="23" y="650"/>
                    </a:cubicBezTo>
                    <a:cubicBezTo>
                      <a:pt x="32" y="652"/>
                      <a:pt x="32" y="652"/>
                      <a:pt x="32" y="652"/>
                    </a:cubicBezTo>
                    <a:cubicBezTo>
                      <a:pt x="17" y="655"/>
                      <a:pt x="17" y="655"/>
                      <a:pt x="17" y="655"/>
                    </a:cubicBezTo>
                    <a:cubicBezTo>
                      <a:pt x="17" y="657"/>
                      <a:pt x="17" y="657"/>
                      <a:pt x="17" y="657"/>
                    </a:cubicBezTo>
                    <a:cubicBezTo>
                      <a:pt x="20" y="657"/>
                      <a:pt x="20" y="657"/>
                      <a:pt x="20" y="657"/>
                    </a:cubicBezTo>
                    <a:cubicBezTo>
                      <a:pt x="20" y="660"/>
                      <a:pt x="20" y="660"/>
                      <a:pt x="20" y="660"/>
                    </a:cubicBezTo>
                    <a:cubicBezTo>
                      <a:pt x="30" y="660"/>
                      <a:pt x="30" y="660"/>
                      <a:pt x="30" y="660"/>
                    </a:cubicBezTo>
                    <a:cubicBezTo>
                      <a:pt x="17" y="663"/>
                      <a:pt x="17" y="663"/>
                      <a:pt x="17" y="663"/>
                    </a:cubicBezTo>
                    <a:cubicBezTo>
                      <a:pt x="15" y="667"/>
                      <a:pt x="15" y="667"/>
                      <a:pt x="15" y="667"/>
                    </a:cubicBezTo>
                    <a:cubicBezTo>
                      <a:pt x="22" y="670"/>
                      <a:pt x="22" y="670"/>
                      <a:pt x="22" y="670"/>
                    </a:cubicBezTo>
                    <a:cubicBezTo>
                      <a:pt x="18" y="670"/>
                      <a:pt x="18" y="670"/>
                      <a:pt x="18" y="670"/>
                    </a:cubicBezTo>
                    <a:cubicBezTo>
                      <a:pt x="23" y="675"/>
                      <a:pt x="23" y="675"/>
                      <a:pt x="23" y="675"/>
                    </a:cubicBezTo>
                    <a:cubicBezTo>
                      <a:pt x="26" y="675"/>
                      <a:pt x="26" y="675"/>
                      <a:pt x="26" y="675"/>
                    </a:cubicBezTo>
                    <a:cubicBezTo>
                      <a:pt x="28" y="677"/>
                      <a:pt x="28" y="677"/>
                      <a:pt x="28" y="677"/>
                    </a:cubicBezTo>
                    <a:cubicBezTo>
                      <a:pt x="48" y="672"/>
                      <a:pt x="48" y="672"/>
                      <a:pt x="48" y="672"/>
                    </a:cubicBezTo>
                    <a:cubicBezTo>
                      <a:pt x="46" y="675"/>
                      <a:pt x="46" y="675"/>
                      <a:pt x="46" y="675"/>
                    </a:cubicBezTo>
                    <a:cubicBezTo>
                      <a:pt x="55" y="674"/>
                      <a:pt x="55" y="674"/>
                      <a:pt x="55" y="674"/>
                    </a:cubicBezTo>
                    <a:cubicBezTo>
                      <a:pt x="55" y="674"/>
                      <a:pt x="56" y="677"/>
                      <a:pt x="61" y="677"/>
                    </a:cubicBezTo>
                    <a:cubicBezTo>
                      <a:pt x="65" y="677"/>
                      <a:pt x="63" y="668"/>
                      <a:pt x="63" y="668"/>
                    </a:cubicBezTo>
                    <a:cubicBezTo>
                      <a:pt x="66" y="667"/>
                      <a:pt x="66" y="667"/>
                      <a:pt x="66" y="667"/>
                    </a:cubicBezTo>
                    <a:cubicBezTo>
                      <a:pt x="71" y="661"/>
                      <a:pt x="71" y="661"/>
                      <a:pt x="71" y="661"/>
                    </a:cubicBezTo>
                    <a:cubicBezTo>
                      <a:pt x="72" y="662"/>
                      <a:pt x="72" y="662"/>
                      <a:pt x="72" y="662"/>
                    </a:cubicBezTo>
                    <a:cubicBezTo>
                      <a:pt x="67" y="670"/>
                      <a:pt x="67" y="670"/>
                      <a:pt x="67" y="670"/>
                    </a:cubicBezTo>
                    <a:cubicBezTo>
                      <a:pt x="69" y="674"/>
                      <a:pt x="69" y="674"/>
                      <a:pt x="69" y="674"/>
                    </a:cubicBezTo>
                    <a:cubicBezTo>
                      <a:pt x="79" y="675"/>
                      <a:pt x="79" y="675"/>
                      <a:pt x="79" y="675"/>
                    </a:cubicBezTo>
                    <a:cubicBezTo>
                      <a:pt x="83" y="671"/>
                      <a:pt x="83" y="671"/>
                      <a:pt x="83" y="671"/>
                    </a:cubicBezTo>
                    <a:cubicBezTo>
                      <a:pt x="83" y="675"/>
                      <a:pt x="83" y="675"/>
                      <a:pt x="83" y="675"/>
                    </a:cubicBezTo>
                    <a:cubicBezTo>
                      <a:pt x="76" y="677"/>
                      <a:pt x="76" y="677"/>
                      <a:pt x="76" y="677"/>
                    </a:cubicBezTo>
                    <a:cubicBezTo>
                      <a:pt x="78" y="679"/>
                      <a:pt x="78" y="679"/>
                      <a:pt x="78" y="679"/>
                    </a:cubicBezTo>
                    <a:cubicBezTo>
                      <a:pt x="90" y="675"/>
                      <a:pt x="90" y="675"/>
                      <a:pt x="90" y="675"/>
                    </a:cubicBezTo>
                    <a:cubicBezTo>
                      <a:pt x="89" y="668"/>
                      <a:pt x="89" y="668"/>
                      <a:pt x="89" y="668"/>
                    </a:cubicBezTo>
                    <a:cubicBezTo>
                      <a:pt x="89" y="668"/>
                      <a:pt x="91" y="664"/>
                      <a:pt x="93" y="661"/>
                    </a:cubicBezTo>
                    <a:cubicBezTo>
                      <a:pt x="94" y="659"/>
                      <a:pt x="98" y="656"/>
                      <a:pt x="98" y="656"/>
                    </a:cubicBezTo>
                    <a:cubicBezTo>
                      <a:pt x="99" y="658"/>
                      <a:pt x="99" y="658"/>
                      <a:pt x="99" y="658"/>
                    </a:cubicBezTo>
                    <a:cubicBezTo>
                      <a:pt x="99" y="658"/>
                      <a:pt x="97" y="660"/>
                      <a:pt x="95" y="662"/>
                    </a:cubicBezTo>
                    <a:cubicBezTo>
                      <a:pt x="93" y="663"/>
                      <a:pt x="90" y="668"/>
                      <a:pt x="90" y="668"/>
                    </a:cubicBezTo>
                    <a:cubicBezTo>
                      <a:pt x="92" y="671"/>
                      <a:pt x="92" y="671"/>
                      <a:pt x="92" y="671"/>
                    </a:cubicBezTo>
                    <a:cubicBezTo>
                      <a:pt x="93" y="675"/>
                      <a:pt x="93" y="675"/>
                      <a:pt x="93" y="675"/>
                    </a:cubicBezTo>
                    <a:cubicBezTo>
                      <a:pt x="102" y="673"/>
                      <a:pt x="102" y="673"/>
                      <a:pt x="102" y="673"/>
                    </a:cubicBezTo>
                    <a:cubicBezTo>
                      <a:pt x="98" y="676"/>
                      <a:pt x="98" y="676"/>
                      <a:pt x="98" y="676"/>
                    </a:cubicBezTo>
                    <a:cubicBezTo>
                      <a:pt x="96" y="676"/>
                      <a:pt x="96" y="676"/>
                      <a:pt x="96" y="676"/>
                    </a:cubicBezTo>
                    <a:cubicBezTo>
                      <a:pt x="92" y="677"/>
                      <a:pt x="92" y="677"/>
                      <a:pt x="92" y="677"/>
                    </a:cubicBezTo>
                    <a:cubicBezTo>
                      <a:pt x="92" y="680"/>
                      <a:pt x="92" y="680"/>
                      <a:pt x="92" y="680"/>
                    </a:cubicBezTo>
                    <a:cubicBezTo>
                      <a:pt x="88" y="678"/>
                      <a:pt x="88" y="678"/>
                      <a:pt x="88" y="678"/>
                    </a:cubicBezTo>
                    <a:cubicBezTo>
                      <a:pt x="80" y="680"/>
                      <a:pt x="80" y="680"/>
                      <a:pt x="80" y="680"/>
                    </a:cubicBezTo>
                    <a:cubicBezTo>
                      <a:pt x="80" y="686"/>
                      <a:pt x="80" y="686"/>
                      <a:pt x="80" y="686"/>
                    </a:cubicBezTo>
                    <a:cubicBezTo>
                      <a:pt x="82" y="691"/>
                      <a:pt x="82" y="691"/>
                      <a:pt x="82" y="691"/>
                    </a:cubicBezTo>
                    <a:cubicBezTo>
                      <a:pt x="79" y="688"/>
                      <a:pt x="79" y="688"/>
                      <a:pt x="79" y="688"/>
                    </a:cubicBezTo>
                    <a:cubicBezTo>
                      <a:pt x="76" y="690"/>
                      <a:pt x="76" y="690"/>
                      <a:pt x="76" y="690"/>
                    </a:cubicBezTo>
                    <a:cubicBezTo>
                      <a:pt x="78" y="686"/>
                      <a:pt x="78" y="686"/>
                      <a:pt x="78" y="686"/>
                    </a:cubicBezTo>
                    <a:cubicBezTo>
                      <a:pt x="77" y="681"/>
                      <a:pt x="77" y="681"/>
                      <a:pt x="77" y="681"/>
                    </a:cubicBezTo>
                    <a:cubicBezTo>
                      <a:pt x="75" y="681"/>
                      <a:pt x="75" y="681"/>
                      <a:pt x="75" y="681"/>
                    </a:cubicBezTo>
                    <a:cubicBezTo>
                      <a:pt x="74" y="678"/>
                      <a:pt x="74" y="678"/>
                      <a:pt x="74" y="678"/>
                    </a:cubicBezTo>
                    <a:cubicBezTo>
                      <a:pt x="74" y="678"/>
                      <a:pt x="67" y="676"/>
                      <a:pt x="66" y="675"/>
                    </a:cubicBezTo>
                    <a:cubicBezTo>
                      <a:pt x="65" y="675"/>
                      <a:pt x="64" y="679"/>
                      <a:pt x="64" y="679"/>
                    </a:cubicBezTo>
                    <a:cubicBezTo>
                      <a:pt x="56" y="680"/>
                      <a:pt x="56" y="680"/>
                      <a:pt x="56" y="680"/>
                    </a:cubicBezTo>
                    <a:cubicBezTo>
                      <a:pt x="56" y="678"/>
                      <a:pt x="56" y="678"/>
                      <a:pt x="56" y="678"/>
                    </a:cubicBezTo>
                    <a:cubicBezTo>
                      <a:pt x="42" y="676"/>
                      <a:pt x="42" y="676"/>
                      <a:pt x="42" y="676"/>
                    </a:cubicBezTo>
                    <a:cubicBezTo>
                      <a:pt x="41" y="678"/>
                      <a:pt x="41" y="678"/>
                      <a:pt x="41" y="678"/>
                    </a:cubicBezTo>
                    <a:cubicBezTo>
                      <a:pt x="39" y="676"/>
                      <a:pt x="39" y="676"/>
                      <a:pt x="39" y="676"/>
                    </a:cubicBezTo>
                    <a:cubicBezTo>
                      <a:pt x="33" y="678"/>
                      <a:pt x="33" y="678"/>
                      <a:pt x="33" y="678"/>
                    </a:cubicBezTo>
                    <a:cubicBezTo>
                      <a:pt x="31" y="681"/>
                      <a:pt x="31" y="681"/>
                      <a:pt x="31" y="681"/>
                    </a:cubicBezTo>
                    <a:cubicBezTo>
                      <a:pt x="24" y="680"/>
                      <a:pt x="24" y="680"/>
                      <a:pt x="24" y="680"/>
                    </a:cubicBezTo>
                    <a:cubicBezTo>
                      <a:pt x="24" y="680"/>
                      <a:pt x="23" y="678"/>
                      <a:pt x="19" y="678"/>
                    </a:cubicBezTo>
                    <a:cubicBezTo>
                      <a:pt x="16" y="678"/>
                      <a:pt x="15" y="682"/>
                      <a:pt x="15" y="682"/>
                    </a:cubicBezTo>
                    <a:cubicBezTo>
                      <a:pt x="18" y="686"/>
                      <a:pt x="18" y="686"/>
                      <a:pt x="18" y="686"/>
                    </a:cubicBezTo>
                    <a:cubicBezTo>
                      <a:pt x="14" y="687"/>
                      <a:pt x="14" y="687"/>
                      <a:pt x="14" y="687"/>
                    </a:cubicBezTo>
                    <a:cubicBezTo>
                      <a:pt x="14" y="687"/>
                      <a:pt x="14" y="692"/>
                      <a:pt x="18" y="693"/>
                    </a:cubicBezTo>
                    <a:cubicBezTo>
                      <a:pt x="22" y="695"/>
                      <a:pt x="24" y="691"/>
                      <a:pt x="24" y="691"/>
                    </a:cubicBezTo>
                    <a:cubicBezTo>
                      <a:pt x="28" y="691"/>
                      <a:pt x="28" y="691"/>
                      <a:pt x="28" y="691"/>
                    </a:cubicBezTo>
                    <a:cubicBezTo>
                      <a:pt x="27" y="692"/>
                      <a:pt x="27" y="692"/>
                      <a:pt x="27" y="692"/>
                    </a:cubicBezTo>
                    <a:cubicBezTo>
                      <a:pt x="27" y="692"/>
                      <a:pt x="23" y="692"/>
                      <a:pt x="22" y="697"/>
                    </a:cubicBezTo>
                    <a:cubicBezTo>
                      <a:pt x="20" y="703"/>
                      <a:pt x="27" y="704"/>
                      <a:pt x="27" y="704"/>
                    </a:cubicBezTo>
                    <a:cubicBezTo>
                      <a:pt x="25" y="705"/>
                      <a:pt x="25" y="705"/>
                      <a:pt x="25" y="705"/>
                    </a:cubicBezTo>
                    <a:cubicBezTo>
                      <a:pt x="27" y="707"/>
                      <a:pt x="27" y="707"/>
                      <a:pt x="27" y="707"/>
                    </a:cubicBezTo>
                    <a:cubicBezTo>
                      <a:pt x="30" y="707"/>
                      <a:pt x="30" y="707"/>
                      <a:pt x="30" y="707"/>
                    </a:cubicBezTo>
                    <a:cubicBezTo>
                      <a:pt x="30" y="707"/>
                      <a:pt x="29" y="705"/>
                      <a:pt x="29" y="703"/>
                    </a:cubicBezTo>
                    <a:cubicBezTo>
                      <a:pt x="29" y="702"/>
                      <a:pt x="32" y="701"/>
                      <a:pt x="32" y="701"/>
                    </a:cubicBezTo>
                    <a:cubicBezTo>
                      <a:pt x="38" y="704"/>
                      <a:pt x="38" y="704"/>
                      <a:pt x="38" y="704"/>
                    </a:cubicBezTo>
                    <a:cubicBezTo>
                      <a:pt x="38" y="704"/>
                      <a:pt x="36" y="708"/>
                      <a:pt x="35" y="711"/>
                    </a:cubicBezTo>
                    <a:cubicBezTo>
                      <a:pt x="34" y="714"/>
                      <a:pt x="34" y="719"/>
                      <a:pt x="34" y="719"/>
                    </a:cubicBezTo>
                    <a:cubicBezTo>
                      <a:pt x="25" y="720"/>
                      <a:pt x="25" y="720"/>
                      <a:pt x="25" y="720"/>
                    </a:cubicBezTo>
                    <a:cubicBezTo>
                      <a:pt x="25" y="720"/>
                      <a:pt x="24" y="713"/>
                      <a:pt x="19" y="714"/>
                    </a:cubicBezTo>
                    <a:cubicBezTo>
                      <a:pt x="15" y="715"/>
                      <a:pt x="19" y="723"/>
                      <a:pt x="19" y="723"/>
                    </a:cubicBezTo>
                    <a:cubicBezTo>
                      <a:pt x="19" y="723"/>
                      <a:pt x="15" y="723"/>
                      <a:pt x="15" y="727"/>
                    </a:cubicBezTo>
                    <a:cubicBezTo>
                      <a:pt x="15" y="731"/>
                      <a:pt x="18" y="730"/>
                      <a:pt x="18" y="730"/>
                    </a:cubicBezTo>
                    <a:cubicBezTo>
                      <a:pt x="17" y="733"/>
                      <a:pt x="17" y="733"/>
                      <a:pt x="17" y="733"/>
                    </a:cubicBezTo>
                    <a:cubicBezTo>
                      <a:pt x="22" y="738"/>
                      <a:pt x="22" y="738"/>
                      <a:pt x="22" y="738"/>
                    </a:cubicBezTo>
                    <a:cubicBezTo>
                      <a:pt x="26" y="735"/>
                      <a:pt x="26" y="735"/>
                      <a:pt x="26" y="735"/>
                    </a:cubicBezTo>
                    <a:cubicBezTo>
                      <a:pt x="29" y="727"/>
                      <a:pt x="29" y="727"/>
                      <a:pt x="29" y="727"/>
                    </a:cubicBezTo>
                    <a:cubicBezTo>
                      <a:pt x="27" y="734"/>
                      <a:pt x="27" y="734"/>
                      <a:pt x="27" y="734"/>
                    </a:cubicBezTo>
                    <a:cubicBezTo>
                      <a:pt x="27" y="738"/>
                      <a:pt x="27" y="738"/>
                      <a:pt x="27" y="738"/>
                    </a:cubicBezTo>
                    <a:cubicBezTo>
                      <a:pt x="32" y="738"/>
                      <a:pt x="32" y="738"/>
                      <a:pt x="32" y="738"/>
                    </a:cubicBezTo>
                    <a:cubicBezTo>
                      <a:pt x="33" y="739"/>
                      <a:pt x="31" y="743"/>
                      <a:pt x="31" y="743"/>
                    </a:cubicBezTo>
                    <a:cubicBezTo>
                      <a:pt x="32" y="744"/>
                      <a:pt x="32" y="744"/>
                      <a:pt x="32" y="744"/>
                    </a:cubicBezTo>
                    <a:cubicBezTo>
                      <a:pt x="30" y="744"/>
                      <a:pt x="30" y="744"/>
                      <a:pt x="30" y="744"/>
                    </a:cubicBezTo>
                    <a:cubicBezTo>
                      <a:pt x="30" y="746"/>
                      <a:pt x="30" y="746"/>
                      <a:pt x="30" y="746"/>
                    </a:cubicBezTo>
                    <a:cubicBezTo>
                      <a:pt x="34" y="750"/>
                      <a:pt x="34" y="750"/>
                      <a:pt x="34" y="750"/>
                    </a:cubicBezTo>
                    <a:cubicBezTo>
                      <a:pt x="38" y="745"/>
                      <a:pt x="38" y="745"/>
                      <a:pt x="38" y="745"/>
                    </a:cubicBezTo>
                    <a:cubicBezTo>
                      <a:pt x="38" y="738"/>
                      <a:pt x="38" y="738"/>
                      <a:pt x="38" y="738"/>
                    </a:cubicBezTo>
                    <a:cubicBezTo>
                      <a:pt x="40" y="737"/>
                      <a:pt x="40" y="737"/>
                      <a:pt x="40" y="737"/>
                    </a:cubicBezTo>
                    <a:cubicBezTo>
                      <a:pt x="42" y="731"/>
                      <a:pt x="42" y="731"/>
                      <a:pt x="42" y="731"/>
                    </a:cubicBezTo>
                    <a:cubicBezTo>
                      <a:pt x="42" y="731"/>
                      <a:pt x="45" y="734"/>
                      <a:pt x="47" y="731"/>
                    </a:cubicBezTo>
                    <a:cubicBezTo>
                      <a:pt x="48" y="730"/>
                      <a:pt x="47" y="726"/>
                      <a:pt x="47" y="726"/>
                    </a:cubicBezTo>
                    <a:cubicBezTo>
                      <a:pt x="47" y="726"/>
                      <a:pt x="49" y="725"/>
                      <a:pt x="55" y="723"/>
                    </a:cubicBezTo>
                    <a:cubicBezTo>
                      <a:pt x="59" y="720"/>
                      <a:pt x="64" y="720"/>
                      <a:pt x="64" y="720"/>
                    </a:cubicBezTo>
                    <a:cubicBezTo>
                      <a:pt x="64" y="722"/>
                      <a:pt x="64" y="722"/>
                      <a:pt x="64" y="722"/>
                    </a:cubicBezTo>
                    <a:cubicBezTo>
                      <a:pt x="71" y="719"/>
                      <a:pt x="71" y="719"/>
                      <a:pt x="71" y="719"/>
                    </a:cubicBezTo>
                    <a:cubicBezTo>
                      <a:pt x="72" y="715"/>
                      <a:pt x="72" y="715"/>
                      <a:pt x="72" y="715"/>
                    </a:cubicBezTo>
                    <a:cubicBezTo>
                      <a:pt x="74" y="715"/>
                      <a:pt x="74" y="715"/>
                      <a:pt x="74" y="715"/>
                    </a:cubicBezTo>
                    <a:cubicBezTo>
                      <a:pt x="73" y="719"/>
                      <a:pt x="73" y="719"/>
                      <a:pt x="73" y="719"/>
                    </a:cubicBezTo>
                    <a:cubicBezTo>
                      <a:pt x="77" y="720"/>
                      <a:pt x="77" y="720"/>
                      <a:pt x="77" y="720"/>
                    </a:cubicBezTo>
                    <a:cubicBezTo>
                      <a:pt x="77" y="720"/>
                      <a:pt x="68" y="721"/>
                      <a:pt x="65" y="726"/>
                    </a:cubicBezTo>
                    <a:cubicBezTo>
                      <a:pt x="62" y="731"/>
                      <a:pt x="63" y="735"/>
                      <a:pt x="62" y="738"/>
                    </a:cubicBezTo>
                    <a:cubicBezTo>
                      <a:pt x="62" y="740"/>
                      <a:pt x="58" y="743"/>
                      <a:pt x="58" y="743"/>
                    </a:cubicBezTo>
                    <a:cubicBezTo>
                      <a:pt x="62" y="726"/>
                      <a:pt x="62" y="726"/>
                      <a:pt x="62" y="726"/>
                    </a:cubicBezTo>
                    <a:cubicBezTo>
                      <a:pt x="62" y="723"/>
                      <a:pt x="62" y="723"/>
                      <a:pt x="62" y="723"/>
                    </a:cubicBezTo>
                    <a:cubicBezTo>
                      <a:pt x="62" y="723"/>
                      <a:pt x="58" y="724"/>
                      <a:pt x="56" y="726"/>
                    </a:cubicBezTo>
                    <a:cubicBezTo>
                      <a:pt x="52" y="727"/>
                      <a:pt x="47" y="735"/>
                      <a:pt x="47" y="735"/>
                    </a:cubicBezTo>
                    <a:cubicBezTo>
                      <a:pt x="47" y="735"/>
                      <a:pt x="44" y="736"/>
                      <a:pt x="44" y="739"/>
                    </a:cubicBezTo>
                    <a:cubicBezTo>
                      <a:pt x="45" y="742"/>
                      <a:pt x="50" y="740"/>
                      <a:pt x="48" y="742"/>
                    </a:cubicBezTo>
                    <a:cubicBezTo>
                      <a:pt x="47" y="743"/>
                      <a:pt x="43" y="743"/>
                      <a:pt x="41" y="745"/>
                    </a:cubicBezTo>
                    <a:cubicBezTo>
                      <a:pt x="39" y="747"/>
                      <a:pt x="39" y="752"/>
                      <a:pt x="39" y="752"/>
                    </a:cubicBezTo>
                    <a:cubicBezTo>
                      <a:pt x="32" y="752"/>
                      <a:pt x="32" y="752"/>
                      <a:pt x="32" y="752"/>
                    </a:cubicBezTo>
                    <a:cubicBezTo>
                      <a:pt x="28" y="757"/>
                      <a:pt x="28" y="757"/>
                      <a:pt x="28" y="757"/>
                    </a:cubicBezTo>
                    <a:cubicBezTo>
                      <a:pt x="33" y="762"/>
                      <a:pt x="33" y="762"/>
                      <a:pt x="33" y="762"/>
                    </a:cubicBezTo>
                    <a:cubicBezTo>
                      <a:pt x="39" y="759"/>
                      <a:pt x="39" y="759"/>
                      <a:pt x="39" y="759"/>
                    </a:cubicBezTo>
                    <a:cubicBezTo>
                      <a:pt x="38" y="764"/>
                      <a:pt x="38" y="764"/>
                      <a:pt x="38" y="764"/>
                    </a:cubicBezTo>
                    <a:cubicBezTo>
                      <a:pt x="40" y="765"/>
                      <a:pt x="40" y="765"/>
                      <a:pt x="40" y="765"/>
                    </a:cubicBezTo>
                    <a:cubicBezTo>
                      <a:pt x="46" y="760"/>
                      <a:pt x="46" y="760"/>
                      <a:pt x="46" y="760"/>
                    </a:cubicBezTo>
                    <a:cubicBezTo>
                      <a:pt x="42" y="766"/>
                      <a:pt x="42" y="766"/>
                      <a:pt x="42" y="766"/>
                    </a:cubicBezTo>
                    <a:cubicBezTo>
                      <a:pt x="44" y="768"/>
                      <a:pt x="44" y="768"/>
                      <a:pt x="44" y="768"/>
                    </a:cubicBezTo>
                    <a:cubicBezTo>
                      <a:pt x="34" y="765"/>
                      <a:pt x="34" y="765"/>
                      <a:pt x="34" y="765"/>
                    </a:cubicBezTo>
                    <a:cubicBezTo>
                      <a:pt x="31" y="769"/>
                      <a:pt x="31" y="769"/>
                      <a:pt x="31" y="769"/>
                    </a:cubicBezTo>
                    <a:cubicBezTo>
                      <a:pt x="34" y="772"/>
                      <a:pt x="34" y="772"/>
                      <a:pt x="34" y="772"/>
                    </a:cubicBezTo>
                    <a:cubicBezTo>
                      <a:pt x="26" y="768"/>
                      <a:pt x="26" y="768"/>
                      <a:pt x="26" y="768"/>
                    </a:cubicBezTo>
                    <a:cubicBezTo>
                      <a:pt x="23" y="770"/>
                      <a:pt x="23" y="770"/>
                      <a:pt x="23" y="770"/>
                    </a:cubicBezTo>
                    <a:cubicBezTo>
                      <a:pt x="20" y="778"/>
                      <a:pt x="20" y="778"/>
                      <a:pt x="20" y="778"/>
                    </a:cubicBezTo>
                    <a:cubicBezTo>
                      <a:pt x="18" y="780"/>
                      <a:pt x="18" y="780"/>
                      <a:pt x="18" y="780"/>
                    </a:cubicBezTo>
                    <a:cubicBezTo>
                      <a:pt x="22" y="766"/>
                      <a:pt x="22" y="766"/>
                      <a:pt x="22" y="766"/>
                    </a:cubicBezTo>
                    <a:cubicBezTo>
                      <a:pt x="19" y="767"/>
                      <a:pt x="19" y="767"/>
                      <a:pt x="19" y="767"/>
                    </a:cubicBezTo>
                    <a:cubicBezTo>
                      <a:pt x="18" y="771"/>
                      <a:pt x="18" y="771"/>
                      <a:pt x="18" y="771"/>
                    </a:cubicBezTo>
                    <a:cubicBezTo>
                      <a:pt x="15" y="771"/>
                      <a:pt x="15" y="771"/>
                      <a:pt x="15" y="771"/>
                    </a:cubicBezTo>
                    <a:cubicBezTo>
                      <a:pt x="10" y="780"/>
                      <a:pt x="10" y="780"/>
                      <a:pt x="10" y="780"/>
                    </a:cubicBezTo>
                    <a:cubicBezTo>
                      <a:pt x="13" y="793"/>
                      <a:pt x="13" y="793"/>
                      <a:pt x="13" y="793"/>
                    </a:cubicBezTo>
                    <a:cubicBezTo>
                      <a:pt x="14" y="792"/>
                      <a:pt x="14" y="792"/>
                      <a:pt x="14" y="792"/>
                    </a:cubicBezTo>
                    <a:cubicBezTo>
                      <a:pt x="14" y="800"/>
                      <a:pt x="14" y="800"/>
                      <a:pt x="14" y="800"/>
                    </a:cubicBezTo>
                    <a:cubicBezTo>
                      <a:pt x="17" y="800"/>
                      <a:pt x="17" y="800"/>
                      <a:pt x="17" y="800"/>
                    </a:cubicBezTo>
                    <a:cubicBezTo>
                      <a:pt x="17" y="793"/>
                      <a:pt x="17" y="793"/>
                      <a:pt x="17" y="793"/>
                    </a:cubicBezTo>
                    <a:cubicBezTo>
                      <a:pt x="22" y="792"/>
                      <a:pt x="22" y="792"/>
                      <a:pt x="22" y="792"/>
                    </a:cubicBezTo>
                    <a:cubicBezTo>
                      <a:pt x="22" y="789"/>
                      <a:pt x="22" y="789"/>
                      <a:pt x="22" y="789"/>
                    </a:cubicBezTo>
                    <a:cubicBezTo>
                      <a:pt x="25" y="791"/>
                      <a:pt x="25" y="791"/>
                      <a:pt x="25" y="791"/>
                    </a:cubicBezTo>
                    <a:cubicBezTo>
                      <a:pt x="23" y="794"/>
                      <a:pt x="23" y="794"/>
                      <a:pt x="23" y="794"/>
                    </a:cubicBezTo>
                    <a:cubicBezTo>
                      <a:pt x="24" y="796"/>
                      <a:pt x="24" y="796"/>
                      <a:pt x="24" y="796"/>
                    </a:cubicBezTo>
                    <a:cubicBezTo>
                      <a:pt x="32" y="788"/>
                      <a:pt x="32" y="788"/>
                      <a:pt x="32" y="788"/>
                    </a:cubicBezTo>
                    <a:cubicBezTo>
                      <a:pt x="30" y="784"/>
                      <a:pt x="30" y="784"/>
                      <a:pt x="30" y="784"/>
                    </a:cubicBezTo>
                    <a:cubicBezTo>
                      <a:pt x="26" y="785"/>
                      <a:pt x="26" y="785"/>
                      <a:pt x="26" y="785"/>
                    </a:cubicBezTo>
                    <a:cubicBezTo>
                      <a:pt x="31" y="782"/>
                      <a:pt x="31" y="782"/>
                      <a:pt x="31" y="782"/>
                    </a:cubicBezTo>
                    <a:cubicBezTo>
                      <a:pt x="32" y="778"/>
                      <a:pt x="32" y="778"/>
                      <a:pt x="32" y="778"/>
                    </a:cubicBezTo>
                    <a:cubicBezTo>
                      <a:pt x="34" y="783"/>
                      <a:pt x="34" y="783"/>
                      <a:pt x="34" y="783"/>
                    </a:cubicBezTo>
                    <a:cubicBezTo>
                      <a:pt x="39" y="784"/>
                      <a:pt x="39" y="784"/>
                      <a:pt x="39" y="784"/>
                    </a:cubicBezTo>
                    <a:cubicBezTo>
                      <a:pt x="35" y="785"/>
                      <a:pt x="35" y="785"/>
                      <a:pt x="35" y="785"/>
                    </a:cubicBezTo>
                    <a:cubicBezTo>
                      <a:pt x="36" y="788"/>
                      <a:pt x="36" y="788"/>
                      <a:pt x="36" y="788"/>
                    </a:cubicBezTo>
                    <a:cubicBezTo>
                      <a:pt x="41" y="786"/>
                      <a:pt x="41" y="786"/>
                      <a:pt x="41" y="786"/>
                    </a:cubicBezTo>
                    <a:cubicBezTo>
                      <a:pt x="43" y="780"/>
                      <a:pt x="43" y="780"/>
                      <a:pt x="43" y="780"/>
                    </a:cubicBezTo>
                    <a:cubicBezTo>
                      <a:pt x="45" y="778"/>
                      <a:pt x="45" y="778"/>
                      <a:pt x="45" y="778"/>
                    </a:cubicBezTo>
                    <a:cubicBezTo>
                      <a:pt x="47" y="773"/>
                      <a:pt x="47" y="773"/>
                      <a:pt x="47" y="773"/>
                    </a:cubicBezTo>
                    <a:cubicBezTo>
                      <a:pt x="48" y="774"/>
                      <a:pt x="48" y="774"/>
                      <a:pt x="48" y="774"/>
                    </a:cubicBezTo>
                    <a:cubicBezTo>
                      <a:pt x="47" y="780"/>
                      <a:pt x="47" y="780"/>
                      <a:pt x="47" y="780"/>
                    </a:cubicBezTo>
                    <a:cubicBezTo>
                      <a:pt x="52" y="777"/>
                      <a:pt x="52" y="777"/>
                      <a:pt x="52" y="777"/>
                    </a:cubicBezTo>
                    <a:cubicBezTo>
                      <a:pt x="52" y="778"/>
                      <a:pt x="52" y="778"/>
                      <a:pt x="52" y="778"/>
                    </a:cubicBezTo>
                    <a:cubicBezTo>
                      <a:pt x="45" y="782"/>
                      <a:pt x="45" y="782"/>
                      <a:pt x="45" y="782"/>
                    </a:cubicBezTo>
                    <a:cubicBezTo>
                      <a:pt x="44" y="788"/>
                      <a:pt x="44" y="788"/>
                      <a:pt x="44" y="788"/>
                    </a:cubicBezTo>
                    <a:cubicBezTo>
                      <a:pt x="38" y="790"/>
                      <a:pt x="38" y="790"/>
                      <a:pt x="38" y="790"/>
                    </a:cubicBezTo>
                    <a:cubicBezTo>
                      <a:pt x="40" y="792"/>
                      <a:pt x="40" y="792"/>
                      <a:pt x="40" y="792"/>
                    </a:cubicBezTo>
                    <a:cubicBezTo>
                      <a:pt x="40" y="792"/>
                      <a:pt x="41" y="790"/>
                      <a:pt x="44" y="791"/>
                    </a:cubicBezTo>
                    <a:cubicBezTo>
                      <a:pt x="46" y="792"/>
                      <a:pt x="41" y="796"/>
                      <a:pt x="41" y="796"/>
                    </a:cubicBezTo>
                    <a:cubicBezTo>
                      <a:pt x="49" y="793"/>
                      <a:pt x="49" y="793"/>
                      <a:pt x="49" y="793"/>
                    </a:cubicBezTo>
                    <a:cubicBezTo>
                      <a:pt x="49" y="793"/>
                      <a:pt x="42" y="797"/>
                      <a:pt x="41" y="798"/>
                    </a:cubicBezTo>
                    <a:cubicBezTo>
                      <a:pt x="39" y="799"/>
                      <a:pt x="36" y="803"/>
                      <a:pt x="36" y="803"/>
                    </a:cubicBezTo>
                    <a:cubicBezTo>
                      <a:pt x="38" y="805"/>
                      <a:pt x="38" y="805"/>
                      <a:pt x="38" y="805"/>
                    </a:cubicBezTo>
                    <a:cubicBezTo>
                      <a:pt x="31" y="807"/>
                      <a:pt x="31" y="807"/>
                      <a:pt x="31" y="807"/>
                    </a:cubicBezTo>
                    <a:cubicBezTo>
                      <a:pt x="34" y="813"/>
                      <a:pt x="34" y="813"/>
                      <a:pt x="34" y="813"/>
                    </a:cubicBezTo>
                    <a:cubicBezTo>
                      <a:pt x="35" y="817"/>
                      <a:pt x="35" y="817"/>
                      <a:pt x="35" y="817"/>
                    </a:cubicBezTo>
                    <a:cubicBezTo>
                      <a:pt x="43" y="813"/>
                      <a:pt x="43" y="813"/>
                      <a:pt x="43" y="813"/>
                    </a:cubicBezTo>
                    <a:cubicBezTo>
                      <a:pt x="50" y="814"/>
                      <a:pt x="50" y="814"/>
                      <a:pt x="50" y="814"/>
                    </a:cubicBezTo>
                    <a:cubicBezTo>
                      <a:pt x="44" y="815"/>
                      <a:pt x="44" y="815"/>
                      <a:pt x="44" y="815"/>
                    </a:cubicBezTo>
                    <a:cubicBezTo>
                      <a:pt x="38" y="819"/>
                      <a:pt x="38" y="819"/>
                      <a:pt x="38" y="819"/>
                    </a:cubicBezTo>
                    <a:cubicBezTo>
                      <a:pt x="38" y="822"/>
                      <a:pt x="38" y="822"/>
                      <a:pt x="38" y="822"/>
                    </a:cubicBezTo>
                    <a:cubicBezTo>
                      <a:pt x="30" y="816"/>
                      <a:pt x="30" y="816"/>
                      <a:pt x="30" y="816"/>
                    </a:cubicBezTo>
                    <a:cubicBezTo>
                      <a:pt x="25" y="820"/>
                      <a:pt x="25" y="820"/>
                      <a:pt x="25" y="820"/>
                    </a:cubicBezTo>
                    <a:cubicBezTo>
                      <a:pt x="25" y="814"/>
                      <a:pt x="25" y="814"/>
                      <a:pt x="25" y="814"/>
                    </a:cubicBezTo>
                    <a:cubicBezTo>
                      <a:pt x="19" y="812"/>
                      <a:pt x="19" y="812"/>
                      <a:pt x="19" y="812"/>
                    </a:cubicBezTo>
                    <a:cubicBezTo>
                      <a:pt x="20" y="820"/>
                      <a:pt x="20" y="820"/>
                      <a:pt x="20" y="820"/>
                    </a:cubicBezTo>
                    <a:cubicBezTo>
                      <a:pt x="18" y="821"/>
                      <a:pt x="18" y="821"/>
                      <a:pt x="18" y="821"/>
                    </a:cubicBezTo>
                    <a:cubicBezTo>
                      <a:pt x="17" y="824"/>
                      <a:pt x="17" y="824"/>
                      <a:pt x="17" y="824"/>
                    </a:cubicBezTo>
                    <a:cubicBezTo>
                      <a:pt x="14" y="829"/>
                      <a:pt x="14" y="829"/>
                      <a:pt x="14" y="829"/>
                    </a:cubicBezTo>
                    <a:cubicBezTo>
                      <a:pt x="14" y="829"/>
                      <a:pt x="18" y="841"/>
                      <a:pt x="23" y="844"/>
                    </a:cubicBezTo>
                    <a:cubicBezTo>
                      <a:pt x="26" y="847"/>
                      <a:pt x="29" y="849"/>
                      <a:pt x="31" y="853"/>
                    </a:cubicBezTo>
                    <a:cubicBezTo>
                      <a:pt x="33" y="857"/>
                      <a:pt x="49" y="863"/>
                      <a:pt x="49" y="863"/>
                    </a:cubicBezTo>
                    <a:cubicBezTo>
                      <a:pt x="50" y="866"/>
                      <a:pt x="50" y="866"/>
                      <a:pt x="50" y="866"/>
                    </a:cubicBezTo>
                    <a:cubicBezTo>
                      <a:pt x="53" y="862"/>
                      <a:pt x="53" y="862"/>
                      <a:pt x="53" y="862"/>
                    </a:cubicBezTo>
                    <a:cubicBezTo>
                      <a:pt x="58" y="865"/>
                      <a:pt x="58" y="865"/>
                      <a:pt x="58" y="865"/>
                    </a:cubicBezTo>
                    <a:cubicBezTo>
                      <a:pt x="48" y="872"/>
                      <a:pt x="48" y="872"/>
                      <a:pt x="48" y="872"/>
                    </a:cubicBezTo>
                    <a:cubicBezTo>
                      <a:pt x="50" y="876"/>
                      <a:pt x="50" y="876"/>
                      <a:pt x="50" y="876"/>
                    </a:cubicBezTo>
                    <a:cubicBezTo>
                      <a:pt x="58" y="876"/>
                      <a:pt x="58" y="876"/>
                      <a:pt x="58" y="876"/>
                    </a:cubicBezTo>
                    <a:cubicBezTo>
                      <a:pt x="56" y="873"/>
                      <a:pt x="56" y="873"/>
                      <a:pt x="56" y="873"/>
                    </a:cubicBezTo>
                    <a:cubicBezTo>
                      <a:pt x="60" y="871"/>
                      <a:pt x="60" y="871"/>
                      <a:pt x="60" y="871"/>
                    </a:cubicBezTo>
                    <a:cubicBezTo>
                      <a:pt x="65" y="873"/>
                      <a:pt x="65" y="873"/>
                      <a:pt x="65" y="873"/>
                    </a:cubicBezTo>
                    <a:cubicBezTo>
                      <a:pt x="60" y="875"/>
                      <a:pt x="60" y="875"/>
                      <a:pt x="60" y="875"/>
                    </a:cubicBezTo>
                    <a:cubicBezTo>
                      <a:pt x="64" y="879"/>
                      <a:pt x="64" y="879"/>
                      <a:pt x="64" y="879"/>
                    </a:cubicBezTo>
                    <a:cubicBezTo>
                      <a:pt x="68" y="877"/>
                      <a:pt x="68" y="877"/>
                      <a:pt x="68" y="877"/>
                    </a:cubicBezTo>
                    <a:cubicBezTo>
                      <a:pt x="68" y="877"/>
                      <a:pt x="74" y="880"/>
                      <a:pt x="80" y="880"/>
                    </a:cubicBezTo>
                    <a:cubicBezTo>
                      <a:pt x="85" y="880"/>
                      <a:pt x="88" y="878"/>
                      <a:pt x="92" y="877"/>
                    </a:cubicBezTo>
                    <a:cubicBezTo>
                      <a:pt x="96" y="876"/>
                      <a:pt x="101" y="870"/>
                      <a:pt x="101" y="870"/>
                    </a:cubicBezTo>
                    <a:cubicBezTo>
                      <a:pt x="101" y="877"/>
                      <a:pt x="101" y="877"/>
                      <a:pt x="101" y="877"/>
                    </a:cubicBezTo>
                    <a:cubicBezTo>
                      <a:pt x="124" y="857"/>
                      <a:pt x="124" y="857"/>
                      <a:pt x="124" y="857"/>
                    </a:cubicBezTo>
                    <a:cubicBezTo>
                      <a:pt x="124" y="853"/>
                      <a:pt x="124" y="853"/>
                      <a:pt x="124" y="853"/>
                    </a:cubicBezTo>
                    <a:cubicBezTo>
                      <a:pt x="142" y="839"/>
                      <a:pt x="142" y="839"/>
                      <a:pt x="142" y="839"/>
                    </a:cubicBezTo>
                    <a:cubicBezTo>
                      <a:pt x="141" y="835"/>
                      <a:pt x="141" y="835"/>
                      <a:pt x="141" y="835"/>
                    </a:cubicBezTo>
                    <a:cubicBezTo>
                      <a:pt x="145" y="836"/>
                      <a:pt x="145" y="836"/>
                      <a:pt x="145" y="836"/>
                    </a:cubicBezTo>
                    <a:cubicBezTo>
                      <a:pt x="150" y="830"/>
                      <a:pt x="150" y="830"/>
                      <a:pt x="150" y="830"/>
                    </a:cubicBezTo>
                    <a:cubicBezTo>
                      <a:pt x="146" y="828"/>
                      <a:pt x="146" y="828"/>
                      <a:pt x="146" y="828"/>
                    </a:cubicBezTo>
                    <a:cubicBezTo>
                      <a:pt x="161" y="817"/>
                      <a:pt x="161" y="817"/>
                      <a:pt x="161" y="817"/>
                    </a:cubicBezTo>
                    <a:cubicBezTo>
                      <a:pt x="156" y="810"/>
                      <a:pt x="156" y="810"/>
                      <a:pt x="156" y="810"/>
                    </a:cubicBezTo>
                    <a:cubicBezTo>
                      <a:pt x="159" y="812"/>
                      <a:pt x="159" y="812"/>
                      <a:pt x="159" y="812"/>
                    </a:cubicBezTo>
                    <a:cubicBezTo>
                      <a:pt x="167" y="821"/>
                      <a:pt x="167" y="821"/>
                      <a:pt x="167" y="821"/>
                    </a:cubicBezTo>
                    <a:cubicBezTo>
                      <a:pt x="180" y="817"/>
                      <a:pt x="180" y="817"/>
                      <a:pt x="180" y="817"/>
                    </a:cubicBezTo>
                    <a:cubicBezTo>
                      <a:pt x="181" y="805"/>
                      <a:pt x="181" y="805"/>
                      <a:pt x="181" y="805"/>
                    </a:cubicBezTo>
                    <a:cubicBezTo>
                      <a:pt x="184" y="808"/>
                      <a:pt x="184" y="808"/>
                      <a:pt x="184" y="808"/>
                    </a:cubicBezTo>
                    <a:cubicBezTo>
                      <a:pt x="188" y="806"/>
                      <a:pt x="188" y="806"/>
                      <a:pt x="188" y="806"/>
                    </a:cubicBezTo>
                    <a:cubicBezTo>
                      <a:pt x="186" y="803"/>
                      <a:pt x="186" y="803"/>
                      <a:pt x="186" y="803"/>
                    </a:cubicBezTo>
                    <a:cubicBezTo>
                      <a:pt x="189" y="803"/>
                      <a:pt x="189" y="803"/>
                      <a:pt x="189" y="803"/>
                    </a:cubicBezTo>
                    <a:cubicBezTo>
                      <a:pt x="188" y="791"/>
                      <a:pt x="188" y="791"/>
                      <a:pt x="188" y="791"/>
                    </a:cubicBezTo>
                    <a:cubicBezTo>
                      <a:pt x="182" y="789"/>
                      <a:pt x="182" y="789"/>
                      <a:pt x="182" y="789"/>
                    </a:cubicBezTo>
                    <a:cubicBezTo>
                      <a:pt x="179" y="782"/>
                      <a:pt x="179" y="782"/>
                      <a:pt x="179" y="782"/>
                    </a:cubicBezTo>
                    <a:cubicBezTo>
                      <a:pt x="183" y="785"/>
                      <a:pt x="183" y="785"/>
                      <a:pt x="183" y="785"/>
                    </a:cubicBezTo>
                    <a:cubicBezTo>
                      <a:pt x="183" y="776"/>
                      <a:pt x="183" y="776"/>
                      <a:pt x="183" y="776"/>
                    </a:cubicBezTo>
                    <a:cubicBezTo>
                      <a:pt x="178" y="771"/>
                      <a:pt x="178" y="771"/>
                      <a:pt x="178" y="771"/>
                    </a:cubicBezTo>
                    <a:cubicBezTo>
                      <a:pt x="181" y="770"/>
                      <a:pt x="181" y="770"/>
                      <a:pt x="181" y="770"/>
                    </a:cubicBezTo>
                    <a:cubicBezTo>
                      <a:pt x="186" y="773"/>
                      <a:pt x="186" y="773"/>
                      <a:pt x="186" y="773"/>
                    </a:cubicBezTo>
                    <a:cubicBezTo>
                      <a:pt x="186" y="785"/>
                      <a:pt x="186" y="785"/>
                      <a:pt x="186" y="785"/>
                    </a:cubicBezTo>
                    <a:cubicBezTo>
                      <a:pt x="186" y="785"/>
                      <a:pt x="191" y="784"/>
                      <a:pt x="192" y="781"/>
                    </a:cubicBezTo>
                    <a:cubicBezTo>
                      <a:pt x="192" y="776"/>
                      <a:pt x="189" y="773"/>
                      <a:pt x="189" y="773"/>
                    </a:cubicBezTo>
                    <a:cubicBezTo>
                      <a:pt x="189" y="773"/>
                      <a:pt x="189" y="767"/>
                      <a:pt x="190" y="762"/>
                    </a:cubicBezTo>
                    <a:cubicBezTo>
                      <a:pt x="190" y="758"/>
                      <a:pt x="197" y="759"/>
                      <a:pt x="199" y="762"/>
                    </a:cubicBezTo>
                    <a:cubicBezTo>
                      <a:pt x="200" y="765"/>
                      <a:pt x="197" y="769"/>
                      <a:pt x="197" y="769"/>
                    </a:cubicBezTo>
                    <a:cubicBezTo>
                      <a:pt x="195" y="764"/>
                      <a:pt x="195" y="764"/>
                      <a:pt x="195" y="764"/>
                    </a:cubicBezTo>
                    <a:cubicBezTo>
                      <a:pt x="193" y="769"/>
                      <a:pt x="193" y="769"/>
                      <a:pt x="193" y="769"/>
                    </a:cubicBezTo>
                    <a:cubicBezTo>
                      <a:pt x="194" y="776"/>
                      <a:pt x="194" y="776"/>
                      <a:pt x="194" y="776"/>
                    </a:cubicBezTo>
                    <a:cubicBezTo>
                      <a:pt x="194" y="788"/>
                      <a:pt x="194" y="788"/>
                      <a:pt x="194" y="788"/>
                    </a:cubicBezTo>
                    <a:cubicBezTo>
                      <a:pt x="192" y="789"/>
                      <a:pt x="192" y="789"/>
                      <a:pt x="192" y="789"/>
                    </a:cubicBezTo>
                    <a:cubicBezTo>
                      <a:pt x="195" y="800"/>
                      <a:pt x="195" y="800"/>
                      <a:pt x="195" y="800"/>
                    </a:cubicBezTo>
                    <a:cubicBezTo>
                      <a:pt x="198" y="798"/>
                      <a:pt x="198" y="798"/>
                      <a:pt x="198" y="798"/>
                    </a:cubicBezTo>
                    <a:cubicBezTo>
                      <a:pt x="199" y="809"/>
                      <a:pt x="199" y="809"/>
                      <a:pt x="199" y="809"/>
                    </a:cubicBezTo>
                    <a:cubicBezTo>
                      <a:pt x="208" y="810"/>
                      <a:pt x="208" y="810"/>
                      <a:pt x="208" y="810"/>
                    </a:cubicBezTo>
                    <a:cubicBezTo>
                      <a:pt x="211" y="808"/>
                      <a:pt x="211" y="808"/>
                      <a:pt x="211" y="808"/>
                    </a:cubicBezTo>
                    <a:cubicBezTo>
                      <a:pt x="212" y="814"/>
                      <a:pt x="212" y="814"/>
                      <a:pt x="212" y="814"/>
                    </a:cubicBezTo>
                    <a:cubicBezTo>
                      <a:pt x="212" y="814"/>
                      <a:pt x="220" y="809"/>
                      <a:pt x="221" y="814"/>
                    </a:cubicBezTo>
                    <a:cubicBezTo>
                      <a:pt x="222" y="819"/>
                      <a:pt x="219" y="828"/>
                      <a:pt x="223" y="828"/>
                    </a:cubicBezTo>
                    <a:cubicBezTo>
                      <a:pt x="227" y="828"/>
                      <a:pt x="228" y="822"/>
                      <a:pt x="230" y="815"/>
                    </a:cubicBezTo>
                    <a:cubicBezTo>
                      <a:pt x="232" y="808"/>
                      <a:pt x="236" y="800"/>
                      <a:pt x="236" y="800"/>
                    </a:cubicBezTo>
                    <a:cubicBezTo>
                      <a:pt x="236" y="800"/>
                      <a:pt x="227" y="782"/>
                      <a:pt x="230" y="780"/>
                    </a:cubicBezTo>
                    <a:cubicBezTo>
                      <a:pt x="232" y="776"/>
                      <a:pt x="238" y="777"/>
                      <a:pt x="238" y="773"/>
                    </a:cubicBezTo>
                    <a:cubicBezTo>
                      <a:pt x="239" y="768"/>
                      <a:pt x="232" y="767"/>
                      <a:pt x="237" y="764"/>
                    </a:cubicBezTo>
                    <a:cubicBezTo>
                      <a:pt x="241" y="760"/>
                      <a:pt x="252" y="766"/>
                      <a:pt x="256" y="754"/>
                    </a:cubicBezTo>
                    <a:cubicBezTo>
                      <a:pt x="259" y="741"/>
                      <a:pt x="255" y="738"/>
                      <a:pt x="256" y="734"/>
                    </a:cubicBezTo>
                    <a:cubicBezTo>
                      <a:pt x="257" y="729"/>
                      <a:pt x="265" y="733"/>
                      <a:pt x="262" y="725"/>
                    </a:cubicBezTo>
                    <a:cubicBezTo>
                      <a:pt x="260" y="718"/>
                      <a:pt x="254" y="704"/>
                      <a:pt x="254" y="704"/>
                    </a:cubicBezTo>
                    <a:cubicBezTo>
                      <a:pt x="252" y="695"/>
                      <a:pt x="252" y="695"/>
                      <a:pt x="252" y="695"/>
                    </a:cubicBezTo>
                    <a:cubicBezTo>
                      <a:pt x="247" y="689"/>
                      <a:pt x="247" y="689"/>
                      <a:pt x="247" y="689"/>
                    </a:cubicBezTo>
                    <a:cubicBezTo>
                      <a:pt x="256" y="686"/>
                      <a:pt x="256" y="686"/>
                      <a:pt x="256" y="686"/>
                    </a:cubicBezTo>
                    <a:cubicBezTo>
                      <a:pt x="256" y="686"/>
                      <a:pt x="264" y="692"/>
                      <a:pt x="266" y="680"/>
                    </a:cubicBezTo>
                    <a:cubicBezTo>
                      <a:pt x="270" y="668"/>
                      <a:pt x="269" y="664"/>
                      <a:pt x="265" y="660"/>
                    </a:cubicBezTo>
                    <a:cubicBezTo>
                      <a:pt x="261" y="657"/>
                      <a:pt x="256" y="654"/>
                      <a:pt x="256" y="654"/>
                    </a:cubicBezTo>
                    <a:cubicBezTo>
                      <a:pt x="246" y="644"/>
                      <a:pt x="246" y="644"/>
                      <a:pt x="246" y="644"/>
                    </a:cubicBezTo>
                    <a:cubicBezTo>
                      <a:pt x="252" y="609"/>
                      <a:pt x="252" y="609"/>
                      <a:pt x="252" y="609"/>
                    </a:cubicBezTo>
                    <a:cubicBezTo>
                      <a:pt x="244" y="586"/>
                      <a:pt x="244" y="586"/>
                      <a:pt x="244" y="586"/>
                    </a:cubicBezTo>
                    <a:cubicBezTo>
                      <a:pt x="247" y="578"/>
                      <a:pt x="247" y="578"/>
                      <a:pt x="247" y="578"/>
                    </a:cubicBezTo>
                    <a:cubicBezTo>
                      <a:pt x="244" y="567"/>
                      <a:pt x="244" y="567"/>
                      <a:pt x="244" y="567"/>
                    </a:cubicBezTo>
                    <a:cubicBezTo>
                      <a:pt x="248" y="561"/>
                      <a:pt x="248" y="561"/>
                      <a:pt x="248" y="561"/>
                    </a:cubicBezTo>
                    <a:cubicBezTo>
                      <a:pt x="241" y="542"/>
                      <a:pt x="241" y="542"/>
                      <a:pt x="241" y="542"/>
                    </a:cubicBezTo>
                    <a:cubicBezTo>
                      <a:pt x="249" y="531"/>
                      <a:pt x="249" y="531"/>
                      <a:pt x="249" y="531"/>
                    </a:cubicBezTo>
                    <a:cubicBezTo>
                      <a:pt x="246" y="522"/>
                      <a:pt x="246" y="522"/>
                      <a:pt x="246" y="522"/>
                    </a:cubicBezTo>
                    <a:cubicBezTo>
                      <a:pt x="246" y="522"/>
                      <a:pt x="258" y="494"/>
                      <a:pt x="270" y="491"/>
                    </a:cubicBezTo>
                    <a:cubicBezTo>
                      <a:pt x="280" y="488"/>
                      <a:pt x="300" y="494"/>
                      <a:pt x="300" y="494"/>
                    </a:cubicBezTo>
                    <a:cubicBezTo>
                      <a:pt x="305" y="482"/>
                      <a:pt x="305" y="482"/>
                      <a:pt x="305" y="482"/>
                    </a:cubicBezTo>
                    <a:cubicBezTo>
                      <a:pt x="304" y="467"/>
                      <a:pt x="304" y="467"/>
                      <a:pt x="304" y="467"/>
                    </a:cubicBezTo>
                    <a:cubicBezTo>
                      <a:pt x="290" y="457"/>
                      <a:pt x="290" y="457"/>
                      <a:pt x="290" y="457"/>
                    </a:cubicBezTo>
                    <a:cubicBezTo>
                      <a:pt x="309" y="425"/>
                      <a:pt x="309" y="425"/>
                      <a:pt x="309" y="425"/>
                    </a:cubicBezTo>
                    <a:cubicBezTo>
                      <a:pt x="310" y="415"/>
                      <a:pt x="310" y="415"/>
                      <a:pt x="310" y="415"/>
                    </a:cubicBezTo>
                    <a:cubicBezTo>
                      <a:pt x="314" y="410"/>
                      <a:pt x="314" y="410"/>
                      <a:pt x="314" y="410"/>
                    </a:cubicBezTo>
                    <a:cubicBezTo>
                      <a:pt x="313" y="390"/>
                      <a:pt x="313" y="390"/>
                      <a:pt x="313" y="390"/>
                    </a:cubicBezTo>
                    <a:cubicBezTo>
                      <a:pt x="315" y="378"/>
                      <a:pt x="315" y="378"/>
                      <a:pt x="315" y="378"/>
                    </a:cubicBezTo>
                    <a:cubicBezTo>
                      <a:pt x="311" y="358"/>
                      <a:pt x="311" y="358"/>
                      <a:pt x="311" y="358"/>
                    </a:cubicBezTo>
                    <a:cubicBezTo>
                      <a:pt x="324" y="356"/>
                      <a:pt x="324" y="356"/>
                      <a:pt x="324" y="356"/>
                    </a:cubicBezTo>
                    <a:cubicBezTo>
                      <a:pt x="337" y="346"/>
                      <a:pt x="337" y="346"/>
                      <a:pt x="337" y="346"/>
                    </a:cubicBezTo>
                    <a:cubicBezTo>
                      <a:pt x="334" y="333"/>
                      <a:pt x="334" y="333"/>
                      <a:pt x="334" y="333"/>
                    </a:cubicBezTo>
                    <a:cubicBezTo>
                      <a:pt x="334" y="333"/>
                      <a:pt x="339" y="332"/>
                      <a:pt x="341" y="326"/>
                    </a:cubicBezTo>
                    <a:cubicBezTo>
                      <a:pt x="343" y="319"/>
                      <a:pt x="341" y="314"/>
                      <a:pt x="347" y="308"/>
                    </a:cubicBezTo>
                    <a:cubicBezTo>
                      <a:pt x="355" y="300"/>
                      <a:pt x="361" y="298"/>
                      <a:pt x="359" y="292"/>
                    </a:cubicBezTo>
                    <a:cubicBezTo>
                      <a:pt x="358" y="284"/>
                      <a:pt x="351" y="273"/>
                      <a:pt x="351" y="273"/>
                    </a:cubicBezTo>
                    <a:cubicBezTo>
                      <a:pt x="351" y="266"/>
                      <a:pt x="351" y="266"/>
                      <a:pt x="351" y="266"/>
                    </a:cubicBezTo>
                    <a:cubicBezTo>
                      <a:pt x="351" y="266"/>
                      <a:pt x="359" y="268"/>
                      <a:pt x="360" y="263"/>
                    </a:cubicBezTo>
                    <a:cubicBezTo>
                      <a:pt x="360" y="258"/>
                      <a:pt x="364" y="241"/>
                      <a:pt x="364" y="241"/>
                    </a:cubicBezTo>
                    <a:cubicBezTo>
                      <a:pt x="378" y="226"/>
                      <a:pt x="378" y="226"/>
                      <a:pt x="378" y="226"/>
                    </a:cubicBezTo>
                    <a:cubicBezTo>
                      <a:pt x="394" y="234"/>
                      <a:pt x="394" y="234"/>
                      <a:pt x="394" y="234"/>
                    </a:cubicBezTo>
                    <a:cubicBezTo>
                      <a:pt x="394" y="234"/>
                      <a:pt x="397" y="223"/>
                      <a:pt x="399" y="218"/>
                    </a:cubicBezTo>
                    <a:cubicBezTo>
                      <a:pt x="400" y="213"/>
                      <a:pt x="397" y="198"/>
                      <a:pt x="397" y="198"/>
                    </a:cubicBezTo>
                    <a:cubicBezTo>
                      <a:pt x="405" y="193"/>
                      <a:pt x="405" y="193"/>
                      <a:pt x="405" y="193"/>
                    </a:cubicBezTo>
                    <a:cubicBezTo>
                      <a:pt x="409" y="198"/>
                      <a:pt x="409" y="198"/>
                      <a:pt x="409" y="198"/>
                    </a:cubicBezTo>
                    <a:cubicBezTo>
                      <a:pt x="421" y="195"/>
                      <a:pt x="421" y="195"/>
                      <a:pt x="421" y="195"/>
                    </a:cubicBezTo>
                    <a:cubicBezTo>
                      <a:pt x="443" y="205"/>
                      <a:pt x="443" y="205"/>
                      <a:pt x="443" y="205"/>
                    </a:cubicBezTo>
                    <a:cubicBezTo>
                      <a:pt x="450" y="195"/>
                      <a:pt x="450" y="195"/>
                      <a:pt x="450" y="195"/>
                    </a:cubicBezTo>
                    <a:cubicBezTo>
                      <a:pt x="442" y="191"/>
                      <a:pt x="442" y="191"/>
                      <a:pt x="442" y="191"/>
                    </a:cubicBezTo>
                    <a:cubicBezTo>
                      <a:pt x="442" y="191"/>
                      <a:pt x="450" y="182"/>
                      <a:pt x="449" y="174"/>
                    </a:cubicBezTo>
                    <a:cubicBezTo>
                      <a:pt x="448" y="168"/>
                      <a:pt x="441" y="159"/>
                      <a:pt x="441" y="159"/>
                    </a:cubicBezTo>
                    <a:cubicBezTo>
                      <a:pt x="453" y="157"/>
                      <a:pt x="453" y="157"/>
                      <a:pt x="453" y="157"/>
                    </a:cubicBezTo>
                    <a:cubicBezTo>
                      <a:pt x="455" y="154"/>
                      <a:pt x="455" y="154"/>
                      <a:pt x="455" y="154"/>
                    </a:cubicBezTo>
                    <a:cubicBezTo>
                      <a:pt x="455" y="154"/>
                      <a:pt x="464" y="159"/>
                      <a:pt x="466" y="157"/>
                    </a:cubicBezTo>
                    <a:cubicBezTo>
                      <a:pt x="467" y="155"/>
                      <a:pt x="459" y="148"/>
                      <a:pt x="465" y="144"/>
                    </a:cubicBezTo>
                    <a:cubicBezTo>
                      <a:pt x="469" y="139"/>
                      <a:pt x="478" y="142"/>
                      <a:pt x="478" y="142"/>
                    </a:cubicBezTo>
                    <a:cubicBezTo>
                      <a:pt x="478" y="142"/>
                      <a:pt x="485" y="152"/>
                      <a:pt x="490" y="157"/>
                    </a:cubicBezTo>
                    <a:cubicBezTo>
                      <a:pt x="497" y="163"/>
                      <a:pt x="499" y="172"/>
                      <a:pt x="499" y="172"/>
                    </a:cubicBezTo>
                    <a:cubicBezTo>
                      <a:pt x="504" y="171"/>
                      <a:pt x="504" y="171"/>
                      <a:pt x="504" y="171"/>
                    </a:cubicBezTo>
                    <a:cubicBezTo>
                      <a:pt x="515" y="171"/>
                      <a:pt x="515" y="171"/>
                      <a:pt x="515" y="171"/>
                    </a:cubicBezTo>
                    <a:cubicBezTo>
                      <a:pt x="522" y="175"/>
                      <a:pt x="522" y="175"/>
                      <a:pt x="522" y="175"/>
                    </a:cubicBezTo>
                    <a:cubicBezTo>
                      <a:pt x="531" y="169"/>
                      <a:pt x="531" y="169"/>
                      <a:pt x="531" y="169"/>
                    </a:cubicBezTo>
                    <a:cubicBezTo>
                      <a:pt x="531" y="169"/>
                      <a:pt x="533" y="161"/>
                      <a:pt x="539" y="161"/>
                    </a:cubicBezTo>
                    <a:cubicBezTo>
                      <a:pt x="544" y="161"/>
                      <a:pt x="546" y="166"/>
                      <a:pt x="546" y="166"/>
                    </a:cubicBezTo>
                    <a:cubicBezTo>
                      <a:pt x="558" y="167"/>
                      <a:pt x="558" y="167"/>
                      <a:pt x="558" y="167"/>
                    </a:cubicBezTo>
                    <a:cubicBezTo>
                      <a:pt x="565" y="174"/>
                      <a:pt x="565" y="174"/>
                      <a:pt x="565" y="174"/>
                    </a:cubicBezTo>
                    <a:cubicBezTo>
                      <a:pt x="565" y="174"/>
                      <a:pt x="567" y="161"/>
                      <a:pt x="570" y="157"/>
                    </a:cubicBezTo>
                    <a:cubicBezTo>
                      <a:pt x="572" y="154"/>
                      <a:pt x="575" y="150"/>
                      <a:pt x="575" y="144"/>
                    </a:cubicBezTo>
                    <a:cubicBezTo>
                      <a:pt x="574" y="139"/>
                      <a:pt x="572" y="130"/>
                      <a:pt x="572" y="130"/>
                    </a:cubicBezTo>
                    <a:cubicBezTo>
                      <a:pt x="574" y="97"/>
                      <a:pt x="574" y="97"/>
                      <a:pt x="574" y="97"/>
                    </a:cubicBezTo>
                    <a:cubicBezTo>
                      <a:pt x="577" y="93"/>
                      <a:pt x="577" y="93"/>
                      <a:pt x="577" y="93"/>
                    </a:cubicBezTo>
                    <a:cubicBezTo>
                      <a:pt x="577" y="93"/>
                      <a:pt x="576" y="81"/>
                      <a:pt x="582" y="79"/>
                    </a:cubicBezTo>
                    <a:cubicBezTo>
                      <a:pt x="588" y="76"/>
                      <a:pt x="595" y="78"/>
                      <a:pt x="595" y="78"/>
                    </a:cubicBezTo>
                    <a:cubicBezTo>
                      <a:pt x="595" y="78"/>
                      <a:pt x="604" y="66"/>
                      <a:pt x="610" y="65"/>
                    </a:cubicBezTo>
                    <a:cubicBezTo>
                      <a:pt x="616" y="64"/>
                      <a:pt x="625" y="77"/>
                      <a:pt x="625" y="77"/>
                    </a:cubicBezTo>
                    <a:cubicBezTo>
                      <a:pt x="648" y="80"/>
                      <a:pt x="648" y="80"/>
                      <a:pt x="648" y="80"/>
                    </a:cubicBezTo>
                    <a:cubicBezTo>
                      <a:pt x="655" y="91"/>
                      <a:pt x="655" y="91"/>
                      <a:pt x="655" y="91"/>
                    </a:cubicBezTo>
                    <a:cubicBezTo>
                      <a:pt x="655" y="91"/>
                      <a:pt x="647" y="105"/>
                      <a:pt x="647" y="110"/>
                    </a:cubicBezTo>
                    <a:cubicBezTo>
                      <a:pt x="647" y="116"/>
                      <a:pt x="650" y="121"/>
                      <a:pt x="650" y="121"/>
                    </a:cubicBezTo>
                    <a:cubicBezTo>
                      <a:pt x="650" y="121"/>
                      <a:pt x="654" y="125"/>
                      <a:pt x="656" y="123"/>
                    </a:cubicBezTo>
                    <a:cubicBezTo>
                      <a:pt x="659" y="121"/>
                      <a:pt x="658" y="107"/>
                      <a:pt x="658" y="107"/>
                    </a:cubicBezTo>
                    <a:cubicBezTo>
                      <a:pt x="658" y="107"/>
                      <a:pt x="655" y="108"/>
                      <a:pt x="656" y="105"/>
                    </a:cubicBezTo>
                    <a:cubicBezTo>
                      <a:pt x="657" y="102"/>
                      <a:pt x="661" y="102"/>
                      <a:pt x="663" y="100"/>
                    </a:cubicBezTo>
                    <a:cubicBezTo>
                      <a:pt x="666" y="98"/>
                      <a:pt x="665" y="93"/>
                      <a:pt x="666" y="93"/>
                    </a:cubicBezTo>
                    <a:cubicBezTo>
                      <a:pt x="668" y="92"/>
                      <a:pt x="674" y="94"/>
                      <a:pt x="674" y="90"/>
                    </a:cubicBezTo>
                    <a:cubicBezTo>
                      <a:pt x="674" y="85"/>
                      <a:pt x="669" y="78"/>
                      <a:pt x="669" y="78"/>
                    </a:cubicBezTo>
                    <a:cubicBezTo>
                      <a:pt x="669" y="78"/>
                      <a:pt x="673" y="78"/>
                      <a:pt x="675" y="79"/>
                    </a:cubicBezTo>
                    <a:cubicBezTo>
                      <a:pt x="678" y="79"/>
                      <a:pt x="685" y="87"/>
                      <a:pt x="687" y="80"/>
                    </a:cubicBezTo>
                    <a:cubicBezTo>
                      <a:pt x="690" y="74"/>
                      <a:pt x="685" y="71"/>
                      <a:pt x="685" y="71"/>
                    </a:cubicBezTo>
                    <a:close/>
                    <a:moveTo>
                      <a:pt x="8" y="787"/>
                    </a:moveTo>
                    <a:cubicBezTo>
                      <a:pt x="8" y="787"/>
                      <a:pt x="7" y="793"/>
                      <a:pt x="8" y="794"/>
                    </a:cubicBezTo>
                    <a:cubicBezTo>
                      <a:pt x="9" y="796"/>
                      <a:pt x="6" y="800"/>
                      <a:pt x="6" y="800"/>
                    </a:cubicBezTo>
                    <a:cubicBezTo>
                      <a:pt x="9" y="800"/>
                      <a:pt x="9" y="800"/>
                      <a:pt x="9" y="800"/>
                    </a:cubicBezTo>
                    <a:cubicBezTo>
                      <a:pt x="11" y="798"/>
                      <a:pt x="11" y="798"/>
                      <a:pt x="11" y="798"/>
                    </a:cubicBezTo>
                    <a:cubicBezTo>
                      <a:pt x="11" y="792"/>
                      <a:pt x="11" y="792"/>
                      <a:pt x="11" y="792"/>
                    </a:cubicBezTo>
                    <a:cubicBezTo>
                      <a:pt x="10" y="785"/>
                      <a:pt x="10" y="785"/>
                      <a:pt x="10" y="785"/>
                    </a:cubicBezTo>
                    <a:lnTo>
                      <a:pt x="8" y="787"/>
                    </a:lnTo>
                    <a:close/>
                    <a:moveTo>
                      <a:pt x="27" y="805"/>
                    </a:moveTo>
                    <a:cubicBezTo>
                      <a:pt x="18" y="803"/>
                      <a:pt x="18" y="803"/>
                      <a:pt x="18" y="803"/>
                    </a:cubicBezTo>
                    <a:cubicBezTo>
                      <a:pt x="26" y="808"/>
                      <a:pt x="26" y="808"/>
                      <a:pt x="26" y="808"/>
                    </a:cubicBezTo>
                    <a:lnTo>
                      <a:pt x="27" y="805"/>
                    </a:lnTo>
                    <a:close/>
                    <a:moveTo>
                      <a:pt x="36" y="794"/>
                    </a:moveTo>
                    <a:cubicBezTo>
                      <a:pt x="32" y="794"/>
                      <a:pt x="32" y="794"/>
                      <a:pt x="32" y="794"/>
                    </a:cubicBezTo>
                    <a:cubicBezTo>
                      <a:pt x="30" y="799"/>
                      <a:pt x="30" y="799"/>
                      <a:pt x="30" y="799"/>
                    </a:cubicBezTo>
                    <a:cubicBezTo>
                      <a:pt x="38" y="798"/>
                      <a:pt x="38" y="798"/>
                      <a:pt x="38" y="798"/>
                    </a:cubicBezTo>
                    <a:lnTo>
                      <a:pt x="36" y="794"/>
                    </a:lnTo>
                    <a:close/>
                    <a:moveTo>
                      <a:pt x="16" y="750"/>
                    </a:moveTo>
                    <a:cubicBezTo>
                      <a:pt x="16" y="753"/>
                      <a:pt x="16" y="753"/>
                      <a:pt x="16" y="753"/>
                    </a:cubicBezTo>
                    <a:cubicBezTo>
                      <a:pt x="14" y="754"/>
                      <a:pt x="14" y="754"/>
                      <a:pt x="14" y="754"/>
                    </a:cubicBezTo>
                    <a:cubicBezTo>
                      <a:pt x="14" y="754"/>
                      <a:pt x="16" y="762"/>
                      <a:pt x="20" y="762"/>
                    </a:cubicBezTo>
                    <a:cubicBezTo>
                      <a:pt x="26" y="762"/>
                      <a:pt x="22" y="753"/>
                      <a:pt x="22" y="753"/>
                    </a:cubicBezTo>
                    <a:cubicBezTo>
                      <a:pt x="17" y="750"/>
                      <a:pt x="17" y="750"/>
                      <a:pt x="17" y="750"/>
                    </a:cubicBezTo>
                    <a:lnTo>
                      <a:pt x="16" y="750"/>
                    </a:lnTo>
                    <a:close/>
                    <a:moveTo>
                      <a:pt x="15" y="768"/>
                    </a:moveTo>
                    <a:cubicBezTo>
                      <a:pt x="17" y="766"/>
                      <a:pt x="17" y="766"/>
                      <a:pt x="17" y="766"/>
                    </a:cubicBezTo>
                    <a:cubicBezTo>
                      <a:pt x="15" y="762"/>
                      <a:pt x="15" y="762"/>
                      <a:pt x="15" y="762"/>
                    </a:cubicBezTo>
                    <a:cubicBezTo>
                      <a:pt x="15" y="758"/>
                      <a:pt x="15" y="758"/>
                      <a:pt x="15" y="758"/>
                    </a:cubicBezTo>
                    <a:cubicBezTo>
                      <a:pt x="11" y="756"/>
                      <a:pt x="11" y="756"/>
                      <a:pt x="11" y="756"/>
                    </a:cubicBezTo>
                    <a:cubicBezTo>
                      <a:pt x="11" y="757"/>
                      <a:pt x="11" y="757"/>
                      <a:pt x="11" y="757"/>
                    </a:cubicBezTo>
                    <a:cubicBezTo>
                      <a:pt x="11" y="757"/>
                      <a:pt x="10" y="758"/>
                      <a:pt x="9" y="760"/>
                    </a:cubicBezTo>
                    <a:cubicBezTo>
                      <a:pt x="8" y="762"/>
                      <a:pt x="12" y="764"/>
                      <a:pt x="12" y="764"/>
                    </a:cubicBezTo>
                    <a:cubicBezTo>
                      <a:pt x="9" y="767"/>
                      <a:pt x="9" y="767"/>
                      <a:pt x="9" y="767"/>
                    </a:cubicBezTo>
                    <a:cubicBezTo>
                      <a:pt x="9" y="773"/>
                      <a:pt x="9" y="773"/>
                      <a:pt x="9" y="773"/>
                    </a:cubicBezTo>
                    <a:cubicBezTo>
                      <a:pt x="13" y="772"/>
                      <a:pt x="13" y="772"/>
                      <a:pt x="13" y="772"/>
                    </a:cubicBezTo>
                    <a:cubicBezTo>
                      <a:pt x="10" y="767"/>
                      <a:pt x="10" y="767"/>
                      <a:pt x="10" y="767"/>
                    </a:cubicBezTo>
                    <a:cubicBezTo>
                      <a:pt x="14" y="764"/>
                      <a:pt x="14" y="764"/>
                      <a:pt x="14" y="764"/>
                    </a:cubicBezTo>
                    <a:cubicBezTo>
                      <a:pt x="15" y="764"/>
                      <a:pt x="15" y="764"/>
                      <a:pt x="15" y="764"/>
                    </a:cubicBezTo>
                    <a:cubicBezTo>
                      <a:pt x="14" y="766"/>
                      <a:pt x="14" y="766"/>
                      <a:pt x="14" y="766"/>
                    </a:cubicBezTo>
                    <a:lnTo>
                      <a:pt x="15" y="768"/>
                    </a:lnTo>
                    <a:close/>
                    <a:moveTo>
                      <a:pt x="29" y="766"/>
                    </a:moveTo>
                    <a:cubicBezTo>
                      <a:pt x="33" y="764"/>
                      <a:pt x="33" y="764"/>
                      <a:pt x="33" y="764"/>
                    </a:cubicBezTo>
                    <a:cubicBezTo>
                      <a:pt x="27" y="759"/>
                      <a:pt x="27" y="759"/>
                      <a:pt x="27" y="759"/>
                    </a:cubicBezTo>
                    <a:cubicBezTo>
                      <a:pt x="25" y="761"/>
                      <a:pt x="25" y="761"/>
                      <a:pt x="25" y="761"/>
                    </a:cubicBezTo>
                    <a:lnTo>
                      <a:pt x="29" y="766"/>
                    </a:lnTo>
                    <a:close/>
                    <a:moveTo>
                      <a:pt x="28" y="743"/>
                    </a:moveTo>
                    <a:cubicBezTo>
                      <a:pt x="23" y="744"/>
                      <a:pt x="23" y="744"/>
                      <a:pt x="23" y="744"/>
                    </a:cubicBezTo>
                    <a:cubicBezTo>
                      <a:pt x="23" y="747"/>
                      <a:pt x="23" y="747"/>
                      <a:pt x="23" y="747"/>
                    </a:cubicBezTo>
                    <a:cubicBezTo>
                      <a:pt x="20" y="749"/>
                      <a:pt x="20" y="749"/>
                      <a:pt x="20" y="749"/>
                    </a:cubicBezTo>
                    <a:cubicBezTo>
                      <a:pt x="23" y="751"/>
                      <a:pt x="23" y="751"/>
                      <a:pt x="23" y="751"/>
                    </a:cubicBezTo>
                    <a:cubicBezTo>
                      <a:pt x="25" y="754"/>
                      <a:pt x="25" y="754"/>
                      <a:pt x="25" y="754"/>
                    </a:cubicBezTo>
                    <a:cubicBezTo>
                      <a:pt x="27" y="754"/>
                      <a:pt x="27" y="754"/>
                      <a:pt x="27" y="754"/>
                    </a:cubicBezTo>
                    <a:cubicBezTo>
                      <a:pt x="27" y="751"/>
                      <a:pt x="27" y="751"/>
                      <a:pt x="27" y="751"/>
                    </a:cubicBezTo>
                    <a:cubicBezTo>
                      <a:pt x="29" y="749"/>
                      <a:pt x="29" y="749"/>
                      <a:pt x="29" y="749"/>
                    </a:cubicBezTo>
                    <a:lnTo>
                      <a:pt x="28" y="743"/>
                    </a:lnTo>
                    <a:close/>
                    <a:moveTo>
                      <a:pt x="19" y="743"/>
                    </a:moveTo>
                    <a:cubicBezTo>
                      <a:pt x="16" y="746"/>
                      <a:pt x="19" y="747"/>
                      <a:pt x="20" y="746"/>
                    </a:cubicBezTo>
                    <a:cubicBezTo>
                      <a:pt x="23" y="744"/>
                      <a:pt x="22" y="740"/>
                      <a:pt x="19" y="743"/>
                    </a:cubicBezTo>
                    <a:close/>
                    <a:moveTo>
                      <a:pt x="10" y="738"/>
                    </a:moveTo>
                    <a:cubicBezTo>
                      <a:pt x="11" y="740"/>
                      <a:pt x="11" y="740"/>
                      <a:pt x="11" y="740"/>
                    </a:cubicBezTo>
                    <a:cubicBezTo>
                      <a:pt x="12" y="740"/>
                      <a:pt x="12" y="740"/>
                      <a:pt x="12" y="740"/>
                    </a:cubicBezTo>
                    <a:cubicBezTo>
                      <a:pt x="14" y="743"/>
                      <a:pt x="14" y="743"/>
                      <a:pt x="14" y="743"/>
                    </a:cubicBezTo>
                    <a:cubicBezTo>
                      <a:pt x="12" y="745"/>
                      <a:pt x="12" y="745"/>
                      <a:pt x="12" y="745"/>
                    </a:cubicBezTo>
                    <a:cubicBezTo>
                      <a:pt x="15" y="746"/>
                      <a:pt x="15" y="746"/>
                      <a:pt x="15" y="746"/>
                    </a:cubicBezTo>
                    <a:cubicBezTo>
                      <a:pt x="16" y="742"/>
                      <a:pt x="16" y="742"/>
                      <a:pt x="16" y="742"/>
                    </a:cubicBezTo>
                    <a:cubicBezTo>
                      <a:pt x="12" y="737"/>
                      <a:pt x="12" y="737"/>
                      <a:pt x="12" y="737"/>
                    </a:cubicBezTo>
                    <a:lnTo>
                      <a:pt x="10" y="738"/>
                    </a:lnTo>
                    <a:close/>
                    <a:moveTo>
                      <a:pt x="13" y="749"/>
                    </a:moveTo>
                    <a:cubicBezTo>
                      <a:pt x="11" y="746"/>
                      <a:pt x="11" y="746"/>
                      <a:pt x="11" y="746"/>
                    </a:cubicBezTo>
                    <a:cubicBezTo>
                      <a:pt x="8" y="749"/>
                      <a:pt x="8" y="749"/>
                      <a:pt x="8" y="749"/>
                    </a:cubicBezTo>
                    <a:cubicBezTo>
                      <a:pt x="9" y="751"/>
                      <a:pt x="9" y="751"/>
                      <a:pt x="9" y="751"/>
                    </a:cubicBezTo>
                    <a:lnTo>
                      <a:pt x="13" y="749"/>
                    </a:lnTo>
                    <a:close/>
                    <a:moveTo>
                      <a:pt x="41" y="738"/>
                    </a:moveTo>
                    <a:cubicBezTo>
                      <a:pt x="39" y="740"/>
                      <a:pt x="39" y="740"/>
                      <a:pt x="39" y="740"/>
                    </a:cubicBezTo>
                    <a:cubicBezTo>
                      <a:pt x="40" y="744"/>
                      <a:pt x="40" y="744"/>
                      <a:pt x="40" y="744"/>
                    </a:cubicBezTo>
                    <a:cubicBezTo>
                      <a:pt x="43" y="741"/>
                      <a:pt x="43" y="741"/>
                      <a:pt x="43" y="741"/>
                    </a:cubicBezTo>
                    <a:lnTo>
                      <a:pt x="41" y="738"/>
                    </a:lnTo>
                    <a:close/>
                    <a:moveTo>
                      <a:pt x="9" y="733"/>
                    </a:moveTo>
                    <a:cubicBezTo>
                      <a:pt x="11" y="734"/>
                      <a:pt x="13" y="734"/>
                      <a:pt x="13" y="734"/>
                    </a:cubicBezTo>
                    <a:cubicBezTo>
                      <a:pt x="11" y="729"/>
                      <a:pt x="11" y="729"/>
                      <a:pt x="11" y="729"/>
                    </a:cubicBezTo>
                    <a:cubicBezTo>
                      <a:pt x="13" y="727"/>
                      <a:pt x="13" y="727"/>
                      <a:pt x="13" y="727"/>
                    </a:cubicBezTo>
                    <a:cubicBezTo>
                      <a:pt x="10" y="719"/>
                      <a:pt x="10" y="719"/>
                      <a:pt x="10" y="719"/>
                    </a:cubicBezTo>
                    <a:cubicBezTo>
                      <a:pt x="9" y="722"/>
                      <a:pt x="9" y="722"/>
                      <a:pt x="9" y="722"/>
                    </a:cubicBezTo>
                    <a:cubicBezTo>
                      <a:pt x="11" y="726"/>
                      <a:pt x="11" y="726"/>
                      <a:pt x="11" y="726"/>
                    </a:cubicBezTo>
                    <a:cubicBezTo>
                      <a:pt x="7" y="727"/>
                      <a:pt x="7" y="727"/>
                      <a:pt x="7" y="727"/>
                    </a:cubicBezTo>
                    <a:cubicBezTo>
                      <a:pt x="7" y="727"/>
                      <a:pt x="7" y="731"/>
                      <a:pt x="9" y="733"/>
                    </a:cubicBezTo>
                    <a:close/>
                    <a:moveTo>
                      <a:pt x="16" y="715"/>
                    </a:moveTo>
                    <a:cubicBezTo>
                      <a:pt x="10" y="711"/>
                      <a:pt x="10" y="711"/>
                      <a:pt x="10" y="711"/>
                    </a:cubicBezTo>
                    <a:cubicBezTo>
                      <a:pt x="9" y="712"/>
                      <a:pt x="9" y="712"/>
                      <a:pt x="9" y="712"/>
                    </a:cubicBezTo>
                    <a:cubicBezTo>
                      <a:pt x="12" y="714"/>
                      <a:pt x="12" y="714"/>
                      <a:pt x="12" y="714"/>
                    </a:cubicBezTo>
                    <a:cubicBezTo>
                      <a:pt x="12" y="718"/>
                      <a:pt x="12" y="718"/>
                      <a:pt x="12" y="718"/>
                    </a:cubicBezTo>
                    <a:cubicBezTo>
                      <a:pt x="14" y="721"/>
                      <a:pt x="14" y="721"/>
                      <a:pt x="14" y="721"/>
                    </a:cubicBezTo>
                    <a:cubicBezTo>
                      <a:pt x="17" y="721"/>
                      <a:pt x="17" y="721"/>
                      <a:pt x="17" y="721"/>
                    </a:cubicBezTo>
                    <a:lnTo>
                      <a:pt x="16" y="715"/>
                    </a:lnTo>
                    <a:close/>
                    <a:moveTo>
                      <a:pt x="24" y="713"/>
                    </a:moveTo>
                    <a:cubicBezTo>
                      <a:pt x="28" y="719"/>
                      <a:pt x="28" y="719"/>
                      <a:pt x="28" y="719"/>
                    </a:cubicBezTo>
                    <a:cubicBezTo>
                      <a:pt x="32" y="717"/>
                      <a:pt x="32" y="717"/>
                      <a:pt x="32" y="717"/>
                    </a:cubicBezTo>
                    <a:cubicBezTo>
                      <a:pt x="34" y="706"/>
                      <a:pt x="34" y="706"/>
                      <a:pt x="34" y="706"/>
                    </a:cubicBezTo>
                    <a:cubicBezTo>
                      <a:pt x="33" y="705"/>
                      <a:pt x="33" y="705"/>
                      <a:pt x="33" y="705"/>
                    </a:cubicBezTo>
                    <a:cubicBezTo>
                      <a:pt x="29" y="710"/>
                      <a:pt x="29" y="710"/>
                      <a:pt x="29" y="710"/>
                    </a:cubicBezTo>
                    <a:cubicBezTo>
                      <a:pt x="29" y="710"/>
                      <a:pt x="28" y="710"/>
                      <a:pt x="26" y="711"/>
                    </a:cubicBezTo>
                    <a:cubicBezTo>
                      <a:pt x="24" y="711"/>
                      <a:pt x="24" y="713"/>
                      <a:pt x="24" y="713"/>
                    </a:cubicBezTo>
                    <a:close/>
                    <a:moveTo>
                      <a:pt x="22" y="703"/>
                    </a:moveTo>
                    <a:cubicBezTo>
                      <a:pt x="13" y="694"/>
                      <a:pt x="13" y="694"/>
                      <a:pt x="13" y="694"/>
                    </a:cubicBezTo>
                    <a:cubicBezTo>
                      <a:pt x="12" y="695"/>
                      <a:pt x="12" y="695"/>
                      <a:pt x="12" y="695"/>
                    </a:cubicBezTo>
                    <a:cubicBezTo>
                      <a:pt x="18" y="703"/>
                      <a:pt x="18" y="703"/>
                      <a:pt x="18" y="703"/>
                    </a:cubicBezTo>
                    <a:cubicBezTo>
                      <a:pt x="17" y="705"/>
                      <a:pt x="17" y="705"/>
                      <a:pt x="17" y="705"/>
                    </a:cubicBezTo>
                    <a:cubicBezTo>
                      <a:pt x="15" y="704"/>
                      <a:pt x="15" y="704"/>
                      <a:pt x="15" y="704"/>
                    </a:cubicBezTo>
                    <a:cubicBezTo>
                      <a:pt x="20" y="711"/>
                      <a:pt x="20" y="711"/>
                      <a:pt x="20" y="711"/>
                    </a:cubicBezTo>
                    <a:cubicBezTo>
                      <a:pt x="23" y="711"/>
                      <a:pt x="25" y="708"/>
                      <a:pt x="25" y="708"/>
                    </a:cubicBezTo>
                    <a:cubicBezTo>
                      <a:pt x="23" y="705"/>
                      <a:pt x="23" y="705"/>
                      <a:pt x="23" y="705"/>
                    </a:cubicBezTo>
                    <a:lnTo>
                      <a:pt x="22" y="703"/>
                    </a:lnTo>
                    <a:close/>
                    <a:moveTo>
                      <a:pt x="9" y="699"/>
                    </a:moveTo>
                    <a:cubicBezTo>
                      <a:pt x="8" y="699"/>
                      <a:pt x="8" y="699"/>
                      <a:pt x="8" y="699"/>
                    </a:cubicBezTo>
                    <a:cubicBezTo>
                      <a:pt x="8" y="699"/>
                      <a:pt x="10" y="703"/>
                      <a:pt x="11" y="704"/>
                    </a:cubicBezTo>
                    <a:cubicBezTo>
                      <a:pt x="12" y="705"/>
                      <a:pt x="14" y="707"/>
                      <a:pt x="14" y="707"/>
                    </a:cubicBezTo>
                    <a:cubicBezTo>
                      <a:pt x="14" y="707"/>
                      <a:pt x="15" y="705"/>
                      <a:pt x="13" y="703"/>
                    </a:cubicBezTo>
                    <a:cubicBezTo>
                      <a:pt x="12" y="701"/>
                      <a:pt x="9" y="699"/>
                      <a:pt x="9" y="699"/>
                    </a:cubicBezTo>
                    <a:close/>
                    <a:moveTo>
                      <a:pt x="10" y="707"/>
                    </a:moveTo>
                    <a:cubicBezTo>
                      <a:pt x="9" y="707"/>
                      <a:pt x="10" y="709"/>
                      <a:pt x="11" y="710"/>
                    </a:cubicBezTo>
                    <a:cubicBezTo>
                      <a:pt x="12" y="710"/>
                      <a:pt x="16" y="712"/>
                      <a:pt x="16" y="712"/>
                    </a:cubicBezTo>
                    <a:cubicBezTo>
                      <a:pt x="16" y="710"/>
                      <a:pt x="16" y="710"/>
                      <a:pt x="16" y="710"/>
                    </a:cubicBezTo>
                    <a:cubicBezTo>
                      <a:pt x="16" y="710"/>
                      <a:pt x="11" y="707"/>
                      <a:pt x="10" y="707"/>
                    </a:cubicBezTo>
                    <a:close/>
                    <a:moveTo>
                      <a:pt x="9" y="693"/>
                    </a:moveTo>
                    <a:cubicBezTo>
                      <a:pt x="7" y="695"/>
                      <a:pt x="7" y="695"/>
                      <a:pt x="7" y="695"/>
                    </a:cubicBezTo>
                    <a:cubicBezTo>
                      <a:pt x="11" y="698"/>
                      <a:pt x="11" y="698"/>
                      <a:pt x="11" y="698"/>
                    </a:cubicBezTo>
                    <a:lnTo>
                      <a:pt x="9" y="693"/>
                    </a:lnTo>
                    <a:close/>
                    <a:moveTo>
                      <a:pt x="10" y="692"/>
                    </a:moveTo>
                    <a:cubicBezTo>
                      <a:pt x="9" y="687"/>
                      <a:pt x="9" y="687"/>
                      <a:pt x="9" y="687"/>
                    </a:cubicBezTo>
                    <a:cubicBezTo>
                      <a:pt x="7" y="689"/>
                      <a:pt x="7" y="689"/>
                      <a:pt x="7" y="689"/>
                    </a:cubicBezTo>
                    <a:lnTo>
                      <a:pt x="10" y="692"/>
                    </a:lnTo>
                    <a:close/>
                    <a:moveTo>
                      <a:pt x="9" y="678"/>
                    </a:moveTo>
                    <a:cubicBezTo>
                      <a:pt x="11" y="676"/>
                      <a:pt x="11" y="676"/>
                      <a:pt x="11" y="676"/>
                    </a:cubicBezTo>
                    <a:cubicBezTo>
                      <a:pt x="12" y="678"/>
                      <a:pt x="12" y="678"/>
                      <a:pt x="12" y="678"/>
                    </a:cubicBezTo>
                    <a:cubicBezTo>
                      <a:pt x="12" y="678"/>
                      <a:pt x="15" y="676"/>
                      <a:pt x="15" y="674"/>
                    </a:cubicBezTo>
                    <a:cubicBezTo>
                      <a:pt x="15" y="671"/>
                      <a:pt x="12" y="670"/>
                      <a:pt x="12" y="670"/>
                    </a:cubicBezTo>
                    <a:cubicBezTo>
                      <a:pt x="10" y="671"/>
                      <a:pt x="10" y="671"/>
                      <a:pt x="10" y="671"/>
                    </a:cubicBezTo>
                    <a:cubicBezTo>
                      <a:pt x="10" y="671"/>
                      <a:pt x="8" y="675"/>
                      <a:pt x="9" y="678"/>
                    </a:cubicBezTo>
                    <a:close/>
                    <a:moveTo>
                      <a:pt x="6" y="680"/>
                    </a:moveTo>
                    <a:cubicBezTo>
                      <a:pt x="7" y="680"/>
                      <a:pt x="7" y="680"/>
                      <a:pt x="7" y="680"/>
                    </a:cubicBezTo>
                    <a:cubicBezTo>
                      <a:pt x="8" y="676"/>
                      <a:pt x="8" y="676"/>
                      <a:pt x="8" y="676"/>
                    </a:cubicBezTo>
                    <a:cubicBezTo>
                      <a:pt x="7" y="676"/>
                      <a:pt x="7" y="676"/>
                      <a:pt x="7" y="676"/>
                    </a:cubicBezTo>
                    <a:lnTo>
                      <a:pt x="6" y="680"/>
                    </a:lnTo>
                    <a:close/>
                    <a:moveTo>
                      <a:pt x="3" y="678"/>
                    </a:moveTo>
                    <a:cubicBezTo>
                      <a:pt x="0" y="678"/>
                      <a:pt x="1" y="681"/>
                      <a:pt x="2" y="681"/>
                    </a:cubicBezTo>
                    <a:cubicBezTo>
                      <a:pt x="4" y="682"/>
                      <a:pt x="7" y="677"/>
                      <a:pt x="3" y="678"/>
                    </a:cubicBezTo>
                    <a:close/>
                    <a:moveTo>
                      <a:pt x="7" y="661"/>
                    </a:moveTo>
                    <a:cubicBezTo>
                      <a:pt x="3" y="661"/>
                      <a:pt x="4" y="663"/>
                      <a:pt x="6" y="663"/>
                    </a:cubicBezTo>
                    <a:cubicBezTo>
                      <a:pt x="9" y="663"/>
                      <a:pt x="10" y="662"/>
                      <a:pt x="7" y="661"/>
                    </a:cubicBezTo>
                    <a:close/>
                    <a:moveTo>
                      <a:pt x="17" y="658"/>
                    </a:moveTo>
                    <a:cubicBezTo>
                      <a:pt x="14" y="657"/>
                      <a:pt x="14" y="657"/>
                      <a:pt x="14" y="657"/>
                    </a:cubicBezTo>
                    <a:cubicBezTo>
                      <a:pt x="11" y="660"/>
                      <a:pt x="11" y="660"/>
                      <a:pt x="11" y="660"/>
                    </a:cubicBezTo>
                    <a:cubicBezTo>
                      <a:pt x="13" y="662"/>
                      <a:pt x="13" y="662"/>
                      <a:pt x="13" y="662"/>
                    </a:cubicBezTo>
                    <a:lnTo>
                      <a:pt x="17" y="658"/>
                    </a:lnTo>
                    <a:close/>
                    <a:moveTo>
                      <a:pt x="18" y="649"/>
                    </a:moveTo>
                    <a:cubicBezTo>
                      <a:pt x="14" y="646"/>
                      <a:pt x="14" y="646"/>
                      <a:pt x="14" y="646"/>
                    </a:cubicBezTo>
                    <a:cubicBezTo>
                      <a:pt x="15" y="650"/>
                      <a:pt x="15" y="650"/>
                      <a:pt x="15" y="650"/>
                    </a:cubicBezTo>
                    <a:lnTo>
                      <a:pt x="18" y="649"/>
                    </a:lnTo>
                    <a:close/>
                    <a:moveTo>
                      <a:pt x="22" y="643"/>
                    </a:moveTo>
                    <a:cubicBezTo>
                      <a:pt x="17" y="645"/>
                      <a:pt x="17" y="645"/>
                      <a:pt x="17" y="645"/>
                    </a:cubicBezTo>
                    <a:cubicBezTo>
                      <a:pt x="22" y="647"/>
                      <a:pt x="22" y="647"/>
                      <a:pt x="22" y="647"/>
                    </a:cubicBezTo>
                    <a:lnTo>
                      <a:pt x="22" y="643"/>
                    </a:lnTo>
                    <a:close/>
                    <a:moveTo>
                      <a:pt x="14" y="639"/>
                    </a:moveTo>
                    <a:cubicBezTo>
                      <a:pt x="14" y="635"/>
                      <a:pt x="11" y="635"/>
                      <a:pt x="12" y="638"/>
                    </a:cubicBezTo>
                    <a:cubicBezTo>
                      <a:pt x="12" y="641"/>
                      <a:pt x="14" y="641"/>
                      <a:pt x="14" y="639"/>
                    </a:cubicBezTo>
                    <a:close/>
                    <a:moveTo>
                      <a:pt x="15" y="632"/>
                    </a:moveTo>
                    <a:cubicBezTo>
                      <a:pt x="24" y="629"/>
                      <a:pt x="24" y="629"/>
                      <a:pt x="24" y="629"/>
                    </a:cubicBezTo>
                    <a:cubicBezTo>
                      <a:pt x="25" y="626"/>
                      <a:pt x="25" y="626"/>
                      <a:pt x="25" y="626"/>
                    </a:cubicBezTo>
                    <a:cubicBezTo>
                      <a:pt x="19" y="626"/>
                      <a:pt x="19" y="626"/>
                      <a:pt x="19" y="626"/>
                    </a:cubicBezTo>
                    <a:cubicBezTo>
                      <a:pt x="15" y="623"/>
                      <a:pt x="15" y="623"/>
                      <a:pt x="15" y="623"/>
                    </a:cubicBezTo>
                    <a:cubicBezTo>
                      <a:pt x="15" y="626"/>
                      <a:pt x="15" y="626"/>
                      <a:pt x="15" y="626"/>
                    </a:cubicBezTo>
                    <a:cubicBezTo>
                      <a:pt x="12" y="627"/>
                      <a:pt x="12" y="627"/>
                      <a:pt x="12" y="627"/>
                    </a:cubicBezTo>
                    <a:cubicBezTo>
                      <a:pt x="16" y="628"/>
                      <a:pt x="16" y="628"/>
                      <a:pt x="16" y="628"/>
                    </a:cubicBezTo>
                    <a:lnTo>
                      <a:pt x="15" y="632"/>
                    </a:lnTo>
                    <a:close/>
                    <a:moveTo>
                      <a:pt x="12" y="630"/>
                    </a:moveTo>
                    <a:cubicBezTo>
                      <a:pt x="13" y="632"/>
                      <a:pt x="13" y="632"/>
                      <a:pt x="13" y="632"/>
                    </a:cubicBezTo>
                    <a:cubicBezTo>
                      <a:pt x="14" y="633"/>
                      <a:pt x="14" y="633"/>
                      <a:pt x="14" y="633"/>
                    </a:cubicBezTo>
                    <a:cubicBezTo>
                      <a:pt x="14" y="629"/>
                      <a:pt x="14" y="629"/>
                      <a:pt x="14" y="629"/>
                    </a:cubicBezTo>
                    <a:lnTo>
                      <a:pt x="12" y="630"/>
                    </a:lnTo>
                    <a:close/>
                    <a:moveTo>
                      <a:pt x="20" y="618"/>
                    </a:moveTo>
                    <a:cubicBezTo>
                      <a:pt x="22" y="619"/>
                      <a:pt x="22" y="623"/>
                      <a:pt x="22" y="623"/>
                    </a:cubicBezTo>
                    <a:cubicBezTo>
                      <a:pt x="25" y="623"/>
                      <a:pt x="25" y="623"/>
                      <a:pt x="25" y="623"/>
                    </a:cubicBezTo>
                    <a:cubicBezTo>
                      <a:pt x="25" y="616"/>
                      <a:pt x="25" y="616"/>
                      <a:pt x="25" y="616"/>
                    </a:cubicBezTo>
                    <a:cubicBezTo>
                      <a:pt x="20" y="615"/>
                      <a:pt x="20" y="615"/>
                      <a:pt x="20" y="615"/>
                    </a:cubicBezTo>
                    <a:cubicBezTo>
                      <a:pt x="20" y="615"/>
                      <a:pt x="18" y="617"/>
                      <a:pt x="20" y="618"/>
                    </a:cubicBezTo>
                    <a:close/>
                    <a:moveTo>
                      <a:pt x="36" y="604"/>
                    </a:moveTo>
                    <a:cubicBezTo>
                      <a:pt x="36" y="601"/>
                      <a:pt x="36" y="601"/>
                      <a:pt x="36" y="601"/>
                    </a:cubicBezTo>
                    <a:cubicBezTo>
                      <a:pt x="34" y="602"/>
                      <a:pt x="34" y="602"/>
                      <a:pt x="34" y="602"/>
                    </a:cubicBezTo>
                    <a:cubicBezTo>
                      <a:pt x="34" y="604"/>
                      <a:pt x="34" y="604"/>
                      <a:pt x="34" y="604"/>
                    </a:cubicBezTo>
                    <a:lnTo>
                      <a:pt x="36" y="604"/>
                    </a:lnTo>
                    <a:close/>
                    <a:moveTo>
                      <a:pt x="45" y="607"/>
                    </a:moveTo>
                    <a:cubicBezTo>
                      <a:pt x="48" y="605"/>
                      <a:pt x="48" y="601"/>
                      <a:pt x="44" y="600"/>
                    </a:cubicBezTo>
                    <a:cubicBezTo>
                      <a:pt x="40" y="598"/>
                      <a:pt x="40" y="603"/>
                      <a:pt x="40" y="603"/>
                    </a:cubicBezTo>
                    <a:cubicBezTo>
                      <a:pt x="39" y="604"/>
                      <a:pt x="39" y="604"/>
                      <a:pt x="39" y="604"/>
                    </a:cubicBezTo>
                    <a:cubicBezTo>
                      <a:pt x="39" y="607"/>
                      <a:pt x="42" y="608"/>
                      <a:pt x="45" y="607"/>
                    </a:cubicBezTo>
                    <a:close/>
                    <a:moveTo>
                      <a:pt x="42" y="598"/>
                    </a:moveTo>
                    <a:cubicBezTo>
                      <a:pt x="45" y="598"/>
                      <a:pt x="45" y="598"/>
                      <a:pt x="45" y="598"/>
                    </a:cubicBezTo>
                    <a:cubicBezTo>
                      <a:pt x="46" y="596"/>
                      <a:pt x="46" y="596"/>
                      <a:pt x="46" y="596"/>
                    </a:cubicBezTo>
                    <a:cubicBezTo>
                      <a:pt x="43" y="593"/>
                      <a:pt x="43" y="593"/>
                      <a:pt x="43" y="593"/>
                    </a:cubicBezTo>
                    <a:cubicBezTo>
                      <a:pt x="41" y="593"/>
                      <a:pt x="41" y="593"/>
                      <a:pt x="41" y="593"/>
                    </a:cubicBezTo>
                    <a:cubicBezTo>
                      <a:pt x="42" y="596"/>
                      <a:pt x="42" y="596"/>
                      <a:pt x="42" y="596"/>
                    </a:cubicBezTo>
                    <a:lnTo>
                      <a:pt x="42" y="598"/>
                    </a:lnTo>
                    <a:close/>
                    <a:moveTo>
                      <a:pt x="53" y="593"/>
                    </a:moveTo>
                    <a:cubicBezTo>
                      <a:pt x="49" y="594"/>
                      <a:pt x="49" y="594"/>
                      <a:pt x="49" y="594"/>
                    </a:cubicBezTo>
                    <a:cubicBezTo>
                      <a:pt x="49" y="603"/>
                      <a:pt x="49" y="603"/>
                      <a:pt x="49" y="603"/>
                    </a:cubicBezTo>
                    <a:cubicBezTo>
                      <a:pt x="57" y="598"/>
                      <a:pt x="57" y="598"/>
                      <a:pt x="57" y="598"/>
                    </a:cubicBezTo>
                    <a:lnTo>
                      <a:pt x="53" y="593"/>
                    </a:lnTo>
                    <a:close/>
                    <a:moveTo>
                      <a:pt x="57" y="593"/>
                    </a:moveTo>
                    <a:cubicBezTo>
                      <a:pt x="60" y="596"/>
                      <a:pt x="60" y="596"/>
                      <a:pt x="60" y="596"/>
                    </a:cubicBezTo>
                    <a:cubicBezTo>
                      <a:pt x="65" y="594"/>
                      <a:pt x="65" y="594"/>
                      <a:pt x="65" y="594"/>
                    </a:cubicBezTo>
                    <a:cubicBezTo>
                      <a:pt x="61" y="592"/>
                      <a:pt x="61" y="592"/>
                      <a:pt x="61" y="592"/>
                    </a:cubicBezTo>
                    <a:lnTo>
                      <a:pt x="57" y="593"/>
                    </a:lnTo>
                    <a:close/>
                    <a:moveTo>
                      <a:pt x="55" y="587"/>
                    </a:moveTo>
                    <a:cubicBezTo>
                      <a:pt x="51" y="591"/>
                      <a:pt x="51" y="591"/>
                      <a:pt x="51" y="591"/>
                    </a:cubicBezTo>
                    <a:cubicBezTo>
                      <a:pt x="58" y="591"/>
                      <a:pt x="58" y="591"/>
                      <a:pt x="58" y="591"/>
                    </a:cubicBezTo>
                    <a:lnTo>
                      <a:pt x="55" y="587"/>
                    </a:lnTo>
                    <a:close/>
                    <a:moveTo>
                      <a:pt x="57" y="586"/>
                    </a:moveTo>
                    <a:cubicBezTo>
                      <a:pt x="59" y="586"/>
                      <a:pt x="61" y="581"/>
                      <a:pt x="58" y="582"/>
                    </a:cubicBezTo>
                    <a:cubicBezTo>
                      <a:pt x="55" y="583"/>
                      <a:pt x="56" y="586"/>
                      <a:pt x="57" y="586"/>
                    </a:cubicBezTo>
                    <a:close/>
                    <a:moveTo>
                      <a:pt x="63" y="580"/>
                    </a:moveTo>
                    <a:cubicBezTo>
                      <a:pt x="59" y="579"/>
                      <a:pt x="59" y="579"/>
                      <a:pt x="59" y="579"/>
                    </a:cubicBezTo>
                    <a:cubicBezTo>
                      <a:pt x="62" y="582"/>
                      <a:pt x="62" y="582"/>
                      <a:pt x="62" y="582"/>
                    </a:cubicBezTo>
                    <a:lnTo>
                      <a:pt x="63" y="580"/>
                    </a:lnTo>
                    <a:close/>
                    <a:moveTo>
                      <a:pt x="63" y="577"/>
                    </a:moveTo>
                    <a:cubicBezTo>
                      <a:pt x="62" y="578"/>
                      <a:pt x="62" y="578"/>
                      <a:pt x="62" y="578"/>
                    </a:cubicBezTo>
                    <a:cubicBezTo>
                      <a:pt x="65" y="580"/>
                      <a:pt x="65" y="580"/>
                      <a:pt x="65" y="580"/>
                    </a:cubicBezTo>
                    <a:lnTo>
                      <a:pt x="63" y="577"/>
                    </a:lnTo>
                    <a:close/>
                    <a:moveTo>
                      <a:pt x="71" y="575"/>
                    </a:moveTo>
                    <a:cubicBezTo>
                      <a:pt x="71" y="571"/>
                      <a:pt x="71" y="571"/>
                      <a:pt x="71" y="571"/>
                    </a:cubicBezTo>
                    <a:cubicBezTo>
                      <a:pt x="69" y="571"/>
                      <a:pt x="69" y="571"/>
                      <a:pt x="69" y="571"/>
                    </a:cubicBezTo>
                    <a:cubicBezTo>
                      <a:pt x="69" y="575"/>
                      <a:pt x="69" y="575"/>
                      <a:pt x="69" y="575"/>
                    </a:cubicBezTo>
                    <a:lnTo>
                      <a:pt x="71" y="575"/>
                    </a:lnTo>
                    <a:close/>
                    <a:moveTo>
                      <a:pt x="80" y="578"/>
                    </a:moveTo>
                    <a:cubicBezTo>
                      <a:pt x="85" y="576"/>
                      <a:pt x="85" y="575"/>
                      <a:pt x="82" y="575"/>
                    </a:cubicBezTo>
                    <a:cubicBezTo>
                      <a:pt x="78" y="573"/>
                      <a:pt x="77" y="576"/>
                      <a:pt x="77" y="577"/>
                    </a:cubicBezTo>
                    <a:cubicBezTo>
                      <a:pt x="77" y="578"/>
                      <a:pt x="80" y="578"/>
                      <a:pt x="80" y="578"/>
                    </a:cubicBezTo>
                    <a:close/>
                    <a:moveTo>
                      <a:pt x="87" y="568"/>
                    </a:moveTo>
                    <a:cubicBezTo>
                      <a:pt x="82" y="567"/>
                      <a:pt x="82" y="567"/>
                      <a:pt x="82" y="567"/>
                    </a:cubicBezTo>
                    <a:cubicBezTo>
                      <a:pt x="80" y="568"/>
                      <a:pt x="80" y="568"/>
                      <a:pt x="80" y="568"/>
                    </a:cubicBezTo>
                    <a:cubicBezTo>
                      <a:pt x="83" y="571"/>
                      <a:pt x="83" y="571"/>
                      <a:pt x="83" y="571"/>
                    </a:cubicBezTo>
                    <a:lnTo>
                      <a:pt x="87" y="568"/>
                    </a:lnTo>
                    <a:close/>
                    <a:moveTo>
                      <a:pt x="110" y="557"/>
                    </a:moveTo>
                    <a:cubicBezTo>
                      <a:pt x="109" y="551"/>
                      <a:pt x="109" y="551"/>
                      <a:pt x="109" y="551"/>
                    </a:cubicBezTo>
                    <a:cubicBezTo>
                      <a:pt x="106" y="551"/>
                      <a:pt x="106" y="551"/>
                      <a:pt x="106" y="551"/>
                    </a:cubicBezTo>
                    <a:cubicBezTo>
                      <a:pt x="107" y="554"/>
                      <a:pt x="107" y="554"/>
                      <a:pt x="107" y="554"/>
                    </a:cubicBezTo>
                    <a:cubicBezTo>
                      <a:pt x="104" y="554"/>
                      <a:pt x="104" y="554"/>
                      <a:pt x="104" y="554"/>
                    </a:cubicBezTo>
                    <a:cubicBezTo>
                      <a:pt x="100" y="558"/>
                      <a:pt x="100" y="558"/>
                      <a:pt x="100" y="558"/>
                    </a:cubicBezTo>
                    <a:cubicBezTo>
                      <a:pt x="105" y="562"/>
                      <a:pt x="105" y="562"/>
                      <a:pt x="105" y="562"/>
                    </a:cubicBezTo>
                    <a:lnTo>
                      <a:pt x="110" y="557"/>
                    </a:lnTo>
                    <a:close/>
                    <a:moveTo>
                      <a:pt x="116" y="555"/>
                    </a:moveTo>
                    <a:cubicBezTo>
                      <a:pt x="116" y="552"/>
                      <a:pt x="116" y="552"/>
                      <a:pt x="116" y="552"/>
                    </a:cubicBezTo>
                    <a:cubicBezTo>
                      <a:pt x="111" y="553"/>
                      <a:pt x="111" y="553"/>
                      <a:pt x="111" y="553"/>
                    </a:cubicBezTo>
                    <a:cubicBezTo>
                      <a:pt x="112" y="557"/>
                      <a:pt x="112" y="557"/>
                      <a:pt x="112" y="557"/>
                    </a:cubicBezTo>
                    <a:lnTo>
                      <a:pt x="116" y="555"/>
                    </a:lnTo>
                    <a:close/>
                    <a:moveTo>
                      <a:pt x="113" y="548"/>
                    </a:moveTo>
                    <a:cubicBezTo>
                      <a:pt x="111" y="552"/>
                      <a:pt x="111" y="552"/>
                      <a:pt x="111" y="552"/>
                    </a:cubicBezTo>
                    <a:cubicBezTo>
                      <a:pt x="115" y="551"/>
                      <a:pt x="115" y="551"/>
                      <a:pt x="115" y="551"/>
                    </a:cubicBezTo>
                    <a:lnTo>
                      <a:pt x="113" y="548"/>
                    </a:lnTo>
                    <a:close/>
                    <a:moveTo>
                      <a:pt x="124" y="545"/>
                    </a:moveTo>
                    <a:cubicBezTo>
                      <a:pt x="117" y="545"/>
                      <a:pt x="121" y="549"/>
                      <a:pt x="123" y="549"/>
                    </a:cubicBezTo>
                    <a:cubicBezTo>
                      <a:pt x="126" y="550"/>
                      <a:pt x="130" y="545"/>
                      <a:pt x="124" y="545"/>
                    </a:cubicBezTo>
                    <a:close/>
                    <a:moveTo>
                      <a:pt x="135" y="547"/>
                    </a:moveTo>
                    <a:cubicBezTo>
                      <a:pt x="133" y="542"/>
                      <a:pt x="133" y="542"/>
                      <a:pt x="133" y="542"/>
                    </a:cubicBezTo>
                    <a:cubicBezTo>
                      <a:pt x="132" y="544"/>
                      <a:pt x="132" y="544"/>
                      <a:pt x="132" y="544"/>
                    </a:cubicBezTo>
                    <a:cubicBezTo>
                      <a:pt x="129" y="541"/>
                      <a:pt x="129" y="541"/>
                      <a:pt x="129" y="541"/>
                    </a:cubicBezTo>
                    <a:cubicBezTo>
                      <a:pt x="127" y="542"/>
                      <a:pt x="127" y="542"/>
                      <a:pt x="127" y="542"/>
                    </a:cubicBezTo>
                    <a:cubicBezTo>
                      <a:pt x="132" y="549"/>
                      <a:pt x="132" y="549"/>
                      <a:pt x="132" y="549"/>
                    </a:cubicBezTo>
                    <a:lnTo>
                      <a:pt x="135" y="547"/>
                    </a:lnTo>
                    <a:close/>
                    <a:moveTo>
                      <a:pt x="118" y="535"/>
                    </a:moveTo>
                    <a:cubicBezTo>
                      <a:pt x="123" y="537"/>
                      <a:pt x="123" y="537"/>
                      <a:pt x="123" y="537"/>
                    </a:cubicBezTo>
                    <a:cubicBezTo>
                      <a:pt x="127" y="536"/>
                      <a:pt x="127" y="536"/>
                      <a:pt x="127" y="536"/>
                    </a:cubicBezTo>
                    <a:cubicBezTo>
                      <a:pt x="127" y="536"/>
                      <a:pt x="127" y="529"/>
                      <a:pt x="123" y="530"/>
                    </a:cubicBezTo>
                    <a:cubicBezTo>
                      <a:pt x="117" y="530"/>
                      <a:pt x="115" y="531"/>
                      <a:pt x="115" y="531"/>
                    </a:cubicBezTo>
                    <a:cubicBezTo>
                      <a:pt x="116" y="535"/>
                      <a:pt x="116" y="535"/>
                      <a:pt x="116" y="535"/>
                    </a:cubicBezTo>
                    <a:lnTo>
                      <a:pt x="118" y="535"/>
                    </a:lnTo>
                    <a:close/>
                    <a:moveTo>
                      <a:pt x="138" y="522"/>
                    </a:moveTo>
                    <a:cubicBezTo>
                      <a:pt x="138" y="522"/>
                      <a:pt x="131" y="524"/>
                      <a:pt x="131" y="528"/>
                    </a:cubicBezTo>
                    <a:cubicBezTo>
                      <a:pt x="131" y="533"/>
                      <a:pt x="138" y="530"/>
                      <a:pt x="145" y="529"/>
                    </a:cubicBezTo>
                    <a:cubicBezTo>
                      <a:pt x="154" y="526"/>
                      <a:pt x="158" y="523"/>
                      <a:pt x="156" y="522"/>
                    </a:cubicBezTo>
                    <a:cubicBezTo>
                      <a:pt x="154" y="521"/>
                      <a:pt x="150" y="521"/>
                      <a:pt x="150" y="521"/>
                    </a:cubicBezTo>
                    <a:cubicBezTo>
                      <a:pt x="150" y="518"/>
                      <a:pt x="150" y="518"/>
                      <a:pt x="150" y="518"/>
                    </a:cubicBezTo>
                    <a:cubicBezTo>
                      <a:pt x="150" y="518"/>
                      <a:pt x="147" y="518"/>
                      <a:pt x="143" y="519"/>
                    </a:cubicBezTo>
                    <a:cubicBezTo>
                      <a:pt x="139" y="519"/>
                      <a:pt x="138" y="522"/>
                      <a:pt x="138" y="522"/>
                    </a:cubicBezTo>
                    <a:close/>
                    <a:moveTo>
                      <a:pt x="139" y="516"/>
                    </a:moveTo>
                    <a:cubicBezTo>
                      <a:pt x="147" y="514"/>
                      <a:pt x="147" y="514"/>
                      <a:pt x="147" y="514"/>
                    </a:cubicBezTo>
                    <a:cubicBezTo>
                      <a:pt x="146" y="508"/>
                      <a:pt x="146" y="508"/>
                      <a:pt x="146" y="508"/>
                    </a:cubicBezTo>
                    <a:cubicBezTo>
                      <a:pt x="146" y="508"/>
                      <a:pt x="142" y="513"/>
                      <a:pt x="139" y="513"/>
                    </a:cubicBezTo>
                    <a:cubicBezTo>
                      <a:pt x="137" y="514"/>
                      <a:pt x="131" y="515"/>
                      <a:pt x="131" y="515"/>
                    </a:cubicBezTo>
                    <a:cubicBezTo>
                      <a:pt x="132" y="516"/>
                      <a:pt x="132" y="516"/>
                      <a:pt x="132" y="516"/>
                    </a:cubicBezTo>
                    <a:lnTo>
                      <a:pt x="139" y="516"/>
                    </a:lnTo>
                    <a:close/>
                    <a:moveTo>
                      <a:pt x="159" y="517"/>
                    </a:moveTo>
                    <a:cubicBezTo>
                      <a:pt x="154" y="518"/>
                      <a:pt x="154" y="518"/>
                      <a:pt x="154" y="518"/>
                    </a:cubicBezTo>
                    <a:cubicBezTo>
                      <a:pt x="153" y="519"/>
                      <a:pt x="153" y="519"/>
                      <a:pt x="153" y="519"/>
                    </a:cubicBezTo>
                    <a:cubicBezTo>
                      <a:pt x="159" y="519"/>
                      <a:pt x="159" y="519"/>
                      <a:pt x="159" y="519"/>
                    </a:cubicBezTo>
                    <a:lnTo>
                      <a:pt x="159" y="517"/>
                    </a:lnTo>
                    <a:close/>
                    <a:moveTo>
                      <a:pt x="162" y="515"/>
                    </a:moveTo>
                    <a:cubicBezTo>
                      <a:pt x="162" y="521"/>
                      <a:pt x="162" y="521"/>
                      <a:pt x="162" y="521"/>
                    </a:cubicBezTo>
                    <a:cubicBezTo>
                      <a:pt x="166" y="519"/>
                      <a:pt x="166" y="519"/>
                      <a:pt x="166" y="519"/>
                    </a:cubicBezTo>
                    <a:lnTo>
                      <a:pt x="162" y="515"/>
                    </a:lnTo>
                    <a:close/>
                    <a:moveTo>
                      <a:pt x="235" y="425"/>
                    </a:moveTo>
                    <a:cubicBezTo>
                      <a:pt x="235" y="425"/>
                      <a:pt x="232" y="424"/>
                      <a:pt x="230" y="425"/>
                    </a:cubicBezTo>
                    <a:cubicBezTo>
                      <a:pt x="227" y="427"/>
                      <a:pt x="229" y="430"/>
                      <a:pt x="229" y="430"/>
                    </a:cubicBezTo>
                    <a:lnTo>
                      <a:pt x="235" y="425"/>
                    </a:lnTo>
                    <a:close/>
                    <a:moveTo>
                      <a:pt x="215" y="439"/>
                    </a:moveTo>
                    <a:cubicBezTo>
                      <a:pt x="216" y="439"/>
                      <a:pt x="214" y="441"/>
                      <a:pt x="214" y="441"/>
                    </a:cubicBezTo>
                    <a:cubicBezTo>
                      <a:pt x="216" y="443"/>
                      <a:pt x="216" y="443"/>
                      <a:pt x="216" y="443"/>
                    </a:cubicBezTo>
                    <a:cubicBezTo>
                      <a:pt x="222" y="439"/>
                      <a:pt x="222" y="439"/>
                      <a:pt x="222" y="439"/>
                    </a:cubicBezTo>
                    <a:cubicBezTo>
                      <a:pt x="222" y="439"/>
                      <a:pt x="220" y="434"/>
                      <a:pt x="214" y="435"/>
                    </a:cubicBezTo>
                    <a:cubicBezTo>
                      <a:pt x="210" y="436"/>
                      <a:pt x="207" y="440"/>
                      <a:pt x="207" y="440"/>
                    </a:cubicBezTo>
                    <a:cubicBezTo>
                      <a:pt x="210" y="442"/>
                      <a:pt x="210" y="442"/>
                      <a:pt x="210" y="442"/>
                    </a:cubicBezTo>
                    <a:cubicBezTo>
                      <a:pt x="210" y="442"/>
                      <a:pt x="214" y="438"/>
                      <a:pt x="215" y="439"/>
                    </a:cubicBezTo>
                    <a:close/>
                    <a:moveTo>
                      <a:pt x="239" y="396"/>
                    </a:moveTo>
                    <a:cubicBezTo>
                      <a:pt x="244" y="390"/>
                      <a:pt x="244" y="390"/>
                      <a:pt x="244" y="390"/>
                    </a:cubicBezTo>
                    <a:cubicBezTo>
                      <a:pt x="242" y="387"/>
                      <a:pt x="242" y="387"/>
                      <a:pt x="242" y="387"/>
                    </a:cubicBezTo>
                    <a:cubicBezTo>
                      <a:pt x="242" y="387"/>
                      <a:pt x="236" y="386"/>
                      <a:pt x="237" y="391"/>
                    </a:cubicBezTo>
                    <a:cubicBezTo>
                      <a:pt x="237" y="396"/>
                      <a:pt x="239" y="396"/>
                      <a:pt x="239" y="396"/>
                    </a:cubicBezTo>
                    <a:close/>
                    <a:moveTo>
                      <a:pt x="242" y="408"/>
                    </a:moveTo>
                    <a:cubicBezTo>
                      <a:pt x="244" y="408"/>
                      <a:pt x="244" y="408"/>
                      <a:pt x="244" y="408"/>
                    </a:cubicBezTo>
                    <a:cubicBezTo>
                      <a:pt x="245" y="406"/>
                      <a:pt x="245" y="406"/>
                      <a:pt x="245" y="406"/>
                    </a:cubicBezTo>
                    <a:cubicBezTo>
                      <a:pt x="244" y="402"/>
                      <a:pt x="244" y="402"/>
                      <a:pt x="244" y="402"/>
                    </a:cubicBezTo>
                    <a:lnTo>
                      <a:pt x="242" y="408"/>
                    </a:lnTo>
                    <a:close/>
                    <a:moveTo>
                      <a:pt x="259" y="367"/>
                    </a:moveTo>
                    <a:cubicBezTo>
                      <a:pt x="259" y="367"/>
                      <a:pt x="254" y="371"/>
                      <a:pt x="253" y="373"/>
                    </a:cubicBezTo>
                    <a:cubicBezTo>
                      <a:pt x="252" y="374"/>
                      <a:pt x="255" y="378"/>
                      <a:pt x="255" y="378"/>
                    </a:cubicBezTo>
                    <a:cubicBezTo>
                      <a:pt x="260" y="373"/>
                      <a:pt x="260" y="373"/>
                      <a:pt x="260" y="373"/>
                    </a:cubicBezTo>
                    <a:cubicBezTo>
                      <a:pt x="265" y="370"/>
                      <a:pt x="265" y="370"/>
                      <a:pt x="265" y="370"/>
                    </a:cubicBezTo>
                    <a:cubicBezTo>
                      <a:pt x="266" y="367"/>
                      <a:pt x="266" y="367"/>
                      <a:pt x="266" y="367"/>
                    </a:cubicBezTo>
                    <a:cubicBezTo>
                      <a:pt x="260" y="370"/>
                      <a:pt x="260" y="370"/>
                      <a:pt x="260" y="370"/>
                    </a:cubicBezTo>
                    <a:lnTo>
                      <a:pt x="259" y="367"/>
                    </a:lnTo>
                    <a:close/>
                    <a:moveTo>
                      <a:pt x="253" y="366"/>
                    </a:moveTo>
                    <a:cubicBezTo>
                      <a:pt x="259" y="363"/>
                      <a:pt x="259" y="363"/>
                      <a:pt x="259" y="363"/>
                    </a:cubicBezTo>
                    <a:cubicBezTo>
                      <a:pt x="260" y="360"/>
                      <a:pt x="260" y="360"/>
                      <a:pt x="260" y="360"/>
                    </a:cubicBezTo>
                    <a:cubicBezTo>
                      <a:pt x="258" y="359"/>
                      <a:pt x="258" y="359"/>
                      <a:pt x="258" y="359"/>
                    </a:cubicBezTo>
                    <a:cubicBezTo>
                      <a:pt x="260" y="357"/>
                      <a:pt x="260" y="357"/>
                      <a:pt x="260" y="357"/>
                    </a:cubicBezTo>
                    <a:cubicBezTo>
                      <a:pt x="259" y="353"/>
                      <a:pt x="259" y="353"/>
                      <a:pt x="259" y="353"/>
                    </a:cubicBezTo>
                    <a:cubicBezTo>
                      <a:pt x="255" y="356"/>
                      <a:pt x="255" y="356"/>
                      <a:pt x="255" y="356"/>
                    </a:cubicBezTo>
                    <a:cubicBezTo>
                      <a:pt x="255" y="358"/>
                      <a:pt x="255" y="358"/>
                      <a:pt x="255" y="358"/>
                    </a:cubicBezTo>
                    <a:cubicBezTo>
                      <a:pt x="252" y="363"/>
                      <a:pt x="252" y="363"/>
                      <a:pt x="252" y="363"/>
                    </a:cubicBezTo>
                    <a:lnTo>
                      <a:pt x="253" y="366"/>
                    </a:lnTo>
                    <a:close/>
                    <a:moveTo>
                      <a:pt x="263" y="349"/>
                    </a:moveTo>
                    <a:cubicBezTo>
                      <a:pt x="262" y="352"/>
                      <a:pt x="262" y="352"/>
                      <a:pt x="262" y="352"/>
                    </a:cubicBezTo>
                    <a:cubicBezTo>
                      <a:pt x="264" y="355"/>
                      <a:pt x="264" y="355"/>
                      <a:pt x="264" y="355"/>
                    </a:cubicBezTo>
                    <a:cubicBezTo>
                      <a:pt x="268" y="350"/>
                      <a:pt x="268" y="350"/>
                      <a:pt x="268" y="350"/>
                    </a:cubicBezTo>
                    <a:lnTo>
                      <a:pt x="263" y="349"/>
                    </a:lnTo>
                    <a:close/>
                    <a:moveTo>
                      <a:pt x="264" y="359"/>
                    </a:moveTo>
                    <a:cubicBezTo>
                      <a:pt x="265" y="357"/>
                      <a:pt x="265" y="357"/>
                      <a:pt x="265" y="357"/>
                    </a:cubicBezTo>
                    <a:cubicBezTo>
                      <a:pt x="262" y="357"/>
                      <a:pt x="262" y="357"/>
                      <a:pt x="262" y="357"/>
                    </a:cubicBezTo>
                    <a:lnTo>
                      <a:pt x="264" y="359"/>
                    </a:lnTo>
                    <a:close/>
                    <a:moveTo>
                      <a:pt x="266" y="343"/>
                    </a:moveTo>
                    <a:cubicBezTo>
                      <a:pt x="269" y="340"/>
                      <a:pt x="269" y="340"/>
                      <a:pt x="269" y="340"/>
                    </a:cubicBezTo>
                    <a:cubicBezTo>
                      <a:pt x="265" y="339"/>
                      <a:pt x="265" y="339"/>
                      <a:pt x="265" y="339"/>
                    </a:cubicBezTo>
                    <a:lnTo>
                      <a:pt x="266" y="343"/>
                    </a:lnTo>
                    <a:close/>
                    <a:moveTo>
                      <a:pt x="261" y="330"/>
                    </a:moveTo>
                    <a:cubicBezTo>
                      <a:pt x="258" y="329"/>
                      <a:pt x="258" y="329"/>
                      <a:pt x="258" y="329"/>
                    </a:cubicBezTo>
                    <a:cubicBezTo>
                      <a:pt x="257" y="333"/>
                      <a:pt x="257" y="333"/>
                      <a:pt x="257" y="333"/>
                    </a:cubicBezTo>
                    <a:cubicBezTo>
                      <a:pt x="260" y="332"/>
                      <a:pt x="260" y="332"/>
                      <a:pt x="260" y="332"/>
                    </a:cubicBezTo>
                    <a:lnTo>
                      <a:pt x="261" y="330"/>
                    </a:lnTo>
                    <a:close/>
                    <a:moveTo>
                      <a:pt x="272" y="351"/>
                    </a:moveTo>
                    <a:cubicBezTo>
                      <a:pt x="269" y="350"/>
                      <a:pt x="269" y="350"/>
                      <a:pt x="269" y="350"/>
                    </a:cubicBezTo>
                    <a:cubicBezTo>
                      <a:pt x="268" y="356"/>
                      <a:pt x="268" y="356"/>
                      <a:pt x="268" y="356"/>
                    </a:cubicBezTo>
                    <a:lnTo>
                      <a:pt x="272" y="351"/>
                    </a:lnTo>
                    <a:close/>
                    <a:moveTo>
                      <a:pt x="280" y="319"/>
                    </a:moveTo>
                    <a:cubicBezTo>
                      <a:pt x="278" y="317"/>
                      <a:pt x="278" y="317"/>
                      <a:pt x="278" y="317"/>
                    </a:cubicBezTo>
                    <a:cubicBezTo>
                      <a:pt x="276" y="320"/>
                      <a:pt x="276" y="320"/>
                      <a:pt x="276" y="320"/>
                    </a:cubicBezTo>
                    <a:lnTo>
                      <a:pt x="280" y="319"/>
                    </a:lnTo>
                    <a:close/>
                    <a:moveTo>
                      <a:pt x="284" y="313"/>
                    </a:moveTo>
                    <a:cubicBezTo>
                      <a:pt x="279" y="312"/>
                      <a:pt x="279" y="312"/>
                      <a:pt x="279" y="312"/>
                    </a:cubicBezTo>
                    <a:cubicBezTo>
                      <a:pt x="276" y="315"/>
                      <a:pt x="276" y="315"/>
                      <a:pt x="276" y="315"/>
                    </a:cubicBezTo>
                    <a:cubicBezTo>
                      <a:pt x="284" y="315"/>
                      <a:pt x="284" y="315"/>
                      <a:pt x="284" y="315"/>
                    </a:cubicBezTo>
                    <a:lnTo>
                      <a:pt x="284" y="313"/>
                    </a:lnTo>
                    <a:close/>
                    <a:moveTo>
                      <a:pt x="301" y="300"/>
                    </a:moveTo>
                    <a:cubicBezTo>
                      <a:pt x="304" y="290"/>
                      <a:pt x="304" y="290"/>
                      <a:pt x="304" y="290"/>
                    </a:cubicBezTo>
                    <a:cubicBezTo>
                      <a:pt x="302" y="289"/>
                      <a:pt x="302" y="289"/>
                      <a:pt x="302" y="289"/>
                    </a:cubicBezTo>
                    <a:cubicBezTo>
                      <a:pt x="301" y="294"/>
                      <a:pt x="301" y="294"/>
                      <a:pt x="301" y="294"/>
                    </a:cubicBezTo>
                    <a:cubicBezTo>
                      <a:pt x="297" y="292"/>
                      <a:pt x="297" y="292"/>
                      <a:pt x="297" y="292"/>
                    </a:cubicBezTo>
                    <a:cubicBezTo>
                      <a:pt x="296" y="297"/>
                      <a:pt x="296" y="297"/>
                      <a:pt x="296" y="297"/>
                    </a:cubicBezTo>
                    <a:cubicBezTo>
                      <a:pt x="300" y="298"/>
                      <a:pt x="300" y="298"/>
                      <a:pt x="300" y="298"/>
                    </a:cubicBezTo>
                    <a:cubicBezTo>
                      <a:pt x="300" y="300"/>
                      <a:pt x="300" y="300"/>
                      <a:pt x="300" y="300"/>
                    </a:cubicBezTo>
                    <a:lnTo>
                      <a:pt x="301" y="300"/>
                    </a:lnTo>
                    <a:close/>
                    <a:moveTo>
                      <a:pt x="305" y="276"/>
                    </a:moveTo>
                    <a:cubicBezTo>
                      <a:pt x="298" y="279"/>
                      <a:pt x="304" y="279"/>
                      <a:pt x="306" y="278"/>
                    </a:cubicBezTo>
                    <a:cubicBezTo>
                      <a:pt x="311" y="276"/>
                      <a:pt x="310" y="273"/>
                      <a:pt x="305" y="276"/>
                    </a:cubicBezTo>
                    <a:close/>
                    <a:moveTo>
                      <a:pt x="262" y="260"/>
                    </a:moveTo>
                    <a:cubicBezTo>
                      <a:pt x="260" y="266"/>
                      <a:pt x="260" y="266"/>
                      <a:pt x="260" y="266"/>
                    </a:cubicBezTo>
                    <a:cubicBezTo>
                      <a:pt x="265" y="263"/>
                      <a:pt x="265" y="263"/>
                      <a:pt x="265" y="263"/>
                    </a:cubicBezTo>
                    <a:lnTo>
                      <a:pt x="262" y="260"/>
                    </a:lnTo>
                    <a:close/>
                    <a:moveTo>
                      <a:pt x="320" y="244"/>
                    </a:moveTo>
                    <a:cubicBezTo>
                      <a:pt x="327" y="242"/>
                      <a:pt x="327" y="242"/>
                      <a:pt x="327" y="242"/>
                    </a:cubicBezTo>
                    <a:cubicBezTo>
                      <a:pt x="327" y="241"/>
                      <a:pt x="327" y="241"/>
                      <a:pt x="327" y="241"/>
                    </a:cubicBezTo>
                    <a:cubicBezTo>
                      <a:pt x="320" y="239"/>
                      <a:pt x="320" y="239"/>
                      <a:pt x="320" y="239"/>
                    </a:cubicBezTo>
                    <a:lnTo>
                      <a:pt x="320" y="244"/>
                    </a:lnTo>
                    <a:close/>
                    <a:moveTo>
                      <a:pt x="323" y="236"/>
                    </a:moveTo>
                    <a:cubicBezTo>
                      <a:pt x="327" y="239"/>
                      <a:pt x="327" y="239"/>
                      <a:pt x="327" y="239"/>
                    </a:cubicBezTo>
                    <a:cubicBezTo>
                      <a:pt x="327" y="238"/>
                      <a:pt x="324" y="234"/>
                      <a:pt x="324" y="234"/>
                    </a:cubicBezTo>
                    <a:lnTo>
                      <a:pt x="323" y="236"/>
                    </a:lnTo>
                    <a:close/>
                    <a:moveTo>
                      <a:pt x="353" y="201"/>
                    </a:moveTo>
                    <a:cubicBezTo>
                      <a:pt x="346" y="195"/>
                      <a:pt x="347" y="207"/>
                      <a:pt x="347" y="207"/>
                    </a:cubicBezTo>
                    <a:cubicBezTo>
                      <a:pt x="344" y="210"/>
                      <a:pt x="344" y="210"/>
                      <a:pt x="344" y="210"/>
                    </a:cubicBezTo>
                    <a:cubicBezTo>
                      <a:pt x="345" y="210"/>
                      <a:pt x="345" y="210"/>
                      <a:pt x="345" y="210"/>
                    </a:cubicBezTo>
                    <a:cubicBezTo>
                      <a:pt x="351" y="208"/>
                      <a:pt x="351" y="208"/>
                      <a:pt x="351" y="208"/>
                    </a:cubicBezTo>
                    <a:cubicBezTo>
                      <a:pt x="351" y="208"/>
                      <a:pt x="358" y="206"/>
                      <a:pt x="353" y="201"/>
                    </a:cubicBezTo>
                    <a:close/>
                    <a:moveTo>
                      <a:pt x="343" y="217"/>
                    </a:moveTo>
                    <a:cubicBezTo>
                      <a:pt x="348" y="213"/>
                      <a:pt x="348" y="213"/>
                      <a:pt x="348" y="213"/>
                    </a:cubicBezTo>
                    <a:cubicBezTo>
                      <a:pt x="343" y="214"/>
                      <a:pt x="343" y="214"/>
                      <a:pt x="343" y="214"/>
                    </a:cubicBezTo>
                    <a:lnTo>
                      <a:pt x="343" y="217"/>
                    </a:lnTo>
                    <a:close/>
                    <a:moveTo>
                      <a:pt x="350" y="229"/>
                    </a:moveTo>
                    <a:cubicBezTo>
                      <a:pt x="348" y="232"/>
                      <a:pt x="348" y="232"/>
                      <a:pt x="348" y="232"/>
                    </a:cubicBezTo>
                    <a:cubicBezTo>
                      <a:pt x="354" y="232"/>
                      <a:pt x="354" y="232"/>
                      <a:pt x="354" y="232"/>
                    </a:cubicBezTo>
                    <a:lnTo>
                      <a:pt x="350" y="229"/>
                    </a:lnTo>
                    <a:close/>
                    <a:moveTo>
                      <a:pt x="265" y="251"/>
                    </a:moveTo>
                    <a:cubicBezTo>
                      <a:pt x="265" y="251"/>
                      <a:pt x="270" y="250"/>
                      <a:pt x="271" y="247"/>
                    </a:cubicBezTo>
                    <a:cubicBezTo>
                      <a:pt x="271" y="245"/>
                      <a:pt x="270" y="242"/>
                      <a:pt x="271" y="242"/>
                    </a:cubicBezTo>
                    <a:cubicBezTo>
                      <a:pt x="272" y="242"/>
                      <a:pt x="275" y="238"/>
                      <a:pt x="275" y="238"/>
                    </a:cubicBezTo>
                    <a:cubicBezTo>
                      <a:pt x="275" y="238"/>
                      <a:pt x="281" y="237"/>
                      <a:pt x="281" y="232"/>
                    </a:cubicBezTo>
                    <a:cubicBezTo>
                      <a:pt x="281" y="226"/>
                      <a:pt x="278" y="227"/>
                      <a:pt x="278" y="227"/>
                    </a:cubicBezTo>
                    <a:cubicBezTo>
                      <a:pt x="274" y="235"/>
                      <a:pt x="274" y="235"/>
                      <a:pt x="274" y="235"/>
                    </a:cubicBezTo>
                    <a:cubicBezTo>
                      <a:pt x="272" y="232"/>
                      <a:pt x="272" y="232"/>
                      <a:pt x="272" y="232"/>
                    </a:cubicBezTo>
                    <a:cubicBezTo>
                      <a:pt x="272" y="232"/>
                      <a:pt x="266" y="239"/>
                      <a:pt x="266" y="242"/>
                    </a:cubicBezTo>
                    <a:cubicBezTo>
                      <a:pt x="265" y="245"/>
                      <a:pt x="266" y="247"/>
                      <a:pt x="266" y="248"/>
                    </a:cubicBezTo>
                    <a:cubicBezTo>
                      <a:pt x="266" y="249"/>
                      <a:pt x="264" y="250"/>
                      <a:pt x="265" y="251"/>
                    </a:cubicBezTo>
                    <a:close/>
                    <a:moveTo>
                      <a:pt x="282" y="233"/>
                    </a:moveTo>
                    <a:cubicBezTo>
                      <a:pt x="282" y="233"/>
                      <a:pt x="287" y="233"/>
                      <a:pt x="289" y="232"/>
                    </a:cubicBezTo>
                    <a:cubicBezTo>
                      <a:pt x="292" y="231"/>
                      <a:pt x="290" y="226"/>
                      <a:pt x="290" y="226"/>
                    </a:cubicBezTo>
                    <a:cubicBezTo>
                      <a:pt x="290" y="226"/>
                      <a:pt x="297" y="222"/>
                      <a:pt x="301" y="221"/>
                    </a:cubicBezTo>
                    <a:cubicBezTo>
                      <a:pt x="303" y="220"/>
                      <a:pt x="298" y="215"/>
                      <a:pt x="296" y="215"/>
                    </a:cubicBezTo>
                    <a:cubicBezTo>
                      <a:pt x="293" y="215"/>
                      <a:pt x="298" y="219"/>
                      <a:pt x="296" y="220"/>
                    </a:cubicBezTo>
                    <a:cubicBezTo>
                      <a:pt x="294" y="221"/>
                      <a:pt x="292" y="215"/>
                      <a:pt x="292" y="215"/>
                    </a:cubicBezTo>
                    <a:cubicBezTo>
                      <a:pt x="288" y="219"/>
                      <a:pt x="288" y="219"/>
                      <a:pt x="288" y="219"/>
                    </a:cubicBezTo>
                    <a:cubicBezTo>
                      <a:pt x="285" y="220"/>
                      <a:pt x="285" y="220"/>
                      <a:pt x="285" y="220"/>
                    </a:cubicBezTo>
                    <a:cubicBezTo>
                      <a:pt x="285" y="223"/>
                      <a:pt x="285" y="223"/>
                      <a:pt x="285" y="223"/>
                    </a:cubicBezTo>
                    <a:cubicBezTo>
                      <a:pt x="282" y="224"/>
                      <a:pt x="282" y="224"/>
                      <a:pt x="282" y="224"/>
                    </a:cubicBezTo>
                    <a:cubicBezTo>
                      <a:pt x="282" y="227"/>
                      <a:pt x="282" y="227"/>
                      <a:pt x="282" y="227"/>
                    </a:cubicBezTo>
                    <a:cubicBezTo>
                      <a:pt x="284" y="229"/>
                      <a:pt x="284" y="229"/>
                      <a:pt x="284" y="229"/>
                    </a:cubicBezTo>
                    <a:lnTo>
                      <a:pt x="282" y="233"/>
                    </a:lnTo>
                    <a:close/>
                    <a:moveTo>
                      <a:pt x="303" y="221"/>
                    </a:moveTo>
                    <a:cubicBezTo>
                      <a:pt x="303" y="223"/>
                      <a:pt x="301" y="226"/>
                      <a:pt x="301" y="226"/>
                    </a:cubicBezTo>
                    <a:cubicBezTo>
                      <a:pt x="310" y="222"/>
                      <a:pt x="310" y="222"/>
                      <a:pt x="310" y="222"/>
                    </a:cubicBezTo>
                    <a:cubicBezTo>
                      <a:pt x="311" y="216"/>
                      <a:pt x="311" y="216"/>
                      <a:pt x="311" y="216"/>
                    </a:cubicBezTo>
                    <a:cubicBezTo>
                      <a:pt x="313" y="220"/>
                      <a:pt x="313" y="220"/>
                      <a:pt x="313" y="220"/>
                    </a:cubicBezTo>
                    <a:cubicBezTo>
                      <a:pt x="322" y="207"/>
                      <a:pt x="322" y="207"/>
                      <a:pt x="322" y="207"/>
                    </a:cubicBezTo>
                    <a:cubicBezTo>
                      <a:pt x="322" y="207"/>
                      <a:pt x="317" y="208"/>
                      <a:pt x="317" y="207"/>
                    </a:cubicBezTo>
                    <a:cubicBezTo>
                      <a:pt x="317" y="213"/>
                      <a:pt x="317" y="213"/>
                      <a:pt x="317" y="213"/>
                    </a:cubicBezTo>
                    <a:cubicBezTo>
                      <a:pt x="312" y="209"/>
                      <a:pt x="312" y="209"/>
                      <a:pt x="312" y="209"/>
                    </a:cubicBezTo>
                    <a:cubicBezTo>
                      <a:pt x="305" y="213"/>
                      <a:pt x="305" y="213"/>
                      <a:pt x="305" y="213"/>
                    </a:cubicBezTo>
                    <a:cubicBezTo>
                      <a:pt x="306" y="217"/>
                      <a:pt x="306" y="217"/>
                      <a:pt x="306" y="217"/>
                    </a:cubicBezTo>
                    <a:cubicBezTo>
                      <a:pt x="303" y="216"/>
                      <a:pt x="303" y="216"/>
                      <a:pt x="303" y="216"/>
                    </a:cubicBezTo>
                    <a:cubicBezTo>
                      <a:pt x="303" y="216"/>
                      <a:pt x="304" y="219"/>
                      <a:pt x="303" y="221"/>
                    </a:cubicBezTo>
                    <a:close/>
                    <a:moveTo>
                      <a:pt x="362" y="187"/>
                    </a:moveTo>
                    <a:cubicBezTo>
                      <a:pt x="362" y="187"/>
                      <a:pt x="366" y="187"/>
                      <a:pt x="367" y="186"/>
                    </a:cubicBezTo>
                    <a:cubicBezTo>
                      <a:pt x="369" y="186"/>
                      <a:pt x="372" y="184"/>
                      <a:pt x="372" y="184"/>
                    </a:cubicBezTo>
                    <a:cubicBezTo>
                      <a:pt x="367" y="178"/>
                      <a:pt x="367" y="178"/>
                      <a:pt x="367" y="178"/>
                    </a:cubicBezTo>
                    <a:lnTo>
                      <a:pt x="362" y="187"/>
                    </a:lnTo>
                    <a:close/>
                    <a:moveTo>
                      <a:pt x="378" y="177"/>
                    </a:moveTo>
                    <a:cubicBezTo>
                      <a:pt x="377" y="175"/>
                      <a:pt x="376" y="174"/>
                      <a:pt x="374" y="174"/>
                    </a:cubicBezTo>
                    <a:cubicBezTo>
                      <a:pt x="371" y="173"/>
                      <a:pt x="369" y="175"/>
                      <a:pt x="369" y="175"/>
                    </a:cubicBezTo>
                    <a:cubicBezTo>
                      <a:pt x="369" y="175"/>
                      <a:pt x="370" y="182"/>
                      <a:pt x="373" y="182"/>
                    </a:cubicBezTo>
                    <a:cubicBezTo>
                      <a:pt x="375" y="183"/>
                      <a:pt x="379" y="178"/>
                      <a:pt x="378" y="177"/>
                    </a:cubicBezTo>
                    <a:close/>
                    <a:moveTo>
                      <a:pt x="352" y="177"/>
                    </a:moveTo>
                    <a:cubicBezTo>
                      <a:pt x="355" y="179"/>
                      <a:pt x="357" y="179"/>
                      <a:pt x="357" y="179"/>
                    </a:cubicBezTo>
                    <a:cubicBezTo>
                      <a:pt x="357" y="174"/>
                      <a:pt x="357" y="174"/>
                      <a:pt x="357" y="174"/>
                    </a:cubicBezTo>
                    <a:cubicBezTo>
                      <a:pt x="350" y="171"/>
                      <a:pt x="350" y="171"/>
                      <a:pt x="350" y="171"/>
                    </a:cubicBezTo>
                    <a:cubicBezTo>
                      <a:pt x="348" y="173"/>
                      <a:pt x="348" y="173"/>
                      <a:pt x="348" y="173"/>
                    </a:cubicBezTo>
                    <a:cubicBezTo>
                      <a:pt x="348" y="173"/>
                      <a:pt x="350" y="177"/>
                      <a:pt x="352" y="177"/>
                    </a:cubicBezTo>
                    <a:close/>
                    <a:moveTo>
                      <a:pt x="348" y="178"/>
                    </a:moveTo>
                    <a:cubicBezTo>
                      <a:pt x="344" y="183"/>
                      <a:pt x="344" y="183"/>
                      <a:pt x="344" y="183"/>
                    </a:cubicBezTo>
                    <a:cubicBezTo>
                      <a:pt x="348" y="188"/>
                      <a:pt x="348" y="188"/>
                      <a:pt x="348" y="188"/>
                    </a:cubicBezTo>
                    <a:cubicBezTo>
                      <a:pt x="344" y="189"/>
                      <a:pt x="344" y="189"/>
                      <a:pt x="344" y="189"/>
                    </a:cubicBezTo>
                    <a:cubicBezTo>
                      <a:pt x="337" y="201"/>
                      <a:pt x="337" y="201"/>
                      <a:pt x="337" y="201"/>
                    </a:cubicBezTo>
                    <a:cubicBezTo>
                      <a:pt x="343" y="185"/>
                      <a:pt x="343" y="185"/>
                      <a:pt x="343" y="185"/>
                    </a:cubicBezTo>
                    <a:cubicBezTo>
                      <a:pt x="341" y="184"/>
                      <a:pt x="341" y="184"/>
                      <a:pt x="341" y="184"/>
                    </a:cubicBezTo>
                    <a:cubicBezTo>
                      <a:pt x="341" y="184"/>
                      <a:pt x="342" y="177"/>
                      <a:pt x="338" y="175"/>
                    </a:cubicBezTo>
                    <a:cubicBezTo>
                      <a:pt x="333" y="173"/>
                      <a:pt x="333" y="185"/>
                      <a:pt x="333" y="185"/>
                    </a:cubicBezTo>
                    <a:cubicBezTo>
                      <a:pt x="330" y="186"/>
                      <a:pt x="330" y="186"/>
                      <a:pt x="330" y="186"/>
                    </a:cubicBezTo>
                    <a:cubicBezTo>
                      <a:pt x="331" y="197"/>
                      <a:pt x="331" y="197"/>
                      <a:pt x="331" y="197"/>
                    </a:cubicBezTo>
                    <a:cubicBezTo>
                      <a:pt x="324" y="202"/>
                      <a:pt x="324" y="202"/>
                      <a:pt x="324" y="202"/>
                    </a:cubicBezTo>
                    <a:cubicBezTo>
                      <a:pt x="325" y="206"/>
                      <a:pt x="325" y="206"/>
                      <a:pt x="325" y="206"/>
                    </a:cubicBezTo>
                    <a:cubicBezTo>
                      <a:pt x="319" y="218"/>
                      <a:pt x="319" y="218"/>
                      <a:pt x="319" y="218"/>
                    </a:cubicBezTo>
                    <a:cubicBezTo>
                      <a:pt x="322" y="218"/>
                      <a:pt x="322" y="218"/>
                      <a:pt x="322" y="218"/>
                    </a:cubicBezTo>
                    <a:cubicBezTo>
                      <a:pt x="331" y="208"/>
                      <a:pt x="331" y="208"/>
                      <a:pt x="331" y="208"/>
                    </a:cubicBezTo>
                    <a:cubicBezTo>
                      <a:pt x="328" y="214"/>
                      <a:pt x="328" y="214"/>
                      <a:pt x="328" y="214"/>
                    </a:cubicBezTo>
                    <a:cubicBezTo>
                      <a:pt x="335" y="215"/>
                      <a:pt x="335" y="215"/>
                      <a:pt x="335" y="215"/>
                    </a:cubicBezTo>
                    <a:cubicBezTo>
                      <a:pt x="336" y="215"/>
                      <a:pt x="337" y="209"/>
                      <a:pt x="337" y="209"/>
                    </a:cubicBezTo>
                    <a:cubicBezTo>
                      <a:pt x="340" y="211"/>
                      <a:pt x="340" y="211"/>
                      <a:pt x="340" y="211"/>
                    </a:cubicBezTo>
                    <a:cubicBezTo>
                      <a:pt x="340" y="211"/>
                      <a:pt x="345" y="202"/>
                      <a:pt x="346" y="200"/>
                    </a:cubicBezTo>
                    <a:cubicBezTo>
                      <a:pt x="347" y="198"/>
                      <a:pt x="354" y="198"/>
                      <a:pt x="354" y="198"/>
                    </a:cubicBezTo>
                    <a:cubicBezTo>
                      <a:pt x="354" y="198"/>
                      <a:pt x="357" y="193"/>
                      <a:pt x="358" y="188"/>
                    </a:cubicBezTo>
                    <a:cubicBezTo>
                      <a:pt x="359" y="184"/>
                      <a:pt x="348" y="178"/>
                      <a:pt x="348" y="178"/>
                    </a:cubicBezTo>
                    <a:close/>
                    <a:moveTo>
                      <a:pt x="330" y="179"/>
                    </a:moveTo>
                    <a:cubicBezTo>
                      <a:pt x="330" y="174"/>
                      <a:pt x="330" y="174"/>
                      <a:pt x="330" y="174"/>
                    </a:cubicBezTo>
                    <a:cubicBezTo>
                      <a:pt x="335" y="174"/>
                      <a:pt x="335" y="174"/>
                      <a:pt x="335" y="174"/>
                    </a:cubicBezTo>
                    <a:cubicBezTo>
                      <a:pt x="343" y="162"/>
                      <a:pt x="343" y="162"/>
                      <a:pt x="343" y="162"/>
                    </a:cubicBezTo>
                    <a:cubicBezTo>
                      <a:pt x="343" y="162"/>
                      <a:pt x="351" y="146"/>
                      <a:pt x="341" y="155"/>
                    </a:cubicBezTo>
                    <a:cubicBezTo>
                      <a:pt x="331" y="162"/>
                      <a:pt x="326" y="174"/>
                      <a:pt x="327" y="177"/>
                    </a:cubicBezTo>
                    <a:cubicBezTo>
                      <a:pt x="328" y="181"/>
                      <a:pt x="330" y="179"/>
                      <a:pt x="330" y="179"/>
                    </a:cubicBezTo>
                    <a:close/>
                    <a:moveTo>
                      <a:pt x="312" y="197"/>
                    </a:moveTo>
                    <a:cubicBezTo>
                      <a:pt x="315" y="194"/>
                      <a:pt x="319" y="192"/>
                      <a:pt x="319" y="192"/>
                    </a:cubicBezTo>
                    <a:cubicBezTo>
                      <a:pt x="313" y="199"/>
                      <a:pt x="313" y="199"/>
                      <a:pt x="313" y="199"/>
                    </a:cubicBezTo>
                    <a:cubicBezTo>
                      <a:pt x="317" y="201"/>
                      <a:pt x="317" y="201"/>
                      <a:pt x="317" y="201"/>
                    </a:cubicBezTo>
                    <a:cubicBezTo>
                      <a:pt x="327" y="191"/>
                      <a:pt x="327" y="191"/>
                      <a:pt x="327" y="191"/>
                    </a:cubicBezTo>
                    <a:cubicBezTo>
                      <a:pt x="325" y="187"/>
                      <a:pt x="325" y="187"/>
                      <a:pt x="325" y="187"/>
                    </a:cubicBezTo>
                    <a:cubicBezTo>
                      <a:pt x="327" y="185"/>
                      <a:pt x="327" y="185"/>
                      <a:pt x="327" y="185"/>
                    </a:cubicBezTo>
                    <a:cubicBezTo>
                      <a:pt x="322" y="171"/>
                      <a:pt x="322" y="171"/>
                      <a:pt x="322" y="171"/>
                    </a:cubicBezTo>
                    <a:cubicBezTo>
                      <a:pt x="315" y="172"/>
                      <a:pt x="315" y="172"/>
                      <a:pt x="315" y="172"/>
                    </a:cubicBezTo>
                    <a:cubicBezTo>
                      <a:pt x="320" y="183"/>
                      <a:pt x="320" y="183"/>
                      <a:pt x="320" y="183"/>
                    </a:cubicBezTo>
                    <a:cubicBezTo>
                      <a:pt x="317" y="183"/>
                      <a:pt x="317" y="183"/>
                      <a:pt x="317" y="183"/>
                    </a:cubicBezTo>
                    <a:cubicBezTo>
                      <a:pt x="317" y="188"/>
                      <a:pt x="317" y="188"/>
                      <a:pt x="317" y="188"/>
                    </a:cubicBezTo>
                    <a:cubicBezTo>
                      <a:pt x="309" y="186"/>
                      <a:pt x="309" y="186"/>
                      <a:pt x="309" y="186"/>
                    </a:cubicBezTo>
                    <a:cubicBezTo>
                      <a:pt x="309" y="186"/>
                      <a:pt x="306" y="191"/>
                      <a:pt x="305" y="194"/>
                    </a:cubicBezTo>
                    <a:cubicBezTo>
                      <a:pt x="303" y="199"/>
                      <a:pt x="308" y="198"/>
                      <a:pt x="312" y="197"/>
                    </a:cubicBezTo>
                    <a:close/>
                    <a:moveTo>
                      <a:pt x="309" y="186"/>
                    </a:moveTo>
                    <a:cubicBezTo>
                      <a:pt x="309" y="186"/>
                      <a:pt x="309" y="186"/>
                      <a:pt x="309" y="186"/>
                    </a:cubicBezTo>
                    <a:moveTo>
                      <a:pt x="313" y="206"/>
                    </a:moveTo>
                    <a:cubicBezTo>
                      <a:pt x="322" y="206"/>
                      <a:pt x="319" y="202"/>
                      <a:pt x="313" y="202"/>
                    </a:cubicBezTo>
                    <a:cubicBezTo>
                      <a:pt x="307" y="202"/>
                      <a:pt x="306" y="206"/>
                      <a:pt x="313" y="206"/>
                    </a:cubicBezTo>
                    <a:close/>
                    <a:moveTo>
                      <a:pt x="361" y="157"/>
                    </a:moveTo>
                    <a:cubicBezTo>
                      <a:pt x="367" y="159"/>
                      <a:pt x="367" y="159"/>
                      <a:pt x="367" y="159"/>
                    </a:cubicBezTo>
                    <a:cubicBezTo>
                      <a:pt x="360" y="165"/>
                      <a:pt x="360" y="165"/>
                      <a:pt x="360" y="165"/>
                    </a:cubicBezTo>
                    <a:cubicBezTo>
                      <a:pt x="362" y="168"/>
                      <a:pt x="362" y="168"/>
                      <a:pt x="362" y="168"/>
                    </a:cubicBezTo>
                    <a:cubicBezTo>
                      <a:pt x="362" y="168"/>
                      <a:pt x="368" y="170"/>
                      <a:pt x="371" y="168"/>
                    </a:cubicBezTo>
                    <a:cubicBezTo>
                      <a:pt x="376" y="157"/>
                      <a:pt x="376" y="157"/>
                      <a:pt x="376" y="157"/>
                    </a:cubicBezTo>
                    <a:cubicBezTo>
                      <a:pt x="387" y="158"/>
                      <a:pt x="387" y="158"/>
                      <a:pt x="387" y="158"/>
                    </a:cubicBezTo>
                    <a:cubicBezTo>
                      <a:pt x="385" y="151"/>
                      <a:pt x="385" y="151"/>
                      <a:pt x="385" y="151"/>
                    </a:cubicBezTo>
                    <a:cubicBezTo>
                      <a:pt x="389" y="144"/>
                      <a:pt x="389" y="144"/>
                      <a:pt x="389" y="144"/>
                    </a:cubicBezTo>
                    <a:cubicBezTo>
                      <a:pt x="389" y="144"/>
                      <a:pt x="391" y="135"/>
                      <a:pt x="384" y="132"/>
                    </a:cubicBezTo>
                    <a:cubicBezTo>
                      <a:pt x="376" y="129"/>
                      <a:pt x="370" y="139"/>
                      <a:pt x="370" y="139"/>
                    </a:cubicBezTo>
                    <a:cubicBezTo>
                      <a:pt x="375" y="145"/>
                      <a:pt x="375" y="145"/>
                      <a:pt x="375" y="145"/>
                    </a:cubicBezTo>
                    <a:cubicBezTo>
                      <a:pt x="371" y="143"/>
                      <a:pt x="371" y="143"/>
                      <a:pt x="371" y="143"/>
                    </a:cubicBezTo>
                    <a:cubicBezTo>
                      <a:pt x="371" y="143"/>
                      <a:pt x="362" y="144"/>
                      <a:pt x="362" y="145"/>
                    </a:cubicBezTo>
                    <a:cubicBezTo>
                      <a:pt x="362" y="150"/>
                      <a:pt x="362" y="150"/>
                      <a:pt x="362" y="150"/>
                    </a:cubicBezTo>
                    <a:cubicBezTo>
                      <a:pt x="367" y="152"/>
                      <a:pt x="367" y="152"/>
                      <a:pt x="367" y="152"/>
                    </a:cubicBezTo>
                    <a:cubicBezTo>
                      <a:pt x="360" y="155"/>
                      <a:pt x="360" y="155"/>
                      <a:pt x="360" y="155"/>
                    </a:cubicBezTo>
                    <a:lnTo>
                      <a:pt x="361" y="157"/>
                    </a:lnTo>
                    <a:close/>
                    <a:moveTo>
                      <a:pt x="401" y="132"/>
                    </a:moveTo>
                    <a:cubicBezTo>
                      <a:pt x="406" y="130"/>
                      <a:pt x="406" y="127"/>
                      <a:pt x="406" y="127"/>
                    </a:cubicBezTo>
                    <a:cubicBezTo>
                      <a:pt x="404" y="127"/>
                      <a:pt x="404" y="127"/>
                      <a:pt x="404" y="127"/>
                    </a:cubicBezTo>
                    <a:cubicBezTo>
                      <a:pt x="404" y="127"/>
                      <a:pt x="405" y="121"/>
                      <a:pt x="407" y="120"/>
                    </a:cubicBezTo>
                    <a:cubicBezTo>
                      <a:pt x="408" y="119"/>
                      <a:pt x="410" y="118"/>
                      <a:pt x="410" y="118"/>
                    </a:cubicBezTo>
                    <a:cubicBezTo>
                      <a:pt x="410" y="118"/>
                      <a:pt x="408" y="111"/>
                      <a:pt x="403" y="112"/>
                    </a:cubicBezTo>
                    <a:cubicBezTo>
                      <a:pt x="399" y="112"/>
                      <a:pt x="401" y="119"/>
                      <a:pt x="401" y="119"/>
                    </a:cubicBezTo>
                    <a:cubicBezTo>
                      <a:pt x="397" y="118"/>
                      <a:pt x="397" y="118"/>
                      <a:pt x="397" y="118"/>
                    </a:cubicBezTo>
                    <a:cubicBezTo>
                      <a:pt x="393" y="121"/>
                      <a:pt x="393" y="121"/>
                      <a:pt x="393" y="121"/>
                    </a:cubicBezTo>
                    <a:cubicBezTo>
                      <a:pt x="394" y="124"/>
                      <a:pt x="394" y="124"/>
                      <a:pt x="394" y="124"/>
                    </a:cubicBezTo>
                    <a:cubicBezTo>
                      <a:pt x="390" y="123"/>
                      <a:pt x="390" y="123"/>
                      <a:pt x="390" y="123"/>
                    </a:cubicBezTo>
                    <a:cubicBezTo>
                      <a:pt x="389" y="126"/>
                      <a:pt x="389" y="126"/>
                      <a:pt x="389" y="126"/>
                    </a:cubicBezTo>
                    <a:cubicBezTo>
                      <a:pt x="390" y="129"/>
                      <a:pt x="390" y="129"/>
                      <a:pt x="390" y="129"/>
                    </a:cubicBezTo>
                    <a:cubicBezTo>
                      <a:pt x="388" y="128"/>
                      <a:pt x="388" y="128"/>
                      <a:pt x="388" y="128"/>
                    </a:cubicBezTo>
                    <a:cubicBezTo>
                      <a:pt x="388" y="132"/>
                      <a:pt x="388" y="132"/>
                      <a:pt x="388" y="132"/>
                    </a:cubicBezTo>
                    <a:cubicBezTo>
                      <a:pt x="388" y="132"/>
                      <a:pt x="395" y="134"/>
                      <a:pt x="401" y="132"/>
                    </a:cubicBezTo>
                    <a:close/>
                    <a:moveTo>
                      <a:pt x="408" y="111"/>
                    </a:moveTo>
                    <a:cubicBezTo>
                      <a:pt x="410" y="112"/>
                      <a:pt x="411" y="112"/>
                      <a:pt x="411" y="112"/>
                    </a:cubicBezTo>
                    <a:cubicBezTo>
                      <a:pt x="412" y="115"/>
                      <a:pt x="412" y="115"/>
                      <a:pt x="412" y="115"/>
                    </a:cubicBezTo>
                    <a:cubicBezTo>
                      <a:pt x="412" y="115"/>
                      <a:pt x="420" y="113"/>
                      <a:pt x="420" y="109"/>
                    </a:cubicBezTo>
                    <a:cubicBezTo>
                      <a:pt x="420" y="106"/>
                      <a:pt x="420" y="106"/>
                      <a:pt x="420" y="106"/>
                    </a:cubicBezTo>
                    <a:cubicBezTo>
                      <a:pt x="420" y="106"/>
                      <a:pt x="426" y="104"/>
                      <a:pt x="424" y="102"/>
                    </a:cubicBezTo>
                    <a:cubicBezTo>
                      <a:pt x="423" y="99"/>
                      <a:pt x="418" y="100"/>
                      <a:pt x="418" y="100"/>
                    </a:cubicBezTo>
                    <a:cubicBezTo>
                      <a:pt x="418" y="100"/>
                      <a:pt x="416" y="96"/>
                      <a:pt x="411" y="97"/>
                    </a:cubicBezTo>
                    <a:cubicBezTo>
                      <a:pt x="408" y="98"/>
                      <a:pt x="403" y="106"/>
                      <a:pt x="403" y="106"/>
                    </a:cubicBezTo>
                    <a:cubicBezTo>
                      <a:pt x="403" y="106"/>
                      <a:pt x="406" y="110"/>
                      <a:pt x="408" y="111"/>
                    </a:cubicBezTo>
                    <a:close/>
                    <a:moveTo>
                      <a:pt x="424" y="106"/>
                    </a:moveTo>
                    <a:cubicBezTo>
                      <a:pt x="421" y="111"/>
                      <a:pt x="421" y="111"/>
                      <a:pt x="421" y="111"/>
                    </a:cubicBezTo>
                    <a:cubicBezTo>
                      <a:pt x="428" y="111"/>
                      <a:pt x="428" y="111"/>
                      <a:pt x="428" y="111"/>
                    </a:cubicBezTo>
                    <a:cubicBezTo>
                      <a:pt x="433" y="100"/>
                      <a:pt x="433" y="100"/>
                      <a:pt x="433" y="100"/>
                    </a:cubicBezTo>
                    <a:cubicBezTo>
                      <a:pt x="429" y="100"/>
                      <a:pt x="429" y="100"/>
                      <a:pt x="429" y="100"/>
                    </a:cubicBezTo>
                    <a:lnTo>
                      <a:pt x="424" y="106"/>
                    </a:lnTo>
                    <a:close/>
                    <a:moveTo>
                      <a:pt x="426" y="97"/>
                    </a:moveTo>
                    <a:cubicBezTo>
                      <a:pt x="433" y="98"/>
                      <a:pt x="434" y="97"/>
                      <a:pt x="433" y="93"/>
                    </a:cubicBezTo>
                    <a:cubicBezTo>
                      <a:pt x="431" y="90"/>
                      <a:pt x="427" y="87"/>
                      <a:pt x="427" y="87"/>
                    </a:cubicBezTo>
                    <a:cubicBezTo>
                      <a:pt x="426" y="91"/>
                      <a:pt x="426" y="91"/>
                      <a:pt x="426" y="91"/>
                    </a:cubicBezTo>
                    <a:cubicBezTo>
                      <a:pt x="422" y="83"/>
                      <a:pt x="422" y="83"/>
                      <a:pt x="422" y="83"/>
                    </a:cubicBezTo>
                    <a:cubicBezTo>
                      <a:pt x="420" y="87"/>
                      <a:pt x="420" y="87"/>
                      <a:pt x="420" y="87"/>
                    </a:cubicBezTo>
                    <a:cubicBezTo>
                      <a:pt x="424" y="94"/>
                      <a:pt x="424" y="94"/>
                      <a:pt x="424" y="94"/>
                    </a:cubicBezTo>
                    <a:cubicBezTo>
                      <a:pt x="424" y="94"/>
                      <a:pt x="422" y="96"/>
                      <a:pt x="426" y="97"/>
                    </a:cubicBezTo>
                    <a:close/>
                    <a:moveTo>
                      <a:pt x="421" y="95"/>
                    </a:moveTo>
                    <a:cubicBezTo>
                      <a:pt x="417" y="91"/>
                      <a:pt x="417" y="91"/>
                      <a:pt x="417" y="91"/>
                    </a:cubicBezTo>
                    <a:cubicBezTo>
                      <a:pt x="417" y="94"/>
                      <a:pt x="417" y="94"/>
                      <a:pt x="417" y="94"/>
                    </a:cubicBezTo>
                    <a:lnTo>
                      <a:pt x="421" y="95"/>
                    </a:lnTo>
                    <a:close/>
                    <a:moveTo>
                      <a:pt x="413" y="95"/>
                    </a:moveTo>
                    <a:cubicBezTo>
                      <a:pt x="415" y="87"/>
                      <a:pt x="415" y="87"/>
                      <a:pt x="415" y="87"/>
                    </a:cubicBezTo>
                    <a:cubicBezTo>
                      <a:pt x="409" y="84"/>
                      <a:pt x="409" y="84"/>
                      <a:pt x="409" y="84"/>
                    </a:cubicBezTo>
                    <a:cubicBezTo>
                      <a:pt x="409" y="95"/>
                      <a:pt x="409" y="95"/>
                      <a:pt x="409" y="95"/>
                    </a:cubicBezTo>
                    <a:lnTo>
                      <a:pt x="413" y="95"/>
                    </a:lnTo>
                    <a:close/>
                    <a:moveTo>
                      <a:pt x="407" y="97"/>
                    </a:moveTo>
                    <a:cubicBezTo>
                      <a:pt x="403" y="94"/>
                      <a:pt x="403" y="94"/>
                      <a:pt x="403" y="94"/>
                    </a:cubicBezTo>
                    <a:cubicBezTo>
                      <a:pt x="403" y="98"/>
                      <a:pt x="403" y="98"/>
                      <a:pt x="403" y="98"/>
                    </a:cubicBezTo>
                    <a:cubicBezTo>
                      <a:pt x="397" y="96"/>
                      <a:pt x="397" y="96"/>
                      <a:pt x="397" y="96"/>
                    </a:cubicBezTo>
                    <a:cubicBezTo>
                      <a:pt x="400" y="103"/>
                      <a:pt x="400" y="103"/>
                      <a:pt x="400" y="103"/>
                    </a:cubicBezTo>
                    <a:lnTo>
                      <a:pt x="407" y="97"/>
                    </a:lnTo>
                    <a:close/>
                    <a:moveTo>
                      <a:pt x="443" y="96"/>
                    </a:moveTo>
                    <a:cubicBezTo>
                      <a:pt x="449" y="97"/>
                      <a:pt x="452" y="90"/>
                      <a:pt x="449" y="84"/>
                    </a:cubicBezTo>
                    <a:cubicBezTo>
                      <a:pt x="446" y="79"/>
                      <a:pt x="441" y="83"/>
                      <a:pt x="440" y="90"/>
                    </a:cubicBezTo>
                    <a:cubicBezTo>
                      <a:pt x="439" y="95"/>
                      <a:pt x="443" y="96"/>
                      <a:pt x="443" y="96"/>
                    </a:cubicBezTo>
                    <a:close/>
                    <a:moveTo>
                      <a:pt x="455" y="99"/>
                    </a:moveTo>
                    <a:cubicBezTo>
                      <a:pt x="451" y="96"/>
                      <a:pt x="451" y="96"/>
                      <a:pt x="451" y="96"/>
                    </a:cubicBezTo>
                    <a:cubicBezTo>
                      <a:pt x="451" y="96"/>
                      <a:pt x="449" y="99"/>
                      <a:pt x="448" y="100"/>
                    </a:cubicBezTo>
                    <a:lnTo>
                      <a:pt x="455" y="99"/>
                    </a:lnTo>
                    <a:close/>
                    <a:moveTo>
                      <a:pt x="445" y="105"/>
                    </a:moveTo>
                    <a:cubicBezTo>
                      <a:pt x="444" y="111"/>
                      <a:pt x="444" y="111"/>
                      <a:pt x="444" y="111"/>
                    </a:cubicBezTo>
                    <a:cubicBezTo>
                      <a:pt x="449" y="109"/>
                      <a:pt x="449" y="109"/>
                      <a:pt x="449" y="109"/>
                    </a:cubicBezTo>
                    <a:cubicBezTo>
                      <a:pt x="448" y="104"/>
                      <a:pt x="448" y="104"/>
                      <a:pt x="448" y="104"/>
                    </a:cubicBezTo>
                    <a:lnTo>
                      <a:pt x="445" y="105"/>
                    </a:lnTo>
                    <a:close/>
                    <a:moveTo>
                      <a:pt x="474" y="58"/>
                    </a:moveTo>
                    <a:cubicBezTo>
                      <a:pt x="479" y="58"/>
                      <a:pt x="479" y="58"/>
                      <a:pt x="479" y="58"/>
                    </a:cubicBezTo>
                    <a:cubicBezTo>
                      <a:pt x="476" y="63"/>
                      <a:pt x="476" y="63"/>
                      <a:pt x="476" y="63"/>
                    </a:cubicBezTo>
                    <a:cubicBezTo>
                      <a:pt x="478" y="65"/>
                      <a:pt x="484" y="64"/>
                      <a:pt x="492" y="60"/>
                    </a:cubicBezTo>
                    <a:cubicBezTo>
                      <a:pt x="500" y="56"/>
                      <a:pt x="497" y="50"/>
                      <a:pt x="497" y="50"/>
                    </a:cubicBezTo>
                    <a:cubicBezTo>
                      <a:pt x="504" y="41"/>
                      <a:pt x="504" y="41"/>
                      <a:pt x="504" y="41"/>
                    </a:cubicBezTo>
                    <a:cubicBezTo>
                      <a:pt x="500" y="36"/>
                      <a:pt x="500" y="36"/>
                      <a:pt x="500" y="36"/>
                    </a:cubicBezTo>
                    <a:cubicBezTo>
                      <a:pt x="492" y="40"/>
                      <a:pt x="492" y="40"/>
                      <a:pt x="492" y="40"/>
                    </a:cubicBezTo>
                    <a:cubicBezTo>
                      <a:pt x="493" y="48"/>
                      <a:pt x="493" y="48"/>
                      <a:pt x="493" y="48"/>
                    </a:cubicBezTo>
                    <a:cubicBezTo>
                      <a:pt x="488" y="44"/>
                      <a:pt x="488" y="44"/>
                      <a:pt x="488" y="44"/>
                    </a:cubicBezTo>
                    <a:cubicBezTo>
                      <a:pt x="486" y="46"/>
                      <a:pt x="486" y="46"/>
                      <a:pt x="486" y="46"/>
                    </a:cubicBezTo>
                    <a:cubicBezTo>
                      <a:pt x="490" y="52"/>
                      <a:pt x="490" y="52"/>
                      <a:pt x="490" y="52"/>
                    </a:cubicBezTo>
                    <a:cubicBezTo>
                      <a:pt x="483" y="48"/>
                      <a:pt x="483" y="48"/>
                      <a:pt x="483" y="48"/>
                    </a:cubicBezTo>
                    <a:cubicBezTo>
                      <a:pt x="478" y="48"/>
                      <a:pt x="478" y="48"/>
                      <a:pt x="478" y="48"/>
                    </a:cubicBezTo>
                    <a:cubicBezTo>
                      <a:pt x="479" y="53"/>
                      <a:pt x="479" y="53"/>
                      <a:pt x="479" y="53"/>
                    </a:cubicBezTo>
                    <a:cubicBezTo>
                      <a:pt x="472" y="55"/>
                      <a:pt x="472" y="55"/>
                      <a:pt x="472" y="55"/>
                    </a:cubicBezTo>
                    <a:lnTo>
                      <a:pt x="474" y="58"/>
                    </a:lnTo>
                    <a:close/>
                    <a:moveTo>
                      <a:pt x="484" y="73"/>
                    </a:moveTo>
                    <a:cubicBezTo>
                      <a:pt x="484" y="76"/>
                      <a:pt x="489" y="76"/>
                      <a:pt x="489" y="76"/>
                    </a:cubicBezTo>
                    <a:cubicBezTo>
                      <a:pt x="489" y="76"/>
                      <a:pt x="498" y="77"/>
                      <a:pt x="497" y="73"/>
                    </a:cubicBezTo>
                    <a:cubicBezTo>
                      <a:pt x="497" y="68"/>
                      <a:pt x="482" y="66"/>
                      <a:pt x="484" y="73"/>
                    </a:cubicBezTo>
                    <a:close/>
                    <a:moveTo>
                      <a:pt x="503" y="55"/>
                    </a:moveTo>
                    <a:cubicBezTo>
                      <a:pt x="501" y="59"/>
                      <a:pt x="501" y="59"/>
                      <a:pt x="501" y="59"/>
                    </a:cubicBezTo>
                    <a:cubicBezTo>
                      <a:pt x="499" y="57"/>
                      <a:pt x="499" y="57"/>
                      <a:pt x="499" y="57"/>
                    </a:cubicBezTo>
                    <a:cubicBezTo>
                      <a:pt x="493" y="66"/>
                      <a:pt x="493" y="66"/>
                      <a:pt x="493" y="66"/>
                    </a:cubicBezTo>
                    <a:cubicBezTo>
                      <a:pt x="499" y="68"/>
                      <a:pt x="499" y="68"/>
                      <a:pt x="499" y="68"/>
                    </a:cubicBezTo>
                    <a:cubicBezTo>
                      <a:pt x="500" y="66"/>
                      <a:pt x="500" y="66"/>
                      <a:pt x="500" y="66"/>
                    </a:cubicBezTo>
                    <a:cubicBezTo>
                      <a:pt x="500" y="72"/>
                      <a:pt x="500" y="72"/>
                      <a:pt x="500" y="72"/>
                    </a:cubicBezTo>
                    <a:cubicBezTo>
                      <a:pt x="504" y="72"/>
                      <a:pt x="504" y="72"/>
                      <a:pt x="504" y="72"/>
                    </a:cubicBezTo>
                    <a:cubicBezTo>
                      <a:pt x="509" y="59"/>
                      <a:pt x="509" y="59"/>
                      <a:pt x="509" y="59"/>
                    </a:cubicBezTo>
                    <a:cubicBezTo>
                      <a:pt x="505" y="48"/>
                      <a:pt x="505" y="48"/>
                      <a:pt x="505" y="48"/>
                    </a:cubicBezTo>
                    <a:cubicBezTo>
                      <a:pt x="501" y="50"/>
                      <a:pt x="501" y="50"/>
                      <a:pt x="501" y="50"/>
                    </a:cubicBezTo>
                    <a:lnTo>
                      <a:pt x="503" y="55"/>
                    </a:lnTo>
                    <a:close/>
                    <a:moveTo>
                      <a:pt x="514" y="56"/>
                    </a:moveTo>
                    <a:cubicBezTo>
                      <a:pt x="517" y="56"/>
                      <a:pt x="521" y="48"/>
                      <a:pt x="516" y="43"/>
                    </a:cubicBezTo>
                    <a:cubicBezTo>
                      <a:pt x="509" y="37"/>
                      <a:pt x="505" y="43"/>
                      <a:pt x="508" y="50"/>
                    </a:cubicBezTo>
                    <a:cubicBezTo>
                      <a:pt x="508" y="50"/>
                      <a:pt x="510" y="56"/>
                      <a:pt x="514" y="56"/>
                    </a:cubicBezTo>
                    <a:close/>
                    <a:moveTo>
                      <a:pt x="513" y="22"/>
                    </a:moveTo>
                    <a:cubicBezTo>
                      <a:pt x="506" y="22"/>
                      <a:pt x="511" y="30"/>
                      <a:pt x="511" y="30"/>
                    </a:cubicBezTo>
                    <a:cubicBezTo>
                      <a:pt x="517" y="29"/>
                      <a:pt x="518" y="22"/>
                      <a:pt x="513" y="22"/>
                    </a:cubicBezTo>
                    <a:close/>
                    <a:moveTo>
                      <a:pt x="528" y="14"/>
                    </a:moveTo>
                    <a:cubicBezTo>
                      <a:pt x="523" y="17"/>
                      <a:pt x="523" y="17"/>
                      <a:pt x="523" y="17"/>
                    </a:cubicBezTo>
                    <a:cubicBezTo>
                      <a:pt x="531" y="19"/>
                      <a:pt x="531" y="19"/>
                      <a:pt x="531" y="19"/>
                    </a:cubicBezTo>
                    <a:lnTo>
                      <a:pt x="528" y="14"/>
                    </a:lnTo>
                    <a:close/>
                    <a:moveTo>
                      <a:pt x="538" y="19"/>
                    </a:moveTo>
                    <a:cubicBezTo>
                      <a:pt x="539" y="19"/>
                      <a:pt x="541" y="17"/>
                      <a:pt x="541" y="17"/>
                    </a:cubicBezTo>
                    <a:cubicBezTo>
                      <a:pt x="541" y="20"/>
                      <a:pt x="541" y="20"/>
                      <a:pt x="541" y="20"/>
                    </a:cubicBezTo>
                    <a:cubicBezTo>
                      <a:pt x="548" y="22"/>
                      <a:pt x="548" y="22"/>
                      <a:pt x="548" y="22"/>
                    </a:cubicBezTo>
                    <a:cubicBezTo>
                      <a:pt x="559" y="16"/>
                      <a:pt x="559" y="16"/>
                      <a:pt x="559" y="16"/>
                    </a:cubicBezTo>
                    <a:cubicBezTo>
                      <a:pt x="559" y="12"/>
                      <a:pt x="559" y="12"/>
                      <a:pt x="559" y="12"/>
                    </a:cubicBezTo>
                    <a:cubicBezTo>
                      <a:pt x="553" y="16"/>
                      <a:pt x="553" y="16"/>
                      <a:pt x="553" y="16"/>
                    </a:cubicBezTo>
                    <a:cubicBezTo>
                      <a:pt x="550" y="14"/>
                      <a:pt x="550" y="14"/>
                      <a:pt x="550" y="14"/>
                    </a:cubicBezTo>
                    <a:cubicBezTo>
                      <a:pt x="555" y="10"/>
                      <a:pt x="555" y="10"/>
                      <a:pt x="555" y="10"/>
                    </a:cubicBezTo>
                    <a:cubicBezTo>
                      <a:pt x="552" y="6"/>
                      <a:pt x="552" y="6"/>
                      <a:pt x="552" y="6"/>
                    </a:cubicBezTo>
                    <a:cubicBezTo>
                      <a:pt x="550" y="10"/>
                      <a:pt x="550" y="10"/>
                      <a:pt x="550" y="10"/>
                    </a:cubicBezTo>
                    <a:cubicBezTo>
                      <a:pt x="548" y="5"/>
                      <a:pt x="548" y="5"/>
                      <a:pt x="548" y="5"/>
                    </a:cubicBezTo>
                    <a:cubicBezTo>
                      <a:pt x="544" y="8"/>
                      <a:pt x="544" y="8"/>
                      <a:pt x="544" y="8"/>
                    </a:cubicBezTo>
                    <a:cubicBezTo>
                      <a:pt x="546" y="12"/>
                      <a:pt x="546" y="12"/>
                      <a:pt x="546" y="12"/>
                    </a:cubicBezTo>
                    <a:cubicBezTo>
                      <a:pt x="537" y="14"/>
                      <a:pt x="537" y="14"/>
                      <a:pt x="537" y="14"/>
                    </a:cubicBezTo>
                    <a:lnTo>
                      <a:pt x="538" y="19"/>
                    </a:lnTo>
                    <a:close/>
                    <a:moveTo>
                      <a:pt x="658" y="62"/>
                    </a:moveTo>
                    <a:cubicBezTo>
                      <a:pt x="659" y="72"/>
                      <a:pt x="659" y="72"/>
                      <a:pt x="659" y="72"/>
                    </a:cubicBezTo>
                    <a:cubicBezTo>
                      <a:pt x="665" y="68"/>
                      <a:pt x="665" y="68"/>
                      <a:pt x="665" y="68"/>
                    </a:cubicBezTo>
                    <a:cubicBezTo>
                      <a:pt x="662" y="60"/>
                      <a:pt x="662" y="60"/>
                      <a:pt x="662" y="60"/>
                    </a:cubicBezTo>
                    <a:lnTo>
                      <a:pt x="658" y="6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56" name="Netherlands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4254500" y="3632200"/>
                <a:ext cx="358775" cy="376237"/>
              </a:xfrm>
              <a:custGeom>
                <a:avLst/>
                <a:gdLst/>
                <a:ahLst/>
                <a:cxnLst>
                  <a:cxn ang="0">
                    <a:pos x="154" y="5"/>
                  </a:cxn>
                  <a:cxn ang="0">
                    <a:pos x="131" y="10"/>
                  </a:cxn>
                  <a:cxn ang="0">
                    <a:pos x="96" y="34"/>
                  </a:cxn>
                  <a:cxn ang="0">
                    <a:pos x="105" y="45"/>
                  </a:cxn>
                  <a:cxn ang="0">
                    <a:pos x="104" y="55"/>
                  </a:cxn>
                  <a:cxn ang="0">
                    <a:pos x="101" y="57"/>
                  </a:cxn>
                  <a:cxn ang="0">
                    <a:pos x="83" y="73"/>
                  </a:cxn>
                  <a:cxn ang="0">
                    <a:pos x="99" y="72"/>
                  </a:cxn>
                  <a:cxn ang="0">
                    <a:pos x="109" y="72"/>
                  </a:cxn>
                  <a:cxn ang="0">
                    <a:pos x="76" y="71"/>
                  </a:cxn>
                  <a:cxn ang="0">
                    <a:pos x="82" y="64"/>
                  </a:cxn>
                  <a:cxn ang="0">
                    <a:pos x="84" y="44"/>
                  </a:cxn>
                  <a:cxn ang="0">
                    <a:pos x="67" y="32"/>
                  </a:cxn>
                  <a:cxn ang="0">
                    <a:pos x="47" y="101"/>
                  </a:cxn>
                  <a:cxn ang="0">
                    <a:pos x="33" y="94"/>
                  </a:cxn>
                  <a:cxn ang="0">
                    <a:pos x="61" y="109"/>
                  </a:cxn>
                  <a:cxn ang="0">
                    <a:pos x="48" y="113"/>
                  </a:cxn>
                  <a:cxn ang="0">
                    <a:pos x="40" y="119"/>
                  </a:cxn>
                  <a:cxn ang="0">
                    <a:pos x="32" y="119"/>
                  </a:cxn>
                  <a:cxn ang="0">
                    <a:pos x="40" y="126"/>
                  </a:cxn>
                  <a:cxn ang="0">
                    <a:pos x="19" y="121"/>
                  </a:cxn>
                  <a:cxn ang="0">
                    <a:pos x="10" y="124"/>
                  </a:cxn>
                  <a:cxn ang="0">
                    <a:pos x="26" y="127"/>
                  </a:cxn>
                  <a:cxn ang="0">
                    <a:pos x="33" y="135"/>
                  </a:cxn>
                  <a:cxn ang="0">
                    <a:pos x="23" y="133"/>
                  </a:cxn>
                  <a:cxn ang="0">
                    <a:pos x="2" y="129"/>
                  </a:cxn>
                  <a:cxn ang="0">
                    <a:pos x="7" y="139"/>
                  </a:cxn>
                  <a:cxn ang="0">
                    <a:pos x="22" y="143"/>
                  </a:cxn>
                  <a:cxn ang="0">
                    <a:pos x="46" y="135"/>
                  </a:cxn>
                  <a:cxn ang="0">
                    <a:pos x="54" y="131"/>
                  </a:cxn>
                  <a:cxn ang="0">
                    <a:pos x="67" y="134"/>
                  </a:cxn>
                  <a:cxn ang="0">
                    <a:pos x="76" y="138"/>
                  </a:cxn>
                  <a:cxn ang="0">
                    <a:pos x="92" y="145"/>
                  </a:cxn>
                  <a:cxn ang="0">
                    <a:pos x="99" y="159"/>
                  </a:cxn>
                  <a:cxn ang="0">
                    <a:pos x="93" y="170"/>
                  </a:cxn>
                  <a:cxn ang="0">
                    <a:pos x="110" y="175"/>
                  </a:cxn>
                  <a:cxn ang="0">
                    <a:pos x="106" y="161"/>
                  </a:cxn>
                  <a:cxn ang="0">
                    <a:pos x="118" y="149"/>
                  </a:cxn>
                  <a:cxn ang="0">
                    <a:pos x="119" y="124"/>
                  </a:cxn>
                  <a:cxn ang="0">
                    <a:pos x="120" y="106"/>
                  </a:cxn>
                  <a:cxn ang="0">
                    <a:pos x="131" y="104"/>
                  </a:cxn>
                  <a:cxn ang="0">
                    <a:pos x="150" y="88"/>
                  </a:cxn>
                  <a:cxn ang="0">
                    <a:pos x="147" y="58"/>
                  </a:cxn>
                  <a:cxn ang="0">
                    <a:pos x="166" y="29"/>
                  </a:cxn>
                  <a:cxn ang="0">
                    <a:pos x="76" y="17"/>
                  </a:cxn>
                  <a:cxn ang="0">
                    <a:pos x="70" y="29"/>
                  </a:cxn>
                  <a:cxn ang="0">
                    <a:pos x="27" y="115"/>
                  </a:cxn>
                  <a:cxn ang="0">
                    <a:pos x="31" y="112"/>
                  </a:cxn>
                  <a:cxn ang="0">
                    <a:pos x="22" y="110"/>
                  </a:cxn>
                  <a:cxn ang="0">
                    <a:pos x="24" y="116"/>
                  </a:cxn>
                  <a:cxn ang="0">
                    <a:pos x="18" y="118"/>
                  </a:cxn>
                  <a:cxn ang="0">
                    <a:pos x="32" y="106"/>
                  </a:cxn>
                  <a:cxn ang="0">
                    <a:pos x="45" y="112"/>
                  </a:cxn>
                  <a:cxn ang="0">
                    <a:pos x="27" y="105"/>
                  </a:cxn>
                  <a:cxn ang="0">
                    <a:pos x="82" y="13"/>
                  </a:cxn>
                  <a:cxn ang="0">
                    <a:pos x="99" y="7"/>
                  </a:cxn>
                  <a:cxn ang="0">
                    <a:pos x="98" y="3"/>
                  </a:cxn>
                  <a:cxn ang="0">
                    <a:pos x="90" y="9"/>
                  </a:cxn>
                  <a:cxn ang="0">
                    <a:pos x="109" y="3"/>
                  </a:cxn>
                  <a:cxn ang="0">
                    <a:pos x="135" y="0"/>
                  </a:cxn>
                  <a:cxn ang="0">
                    <a:pos x="136" y="2"/>
                  </a:cxn>
                </a:cxnLst>
                <a:rect l="0" t="0" r="r" b="b"/>
                <a:pathLst>
                  <a:path w="168" h="177">
                    <a:moveTo>
                      <a:pt x="168" y="18"/>
                    </a:moveTo>
                    <a:cubicBezTo>
                      <a:pt x="164" y="17"/>
                      <a:pt x="160" y="15"/>
                      <a:pt x="159" y="14"/>
                    </a:cubicBezTo>
                    <a:cubicBezTo>
                      <a:pt x="155" y="12"/>
                      <a:pt x="155" y="7"/>
                      <a:pt x="154" y="5"/>
                    </a:cubicBezTo>
                    <a:cubicBezTo>
                      <a:pt x="153" y="3"/>
                      <a:pt x="149" y="7"/>
                      <a:pt x="149" y="7"/>
                    </a:cubicBezTo>
                    <a:cubicBezTo>
                      <a:pt x="130" y="8"/>
                      <a:pt x="130" y="8"/>
                      <a:pt x="130" y="8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28" y="10"/>
                      <a:pt x="127" y="8"/>
                    </a:cubicBezTo>
                    <a:cubicBezTo>
                      <a:pt x="125" y="6"/>
                      <a:pt x="108" y="11"/>
                      <a:pt x="102" y="14"/>
                    </a:cubicBezTo>
                    <a:cubicBezTo>
                      <a:pt x="96" y="16"/>
                      <a:pt x="95" y="29"/>
                      <a:pt x="96" y="34"/>
                    </a:cubicBezTo>
                    <a:cubicBezTo>
                      <a:pt x="96" y="40"/>
                      <a:pt x="95" y="39"/>
                      <a:pt x="95" y="39"/>
                    </a:cubicBezTo>
                    <a:cubicBezTo>
                      <a:pt x="95" y="39"/>
                      <a:pt x="96" y="40"/>
                      <a:pt x="99" y="41"/>
                    </a:cubicBezTo>
                    <a:cubicBezTo>
                      <a:pt x="102" y="43"/>
                      <a:pt x="105" y="45"/>
                      <a:pt x="105" y="45"/>
                    </a:cubicBezTo>
                    <a:cubicBezTo>
                      <a:pt x="105" y="45"/>
                      <a:pt x="101" y="47"/>
                      <a:pt x="101" y="48"/>
                    </a:cubicBezTo>
                    <a:cubicBezTo>
                      <a:pt x="101" y="50"/>
                      <a:pt x="104" y="50"/>
                      <a:pt x="104" y="50"/>
                    </a:cubicBezTo>
                    <a:cubicBezTo>
                      <a:pt x="104" y="50"/>
                      <a:pt x="101" y="54"/>
                      <a:pt x="104" y="55"/>
                    </a:cubicBezTo>
                    <a:cubicBezTo>
                      <a:pt x="109" y="56"/>
                      <a:pt x="113" y="57"/>
                      <a:pt x="113" y="57"/>
                    </a:cubicBezTo>
                    <a:cubicBezTo>
                      <a:pt x="112" y="59"/>
                      <a:pt x="112" y="59"/>
                      <a:pt x="112" y="59"/>
                    </a:cubicBezTo>
                    <a:cubicBezTo>
                      <a:pt x="112" y="59"/>
                      <a:pt x="105" y="57"/>
                      <a:pt x="101" y="57"/>
                    </a:cubicBezTo>
                    <a:cubicBezTo>
                      <a:pt x="98" y="57"/>
                      <a:pt x="94" y="62"/>
                      <a:pt x="90" y="64"/>
                    </a:cubicBezTo>
                    <a:cubicBezTo>
                      <a:pt x="87" y="66"/>
                      <a:pt x="79" y="70"/>
                      <a:pt x="79" y="70"/>
                    </a:cubicBezTo>
                    <a:cubicBezTo>
                      <a:pt x="79" y="70"/>
                      <a:pt x="81" y="73"/>
                      <a:pt x="83" y="73"/>
                    </a:cubicBezTo>
                    <a:cubicBezTo>
                      <a:pt x="87" y="73"/>
                      <a:pt x="87" y="73"/>
                      <a:pt x="87" y="73"/>
                    </a:cubicBezTo>
                    <a:cubicBezTo>
                      <a:pt x="87" y="73"/>
                      <a:pt x="94" y="77"/>
                      <a:pt x="96" y="76"/>
                    </a:cubicBezTo>
                    <a:cubicBezTo>
                      <a:pt x="99" y="74"/>
                      <a:pt x="99" y="72"/>
                      <a:pt x="99" y="72"/>
                    </a:cubicBezTo>
                    <a:cubicBezTo>
                      <a:pt x="99" y="72"/>
                      <a:pt x="106" y="69"/>
                      <a:pt x="108" y="66"/>
                    </a:cubicBezTo>
                    <a:cubicBezTo>
                      <a:pt x="109" y="65"/>
                      <a:pt x="111" y="65"/>
                      <a:pt x="112" y="65"/>
                    </a:cubicBezTo>
                    <a:cubicBezTo>
                      <a:pt x="113" y="66"/>
                      <a:pt x="109" y="72"/>
                      <a:pt x="109" y="72"/>
                    </a:cubicBezTo>
                    <a:cubicBezTo>
                      <a:pt x="96" y="78"/>
                      <a:pt x="96" y="78"/>
                      <a:pt x="96" y="78"/>
                    </a:cubicBezTo>
                    <a:cubicBezTo>
                      <a:pt x="86" y="77"/>
                      <a:pt x="86" y="77"/>
                      <a:pt x="86" y="77"/>
                    </a:cubicBezTo>
                    <a:cubicBezTo>
                      <a:pt x="76" y="71"/>
                      <a:pt x="76" y="71"/>
                      <a:pt x="76" y="71"/>
                    </a:cubicBezTo>
                    <a:cubicBezTo>
                      <a:pt x="73" y="69"/>
                      <a:pt x="73" y="69"/>
                      <a:pt x="73" y="69"/>
                    </a:cubicBezTo>
                    <a:cubicBezTo>
                      <a:pt x="80" y="68"/>
                      <a:pt x="80" y="68"/>
                      <a:pt x="80" y="68"/>
                    </a:cubicBezTo>
                    <a:cubicBezTo>
                      <a:pt x="82" y="64"/>
                      <a:pt x="82" y="64"/>
                      <a:pt x="82" y="64"/>
                    </a:cubicBezTo>
                    <a:cubicBezTo>
                      <a:pt x="82" y="64"/>
                      <a:pt x="79" y="55"/>
                      <a:pt x="79" y="53"/>
                    </a:cubicBezTo>
                    <a:cubicBezTo>
                      <a:pt x="78" y="50"/>
                      <a:pt x="85" y="54"/>
                      <a:pt x="88" y="50"/>
                    </a:cubicBezTo>
                    <a:cubicBezTo>
                      <a:pt x="90" y="48"/>
                      <a:pt x="87" y="45"/>
                      <a:pt x="84" y="44"/>
                    </a:cubicBezTo>
                    <a:cubicBezTo>
                      <a:pt x="80" y="43"/>
                      <a:pt x="82" y="33"/>
                      <a:pt x="78" y="33"/>
                    </a:cubicBezTo>
                    <a:cubicBezTo>
                      <a:pt x="74" y="32"/>
                      <a:pt x="77" y="35"/>
                      <a:pt x="73" y="34"/>
                    </a:cubicBezTo>
                    <a:cubicBezTo>
                      <a:pt x="71" y="33"/>
                      <a:pt x="69" y="30"/>
                      <a:pt x="67" y="32"/>
                    </a:cubicBezTo>
                    <a:cubicBezTo>
                      <a:pt x="65" y="33"/>
                      <a:pt x="60" y="63"/>
                      <a:pt x="56" y="70"/>
                    </a:cubicBezTo>
                    <a:cubicBezTo>
                      <a:pt x="53" y="76"/>
                      <a:pt x="37" y="91"/>
                      <a:pt x="37" y="91"/>
                    </a:cubicBezTo>
                    <a:cubicBezTo>
                      <a:pt x="47" y="101"/>
                      <a:pt x="47" y="101"/>
                      <a:pt x="47" y="101"/>
                    </a:cubicBezTo>
                    <a:cubicBezTo>
                      <a:pt x="47" y="104"/>
                      <a:pt x="47" y="104"/>
                      <a:pt x="47" y="104"/>
                    </a:cubicBezTo>
                    <a:cubicBezTo>
                      <a:pt x="47" y="104"/>
                      <a:pt x="40" y="97"/>
                      <a:pt x="39" y="97"/>
                    </a:cubicBezTo>
                    <a:cubicBezTo>
                      <a:pt x="37" y="96"/>
                      <a:pt x="35" y="94"/>
                      <a:pt x="33" y="94"/>
                    </a:cubicBezTo>
                    <a:cubicBezTo>
                      <a:pt x="32" y="94"/>
                      <a:pt x="34" y="101"/>
                      <a:pt x="34" y="101"/>
                    </a:cubicBezTo>
                    <a:cubicBezTo>
                      <a:pt x="34" y="101"/>
                      <a:pt x="50" y="112"/>
                      <a:pt x="51" y="112"/>
                    </a:cubicBezTo>
                    <a:cubicBezTo>
                      <a:pt x="53" y="112"/>
                      <a:pt x="56" y="110"/>
                      <a:pt x="61" y="109"/>
                    </a:cubicBezTo>
                    <a:cubicBezTo>
                      <a:pt x="65" y="109"/>
                      <a:pt x="64" y="112"/>
                      <a:pt x="62" y="112"/>
                    </a:cubicBezTo>
                    <a:cubicBezTo>
                      <a:pt x="60" y="112"/>
                      <a:pt x="52" y="115"/>
                      <a:pt x="52" y="115"/>
                    </a:cubicBezTo>
                    <a:cubicBezTo>
                      <a:pt x="52" y="115"/>
                      <a:pt x="50" y="113"/>
                      <a:pt x="48" y="113"/>
                    </a:cubicBezTo>
                    <a:cubicBezTo>
                      <a:pt x="45" y="113"/>
                      <a:pt x="43" y="116"/>
                      <a:pt x="43" y="116"/>
                    </a:cubicBezTo>
                    <a:cubicBezTo>
                      <a:pt x="36" y="115"/>
                      <a:pt x="36" y="115"/>
                      <a:pt x="36" y="115"/>
                    </a:cubicBezTo>
                    <a:cubicBezTo>
                      <a:pt x="40" y="119"/>
                      <a:pt x="40" y="119"/>
                      <a:pt x="40" y="119"/>
                    </a:cubicBezTo>
                    <a:cubicBezTo>
                      <a:pt x="40" y="119"/>
                      <a:pt x="35" y="117"/>
                      <a:pt x="34" y="117"/>
                    </a:cubicBezTo>
                    <a:cubicBezTo>
                      <a:pt x="32" y="116"/>
                      <a:pt x="29" y="119"/>
                      <a:pt x="29" y="119"/>
                    </a:cubicBezTo>
                    <a:cubicBezTo>
                      <a:pt x="32" y="119"/>
                      <a:pt x="32" y="119"/>
                      <a:pt x="32" y="119"/>
                    </a:cubicBezTo>
                    <a:cubicBezTo>
                      <a:pt x="33" y="120"/>
                      <a:pt x="33" y="120"/>
                      <a:pt x="33" y="120"/>
                    </a:cubicBezTo>
                    <a:cubicBezTo>
                      <a:pt x="40" y="124"/>
                      <a:pt x="40" y="124"/>
                      <a:pt x="40" y="124"/>
                    </a:cubicBezTo>
                    <a:cubicBezTo>
                      <a:pt x="40" y="126"/>
                      <a:pt x="40" y="126"/>
                      <a:pt x="40" y="126"/>
                    </a:cubicBezTo>
                    <a:cubicBezTo>
                      <a:pt x="35" y="126"/>
                      <a:pt x="35" y="126"/>
                      <a:pt x="35" y="126"/>
                    </a:cubicBezTo>
                    <a:cubicBezTo>
                      <a:pt x="35" y="126"/>
                      <a:pt x="31" y="122"/>
                      <a:pt x="27" y="121"/>
                    </a:cubicBezTo>
                    <a:cubicBezTo>
                      <a:pt x="19" y="121"/>
                      <a:pt x="19" y="121"/>
                      <a:pt x="19" y="121"/>
                    </a:cubicBezTo>
                    <a:cubicBezTo>
                      <a:pt x="19" y="121"/>
                      <a:pt x="17" y="120"/>
                      <a:pt x="15" y="118"/>
                    </a:cubicBezTo>
                    <a:cubicBezTo>
                      <a:pt x="14" y="117"/>
                      <a:pt x="7" y="119"/>
                      <a:pt x="7" y="119"/>
                    </a:cubicBezTo>
                    <a:cubicBezTo>
                      <a:pt x="7" y="119"/>
                      <a:pt x="7" y="122"/>
                      <a:pt x="10" y="124"/>
                    </a:cubicBezTo>
                    <a:cubicBezTo>
                      <a:pt x="13" y="126"/>
                      <a:pt x="17" y="125"/>
                      <a:pt x="17" y="125"/>
                    </a:cubicBezTo>
                    <a:cubicBezTo>
                      <a:pt x="17" y="125"/>
                      <a:pt x="17" y="128"/>
                      <a:pt x="19" y="129"/>
                    </a:cubicBezTo>
                    <a:cubicBezTo>
                      <a:pt x="22" y="131"/>
                      <a:pt x="26" y="127"/>
                      <a:pt x="26" y="127"/>
                    </a:cubicBezTo>
                    <a:cubicBezTo>
                      <a:pt x="29" y="127"/>
                      <a:pt x="29" y="127"/>
                      <a:pt x="29" y="127"/>
                    </a:cubicBezTo>
                    <a:cubicBezTo>
                      <a:pt x="29" y="127"/>
                      <a:pt x="35" y="131"/>
                      <a:pt x="38" y="132"/>
                    </a:cubicBezTo>
                    <a:cubicBezTo>
                      <a:pt x="41" y="132"/>
                      <a:pt x="33" y="135"/>
                      <a:pt x="33" y="135"/>
                    </a:cubicBezTo>
                    <a:cubicBezTo>
                      <a:pt x="31" y="134"/>
                      <a:pt x="31" y="134"/>
                      <a:pt x="31" y="134"/>
                    </a:cubicBezTo>
                    <a:cubicBezTo>
                      <a:pt x="31" y="134"/>
                      <a:pt x="30" y="131"/>
                      <a:pt x="28" y="131"/>
                    </a:cubicBezTo>
                    <a:cubicBezTo>
                      <a:pt x="26" y="129"/>
                      <a:pt x="23" y="133"/>
                      <a:pt x="23" y="133"/>
                    </a:cubicBezTo>
                    <a:cubicBezTo>
                      <a:pt x="23" y="133"/>
                      <a:pt x="19" y="133"/>
                      <a:pt x="16" y="132"/>
                    </a:cubicBezTo>
                    <a:cubicBezTo>
                      <a:pt x="14" y="132"/>
                      <a:pt x="11" y="127"/>
                      <a:pt x="8" y="127"/>
                    </a:cubicBezTo>
                    <a:cubicBezTo>
                      <a:pt x="7" y="127"/>
                      <a:pt x="2" y="129"/>
                      <a:pt x="2" y="129"/>
                    </a:cubicBezTo>
                    <a:cubicBezTo>
                      <a:pt x="2" y="129"/>
                      <a:pt x="1" y="133"/>
                      <a:pt x="0" y="134"/>
                    </a:cubicBezTo>
                    <a:cubicBezTo>
                      <a:pt x="0" y="135"/>
                      <a:pt x="1" y="138"/>
                      <a:pt x="1" y="138"/>
                    </a:cubicBezTo>
                    <a:cubicBezTo>
                      <a:pt x="7" y="139"/>
                      <a:pt x="7" y="139"/>
                      <a:pt x="7" y="139"/>
                    </a:cubicBezTo>
                    <a:cubicBezTo>
                      <a:pt x="8" y="135"/>
                      <a:pt x="8" y="135"/>
                      <a:pt x="8" y="135"/>
                    </a:cubicBezTo>
                    <a:cubicBezTo>
                      <a:pt x="18" y="138"/>
                      <a:pt x="18" y="138"/>
                      <a:pt x="18" y="138"/>
                    </a:cubicBezTo>
                    <a:cubicBezTo>
                      <a:pt x="18" y="138"/>
                      <a:pt x="15" y="143"/>
                      <a:pt x="22" y="143"/>
                    </a:cubicBezTo>
                    <a:cubicBezTo>
                      <a:pt x="29" y="144"/>
                      <a:pt x="39" y="134"/>
                      <a:pt x="39" y="134"/>
                    </a:cubicBezTo>
                    <a:cubicBezTo>
                      <a:pt x="43" y="135"/>
                      <a:pt x="43" y="135"/>
                      <a:pt x="43" y="135"/>
                    </a:cubicBezTo>
                    <a:cubicBezTo>
                      <a:pt x="46" y="135"/>
                      <a:pt x="46" y="135"/>
                      <a:pt x="46" y="135"/>
                    </a:cubicBezTo>
                    <a:cubicBezTo>
                      <a:pt x="46" y="135"/>
                      <a:pt x="44" y="129"/>
                      <a:pt x="48" y="128"/>
                    </a:cubicBezTo>
                    <a:cubicBezTo>
                      <a:pt x="51" y="126"/>
                      <a:pt x="51" y="131"/>
                      <a:pt x="51" y="131"/>
                    </a:cubicBezTo>
                    <a:cubicBezTo>
                      <a:pt x="54" y="131"/>
                      <a:pt x="54" y="131"/>
                      <a:pt x="54" y="131"/>
                    </a:cubicBezTo>
                    <a:cubicBezTo>
                      <a:pt x="54" y="131"/>
                      <a:pt x="59" y="127"/>
                      <a:pt x="63" y="127"/>
                    </a:cubicBezTo>
                    <a:cubicBezTo>
                      <a:pt x="66" y="127"/>
                      <a:pt x="62" y="134"/>
                      <a:pt x="62" y="134"/>
                    </a:cubicBezTo>
                    <a:cubicBezTo>
                      <a:pt x="67" y="134"/>
                      <a:pt x="67" y="134"/>
                      <a:pt x="67" y="134"/>
                    </a:cubicBezTo>
                    <a:cubicBezTo>
                      <a:pt x="67" y="134"/>
                      <a:pt x="69" y="128"/>
                      <a:pt x="72" y="129"/>
                    </a:cubicBezTo>
                    <a:cubicBezTo>
                      <a:pt x="74" y="131"/>
                      <a:pt x="71" y="136"/>
                      <a:pt x="71" y="136"/>
                    </a:cubicBezTo>
                    <a:cubicBezTo>
                      <a:pt x="76" y="138"/>
                      <a:pt x="76" y="138"/>
                      <a:pt x="76" y="138"/>
                    </a:cubicBezTo>
                    <a:cubicBezTo>
                      <a:pt x="76" y="138"/>
                      <a:pt x="77" y="143"/>
                      <a:pt x="80" y="143"/>
                    </a:cubicBezTo>
                    <a:cubicBezTo>
                      <a:pt x="83" y="144"/>
                      <a:pt x="86" y="141"/>
                      <a:pt x="89" y="142"/>
                    </a:cubicBezTo>
                    <a:cubicBezTo>
                      <a:pt x="93" y="142"/>
                      <a:pt x="92" y="145"/>
                      <a:pt x="92" y="145"/>
                    </a:cubicBezTo>
                    <a:cubicBezTo>
                      <a:pt x="96" y="150"/>
                      <a:pt x="96" y="150"/>
                      <a:pt x="96" y="150"/>
                    </a:cubicBezTo>
                    <a:cubicBezTo>
                      <a:pt x="96" y="150"/>
                      <a:pt x="99" y="150"/>
                      <a:pt x="102" y="153"/>
                    </a:cubicBezTo>
                    <a:cubicBezTo>
                      <a:pt x="104" y="155"/>
                      <a:pt x="101" y="157"/>
                      <a:pt x="99" y="159"/>
                    </a:cubicBezTo>
                    <a:cubicBezTo>
                      <a:pt x="98" y="160"/>
                      <a:pt x="99" y="163"/>
                      <a:pt x="99" y="163"/>
                    </a:cubicBezTo>
                    <a:cubicBezTo>
                      <a:pt x="98" y="168"/>
                      <a:pt x="98" y="168"/>
                      <a:pt x="98" y="168"/>
                    </a:cubicBezTo>
                    <a:cubicBezTo>
                      <a:pt x="98" y="168"/>
                      <a:pt x="94" y="168"/>
                      <a:pt x="93" y="170"/>
                    </a:cubicBezTo>
                    <a:cubicBezTo>
                      <a:pt x="90" y="173"/>
                      <a:pt x="94" y="174"/>
                      <a:pt x="94" y="174"/>
                    </a:cubicBezTo>
                    <a:cubicBezTo>
                      <a:pt x="94" y="174"/>
                      <a:pt x="98" y="176"/>
                      <a:pt x="102" y="176"/>
                    </a:cubicBezTo>
                    <a:cubicBezTo>
                      <a:pt x="105" y="177"/>
                      <a:pt x="109" y="175"/>
                      <a:pt x="110" y="175"/>
                    </a:cubicBezTo>
                    <a:cubicBezTo>
                      <a:pt x="110" y="174"/>
                      <a:pt x="109" y="173"/>
                      <a:pt x="109" y="173"/>
                    </a:cubicBezTo>
                    <a:cubicBezTo>
                      <a:pt x="111" y="171"/>
                      <a:pt x="112" y="170"/>
                      <a:pt x="114" y="170"/>
                    </a:cubicBezTo>
                    <a:cubicBezTo>
                      <a:pt x="113" y="166"/>
                      <a:pt x="113" y="159"/>
                      <a:pt x="106" y="161"/>
                    </a:cubicBezTo>
                    <a:cubicBezTo>
                      <a:pt x="105" y="159"/>
                      <a:pt x="105" y="156"/>
                      <a:pt x="108" y="155"/>
                    </a:cubicBezTo>
                    <a:cubicBezTo>
                      <a:pt x="109" y="156"/>
                      <a:pt x="109" y="157"/>
                      <a:pt x="110" y="158"/>
                    </a:cubicBezTo>
                    <a:cubicBezTo>
                      <a:pt x="111" y="153"/>
                      <a:pt x="117" y="154"/>
                      <a:pt x="118" y="149"/>
                    </a:cubicBezTo>
                    <a:cubicBezTo>
                      <a:pt x="115" y="150"/>
                      <a:pt x="115" y="150"/>
                      <a:pt x="115" y="150"/>
                    </a:cubicBezTo>
                    <a:cubicBezTo>
                      <a:pt x="113" y="142"/>
                      <a:pt x="121" y="141"/>
                      <a:pt x="121" y="136"/>
                    </a:cubicBezTo>
                    <a:cubicBezTo>
                      <a:pt x="121" y="132"/>
                      <a:pt x="121" y="127"/>
                      <a:pt x="119" y="124"/>
                    </a:cubicBezTo>
                    <a:cubicBezTo>
                      <a:pt x="117" y="121"/>
                      <a:pt x="115" y="117"/>
                      <a:pt x="115" y="113"/>
                    </a:cubicBezTo>
                    <a:cubicBezTo>
                      <a:pt x="115" y="115"/>
                      <a:pt x="112" y="105"/>
                      <a:pt x="112" y="105"/>
                    </a:cubicBezTo>
                    <a:cubicBezTo>
                      <a:pt x="115" y="105"/>
                      <a:pt x="117" y="104"/>
                      <a:pt x="120" y="106"/>
                    </a:cubicBezTo>
                    <a:cubicBezTo>
                      <a:pt x="119" y="105"/>
                      <a:pt x="119" y="103"/>
                      <a:pt x="118" y="102"/>
                    </a:cubicBezTo>
                    <a:cubicBezTo>
                      <a:pt x="122" y="102"/>
                      <a:pt x="128" y="104"/>
                      <a:pt x="131" y="106"/>
                    </a:cubicBezTo>
                    <a:cubicBezTo>
                      <a:pt x="131" y="104"/>
                      <a:pt x="131" y="104"/>
                      <a:pt x="131" y="104"/>
                    </a:cubicBezTo>
                    <a:cubicBezTo>
                      <a:pt x="135" y="105"/>
                      <a:pt x="139" y="98"/>
                      <a:pt x="144" y="102"/>
                    </a:cubicBezTo>
                    <a:cubicBezTo>
                      <a:pt x="146" y="103"/>
                      <a:pt x="150" y="93"/>
                      <a:pt x="142" y="93"/>
                    </a:cubicBezTo>
                    <a:cubicBezTo>
                      <a:pt x="144" y="90"/>
                      <a:pt x="146" y="88"/>
                      <a:pt x="150" y="88"/>
                    </a:cubicBezTo>
                    <a:cubicBezTo>
                      <a:pt x="150" y="88"/>
                      <a:pt x="157" y="81"/>
                      <a:pt x="159" y="80"/>
                    </a:cubicBezTo>
                    <a:cubicBezTo>
                      <a:pt x="154" y="77"/>
                      <a:pt x="161" y="71"/>
                      <a:pt x="155" y="65"/>
                    </a:cubicBezTo>
                    <a:cubicBezTo>
                      <a:pt x="152" y="72"/>
                      <a:pt x="138" y="62"/>
                      <a:pt x="147" y="58"/>
                    </a:cubicBezTo>
                    <a:cubicBezTo>
                      <a:pt x="142" y="49"/>
                      <a:pt x="154" y="56"/>
                      <a:pt x="157" y="55"/>
                    </a:cubicBezTo>
                    <a:cubicBezTo>
                      <a:pt x="162" y="53"/>
                      <a:pt x="159" y="45"/>
                      <a:pt x="162" y="41"/>
                    </a:cubicBezTo>
                    <a:cubicBezTo>
                      <a:pt x="164" y="38"/>
                      <a:pt x="167" y="33"/>
                      <a:pt x="166" y="29"/>
                    </a:cubicBezTo>
                    <a:cubicBezTo>
                      <a:pt x="166" y="26"/>
                      <a:pt x="168" y="22"/>
                      <a:pt x="168" y="18"/>
                    </a:cubicBezTo>
                    <a:close/>
                    <a:moveTo>
                      <a:pt x="77" y="26"/>
                    </a:moveTo>
                    <a:cubicBezTo>
                      <a:pt x="81" y="19"/>
                      <a:pt x="77" y="18"/>
                      <a:pt x="76" y="17"/>
                    </a:cubicBezTo>
                    <a:cubicBezTo>
                      <a:pt x="74" y="16"/>
                      <a:pt x="72" y="18"/>
                      <a:pt x="72" y="18"/>
                    </a:cubicBezTo>
                    <a:cubicBezTo>
                      <a:pt x="68" y="26"/>
                      <a:pt x="68" y="26"/>
                      <a:pt x="68" y="26"/>
                    </a:cubicBezTo>
                    <a:cubicBezTo>
                      <a:pt x="70" y="29"/>
                      <a:pt x="70" y="29"/>
                      <a:pt x="70" y="29"/>
                    </a:cubicBezTo>
                    <a:cubicBezTo>
                      <a:pt x="70" y="29"/>
                      <a:pt x="73" y="30"/>
                      <a:pt x="77" y="26"/>
                    </a:cubicBezTo>
                    <a:close/>
                    <a:moveTo>
                      <a:pt x="22" y="110"/>
                    </a:moveTo>
                    <a:cubicBezTo>
                      <a:pt x="24" y="111"/>
                      <a:pt x="27" y="115"/>
                      <a:pt x="27" y="115"/>
                    </a:cubicBezTo>
                    <a:cubicBezTo>
                      <a:pt x="33" y="115"/>
                      <a:pt x="33" y="115"/>
                      <a:pt x="33" y="115"/>
                    </a:cubicBezTo>
                    <a:cubicBezTo>
                      <a:pt x="33" y="113"/>
                      <a:pt x="33" y="113"/>
                      <a:pt x="33" y="113"/>
                    </a:cubicBezTo>
                    <a:cubicBezTo>
                      <a:pt x="31" y="112"/>
                      <a:pt x="31" y="112"/>
                      <a:pt x="31" y="112"/>
                    </a:cubicBezTo>
                    <a:cubicBezTo>
                      <a:pt x="31" y="112"/>
                      <a:pt x="31" y="108"/>
                      <a:pt x="27" y="108"/>
                    </a:cubicBezTo>
                    <a:cubicBezTo>
                      <a:pt x="22" y="107"/>
                      <a:pt x="18" y="107"/>
                      <a:pt x="18" y="108"/>
                    </a:cubicBezTo>
                    <a:cubicBezTo>
                      <a:pt x="18" y="110"/>
                      <a:pt x="22" y="110"/>
                      <a:pt x="22" y="110"/>
                    </a:cubicBezTo>
                    <a:close/>
                    <a:moveTo>
                      <a:pt x="23" y="119"/>
                    </a:moveTo>
                    <a:cubicBezTo>
                      <a:pt x="27" y="119"/>
                      <a:pt x="27" y="119"/>
                      <a:pt x="27" y="119"/>
                    </a:cubicBezTo>
                    <a:cubicBezTo>
                      <a:pt x="28" y="119"/>
                      <a:pt x="24" y="116"/>
                      <a:pt x="24" y="116"/>
                    </a:cubicBezTo>
                    <a:cubicBezTo>
                      <a:pt x="21" y="117"/>
                      <a:pt x="21" y="117"/>
                      <a:pt x="21" y="117"/>
                    </a:cubicBezTo>
                    <a:cubicBezTo>
                      <a:pt x="19" y="115"/>
                      <a:pt x="19" y="115"/>
                      <a:pt x="19" y="115"/>
                    </a:cubicBezTo>
                    <a:cubicBezTo>
                      <a:pt x="19" y="115"/>
                      <a:pt x="16" y="116"/>
                      <a:pt x="18" y="118"/>
                    </a:cubicBezTo>
                    <a:cubicBezTo>
                      <a:pt x="21" y="120"/>
                      <a:pt x="22" y="119"/>
                      <a:pt x="23" y="119"/>
                    </a:cubicBezTo>
                    <a:close/>
                    <a:moveTo>
                      <a:pt x="27" y="105"/>
                    </a:moveTo>
                    <a:cubicBezTo>
                      <a:pt x="29" y="106"/>
                      <a:pt x="32" y="106"/>
                      <a:pt x="32" y="106"/>
                    </a:cubicBezTo>
                    <a:cubicBezTo>
                      <a:pt x="32" y="106"/>
                      <a:pt x="32" y="108"/>
                      <a:pt x="36" y="110"/>
                    </a:cubicBezTo>
                    <a:cubicBezTo>
                      <a:pt x="39" y="112"/>
                      <a:pt x="40" y="113"/>
                      <a:pt x="43" y="113"/>
                    </a:cubicBezTo>
                    <a:cubicBezTo>
                      <a:pt x="45" y="113"/>
                      <a:pt x="45" y="112"/>
                      <a:pt x="45" y="112"/>
                    </a:cubicBezTo>
                    <a:cubicBezTo>
                      <a:pt x="34" y="103"/>
                      <a:pt x="34" y="103"/>
                      <a:pt x="34" y="103"/>
                    </a:cubicBezTo>
                    <a:cubicBezTo>
                      <a:pt x="27" y="103"/>
                      <a:pt x="27" y="103"/>
                      <a:pt x="27" y="103"/>
                    </a:cubicBezTo>
                    <a:cubicBezTo>
                      <a:pt x="27" y="103"/>
                      <a:pt x="26" y="105"/>
                      <a:pt x="27" y="105"/>
                    </a:cubicBezTo>
                    <a:close/>
                    <a:moveTo>
                      <a:pt x="82" y="13"/>
                    </a:moveTo>
                    <a:cubicBezTo>
                      <a:pt x="87" y="10"/>
                      <a:pt x="86" y="7"/>
                      <a:pt x="81" y="11"/>
                    </a:cubicBezTo>
                    <a:cubicBezTo>
                      <a:pt x="77" y="14"/>
                      <a:pt x="82" y="13"/>
                      <a:pt x="82" y="13"/>
                    </a:cubicBezTo>
                    <a:close/>
                    <a:moveTo>
                      <a:pt x="90" y="9"/>
                    </a:moveTo>
                    <a:cubicBezTo>
                      <a:pt x="93" y="7"/>
                      <a:pt x="93" y="7"/>
                      <a:pt x="93" y="7"/>
                    </a:cubicBezTo>
                    <a:cubicBezTo>
                      <a:pt x="99" y="7"/>
                      <a:pt x="99" y="7"/>
                      <a:pt x="99" y="7"/>
                    </a:cubicBezTo>
                    <a:cubicBezTo>
                      <a:pt x="105" y="2"/>
                      <a:pt x="105" y="2"/>
                      <a:pt x="105" y="2"/>
                    </a:cubicBezTo>
                    <a:cubicBezTo>
                      <a:pt x="103" y="2"/>
                      <a:pt x="103" y="2"/>
                      <a:pt x="103" y="2"/>
                    </a:cubicBezTo>
                    <a:cubicBezTo>
                      <a:pt x="98" y="3"/>
                      <a:pt x="98" y="3"/>
                      <a:pt x="98" y="3"/>
                    </a:cubicBezTo>
                    <a:cubicBezTo>
                      <a:pt x="93" y="3"/>
                      <a:pt x="93" y="3"/>
                      <a:pt x="93" y="3"/>
                    </a:cubicBezTo>
                    <a:cubicBezTo>
                      <a:pt x="93" y="3"/>
                      <a:pt x="89" y="5"/>
                      <a:pt x="88" y="7"/>
                    </a:cubicBezTo>
                    <a:cubicBezTo>
                      <a:pt x="87" y="9"/>
                      <a:pt x="90" y="9"/>
                      <a:pt x="90" y="9"/>
                    </a:cubicBezTo>
                    <a:close/>
                    <a:moveTo>
                      <a:pt x="115" y="5"/>
                    </a:moveTo>
                    <a:cubicBezTo>
                      <a:pt x="118" y="5"/>
                      <a:pt x="126" y="2"/>
                      <a:pt x="118" y="2"/>
                    </a:cubicBezTo>
                    <a:cubicBezTo>
                      <a:pt x="112" y="2"/>
                      <a:pt x="109" y="3"/>
                      <a:pt x="109" y="3"/>
                    </a:cubicBezTo>
                    <a:cubicBezTo>
                      <a:pt x="109" y="6"/>
                      <a:pt x="112" y="5"/>
                      <a:pt x="115" y="5"/>
                    </a:cubicBezTo>
                    <a:close/>
                    <a:moveTo>
                      <a:pt x="136" y="2"/>
                    </a:moveTo>
                    <a:cubicBezTo>
                      <a:pt x="135" y="0"/>
                      <a:pt x="135" y="0"/>
                      <a:pt x="135" y="0"/>
                    </a:cubicBezTo>
                    <a:cubicBezTo>
                      <a:pt x="129" y="1"/>
                      <a:pt x="129" y="1"/>
                      <a:pt x="129" y="1"/>
                    </a:cubicBezTo>
                    <a:cubicBezTo>
                      <a:pt x="129" y="5"/>
                      <a:pt x="129" y="5"/>
                      <a:pt x="129" y="5"/>
                    </a:cubicBezTo>
                    <a:lnTo>
                      <a:pt x="136" y="2"/>
                    </a:lnTo>
                    <a:close/>
                  </a:path>
                </a:pathLst>
              </a:custGeom>
              <a:solidFill>
                <a:srgbClr val="FDC795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57" name="Montenegro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710238" y="4976813"/>
                <a:ext cx="187325" cy="233362"/>
              </a:xfrm>
              <a:custGeom>
                <a:avLst/>
                <a:gdLst/>
                <a:ahLst/>
                <a:cxnLst>
                  <a:cxn ang="0">
                    <a:pos x="60" y="0"/>
                  </a:cxn>
                  <a:cxn ang="0">
                    <a:pos x="59" y="9"/>
                  </a:cxn>
                  <a:cxn ang="0">
                    <a:pos x="44" y="9"/>
                  </a:cxn>
                  <a:cxn ang="0">
                    <a:pos x="34" y="2"/>
                  </a:cxn>
                  <a:cxn ang="0">
                    <a:pos x="32" y="13"/>
                  </a:cxn>
                  <a:cxn ang="0">
                    <a:pos x="49" y="36"/>
                  </a:cxn>
                  <a:cxn ang="0">
                    <a:pos x="30" y="32"/>
                  </a:cxn>
                  <a:cxn ang="0">
                    <a:pos x="13" y="43"/>
                  </a:cxn>
                  <a:cxn ang="0">
                    <a:pos x="15" y="70"/>
                  </a:cxn>
                  <a:cxn ang="0">
                    <a:pos x="2" y="78"/>
                  </a:cxn>
                  <a:cxn ang="0">
                    <a:pos x="3" y="108"/>
                  </a:cxn>
                  <a:cxn ang="0">
                    <a:pos x="9" y="108"/>
                  </a:cxn>
                  <a:cxn ang="0">
                    <a:pos x="9" y="127"/>
                  </a:cxn>
                  <a:cxn ang="0">
                    <a:pos x="0" y="133"/>
                  </a:cxn>
                  <a:cxn ang="0">
                    <a:pos x="0" y="144"/>
                  </a:cxn>
                  <a:cxn ang="0">
                    <a:pos x="7" y="148"/>
                  </a:cxn>
                  <a:cxn ang="0">
                    <a:pos x="19" y="136"/>
                  </a:cxn>
                  <a:cxn ang="0">
                    <a:pos x="28" y="138"/>
                  </a:cxn>
                  <a:cxn ang="0">
                    <a:pos x="25" y="159"/>
                  </a:cxn>
                  <a:cxn ang="0">
                    <a:pos x="34" y="165"/>
                  </a:cxn>
                  <a:cxn ang="0">
                    <a:pos x="47" y="163"/>
                  </a:cxn>
                  <a:cxn ang="0">
                    <a:pos x="49" y="170"/>
                  </a:cxn>
                  <a:cxn ang="0">
                    <a:pos x="72" y="189"/>
                  </a:cxn>
                  <a:cxn ang="0">
                    <a:pos x="72" y="199"/>
                  </a:cxn>
                  <a:cxn ang="0">
                    <a:pos x="82" y="205"/>
                  </a:cxn>
                  <a:cxn ang="0">
                    <a:pos x="93" y="208"/>
                  </a:cxn>
                  <a:cxn ang="0">
                    <a:pos x="91" y="193"/>
                  </a:cxn>
                  <a:cxn ang="0">
                    <a:pos x="87" y="174"/>
                  </a:cxn>
                  <a:cxn ang="0">
                    <a:pos x="82" y="172"/>
                  </a:cxn>
                  <a:cxn ang="0">
                    <a:pos x="116" y="106"/>
                  </a:cxn>
                  <a:cxn ang="0">
                    <a:pos x="121" y="108"/>
                  </a:cxn>
                  <a:cxn ang="0">
                    <a:pos x="121" y="121"/>
                  </a:cxn>
                  <a:cxn ang="0">
                    <a:pos x="135" y="129"/>
                  </a:cxn>
                  <a:cxn ang="0">
                    <a:pos x="145" y="122"/>
                  </a:cxn>
                  <a:cxn ang="0">
                    <a:pos x="140" y="116"/>
                  </a:cxn>
                  <a:cxn ang="0">
                    <a:pos x="130" y="96"/>
                  </a:cxn>
                  <a:cxn ang="0">
                    <a:pos x="138" y="90"/>
                  </a:cxn>
                  <a:cxn ang="0">
                    <a:pos x="146" y="90"/>
                  </a:cxn>
                  <a:cxn ang="0">
                    <a:pos x="153" y="92"/>
                  </a:cxn>
                  <a:cxn ang="0">
                    <a:pos x="158" y="83"/>
                  </a:cxn>
                  <a:cxn ang="0">
                    <a:pos x="164" y="78"/>
                  </a:cxn>
                  <a:cxn ang="0">
                    <a:pos x="166" y="66"/>
                  </a:cxn>
                  <a:cxn ang="0">
                    <a:pos x="153" y="63"/>
                  </a:cxn>
                  <a:cxn ang="0">
                    <a:pos x="120" y="47"/>
                  </a:cxn>
                  <a:cxn ang="0">
                    <a:pos x="109" y="43"/>
                  </a:cxn>
                  <a:cxn ang="0">
                    <a:pos x="94" y="30"/>
                  </a:cxn>
                  <a:cxn ang="0">
                    <a:pos x="78" y="19"/>
                  </a:cxn>
                  <a:cxn ang="0">
                    <a:pos x="66" y="10"/>
                  </a:cxn>
                  <a:cxn ang="0">
                    <a:pos x="60" y="0"/>
                  </a:cxn>
                </a:cxnLst>
                <a:rect l="0" t="0" r="r" b="b"/>
                <a:pathLst>
                  <a:path w="166" h="208">
                    <a:moveTo>
                      <a:pt x="60" y="0"/>
                    </a:moveTo>
                    <a:cubicBezTo>
                      <a:pt x="59" y="9"/>
                      <a:pt x="59" y="9"/>
                      <a:pt x="59" y="9"/>
                    </a:cubicBezTo>
                    <a:cubicBezTo>
                      <a:pt x="44" y="9"/>
                      <a:pt x="44" y="9"/>
                      <a:pt x="44" y="9"/>
                    </a:cubicBezTo>
                    <a:cubicBezTo>
                      <a:pt x="34" y="2"/>
                      <a:pt x="34" y="2"/>
                      <a:pt x="34" y="2"/>
                    </a:cubicBezTo>
                    <a:cubicBezTo>
                      <a:pt x="32" y="13"/>
                      <a:pt x="32" y="13"/>
                      <a:pt x="32" y="13"/>
                    </a:cubicBezTo>
                    <a:cubicBezTo>
                      <a:pt x="32" y="13"/>
                      <a:pt x="53" y="30"/>
                      <a:pt x="49" y="36"/>
                    </a:cubicBezTo>
                    <a:cubicBezTo>
                      <a:pt x="44" y="42"/>
                      <a:pt x="36" y="32"/>
                      <a:pt x="30" y="32"/>
                    </a:cubicBezTo>
                    <a:cubicBezTo>
                      <a:pt x="21" y="32"/>
                      <a:pt x="15" y="40"/>
                      <a:pt x="13" y="43"/>
                    </a:cubicBezTo>
                    <a:cubicBezTo>
                      <a:pt x="9" y="49"/>
                      <a:pt x="19" y="66"/>
                      <a:pt x="15" y="70"/>
                    </a:cubicBezTo>
                    <a:cubicBezTo>
                      <a:pt x="11" y="72"/>
                      <a:pt x="6" y="72"/>
                      <a:pt x="2" y="78"/>
                    </a:cubicBezTo>
                    <a:cubicBezTo>
                      <a:pt x="0" y="83"/>
                      <a:pt x="3" y="108"/>
                      <a:pt x="3" y="108"/>
                    </a:cubicBezTo>
                    <a:cubicBezTo>
                      <a:pt x="9" y="108"/>
                      <a:pt x="9" y="108"/>
                      <a:pt x="9" y="108"/>
                    </a:cubicBezTo>
                    <a:cubicBezTo>
                      <a:pt x="9" y="127"/>
                      <a:pt x="9" y="127"/>
                      <a:pt x="9" y="127"/>
                    </a:cubicBezTo>
                    <a:cubicBezTo>
                      <a:pt x="0" y="133"/>
                      <a:pt x="0" y="133"/>
                      <a:pt x="0" y="133"/>
                    </a:cubicBezTo>
                    <a:cubicBezTo>
                      <a:pt x="0" y="144"/>
                      <a:pt x="0" y="144"/>
                      <a:pt x="0" y="144"/>
                    </a:cubicBezTo>
                    <a:cubicBezTo>
                      <a:pt x="7" y="148"/>
                      <a:pt x="7" y="148"/>
                      <a:pt x="7" y="148"/>
                    </a:cubicBezTo>
                    <a:cubicBezTo>
                      <a:pt x="19" y="136"/>
                      <a:pt x="19" y="136"/>
                      <a:pt x="19" y="136"/>
                    </a:cubicBezTo>
                    <a:cubicBezTo>
                      <a:pt x="28" y="138"/>
                      <a:pt x="28" y="138"/>
                      <a:pt x="28" y="138"/>
                    </a:cubicBezTo>
                    <a:cubicBezTo>
                      <a:pt x="25" y="159"/>
                      <a:pt x="25" y="159"/>
                      <a:pt x="25" y="159"/>
                    </a:cubicBezTo>
                    <a:cubicBezTo>
                      <a:pt x="34" y="165"/>
                      <a:pt x="34" y="165"/>
                      <a:pt x="34" y="165"/>
                    </a:cubicBezTo>
                    <a:cubicBezTo>
                      <a:pt x="47" y="163"/>
                      <a:pt x="47" y="163"/>
                      <a:pt x="47" y="163"/>
                    </a:cubicBezTo>
                    <a:cubicBezTo>
                      <a:pt x="49" y="170"/>
                      <a:pt x="49" y="170"/>
                      <a:pt x="49" y="170"/>
                    </a:cubicBezTo>
                    <a:cubicBezTo>
                      <a:pt x="72" y="189"/>
                      <a:pt x="72" y="189"/>
                      <a:pt x="72" y="189"/>
                    </a:cubicBezTo>
                    <a:cubicBezTo>
                      <a:pt x="72" y="199"/>
                      <a:pt x="72" y="199"/>
                      <a:pt x="72" y="199"/>
                    </a:cubicBezTo>
                    <a:cubicBezTo>
                      <a:pt x="82" y="205"/>
                      <a:pt x="82" y="205"/>
                      <a:pt x="82" y="205"/>
                    </a:cubicBezTo>
                    <a:cubicBezTo>
                      <a:pt x="93" y="208"/>
                      <a:pt x="93" y="208"/>
                      <a:pt x="93" y="208"/>
                    </a:cubicBezTo>
                    <a:cubicBezTo>
                      <a:pt x="91" y="193"/>
                      <a:pt x="91" y="193"/>
                      <a:pt x="91" y="193"/>
                    </a:cubicBezTo>
                    <a:cubicBezTo>
                      <a:pt x="87" y="174"/>
                      <a:pt x="87" y="174"/>
                      <a:pt x="87" y="174"/>
                    </a:cubicBezTo>
                    <a:cubicBezTo>
                      <a:pt x="82" y="172"/>
                      <a:pt x="82" y="172"/>
                      <a:pt x="82" y="172"/>
                    </a:cubicBezTo>
                    <a:cubicBezTo>
                      <a:pt x="116" y="106"/>
                      <a:pt x="116" y="106"/>
                      <a:pt x="116" y="106"/>
                    </a:cubicBezTo>
                    <a:cubicBezTo>
                      <a:pt x="121" y="108"/>
                      <a:pt x="121" y="108"/>
                      <a:pt x="121" y="108"/>
                    </a:cubicBezTo>
                    <a:cubicBezTo>
                      <a:pt x="121" y="121"/>
                      <a:pt x="121" y="121"/>
                      <a:pt x="121" y="121"/>
                    </a:cubicBezTo>
                    <a:cubicBezTo>
                      <a:pt x="135" y="129"/>
                      <a:pt x="135" y="129"/>
                      <a:pt x="135" y="129"/>
                    </a:cubicBezTo>
                    <a:cubicBezTo>
                      <a:pt x="145" y="122"/>
                      <a:pt x="145" y="122"/>
                      <a:pt x="145" y="122"/>
                    </a:cubicBezTo>
                    <a:cubicBezTo>
                      <a:pt x="140" y="116"/>
                      <a:pt x="140" y="116"/>
                      <a:pt x="140" y="116"/>
                    </a:cubicBezTo>
                    <a:cubicBezTo>
                      <a:pt x="130" y="96"/>
                      <a:pt x="130" y="96"/>
                      <a:pt x="130" y="96"/>
                    </a:cubicBezTo>
                    <a:cubicBezTo>
                      <a:pt x="138" y="90"/>
                      <a:pt x="138" y="90"/>
                      <a:pt x="138" y="90"/>
                    </a:cubicBezTo>
                    <a:cubicBezTo>
                      <a:pt x="146" y="90"/>
                      <a:pt x="146" y="90"/>
                      <a:pt x="146" y="90"/>
                    </a:cubicBezTo>
                    <a:cubicBezTo>
                      <a:pt x="153" y="92"/>
                      <a:pt x="153" y="92"/>
                      <a:pt x="153" y="92"/>
                    </a:cubicBezTo>
                    <a:cubicBezTo>
                      <a:pt x="158" y="83"/>
                      <a:pt x="158" y="83"/>
                      <a:pt x="158" y="83"/>
                    </a:cubicBezTo>
                    <a:cubicBezTo>
                      <a:pt x="164" y="78"/>
                      <a:pt x="164" y="78"/>
                      <a:pt x="164" y="78"/>
                    </a:cubicBezTo>
                    <a:cubicBezTo>
                      <a:pt x="166" y="66"/>
                      <a:pt x="166" y="66"/>
                      <a:pt x="166" y="66"/>
                    </a:cubicBezTo>
                    <a:cubicBezTo>
                      <a:pt x="153" y="63"/>
                      <a:pt x="153" y="63"/>
                      <a:pt x="153" y="63"/>
                    </a:cubicBezTo>
                    <a:cubicBezTo>
                      <a:pt x="120" y="47"/>
                      <a:pt x="120" y="47"/>
                      <a:pt x="120" y="47"/>
                    </a:cubicBezTo>
                    <a:cubicBezTo>
                      <a:pt x="109" y="43"/>
                      <a:pt x="109" y="43"/>
                      <a:pt x="109" y="43"/>
                    </a:cubicBezTo>
                    <a:cubicBezTo>
                      <a:pt x="94" y="30"/>
                      <a:pt x="94" y="30"/>
                      <a:pt x="94" y="30"/>
                    </a:cubicBezTo>
                    <a:cubicBezTo>
                      <a:pt x="78" y="19"/>
                      <a:pt x="78" y="19"/>
                      <a:pt x="78" y="19"/>
                    </a:cubicBezTo>
                    <a:cubicBezTo>
                      <a:pt x="66" y="10"/>
                      <a:pt x="66" y="10"/>
                      <a:pt x="66" y="10"/>
                    </a:cubicBezTo>
                    <a:lnTo>
                      <a:pt x="60" y="0"/>
                    </a:lnTo>
                    <a:close/>
                  </a:path>
                </a:pathLst>
              </a:custGeom>
              <a:solidFill>
                <a:schemeClr val="bg1"/>
              </a:solidFill>
              <a:ln w="3175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58" name="Macedonia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937250" y="5105400"/>
                <a:ext cx="268287" cy="225425"/>
              </a:xfrm>
              <a:custGeom>
                <a:avLst/>
                <a:gdLst/>
                <a:ahLst/>
                <a:cxnLst>
                  <a:cxn ang="0">
                    <a:pos x="122" y="42"/>
                  </a:cxn>
                  <a:cxn ang="0">
                    <a:pos x="125" y="33"/>
                  </a:cxn>
                  <a:cxn ang="0">
                    <a:pos x="116" y="29"/>
                  </a:cxn>
                  <a:cxn ang="0">
                    <a:pos x="115" y="16"/>
                  </a:cxn>
                  <a:cxn ang="0">
                    <a:pos x="105" y="16"/>
                  </a:cxn>
                  <a:cxn ang="0">
                    <a:pos x="95" y="9"/>
                  </a:cxn>
                  <a:cxn ang="0">
                    <a:pos x="86" y="3"/>
                  </a:cxn>
                  <a:cxn ang="0">
                    <a:pos x="82" y="0"/>
                  </a:cxn>
                  <a:cxn ang="0">
                    <a:pos x="75" y="7"/>
                  </a:cxn>
                  <a:cxn ang="0">
                    <a:pos x="65" y="5"/>
                  </a:cxn>
                  <a:cxn ang="0">
                    <a:pos x="53" y="12"/>
                  </a:cxn>
                  <a:cxn ang="0">
                    <a:pos x="43" y="12"/>
                  </a:cxn>
                  <a:cxn ang="0">
                    <a:pos x="35" y="27"/>
                  </a:cxn>
                  <a:cxn ang="0">
                    <a:pos x="26" y="18"/>
                  </a:cxn>
                  <a:cxn ang="0">
                    <a:pos x="21" y="24"/>
                  </a:cxn>
                  <a:cxn ang="0">
                    <a:pos x="11" y="29"/>
                  </a:cxn>
                  <a:cxn ang="0">
                    <a:pos x="13" y="43"/>
                  </a:cxn>
                  <a:cxn ang="0">
                    <a:pos x="3" y="49"/>
                  </a:cxn>
                  <a:cxn ang="0">
                    <a:pos x="5" y="61"/>
                  </a:cxn>
                  <a:cxn ang="0">
                    <a:pos x="0" y="65"/>
                  </a:cxn>
                  <a:cxn ang="0">
                    <a:pos x="7" y="74"/>
                  </a:cxn>
                  <a:cxn ang="0">
                    <a:pos x="3" y="79"/>
                  </a:cxn>
                  <a:cxn ang="0">
                    <a:pos x="10" y="93"/>
                  </a:cxn>
                  <a:cxn ang="0">
                    <a:pos x="15" y="94"/>
                  </a:cxn>
                  <a:cxn ang="0">
                    <a:pos x="19" y="106"/>
                  </a:cxn>
                  <a:cxn ang="0">
                    <a:pos x="26" y="102"/>
                  </a:cxn>
                  <a:cxn ang="0">
                    <a:pos x="31" y="103"/>
                  </a:cxn>
                  <a:cxn ang="0">
                    <a:pos x="32" y="106"/>
                  </a:cxn>
                  <a:cxn ang="0">
                    <a:pos x="48" y="105"/>
                  </a:cxn>
                  <a:cxn ang="0">
                    <a:pos x="57" y="99"/>
                  </a:cxn>
                  <a:cxn ang="0">
                    <a:pos x="63" y="101"/>
                  </a:cxn>
                  <a:cxn ang="0">
                    <a:pos x="73" y="95"/>
                  </a:cxn>
                  <a:cxn ang="0">
                    <a:pos x="76" y="83"/>
                  </a:cxn>
                  <a:cxn ang="0">
                    <a:pos x="82" y="79"/>
                  </a:cxn>
                  <a:cxn ang="0">
                    <a:pos x="89" y="80"/>
                  </a:cxn>
                  <a:cxn ang="0">
                    <a:pos x="93" y="77"/>
                  </a:cxn>
                  <a:cxn ang="0">
                    <a:pos x="112" y="78"/>
                  </a:cxn>
                  <a:cxn ang="0">
                    <a:pos x="113" y="74"/>
                  </a:cxn>
                  <a:cxn ang="0">
                    <a:pos x="117" y="77"/>
                  </a:cxn>
                  <a:cxn ang="0">
                    <a:pos x="117" y="63"/>
                  </a:cxn>
                  <a:cxn ang="0">
                    <a:pos x="126" y="62"/>
                  </a:cxn>
                  <a:cxn ang="0">
                    <a:pos x="122" y="42"/>
                  </a:cxn>
                </a:cxnLst>
                <a:rect l="0" t="0" r="r" b="b"/>
                <a:pathLst>
                  <a:path w="126" h="106">
                    <a:moveTo>
                      <a:pt x="122" y="42"/>
                    </a:moveTo>
                    <a:cubicBezTo>
                      <a:pt x="125" y="33"/>
                      <a:pt x="125" y="33"/>
                      <a:pt x="125" y="33"/>
                    </a:cubicBezTo>
                    <a:cubicBezTo>
                      <a:pt x="116" y="29"/>
                      <a:pt x="116" y="29"/>
                      <a:pt x="116" y="29"/>
                    </a:cubicBezTo>
                    <a:cubicBezTo>
                      <a:pt x="115" y="16"/>
                      <a:pt x="115" y="16"/>
                      <a:pt x="115" y="16"/>
                    </a:cubicBezTo>
                    <a:cubicBezTo>
                      <a:pt x="105" y="16"/>
                      <a:pt x="105" y="16"/>
                      <a:pt x="105" y="16"/>
                    </a:cubicBezTo>
                    <a:cubicBezTo>
                      <a:pt x="100" y="17"/>
                      <a:pt x="97" y="12"/>
                      <a:pt x="95" y="9"/>
                    </a:cubicBezTo>
                    <a:cubicBezTo>
                      <a:pt x="93" y="7"/>
                      <a:pt x="86" y="3"/>
                      <a:pt x="86" y="3"/>
                    </a:cubicBezTo>
                    <a:cubicBezTo>
                      <a:pt x="82" y="0"/>
                      <a:pt x="82" y="0"/>
                      <a:pt x="82" y="0"/>
                    </a:cubicBezTo>
                    <a:cubicBezTo>
                      <a:pt x="75" y="7"/>
                      <a:pt x="75" y="7"/>
                      <a:pt x="75" y="7"/>
                    </a:cubicBezTo>
                    <a:cubicBezTo>
                      <a:pt x="65" y="5"/>
                      <a:pt x="65" y="5"/>
                      <a:pt x="65" y="5"/>
                    </a:cubicBezTo>
                    <a:cubicBezTo>
                      <a:pt x="65" y="5"/>
                      <a:pt x="58" y="12"/>
                      <a:pt x="53" y="12"/>
                    </a:cubicBezTo>
                    <a:cubicBezTo>
                      <a:pt x="49" y="13"/>
                      <a:pt x="43" y="12"/>
                      <a:pt x="43" y="12"/>
                    </a:cubicBezTo>
                    <a:cubicBezTo>
                      <a:pt x="35" y="27"/>
                      <a:pt x="35" y="27"/>
                      <a:pt x="35" y="27"/>
                    </a:cubicBezTo>
                    <a:cubicBezTo>
                      <a:pt x="26" y="18"/>
                      <a:pt x="26" y="18"/>
                      <a:pt x="26" y="18"/>
                    </a:cubicBezTo>
                    <a:cubicBezTo>
                      <a:pt x="21" y="24"/>
                      <a:pt x="21" y="24"/>
                      <a:pt x="21" y="24"/>
                    </a:cubicBezTo>
                    <a:cubicBezTo>
                      <a:pt x="21" y="24"/>
                      <a:pt x="14" y="24"/>
                      <a:pt x="11" y="29"/>
                    </a:cubicBezTo>
                    <a:cubicBezTo>
                      <a:pt x="9" y="33"/>
                      <a:pt x="13" y="43"/>
                      <a:pt x="13" y="43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5" y="61"/>
                      <a:pt x="5" y="61"/>
                      <a:pt x="5" y="61"/>
                    </a:cubicBezTo>
                    <a:cubicBezTo>
                      <a:pt x="0" y="65"/>
                      <a:pt x="0" y="65"/>
                      <a:pt x="0" y="65"/>
                    </a:cubicBezTo>
                    <a:cubicBezTo>
                      <a:pt x="7" y="74"/>
                      <a:pt x="7" y="74"/>
                      <a:pt x="7" y="74"/>
                    </a:cubicBezTo>
                    <a:cubicBezTo>
                      <a:pt x="3" y="79"/>
                      <a:pt x="3" y="79"/>
                      <a:pt x="3" y="79"/>
                    </a:cubicBezTo>
                    <a:cubicBezTo>
                      <a:pt x="10" y="93"/>
                      <a:pt x="10" y="93"/>
                      <a:pt x="10" y="93"/>
                    </a:cubicBezTo>
                    <a:cubicBezTo>
                      <a:pt x="15" y="94"/>
                      <a:pt x="15" y="94"/>
                      <a:pt x="15" y="94"/>
                    </a:cubicBezTo>
                    <a:cubicBezTo>
                      <a:pt x="19" y="106"/>
                      <a:pt x="19" y="106"/>
                      <a:pt x="19" y="106"/>
                    </a:cubicBezTo>
                    <a:cubicBezTo>
                      <a:pt x="26" y="102"/>
                      <a:pt x="26" y="102"/>
                      <a:pt x="26" y="102"/>
                    </a:cubicBezTo>
                    <a:cubicBezTo>
                      <a:pt x="31" y="103"/>
                      <a:pt x="31" y="103"/>
                      <a:pt x="31" y="103"/>
                    </a:cubicBezTo>
                    <a:cubicBezTo>
                      <a:pt x="32" y="106"/>
                      <a:pt x="32" y="106"/>
                      <a:pt x="32" y="106"/>
                    </a:cubicBezTo>
                    <a:cubicBezTo>
                      <a:pt x="48" y="105"/>
                      <a:pt x="48" y="105"/>
                      <a:pt x="48" y="105"/>
                    </a:cubicBezTo>
                    <a:cubicBezTo>
                      <a:pt x="48" y="105"/>
                      <a:pt x="53" y="99"/>
                      <a:pt x="57" y="99"/>
                    </a:cubicBezTo>
                    <a:cubicBezTo>
                      <a:pt x="59" y="99"/>
                      <a:pt x="63" y="101"/>
                      <a:pt x="63" y="101"/>
                    </a:cubicBezTo>
                    <a:cubicBezTo>
                      <a:pt x="63" y="101"/>
                      <a:pt x="69" y="97"/>
                      <a:pt x="73" y="95"/>
                    </a:cubicBezTo>
                    <a:cubicBezTo>
                      <a:pt x="76" y="92"/>
                      <a:pt x="74" y="88"/>
                      <a:pt x="76" y="83"/>
                    </a:cubicBezTo>
                    <a:cubicBezTo>
                      <a:pt x="78" y="80"/>
                      <a:pt x="82" y="79"/>
                      <a:pt x="82" y="79"/>
                    </a:cubicBezTo>
                    <a:cubicBezTo>
                      <a:pt x="89" y="80"/>
                      <a:pt x="89" y="80"/>
                      <a:pt x="89" y="80"/>
                    </a:cubicBezTo>
                    <a:cubicBezTo>
                      <a:pt x="93" y="77"/>
                      <a:pt x="93" y="77"/>
                      <a:pt x="93" y="77"/>
                    </a:cubicBezTo>
                    <a:cubicBezTo>
                      <a:pt x="112" y="78"/>
                      <a:pt x="112" y="78"/>
                      <a:pt x="112" y="78"/>
                    </a:cubicBezTo>
                    <a:cubicBezTo>
                      <a:pt x="113" y="74"/>
                      <a:pt x="113" y="74"/>
                      <a:pt x="113" y="74"/>
                    </a:cubicBezTo>
                    <a:cubicBezTo>
                      <a:pt x="117" y="77"/>
                      <a:pt x="117" y="77"/>
                      <a:pt x="117" y="77"/>
                    </a:cubicBezTo>
                    <a:cubicBezTo>
                      <a:pt x="117" y="77"/>
                      <a:pt x="116" y="67"/>
                      <a:pt x="117" y="63"/>
                    </a:cubicBezTo>
                    <a:cubicBezTo>
                      <a:pt x="117" y="60"/>
                      <a:pt x="126" y="62"/>
                      <a:pt x="126" y="62"/>
                    </a:cubicBezTo>
                    <a:lnTo>
                      <a:pt x="122" y="42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59" name="Malta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5295900" y="6042026"/>
                <a:ext cx="134893" cy="92074"/>
              </a:xfrm>
              <a:custGeom>
                <a:avLst/>
                <a:gdLst/>
                <a:ahLst/>
                <a:cxnLst>
                  <a:cxn ang="0">
                    <a:pos x="7" y="3"/>
                  </a:cxn>
                  <a:cxn ang="0">
                    <a:pos x="2" y="4"/>
                  </a:cxn>
                  <a:cxn ang="0">
                    <a:pos x="5" y="8"/>
                  </a:cxn>
                  <a:cxn ang="0">
                    <a:pos x="7" y="3"/>
                  </a:cxn>
                  <a:cxn ang="0">
                    <a:pos x="16" y="11"/>
                  </a:cxn>
                  <a:cxn ang="0">
                    <a:pos x="14" y="12"/>
                  </a:cxn>
                  <a:cxn ang="0">
                    <a:pos x="11" y="9"/>
                  </a:cxn>
                  <a:cxn ang="0">
                    <a:pos x="9" y="11"/>
                  </a:cxn>
                  <a:cxn ang="0">
                    <a:pos x="10" y="15"/>
                  </a:cxn>
                  <a:cxn ang="0">
                    <a:pos x="19" y="20"/>
                  </a:cxn>
                  <a:cxn ang="0">
                    <a:pos x="23" y="15"/>
                  </a:cxn>
                  <a:cxn ang="0">
                    <a:pos x="16" y="11"/>
                  </a:cxn>
                </a:cxnLst>
                <a:rect l="0" t="0" r="r" b="b"/>
                <a:pathLst>
                  <a:path w="23" h="20">
                    <a:moveTo>
                      <a:pt x="7" y="3"/>
                    </a:moveTo>
                    <a:cubicBezTo>
                      <a:pt x="0" y="0"/>
                      <a:pt x="2" y="4"/>
                      <a:pt x="2" y="4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9" y="9"/>
                      <a:pt x="15" y="5"/>
                      <a:pt x="7" y="3"/>
                    </a:cubicBezTo>
                    <a:close/>
                    <a:moveTo>
                      <a:pt x="16" y="11"/>
                    </a:moveTo>
                    <a:cubicBezTo>
                      <a:pt x="14" y="12"/>
                      <a:pt x="14" y="12"/>
                      <a:pt x="14" y="12"/>
                    </a:cubicBezTo>
                    <a:cubicBezTo>
                      <a:pt x="11" y="9"/>
                      <a:pt x="11" y="9"/>
                      <a:pt x="11" y="9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10" y="15"/>
                      <a:pt x="10" y="15"/>
                      <a:pt x="10" y="15"/>
                    </a:cubicBezTo>
                    <a:cubicBezTo>
                      <a:pt x="10" y="15"/>
                      <a:pt x="15" y="20"/>
                      <a:pt x="19" y="20"/>
                    </a:cubicBezTo>
                    <a:cubicBezTo>
                      <a:pt x="23" y="20"/>
                      <a:pt x="23" y="15"/>
                      <a:pt x="23" y="15"/>
                    </a:cubicBezTo>
                    <a:lnTo>
                      <a:pt x="16" y="11"/>
                    </a:ln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63" name="Luxembourg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4456113" y="4092575"/>
                <a:ext cx="74612" cy="106362"/>
              </a:xfrm>
              <a:custGeom>
                <a:avLst/>
                <a:gdLst/>
                <a:ahLst/>
                <a:cxnLst>
                  <a:cxn ang="0">
                    <a:pos x="34" y="30"/>
                  </a:cxn>
                  <a:cxn ang="0">
                    <a:pos x="28" y="21"/>
                  </a:cxn>
                  <a:cxn ang="0">
                    <a:pos x="19" y="5"/>
                  </a:cxn>
                  <a:cxn ang="0">
                    <a:pos x="19" y="2"/>
                  </a:cxn>
                  <a:cxn ang="0">
                    <a:pos x="10" y="0"/>
                  </a:cxn>
                  <a:cxn ang="0">
                    <a:pos x="3" y="14"/>
                  </a:cxn>
                  <a:cxn ang="0">
                    <a:pos x="0" y="15"/>
                  </a:cxn>
                  <a:cxn ang="0">
                    <a:pos x="4" y="34"/>
                  </a:cxn>
                  <a:cxn ang="0">
                    <a:pos x="1" y="42"/>
                  </a:cxn>
                  <a:cxn ang="0">
                    <a:pos x="0" y="42"/>
                  </a:cxn>
                  <a:cxn ang="0">
                    <a:pos x="5" y="44"/>
                  </a:cxn>
                  <a:cxn ang="0">
                    <a:pos x="10" y="49"/>
                  </a:cxn>
                  <a:cxn ang="0">
                    <a:pos x="18" y="45"/>
                  </a:cxn>
                  <a:cxn ang="0">
                    <a:pos x="23" y="47"/>
                  </a:cxn>
                  <a:cxn ang="0">
                    <a:pos x="27" y="46"/>
                  </a:cxn>
                  <a:cxn ang="0">
                    <a:pos x="26" y="43"/>
                  </a:cxn>
                  <a:cxn ang="0">
                    <a:pos x="27" y="37"/>
                  </a:cxn>
                  <a:cxn ang="0">
                    <a:pos x="34" y="30"/>
                  </a:cxn>
                </a:cxnLst>
                <a:rect l="0" t="0" r="r" b="b"/>
                <a:pathLst>
                  <a:path w="35" h="50">
                    <a:moveTo>
                      <a:pt x="34" y="30"/>
                    </a:moveTo>
                    <a:cubicBezTo>
                      <a:pt x="35" y="22"/>
                      <a:pt x="29" y="26"/>
                      <a:pt x="28" y="21"/>
                    </a:cubicBezTo>
                    <a:cubicBezTo>
                      <a:pt x="23" y="22"/>
                      <a:pt x="19" y="12"/>
                      <a:pt x="19" y="5"/>
                    </a:cubicBezTo>
                    <a:cubicBezTo>
                      <a:pt x="19" y="2"/>
                      <a:pt x="19" y="2"/>
                      <a:pt x="19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3" y="14"/>
                      <a:pt x="3" y="14"/>
                      <a:pt x="3" y="14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4" y="34"/>
                      <a:pt x="4" y="34"/>
                      <a:pt x="4" y="34"/>
                    </a:cubicBezTo>
                    <a:cubicBezTo>
                      <a:pt x="1" y="42"/>
                      <a:pt x="1" y="42"/>
                      <a:pt x="1" y="42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5" y="44"/>
                      <a:pt x="5" y="44"/>
                      <a:pt x="5" y="44"/>
                    </a:cubicBezTo>
                    <a:cubicBezTo>
                      <a:pt x="5" y="44"/>
                      <a:pt x="5" y="50"/>
                      <a:pt x="10" y="49"/>
                    </a:cubicBezTo>
                    <a:cubicBezTo>
                      <a:pt x="17" y="49"/>
                      <a:pt x="15" y="44"/>
                      <a:pt x="18" y="45"/>
                    </a:cubicBezTo>
                    <a:cubicBezTo>
                      <a:pt x="21" y="45"/>
                      <a:pt x="21" y="47"/>
                      <a:pt x="23" y="47"/>
                    </a:cubicBezTo>
                    <a:cubicBezTo>
                      <a:pt x="24" y="47"/>
                      <a:pt x="25" y="47"/>
                      <a:pt x="27" y="46"/>
                    </a:cubicBezTo>
                    <a:cubicBezTo>
                      <a:pt x="26" y="46"/>
                      <a:pt x="26" y="45"/>
                      <a:pt x="26" y="43"/>
                    </a:cubicBezTo>
                    <a:cubicBezTo>
                      <a:pt x="26" y="41"/>
                      <a:pt x="25" y="38"/>
                      <a:pt x="27" y="37"/>
                    </a:cubicBezTo>
                    <a:cubicBezTo>
                      <a:pt x="28" y="36"/>
                      <a:pt x="33" y="31"/>
                      <a:pt x="34" y="30"/>
                    </a:cubicBezTo>
                    <a:close/>
                  </a:path>
                </a:pathLst>
              </a:custGeom>
              <a:solidFill>
                <a:schemeClr val="accent2">
                  <a:lumMod val="40000"/>
                  <a:lumOff val="60000"/>
                </a:schemeClr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65" name="Lithonia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737225" y="3146425"/>
                <a:ext cx="473075" cy="357187"/>
              </a:xfrm>
              <a:custGeom>
                <a:avLst/>
                <a:gdLst/>
                <a:ahLst/>
                <a:cxnLst>
                  <a:cxn ang="0">
                    <a:pos x="87" y="142"/>
                  </a:cxn>
                  <a:cxn ang="0">
                    <a:pos x="110" y="154"/>
                  </a:cxn>
                  <a:cxn ang="0">
                    <a:pos x="114" y="168"/>
                  </a:cxn>
                  <a:cxn ang="0">
                    <a:pos x="127" y="163"/>
                  </a:cxn>
                  <a:cxn ang="0">
                    <a:pos x="141" y="163"/>
                  </a:cxn>
                  <a:cxn ang="0">
                    <a:pos x="155" y="158"/>
                  </a:cxn>
                  <a:cxn ang="0">
                    <a:pos x="161" y="146"/>
                  </a:cxn>
                  <a:cxn ang="0">
                    <a:pos x="175" y="136"/>
                  </a:cxn>
                  <a:cxn ang="0">
                    <a:pos x="189" y="142"/>
                  </a:cxn>
                  <a:cxn ang="0">
                    <a:pos x="188" y="129"/>
                  </a:cxn>
                  <a:cxn ang="0">
                    <a:pos x="188" y="96"/>
                  </a:cxn>
                  <a:cxn ang="0">
                    <a:pos x="203" y="74"/>
                  </a:cxn>
                  <a:cxn ang="0">
                    <a:pos x="218" y="65"/>
                  </a:cxn>
                  <a:cxn ang="0">
                    <a:pos x="207" y="58"/>
                  </a:cxn>
                  <a:cxn ang="0">
                    <a:pos x="210" y="42"/>
                  </a:cxn>
                  <a:cxn ang="0">
                    <a:pos x="197" y="33"/>
                  </a:cxn>
                  <a:cxn ang="0">
                    <a:pos x="191" y="29"/>
                  </a:cxn>
                  <a:cxn ang="0">
                    <a:pos x="169" y="15"/>
                  </a:cxn>
                  <a:cxn ang="0">
                    <a:pos x="148" y="14"/>
                  </a:cxn>
                  <a:cxn ang="0">
                    <a:pos x="137" y="0"/>
                  </a:cxn>
                  <a:cxn ang="0">
                    <a:pos x="127" y="12"/>
                  </a:cxn>
                  <a:cxn ang="0">
                    <a:pos x="120" y="12"/>
                  </a:cxn>
                  <a:cxn ang="0">
                    <a:pos x="107" y="10"/>
                  </a:cxn>
                  <a:cxn ang="0">
                    <a:pos x="90" y="15"/>
                  </a:cxn>
                  <a:cxn ang="0">
                    <a:pos x="77" y="13"/>
                  </a:cxn>
                  <a:cxn ang="0">
                    <a:pos x="71" y="18"/>
                  </a:cxn>
                  <a:cxn ang="0">
                    <a:pos x="66" y="13"/>
                  </a:cxn>
                  <a:cxn ang="0">
                    <a:pos x="54" y="15"/>
                  </a:cxn>
                  <a:cxn ang="0">
                    <a:pos x="31" y="21"/>
                  </a:cxn>
                  <a:cxn ang="0">
                    <a:pos x="23" y="24"/>
                  </a:cxn>
                  <a:cxn ang="0">
                    <a:pos x="7" y="40"/>
                  </a:cxn>
                  <a:cxn ang="0">
                    <a:pos x="4" y="40"/>
                  </a:cxn>
                  <a:cxn ang="0">
                    <a:pos x="5" y="62"/>
                  </a:cxn>
                  <a:cxn ang="0">
                    <a:pos x="6" y="72"/>
                  </a:cxn>
                  <a:cxn ang="0">
                    <a:pos x="5" y="94"/>
                  </a:cxn>
                  <a:cxn ang="0">
                    <a:pos x="9" y="86"/>
                  </a:cxn>
                  <a:cxn ang="0">
                    <a:pos x="9" y="71"/>
                  </a:cxn>
                  <a:cxn ang="0">
                    <a:pos x="14" y="87"/>
                  </a:cxn>
                  <a:cxn ang="0">
                    <a:pos x="16" y="92"/>
                  </a:cxn>
                  <a:cxn ang="0">
                    <a:pos x="24" y="100"/>
                  </a:cxn>
                  <a:cxn ang="0">
                    <a:pos x="37" y="102"/>
                  </a:cxn>
                  <a:cxn ang="0">
                    <a:pos x="48" y="107"/>
                  </a:cxn>
                  <a:cxn ang="0">
                    <a:pos x="69" y="103"/>
                  </a:cxn>
                  <a:cxn ang="0">
                    <a:pos x="77" y="120"/>
                  </a:cxn>
                  <a:cxn ang="0">
                    <a:pos x="81" y="146"/>
                  </a:cxn>
                </a:cxnLst>
                <a:rect l="0" t="0" r="r" b="b"/>
                <a:pathLst>
                  <a:path w="222" h="168">
                    <a:moveTo>
                      <a:pt x="83" y="146"/>
                    </a:moveTo>
                    <a:cubicBezTo>
                      <a:pt x="83" y="146"/>
                      <a:pt x="84" y="141"/>
                      <a:pt x="87" y="142"/>
                    </a:cubicBezTo>
                    <a:cubicBezTo>
                      <a:pt x="90" y="143"/>
                      <a:pt x="89" y="147"/>
                      <a:pt x="93" y="148"/>
                    </a:cubicBezTo>
                    <a:cubicBezTo>
                      <a:pt x="97" y="148"/>
                      <a:pt x="105" y="146"/>
                      <a:pt x="110" y="154"/>
                    </a:cubicBezTo>
                    <a:cubicBezTo>
                      <a:pt x="114" y="162"/>
                      <a:pt x="111" y="165"/>
                      <a:pt x="111" y="165"/>
                    </a:cubicBezTo>
                    <a:cubicBezTo>
                      <a:pt x="114" y="168"/>
                      <a:pt x="114" y="168"/>
                      <a:pt x="114" y="168"/>
                    </a:cubicBezTo>
                    <a:cubicBezTo>
                      <a:pt x="126" y="167"/>
                      <a:pt x="126" y="167"/>
                      <a:pt x="126" y="167"/>
                    </a:cubicBezTo>
                    <a:cubicBezTo>
                      <a:pt x="127" y="163"/>
                      <a:pt x="127" y="163"/>
                      <a:pt x="127" y="163"/>
                    </a:cubicBezTo>
                    <a:cubicBezTo>
                      <a:pt x="134" y="165"/>
                      <a:pt x="134" y="165"/>
                      <a:pt x="134" y="165"/>
                    </a:cubicBezTo>
                    <a:cubicBezTo>
                      <a:pt x="141" y="163"/>
                      <a:pt x="141" y="163"/>
                      <a:pt x="141" y="163"/>
                    </a:cubicBezTo>
                    <a:cubicBezTo>
                      <a:pt x="148" y="166"/>
                      <a:pt x="148" y="166"/>
                      <a:pt x="148" y="166"/>
                    </a:cubicBezTo>
                    <a:cubicBezTo>
                      <a:pt x="155" y="158"/>
                      <a:pt x="155" y="158"/>
                      <a:pt x="155" y="158"/>
                    </a:cubicBezTo>
                    <a:cubicBezTo>
                      <a:pt x="155" y="158"/>
                      <a:pt x="159" y="160"/>
                      <a:pt x="163" y="158"/>
                    </a:cubicBezTo>
                    <a:cubicBezTo>
                      <a:pt x="167" y="157"/>
                      <a:pt x="160" y="148"/>
                      <a:pt x="161" y="146"/>
                    </a:cubicBezTo>
                    <a:cubicBezTo>
                      <a:pt x="163" y="143"/>
                      <a:pt x="171" y="146"/>
                      <a:pt x="171" y="146"/>
                    </a:cubicBezTo>
                    <a:cubicBezTo>
                      <a:pt x="175" y="136"/>
                      <a:pt x="175" y="136"/>
                      <a:pt x="175" y="136"/>
                    </a:cubicBezTo>
                    <a:cubicBezTo>
                      <a:pt x="175" y="136"/>
                      <a:pt x="181" y="134"/>
                      <a:pt x="186" y="134"/>
                    </a:cubicBezTo>
                    <a:cubicBezTo>
                      <a:pt x="190" y="133"/>
                      <a:pt x="186" y="139"/>
                      <a:pt x="189" y="142"/>
                    </a:cubicBezTo>
                    <a:cubicBezTo>
                      <a:pt x="192" y="145"/>
                      <a:pt x="199" y="140"/>
                      <a:pt x="197" y="133"/>
                    </a:cubicBezTo>
                    <a:cubicBezTo>
                      <a:pt x="197" y="128"/>
                      <a:pt x="188" y="129"/>
                      <a:pt x="188" y="129"/>
                    </a:cubicBezTo>
                    <a:cubicBezTo>
                      <a:pt x="191" y="113"/>
                      <a:pt x="191" y="113"/>
                      <a:pt x="191" y="113"/>
                    </a:cubicBezTo>
                    <a:cubicBezTo>
                      <a:pt x="191" y="113"/>
                      <a:pt x="188" y="101"/>
                      <a:pt x="188" y="96"/>
                    </a:cubicBezTo>
                    <a:cubicBezTo>
                      <a:pt x="188" y="92"/>
                      <a:pt x="195" y="87"/>
                      <a:pt x="200" y="86"/>
                    </a:cubicBezTo>
                    <a:cubicBezTo>
                      <a:pt x="204" y="84"/>
                      <a:pt x="203" y="74"/>
                      <a:pt x="203" y="74"/>
                    </a:cubicBezTo>
                    <a:cubicBezTo>
                      <a:pt x="218" y="70"/>
                      <a:pt x="218" y="70"/>
                      <a:pt x="218" y="70"/>
                    </a:cubicBezTo>
                    <a:cubicBezTo>
                      <a:pt x="218" y="65"/>
                      <a:pt x="218" y="65"/>
                      <a:pt x="218" y="65"/>
                    </a:cubicBezTo>
                    <a:cubicBezTo>
                      <a:pt x="218" y="65"/>
                      <a:pt x="222" y="60"/>
                      <a:pt x="221" y="56"/>
                    </a:cubicBezTo>
                    <a:cubicBezTo>
                      <a:pt x="220" y="53"/>
                      <a:pt x="207" y="58"/>
                      <a:pt x="207" y="58"/>
                    </a:cubicBezTo>
                    <a:cubicBezTo>
                      <a:pt x="208" y="48"/>
                      <a:pt x="208" y="48"/>
                      <a:pt x="208" y="48"/>
                    </a:cubicBezTo>
                    <a:cubicBezTo>
                      <a:pt x="210" y="42"/>
                      <a:pt x="210" y="42"/>
                      <a:pt x="210" y="42"/>
                    </a:cubicBezTo>
                    <a:cubicBezTo>
                      <a:pt x="210" y="36"/>
                      <a:pt x="210" y="36"/>
                      <a:pt x="210" y="36"/>
                    </a:cubicBezTo>
                    <a:cubicBezTo>
                      <a:pt x="197" y="33"/>
                      <a:pt x="197" y="33"/>
                      <a:pt x="197" y="33"/>
                    </a:cubicBezTo>
                    <a:cubicBezTo>
                      <a:pt x="196" y="29"/>
                      <a:pt x="196" y="29"/>
                      <a:pt x="196" y="29"/>
                    </a:cubicBezTo>
                    <a:cubicBezTo>
                      <a:pt x="191" y="29"/>
                      <a:pt x="191" y="29"/>
                      <a:pt x="191" y="29"/>
                    </a:cubicBezTo>
                    <a:cubicBezTo>
                      <a:pt x="191" y="29"/>
                      <a:pt x="188" y="22"/>
                      <a:pt x="186" y="19"/>
                    </a:cubicBezTo>
                    <a:cubicBezTo>
                      <a:pt x="183" y="16"/>
                      <a:pt x="169" y="15"/>
                      <a:pt x="169" y="15"/>
                    </a:cubicBezTo>
                    <a:cubicBezTo>
                      <a:pt x="169" y="12"/>
                      <a:pt x="169" y="12"/>
                      <a:pt x="169" y="12"/>
                    </a:cubicBezTo>
                    <a:cubicBezTo>
                      <a:pt x="148" y="14"/>
                      <a:pt x="148" y="14"/>
                      <a:pt x="148" y="14"/>
                    </a:cubicBezTo>
                    <a:cubicBezTo>
                      <a:pt x="142" y="2"/>
                      <a:pt x="142" y="2"/>
                      <a:pt x="142" y="2"/>
                    </a:cubicBezTo>
                    <a:cubicBezTo>
                      <a:pt x="137" y="0"/>
                      <a:pt x="137" y="0"/>
                      <a:pt x="137" y="0"/>
                    </a:cubicBezTo>
                    <a:cubicBezTo>
                      <a:pt x="130" y="5"/>
                      <a:pt x="130" y="5"/>
                      <a:pt x="130" y="5"/>
                    </a:cubicBezTo>
                    <a:cubicBezTo>
                      <a:pt x="127" y="12"/>
                      <a:pt x="127" y="12"/>
                      <a:pt x="127" y="12"/>
                    </a:cubicBezTo>
                    <a:cubicBezTo>
                      <a:pt x="124" y="13"/>
                      <a:pt x="124" y="13"/>
                      <a:pt x="124" y="13"/>
                    </a:cubicBezTo>
                    <a:cubicBezTo>
                      <a:pt x="120" y="12"/>
                      <a:pt x="120" y="12"/>
                      <a:pt x="120" y="12"/>
                    </a:cubicBezTo>
                    <a:cubicBezTo>
                      <a:pt x="113" y="15"/>
                      <a:pt x="113" y="15"/>
                      <a:pt x="113" y="15"/>
                    </a:cubicBezTo>
                    <a:cubicBezTo>
                      <a:pt x="107" y="10"/>
                      <a:pt x="107" y="10"/>
                      <a:pt x="107" y="10"/>
                    </a:cubicBezTo>
                    <a:cubicBezTo>
                      <a:pt x="94" y="10"/>
                      <a:pt x="94" y="10"/>
                      <a:pt x="94" y="10"/>
                    </a:cubicBezTo>
                    <a:cubicBezTo>
                      <a:pt x="90" y="15"/>
                      <a:pt x="90" y="15"/>
                      <a:pt x="90" y="15"/>
                    </a:cubicBezTo>
                    <a:cubicBezTo>
                      <a:pt x="83" y="12"/>
                      <a:pt x="83" y="12"/>
                      <a:pt x="83" y="12"/>
                    </a:cubicBezTo>
                    <a:cubicBezTo>
                      <a:pt x="77" y="13"/>
                      <a:pt x="77" y="13"/>
                      <a:pt x="77" y="13"/>
                    </a:cubicBezTo>
                    <a:cubicBezTo>
                      <a:pt x="75" y="18"/>
                      <a:pt x="75" y="18"/>
                      <a:pt x="75" y="18"/>
                    </a:cubicBezTo>
                    <a:cubicBezTo>
                      <a:pt x="71" y="18"/>
                      <a:pt x="71" y="18"/>
                      <a:pt x="71" y="18"/>
                    </a:cubicBezTo>
                    <a:cubicBezTo>
                      <a:pt x="70" y="12"/>
                      <a:pt x="70" y="12"/>
                      <a:pt x="70" y="12"/>
                    </a:cubicBezTo>
                    <a:cubicBezTo>
                      <a:pt x="66" y="13"/>
                      <a:pt x="66" y="13"/>
                      <a:pt x="66" y="13"/>
                    </a:cubicBezTo>
                    <a:cubicBezTo>
                      <a:pt x="58" y="18"/>
                      <a:pt x="58" y="18"/>
                      <a:pt x="58" y="18"/>
                    </a:cubicBezTo>
                    <a:cubicBezTo>
                      <a:pt x="54" y="15"/>
                      <a:pt x="54" y="15"/>
                      <a:pt x="54" y="15"/>
                    </a:cubicBezTo>
                    <a:cubicBezTo>
                      <a:pt x="36" y="16"/>
                      <a:pt x="36" y="16"/>
                      <a:pt x="36" y="16"/>
                    </a:cubicBezTo>
                    <a:cubicBezTo>
                      <a:pt x="31" y="21"/>
                      <a:pt x="31" y="21"/>
                      <a:pt x="31" y="21"/>
                    </a:cubicBezTo>
                    <a:cubicBezTo>
                      <a:pt x="28" y="20"/>
                      <a:pt x="28" y="20"/>
                      <a:pt x="28" y="20"/>
                    </a:cubicBezTo>
                    <a:cubicBezTo>
                      <a:pt x="23" y="24"/>
                      <a:pt x="23" y="24"/>
                      <a:pt x="23" y="24"/>
                    </a:cubicBezTo>
                    <a:cubicBezTo>
                      <a:pt x="23" y="24"/>
                      <a:pt x="20" y="22"/>
                      <a:pt x="16" y="26"/>
                    </a:cubicBezTo>
                    <a:cubicBezTo>
                      <a:pt x="12" y="31"/>
                      <a:pt x="7" y="40"/>
                      <a:pt x="7" y="40"/>
                    </a:cubicBezTo>
                    <a:cubicBezTo>
                      <a:pt x="5" y="42"/>
                      <a:pt x="5" y="42"/>
                      <a:pt x="5" y="42"/>
                    </a:cubicBezTo>
                    <a:cubicBezTo>
                      <a:pt x="4" y="40"/>
                      <a:pt x="4" y="40"/>
                      <a:pt x="4" y="40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0" y="44"/>
                      <a:pt x="4" y="57"/>
                      <a:pt x="5" y="62"/>
                    </a:cubicBezTo>
                    <a:cubicBezTo>
                      <a:pt x="5" y="64"/>
                      <a:pt x="6" y="66"/>
                      <a:pt x="7" y="68"/>
                    </a:cubicBezTo>
                    <a:cubicBezTo>
                      <a:pt x="6" y="72"/>
                      <a:pt x="6" y="72"/>
                      <a:pt x="6" y="72"/>
                    </a:cubicBezTo>
                    <a:cubicBezTo>
                      <a:pt x="7" y="84"/>
                      <a:pt x="7" y="84"/>
                      <a:pt x="7" y="84"/>
                    </a:cubicBezTo>
                    <a:cubicBezTo>
                      <a:pt x="5" y="94"/>
                      <a:pt x="5" y="94"/>
                      <a:pt x="5" y="94"/>
                    </a:cubicBezTo>
                    <a:cubicBezTo>
                      <a:pt x="7" y="93"/>
                      <a:pt x="7" y="93"/>
                      <a:pt x="7" y="93"/>
                    </a:cubicBezTo>
                    <a:cubicBezTo>
                      <a:pt x="9" y="86"/>
                      <a:pt x="9" y="86"/>
                      <a:pt x="9" y="86"/>
                    </a:cubicBezTo>
                    <a:cubicBezTo>
                      <a:pt x="8" y="73"/>
                      <a:pt x="8" y="73"/>
                      <a:pt x="8" y="73"/>
                    </a:cubicBezTo>
                    <a:cubicBezTo>
                      <a:pt x="9" y="71"/>
                      <a:pt x="9" y="71"/>
                      <a:pt x="9" y="71"/>
                    </a:cubicBezTo>
                    <a:cubicBezTo>
                      <a:pt x="10" y="76"/>
                      <a:pt x="12" y="79"/>
                      <a:pt x="12" y="79"/>
                    </a:cubicBezTo>
                    <a:cubicBezTo>
                      <a:pt x="14" y="87"/>
                      <a:pt x="14" y="87"/>
                      <a:pt x="14" y="87"/>
                    </a:cubicBezTo>
                    <a:cubicBezTo>
                      <a:pt x="12" y="92"/>
                      <a:pt x="12" y="92"/>
                      <a:pt x="12" y="92"/>
                    </a:cubicBezTo>
                    <a:cubicBezTo>
                      <a:pt x="16" y="92"/>
                      <a:pt x="16" y="92"/>
                      <a:pt x="16" y="92"/>
                    </a:cubicBezTo>
                    <a:cubicBezTo>
                      <a:pt x="19" y="96"/>
                      <a:pt x="19" y="96"/>
                      <a:pt x="19" y="96"/>
                    </a:cubicBezTo>
                    <a:cubicBezTo>
                      <a:pt x="24" y="100"/>
                      <a:pt x="24" y="100"/>
                      <a:pt x="24" y="100"/>
                    </a:cubicBezTo>
                    <a:cubicBezTo>
                      <a:pt x="30" y="99"/>
                      <a:pt x="30" y="99"/>
                      <a:pt x="30" y="99"/>
                    </a:cubicBezTo>
                    <a:cubicBezTo>
                      <a:pt x="30" y="99"/>
                      <a:pt x="32" y="100"/>
                      <a:pt x="37" y="102"/>
                    </a:cubicBezTo>
                    <a:cubicBezTo>
                      <a:pt x="41" y="105"/>
                      <a:pt x="47" y="103"/>
                      <a:pt x="47" y="103"/>
                    </a:cubicBezTo>
                    <a:cubicBezTo>
                      <a:pt x="48" y="107"/>
                      <a:pt x="48" y="107"/>
                      <a:pt x="48" y="107"/>
                    </a:cubicBezTo>
                    <a:cubicBezTo>
                      <a:pt x="58" y="103"/>
                      <a:pt x="58" y="103"/>
                      <a:pt x="58" y="103"/>
                    </a:cubicBezTo>
                    <a:cubicBezTo>
                      <a:pt x="69" y="103"/>
                      <a:pt x="69" y="103"/>
                      <a:pt x="69" y="103"/>
                    </a:cubicBezTo>
                    <a:cubicBezTo>
                      <a:pt x="69" y="103"/>
                      <a:pt x="78" y="110"/>
                      <a:pt x="81" y="112"/>
                    </a:cubicBezTo>
                    <a:cubicBezTo>
                      <a:pt x="85" y="115"/>
                      <a:pt x="77" y="120"/>
                      <a:pt x="77" y="120"/>
                    </a:cubicBezTo>
                    <a:cubicBezTo>
                      <a:pt x="77" y="120"/>
                      <a:pt x="75" y="125"/>
                      <a:pt x="75" y="131"/>
                    </a:cubicBezTo>
                    <a:cubicBezTo>
                      <a:pt x="74" y="139"/>
                      <a:pt x="81" y="146"/>
                      <a:pt x="81" y="146"/>
                    </a:cubicBezTo>
                    <a:lnTo>
                      <a:pt x="83" y="146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66" name="Latvia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726113" y="2919413"/>
                <a:ext cx="568325" cy="320675"/>
              </a:xfrm>
              <a:custGeom>
                <a:avLst/>
                <a:gdLst/>
                <a:ahLst/>
                <a:cxnLst>
                  <a:cxn ang="0">
                    <a:pos x="264" y="89"/>
                  </a:cxn>
                  <a:cxn ang="0">
                    <a:pos x="259" y="74"/>
                  </a:cxn>
                  <a:cxn ang="0">
                    <a:pos x="255" y="68"/>
                  </a:cxn>
                  <a:cxn ang="0">
                    <a:pos x="249" y="61"/>
                  </a:cxn>
                  <a:cxn ang="0">
                    <a:pos x="237" y="61"/>
                  </a:cxn>
                  <a:cxn ang="0">
                    <a:pos x="237" y="46"/>
                  </a:cxn>
                  <a:cxn ang="0">
                    <a:pos x="240" y="31"/>
                  </a:cxn>
                  <a:cxn ang="0">
                    <a:pos x="225" y="25"/>
                  </a:cxn>
                  <a:cxn ang="0">
                    <a:pos x="212" y="20"/>
                  </a:cxn>
                  <a:cxn ang="0">
                    <a:pos x="190" y="26"/>
                  </a:cxn>
                  <a:cxn ang="0">
                    <a:pos x="177" y="23"/>
                  </a:cxn>
                  <a:cxn ang="0">
                    <a:pos x="167" y="13"/>
                  </a:cxn>
                  <a:cxn ang="0">
                    <a:pos x="161" y="11"/>
                  </a:cxn>
                  <a:cxn ang="0">
                    <a:pos x="153" y="9"/>
                  </a:cxn>
                  <a:cxn ang="0">
                    <a:pos x="146" y="4"/>
                  </a:cxn>
                  <a:cxn ang="0">
                    <a:pos x="139" y="5"/>
                  </a:cxn>
                  <a:cxn ang="0">
                    <a:pos x="132" y="0"/>
                  </a:cxn>
                  <a:cxn ang="0">
                    <a:pos x="121" y="7"/>
                  </a:cxn>
                  <a:cxn ang="0">
                    <a:pos x="115" y="11"/>
                  </a:cxn>
                  <a:cxn ang="0">
                    <a:pos x="111" y="18"/>
                  </a:cxn>
                  <a:cxn ang="0">
                    <a:pos x="109" y="23"/>
                  </a:cxn>
                  <a:cxn ang="0">
                    <a:pos x="117" y="60"/>
                  </a:cxn>
                  <a:cxn ang="0">
                    <a:pos x="95" y="79"/>
                  </a:cxn>
                  <a:cxn ang="0">
                    <a:pos x="78" y="75"/>
                  </a:cxn>
                  <a:cxn ang="0">
                    <a:pos x="73" y="62"/>
                  </a:cxn>
                  <a:cxn ang="0">
                    <a:pos x="65" y="56"/>
                  </a:cxn>
                  <a:cxn ang="0">
                    <a:pos x="51" y="46"/>
                  </a:cxn>
                  <a:cxn ang="0">
                    <a:pos x="18" y="54"/>
                  </a:cxn>
                  <a:cxn ang="0">
                    <a:pos x="12" y="88"/>
                  </a:cxn>
                  <a:cxn ang="0">
                    <a:pos x="2" y="116"/>
                  </a:cxn>
                  <a:cxn ang="0">
                    <a:pos x="2" y="127"/>
                  </a:cxn>
                  <a:cxn ang="0">
                    <a:pos x="4" y="123"/>
                  </a:cxn>
                  <a:cxn ang="0">
                    <a:pos x="3" y="132"/>
                  </a:cxn>
                  <a:cxn ang="0">
                    <a:pos x="0" y="135"/>
                  </a:cxn>
                  <a:cxn ang="0">
                    <a:pos x="5" y="151"/>
                  </a:cxn>
                  <a:cxn ang="0">
                    <a:pos x="10" y="149"/>
                  </a:cxn>
                  <a:cxn ang="0">
                    <a:pos x="21" y="133"/>
                  </a:cxn>
                  <a:cxn ang="0">
                    <a:pos x="33" y="127"/>
                  </a:cxn>
                  <a:cxn ang="0">
                    <a:pos x="41" y="123"/>
                  </a:cxn>
                  <a:cxn ang="0">
                    <a:pos x="63" y="125"/>
                  </a:cxn>
                  <a:cxn ang="0">
                    <a:pos x="75" y="119"/>
                  </a:cxn>
                  <a:cxn ang="0">
                    <a:pos x="80" y="125"/>
                  </a:cxn>
                  <a:cxn ang="0">
                    <a:pos x="88" y="119"/>
                  </a:cxn>
                  <a:cxn ang="0">
                    <a:pos x="99" y="117"/>
                  </a:cxn>
                  <a:cxn ang="0">
                    <a:pos x="118" y="122"/>
                  </a:cxn>
                  <a:cxn ang="0">
                    <a:pos x="129" y="120"/>
                  </a:cxn>
                  <a:cxn ang="0">
                    <a:pos x="135" y="112"/>
                  </a:cxn>
                  <a:cxn ang="0">
                    <a:pos x="147" y="109"/>
                  </a:cxn>
                  <a:cxn ang="0">
                    <a:pos x="174" y="119"/>
                  </a:cxn>
                  <a:cxn ang="0">
                    <a:pos x="191" y="126"/>
                  </a:cxn>
                  <a:cxn ang="0">
                    <a:pos x="201" y="136"/>
                  </a:cxn>
                  <a:cxn ang="0">
                    <a:pos x="215" y="143"/>
                  </a:cxn>
                  <a:cxn ang="0">
                    <a:pos x="225" y="138"/>
                  </a:cxn>
                  <a:cxn ang="0">
                    <a:pos x="232" y="127"/>
                  </a:cxn>
                  <a:cxn ang="0">
                    <a:pos x="244" y="129"/>
                  </a:cxn>
                  <a:cxn ang="0">
                    <a:pos x="251" y="119"/>
                  </a:cxn>
                  <a:cxn ang="0">
                    <a:pos x="265" y="101"/>
                  </a:cxn>
                </a:cxnLst>
                <a:rect l="0" t="0" r="r" b="b"/>
                <a:pathLst>
                  <a:path w="267" h="151">
                    <a:moveTo>
                      <a:pt x="266" y="90"/>
                    </a:moveTo>
                    <a:cubicBezTo>
                      <a:pt x="264" y="89"/>
                      <a:pt x="264" y="89"/>
                      <a:pt x="264" y="89"/>
                    </a:cubicBezTo>
                    <a:cubicBezTo>
                      <a:pt x="262" y="83"/>
                      <a:pt x="262" y="83"/>
                      <a:pt x="262" y="83"/>
                    </a:cubicBezTo>
                    <a:cubicBezTo>
                      <a:pt x="259" y="74"/>
                      <a:pt x="259" y="74"/>
                      <a:pt x="259" y="74"/>
                    </a:cubicBezTo>
                    <a:cubicBezTo>
                      <a:pt x="256" y="73"/>
                      <a:pt x="256" y="73"/>
                      <a:pt x="256" y="73"/>
                    </a:cubicBezTo>
                    <a:cubicBezTo>
                      <a:pt x="255" y="68"/>
                      <a:pt x="255" y="68"/>
                      <a:pt x="255" y="68"/>
                    </a:cubicBezTo>
                    <a:cubicBezTo>
                      <a:pt x="247" y="66"/>
                      <a:pt x="247" y="66"/>
                      <a:pt x="247" y="66"/>
                    </a:cubicBezTo>
                    <a:cubicBezTo>
                      <a:pt x="249" y="61"/>
                      <a:pt x="249" y="61"/>
                      <a:pt x="249" y="61"/>
                    </a:cubicBezTo>
                    <a:cubicBezTo>
                      <a:pt x="249" y="61"/>
                      <a:pt x="247" y="58"/>
                      <a:pt x="245" y="58"/>
                    </a:cubicBezTo>
                    <a:cubicBezTo>
                      <a:pt x="242" y="58"/>
                      <a:pt x="237" y="61"/>
                      <a:pt x="237" y="61"/>
                    </a:cubicBezTo>
                    <a:cubicBezTo>
                      <a:pt x="239" y="50"/>
                      <a:pt x="239" y="50"/>
                      <a:pt x="239" y="50"/>
                    </a:cubicBezTo>
                    <a:cubicBezTo>
                      <a:pt x="237" y="46"/>
                      <a:pt x="237" y="46"/>
                      <a:pt x="237" y="46"/>
                    </a:cubicBezTo>
                    <a:cubicBezTo>
                      <a:pt x="240" y="42"/>
                      <a:pt x="240" y="42"/>
                      <a:pt x="240" y="42"/>
                    </a:cubicBezTo>
                    <a:cubicBezTo>
                      <a:pt x="240" y="31"/>
                      <a:pt x="240" y="31"/>
                      <a:pt x="240" y="31"/>
                    </a:cubicBezTo>
                    <a:cubicBezTo>
                      <a:pt x="240" y="31"/>
                      <a:pt x="237" y="28"/>
                      <a:pt x="234" y="27"/>
                    </a:cubicBezTo>
                    <a:cubicBezTo>
                      <a:pt x="232" y="26"/>
                      <a:pt x="225" y="25"/>
                      <a:pt x="225" y="25"/>
                    </a:cubicBezTo>
                    <a:cubicBezTo>
                      <a:pt x="223" y="18"/>
                      <a:pt x="223" y="18"/>
                      <a:pt x="223" y="18"/>
                    </a:cubicBezTo>
                    <a:cubicBezTo>
                      <a:pt x="223" y="18"/>
                      <a:pt x="215" y="20"/>
                      <a:pt x="212" y="20"/>
                    </a:cubicBezTo>
                    <a:cubicBezTo>
                      <a:pt x="209" y="21"/>
                      <a:pt x="201" y="18"/>
                      <a:pt x="201" y="18"/>
                    </a:cubicBezTo>
                    <a:cubicBezTo>
                      <a:pt x="190" y="26"/>
                      <a:pt x="190" y="26"/>
                      <a:pt x="190" y="26"/>
                    </a:cubicBezTo>
                    <a:cubicBezTo>
                      <a:pt x="186" y="23"/>
                      <a:pt x="186" y="23"/>
                      <a:pt x="186" y="23"/>
                    </a:cubicBezTo>
                    <a:cubicBezTo>
                      <a:pt x="177" y="23"/>
                      <a:pt x="177" y="23"/>
                      <a:pt x="177" y="23"/>
                    </a:cubicBezTo>
                    <a:cubicBezTo>
                      <a:pt x="175" y="23"/>
                      <a:pt x="176" y="18"/>
                      <a:pt x="174" y="16"/>
                    </a:cubicBezTo>
                    <a:cubicBezTo>
                      <a:pt x="172" y="15"/>
                      <a:pt x="167" y="13"/>
                      <a:pt x="167" y="13"/>
                    </a:cubicBezTo>
                    <a:cubicBezTo>
                      <a:pt x="167" y="9"/>
                      <a:pt x="167" y="9"/>
                      <a:pt x="167" y="9"/>
                    </a:cubicBezTo>
                    <a:cubicBezTo>
                      <a:pt x="167" y="9"/>
                      <a:pt x="163" y="11"/>
                      <a:pt x="161" y="11"/>
                    </a:cubicBezTo>
                    <a:cubicBezTo>
                      <a:pt x="159" y="11"/>
                      <a:pt x="157" y="6"/>
                      <a:pt x="157" y="6"/>
                    </a:cubicBezTo>
                    <a:cubicBezTo>
                      <a:pt x="153" y="9"/>
                      <a:pt x="153" y="9"/>
                      <a:pt x="153" y="9"/>
                    </a:cubicBezTo>
                    <a:cubicBezTo>
                      <a:pt x="150" y="4"/>
                      <a:pt x="150" y="4"/>
                      <a:pt x="150" y="4"/>
                    </a:cubicBezTo>
                    <a:cubicBezTo>
                      <a:pt x="146" y="4"/>
                      <a:pt x="146" y="4"/>
                      <a:pt x="146" y="4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9" y="5"/>
                      <a:pt x="139" y="5"/>
                      <a:pt x="139" y="5"/>
                    </a:cubicBezTo>
                    <a:cubicBezTo>
                      <a:pt x="135" y="0"/>
                      <a:pt x="135" y="0"/>
                      <a:pt x="135" y="0"/>
                    </a:cubicBezTo>
                    <a:cubicBezTo>
                      <a:pt x="132" y="0"/>
                      <a:pt x="132" y="0"/>
                      <a:pt x="132" y="0"/>
                    </a:cubicBezTo>
                    <a:cubicBezTo>
                      <a:pt x="127" y="9"/>
                      <a:pt x="127" y="9"/>
                      <a:pt x="127" y="9"/>
                    </a:cubicBezTo>
                    <a:cubicBezTo>
                      <a:pt x="121" y="7"/>
                      <a:pt x="121" y="7"/>
                      <a:pt x="121" y="7"/>
                    </a:cubicBezTo>
                    <a:cubicBezTo>
                      <a:pt x="118" y="14"/>
                      <a:pt x="118" y="14"/>
                      <a:pt x="118" y="14"/>
                    </a:cubicBezTo>
                    <a:cubicBezTo>
                      <a:pt x="115" y="11"/>
                      <a:pt x="115" y="11"/>
                      <a:pt x="115" y="11"/>
                    </a:cubicBezTo>
                    <a:cubicBezTo>
                      <a:pt x="112" y="14"/>
                      <a:pt x="112" y="14"/>
                      <a:pt x="112" y="14"/>
                    </a:cubicBezTo>
                    <a:cubicBezTo>
                      <a:pt x="111" y="18"/>
                      <a:pt x="111" y="18"/>
                      <a:pt x="111" y="18"/>
                    </a:cubicBezTo>
                    <a:cubicBezTo>
                      <a:pt x="109" y="18"/>
                      <a:pt x="109" y="18"/>
                      <a:pt x="109" y="18"/>
                    </a:cubicBezTo>
                    <a:cubicBezTo>
                      <a:pt x="109" y="23"/>
                      <a:pt x="109" y="23"/>
                      <a:pt x="109" y="23"/>
                    </a:cubicBezTo>
                    <a:cubicBezTo>
                      <a:pt x="114" y="44"/>
                      <a:pt x="114" y="44"/>
                      <a:pt x="114" y="44"/>
                    </a:cubicBezTo>
                    <a:cubicBezTo>
                      <a:pt x="114" y="44"/>
                      <a:pt x="117" y="54"/>
                      <a:pt x="117" y="60"/>
                    </a:cubicBezTo>
                    <a:cubicBezTo>
                      <a:pt x="116" y="64"/>
                      <a:pt x="110" y="67"/>
                      <a:pt x="108" y="68"/>
                    </a:cubicBezTo>
                    <a:cubicBezTo>
                      <a:pt x="106" y="69"/>
                      <a:pt x="103" y="76"/>
                      <a:pt x="95" y="79"/>
                    </a:cubicBezTo>
                    <a:cubicBezTo>
                      <a:pt x="87" y="83"/>
                      <a:pt x="86" y="75"/>
                      <a:pt x="86" y="75"/>
                    </a:cubicBezTo>
                    <a:cubicBezTo>
                      <a:pt x="78" y="75"/>
                      <a:pt x="78" y="75"/>
                      <a:pt x="78" y="75"/>
                    </a:cubicBezTo>
                    <a:cubicBezTo>
                      <a:pt x="76" y="75"/>
                      <a:pt x="76" y="68"/>
                      <a:pt x="76" y="66"/>
                    </a:cubicBezTo>
                    <a:cubicBezTo>
                      <a:pt x="75" y="65"/>
                      <a:pt x="73" y="62"/>
                      <a:pt x="73" y="62"/>
                    </a:cubicBezTo>
                    <a:cubicBezTo>
                      <a:pt x="73" y="59"/>
                      <a:pt x="73" y="59"/>
                      <a:pt x="73" y="59"/>
                    </a:cubicBezTo>
                    <a:cubicBezTo>
                      <a:pt x="65" y="56"/>
                      <a:pt x="65" y="56"/>
                      <a:pt x="65" y="56"/>
                    </a:cubicBezTo>
                    <a:cubicBezTo>
                      <a:pt x="65" y="56"/>
                      <a:pt x="64" y="51"/>
                      <a:pt x="61" y="50"/>
                    </a:cubicBezTo>
                    <a:cubicBezTo>
                      <a:pt x="58" y="49"/>
                      <a:pt x="51" y="46"/>
                      <a:pt x="51" y="46"/>
                    </a:cubicBezTo>
                    <a:cubicBezTo>
                      <a:pt x="48" y="36"/>
                      <a:pt x="48" y="36"/>
                      <a:pt x="48" y="36"/>
                    </a:cubicBezTo>
                    <a:cubicBezTo>
                      <a:pt x="18" y="54"/>
                      <a:pt x="18" y="54"/>
                      <a:pt x="18" y="54"/>
                    </a:cubicBezTo>
                    <a:cubicBezTo>
                      <a:pt x="11" y="75"/>
                      <a:pt x="11" y="75"/>
                      <a:pt x="11" y="75"/>
                    </a:cubicBezTo>
                    <a:cubicBezTo>
                      <a:pt x="12" y="88"/>
                      <a:pt x="12" y="88"/>
                      <a:pt x="12" y="88"/>
                    </a:cubicBezTo>
                    <a:cubicBezTo>
                      <a:pt x="0" y="105"/>
                      <a:pt x="0" y="105"/>
                      <a:pt x="0" y="105"/>
                    </a:cubicBezTo>
                    <a:cubicBezTo>
                      <a:pt x="2" y="116"/>
                      <a:pt x="2" y="116"/>
                      <a:pt x="2" y="116"/>
                    </a:cubicBezTo>
                    <a:cubicBezTo>
                      <a:pt x="1" y="127"/>
                      <a:pt x="1" y="127"/>
                      <a:pt x="1" y="127"/>
                    </a:cubicBezTo>
                    <a:cubicBezTo>
                      <a:pt x="2" y="127"/>
                      <a:pt x="2" y="127"/>
                      <a:pt x="2" y="127"/>
                    </a:cubicBezTo>
                    <a:cubicBezTo>
                      <a:pt x="2" y="123"/>
                      <a:pt x="2" y="123"/>
                      <a:pt x="2" y="123"/>
                    </a:cubicBezTo>
                    <a:cubicBezTo>
                      <a:pt x="4" y="123"/>
                      <a:pt x="4" y="123"/>
                      <a:pt x="4" y="123"/>
                    </a:cubicBezTo>
                    <a:cubicBezTo>
                      <a:pt x="4" y="131"/>
                      <a:pt x="4" y="131"/>
                      <a:pt x="4" y="13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1" y="129"/>
                      <a:pt x="1" y="129"/>
                      <a:pt x="1" y="129"/>
                    </a:cubicBezTo>
                    <a:cubicBezTo>
                      <a:pt x="0" y="135"/>
                      <a:pt x="0" y="135"/>
                      <a:pt x="0" y="135"/>
                    </a:cubicBezTo>
                    <a:cubicBezTo>
                      <a:pt x="2" y="145"/>
                      <a:pt x="2" y="145"/>
                      <a:pt x="2" y="145"/>
                    </a:cubicBezTo>
                    <a:cubicBezTo>
                      <a:pt x="5" y="151"/>
                      <a:pt x="5" y="151"/>
                      <a:pt x="5" y="151"/>
                    </a:cubicBezTo>
                    <a:cubicBezTo>
                      <a:pt x="9" y="147"/>
                      <a:pt x="9" y="147"/>
                      <a:pt x="9" y="147"/>
                    </a:cubicBezTo>
                    <a:cubicBezTo>
                      <a:pt x="10" y="149"/>
                      <a:pt x="10" y="149"/>
                      <a:pt x="10" y="149"/>
                    </a:cubicBezTo>
                    <a:cubicBezTo>
                      <a:pt x="12" y="147"/>
                      <a:pt x="12" y="147"/>
                      <a:pt x="12" y="147"/>
                    </a:cubicBezTo>
                    <a:cubicBezTo>
                      <a:pt x="12" y="147"/>
                      <a:pt x="17" y="138"/>
                      <a:pt x="21" y="133"/>
                    </a:cubicBezTo>
                    <a:cubicBezTo>
                      <a:pt x="25" y="129"/>
                      <a:pt x="28" y="131"/>
                      <a:pt x="28" y="131"/>
                    </a:cubicBezTo>
                    <a:cubicBezTo>
                      <a:pt x="33" y="127"/>
                      <a:pt x="33" y="127"/>
                      <a:pt x="33" y="127"/>
                    </a:cubicBezTo>
                    <a:cubicBezTo>
                      <a:pt x="36" y="128"/>
                      <a:pt x="36" y="128"/>
                      <a:pt x="36" y="128"/>
                    </a:cubicBezTo>
                    <a:cubicBezTo>
                      <a:pt x="41" y="123"/>
                      <a:pt x="41" y="123"/>
                      <a:pt x="41" y="123"/>
                    </a:cubicBezTo>
                    <a:cubicBezTo>
                      <a:pt x="59" y="122"/>
                      <a:pt x="59" y="122"/>
                      <a:pt x="59" y="122"/>
                    </a:cubicBezTo>
                    <a:cubicBezTo>
                      <a:pt x="63" y="125"/>
                      <a:pt x="63" y="125"/>
                      <a:pt x="63" y="125"/>
                    </a:cubicBezTo>
                    <a:cubicBezTo>
                      <a:pt x="71" y="120"/>
                      <a:pt x="71" y="120"/>
                      <a:pt x="71" y="120"/>
                    </a:cubicBezTo>
                    <a:cubicBezTo>
                      <a:pt x="75" y="119"/>
                      <a:pt x="75" y="119"/>
                      <a:pt x="75" y="119"/>
                    </a:cubicBezTo>
                    <a:cubicBezTo>
                      <a:pt x="76" y="125"/>
                      <a:pt x="76" y="125"/>
                      <a:pt x="76" y="125"/>
                    </a:cubicBezTo>
                    <a:cubicBezTo>
                      <a:pt x="80" y="125"/>
                      <a:pt x="80" y="125"/>
                      <a:pt x="80" y="125"/>
                    </a:cubicBezTo>
                    <a:cubicBezTo>
                      <a:pt x="82" y="120"/>
                      <a:pt x="82" y="120"/>
                      <a:pt x="82" y="120"/>
                    </a:cubicBezTo>
                    <a:cubicBezTo>
                      <a:pt x="88" y="119"/>
                      <a:pt x="88" y="119"/>
                      <a:pt x="88" y="119"/>
                    </a:cubicBezTo>
                    <a:cubicBezTo>
                      <a:pt x="95" y="122"/>
                      <a:pt x="95" y="122"/>
                      <a:pt x="95" y="122"/>
                    </a:cubicBezTo>
                    <a:cubicBezTo>
                      <a:pt x="99" y="117"/>
                      <a:pt x="99" y="117"/>
                      <a:pt x="99" y="117"/>
                    </a:cubicBezTo>
                    <a:cubicBezTo>
                      <a:pt x="112" y="117"/>
                      <a:pt x="112" y="117"/>
                      <a:pt x="112" y="117"/>
                    </a:cubicBezTo>
                    <a:cubicBezTo>
                      <a:pt x="118" y="122"/>
                      <a:pt x="118" y="122"/>
                      <a:pt x="118" y="122"/>
                    </a:cubicBezTo>
                    <a:cubicBezTo>
                      <a:pt x="125" y="119"/>
                      <a:pt x="125" y="119"/>
                      <a:pt x="125" y="119"/>
                    </a:cubicBezTo>
                    <a:cubicBezTo>
                      <a:pt x="129" y="120"/>
                      <a:pt x="129" y="120"/>
                      <a:pt x="129" y="120"/>
                    </a:cubicBezTo>
                    <a:cubicBezTo>
                      <a:pt x="132" y="119"/>
                      <a:pt x="132" y="119"/>
                      <a:pt x="132" y="119"/>
                    </a:cubicBezTo>
                    <a:cubicBezTo>
                      <a:pt x="135" y="112"/>
                      <a:pt x="135" y="112"/>
                      <a:pt x="135" y="112"/>
                    </a:cubicBezTo>
                    <a:cubicBezTo>
                      <a:pt x="142" y="107"/>
                      <a:pt x="142" y="107"/>
                      <a:pt x="142" y="107"/>
                    </a:cubicBezTo>
                    <a:cubicBezTo>
                      <a:pt x="147" y="109"/>
                      <a:pt x="147" y="109"/>
                      <a:pt x="147" y="109"/>
                    </a:cubicBezTo>
                    <a:cubicBezTo>
                      <a:pt x="153" y="121"/>
                      <a:pt x="153" y="121"/>
                      <a:pt x="153" y="121"/>
                    </a:cubicBezTo>
                    <a:cubicBezTo>
                      <a:pt x="174" y="119"/>
                      <a:pt x="174" y="119"/>
                      <a:pt x="174" y="119"/>
                    </a:cubicBezTo>
                    <a:cubicBezTo>
                      <a:pt x="174" y="122"/>
                      <a:pt x="174" y="122"/>
                      <a:pt x="174" y="122"/>
                    </a:cubicBezTo>
                    <a:cubicBezTo>
                      <a:pt x="174" y="122"/>
                      <a:pt x="188" y="123"/>
                      <a:pt x="191" y="126"/>
                    </a:cubicBezTo>
                    <a:cubicBezTo>
                      <a:pt x="193" y="129"/>
                      <a:pt x="196" y="136"/>
                      <a:pt x="196" y="136"/>
                    </a:cubicBezTo>
                    <a:cubicBezTo>
                      <a:pt x="201" y="136"/>
                      <a:pt x="201" y="136"/>
                      <a:pt x="201" y="136"/>
                    </a:cubicBezTo>
                    <a:cubicBezTo>
                      <a:pt x="202" y="140"/>
                      <a:pt x="202" y="140"/>
                      <a:pt x="202" y="140"/>
                    </a:cubicBezTo>
                    <a:cubicBezTo>
                      <a:pt x="215" y="143"/>
                      <a:pt x="215" y="143"/>
                      <a:pt x="215" y="143"/>
                    </a:cubicBezTo>
                    <a:cubicBezTo>
                      <a:pt x="219" y="140"/>
                      <a:pt x="219" y="140"/>
                      <a:pt x="219" y="140"/>
                    </a:cubicBezTo>
                    <a:cubicBezTo>
                      <a:pt x="219" y="140"/>
                      <a:pt x="223" y="141"/>
                      <a:pt x="225" y="138"/>
                    </a:cubicBezTo>
                    <a:cubicBezTo>
                      <a:pt x="228" y="136"/>
                      <a:pt x="228" y="129"/>
                      <a:pt x="228" y="129"/>
                    </a:cubicBezTo>
                    <a:cubicBezTo>
                      <a:pt x="232" y="127"/>
                      <a:pt x="232" y="127"/>
                      <a:pt x="232" y="127"/>
                    </a:cubicBezTo>
                    <a:cubicBezTo>
                      <a:pt x="232" y="127"/>
                      <a:pt x="237" y="130"/>
                      <a:pt x="239" y="130"/>
                    </a:cubicBezTo>
                    <a:cubicBezTo>
                      <a:pt x="241" y="130"/>
                      <a:pt x="244" y="129"/>
                      <a:pt x="244" y="129"/>
                    </a:cubicBezTo>
                    <a:cubicBezTo>
                      <a:pt x="244" y="129"/>
                      <a:pt x="248" y="130"/>
                      <a:pt x="251" y="128"/>
                    </a:cubicBezTo>
                    <a:cubicBezTo>
                      <a:pt x="254" y="125"/>
                      <a:pt x="251" y="119"/>
                      <a:pt x="251" y="119"/>
                    </a:cubicBezTo>
                    <a:cubicBezTo>
                      <a:pt x="260" y="105"/>
                      <a:pt x="260" y="105"/>
                      <a:pt x="260" y="105"/>
                    </a:cubicBezTo>
                    <a:cubicBezTo>
                      <a:pt x="260" y="105"/>
                      <a:pt x="262" y="105"/>
                      <a:pt x="265" y="101"/>
                    </a:cubicBezTo>
                    <a:cubicBezTo>
                      <a:pt x="267" y="97"/>
                      <a:pt x="266" y="90"/>
                      <a:pt x="266" y="90"/>
                    </a:cubicBezTo>
                    <a:close/>
                  </a:path>
                </a:pathLst>
              </a:custGeom>
              <a:solidFill>
                <a:srgbClr val="FDC795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68" name="Kosovo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858622" y="5005434"/>
                <a:ext cx="199550" cy="204741"/>
              </a:xfrm>
              <a:custGeom>
                <a:avLst/>
                <a:gdLst/>
                <a:ahLst/>
                <a:cxnLst>
                  <a:cxn ang="0">
                    <a:pos x="63" y="40"/>
                  </a:cxn>
                  <a:cxn ang="0">
                    <a:pos x="65" y="36"/>
                  </a:cxn>
                  <a:cxn ang="0">
                    <a:pos x="68" y="29"/>
                  </a:cxn>
                  <a:cxn ang="0">
                    <a:pos x="66" y="24"/>
                  </a:cxn>
                  <a:cxn ang="0">
                    <a:pos x="61" y="22"/>
                  </a:cxn>
                  <a:cxn ang="0">
                    <a:pos x="59" y="21"/>
                  </a:cxn>
                  <a:cxn ang="0">
                    <a:pos x="54" y="19"/>
                  </a:cxn>
                  <a:cxn ang="0">
                    <a:pos x="51" y="16"/>
                  </a:cxn>
                  <a:cxn ang="0">
                    <a:pos x="47" y="15"/>
                  </a:cxn>
                  <a:cxn ang="0">
                    <a:pos x="44" y="11"/>
                  </a:cxn>
                  <a:cxn ang="0">
                    <a:pos x="39" y="9"/>
                  </a:cxn>
                  <a:cxn ang="0">
                    <a:pos x="37" y="8"/>
                  </a:cxn>
                  <a:cxn ang="0">
                    <a:pos x="34" y="7"/>
                  </a:cxn>
                  <a:cxn ang="0">
                    <a:pos x="32" y="6"/>
                  </a:cxn>
                  <a:cxn ang="0">
                    <a:pos x="33" y="2"/>
                  </a:cxn>
                  <a:cxn ang="0">
                    <a:pos x="31" y="1"/>
                  </a:cxn>
                  <a:cxn ang="0">
                    <a:pos x="27" y="4"/>
                  </a:cxn>
                  <a:cxn ang="0">
                    <a:pos x="24" y="9"/>
                  </a:cxn>
                  <a:cxn ang="0">
                    <a:pos x="25" y="15"/>
                  </a:cxn>
                  <a:cxn ang="0">
                    <a:pos x="22" y="20"/>
                  </a:cxn>
                  <a:cxn ang="0">
                    <a:pos x="18" y="24"/>
                  </a:cxn>
                  <a:cxn ang="0">
                    <a:pos x="10" y="24"/>
                  </a:cxn>
                  <a:cxn ang="0">
                    <a:pos x="6" y="25"/>
                  </a:cxn>
                  <a:cxn ang="0">
                    <a:pos x="0" y="27"/>
                  </a:cxn>
                  <a:cxn ang="0">
                    <a:pos x="5" y="37"/>
                  </a:cxn>
                  <a:cxn ang="0">
                    <a:pos x="12" y="38"/>
                  </a:cxn>
                  <a:cxn ang="0">
                    <a:pos x="26" y="48"/>
                  </a:cxn>
                  <a:cxn ang="0">
                    <a:pos x="29" y="69"/>
                  </a:cxn>
                  <a:cxn ang="0">
                    <a:pos x="35" y="55"/>
                  </a:cxn>
                  <a:cxn ang="0">
                    <a:pos x="46" y="47"/>
                  </a:cxn>
                  <a:cxn ang="0">
                    <a:pos x="58" y="43"/>
                  </a:cxn>
                  <a:cxn ang="0">
                    <a:pos x="63" y="42"/>
                  </a:cxn>
                </a:cxnLst>
                <a:rect l="0" t="0" r="r" b="b"/>
                <a:pathLst>
                  <a:path w="68" h="69">
                    <a:moveTo>
                      <a:pt x="63" y="42"/>
                    </a:moveTo>
                    <a:cubicBezTo>
                      <a:pt x="63" y="41"/>
                      <a:pt x="63" y="40"/>
                      <a:pt x="63" y="40"/>
                    </a:cubicBezTo>
                    <a:cubicBezTo>
                      <a:pt x="63" y="40"/>
                      <a:pt x="64" y="39"/>
                      <a:pt x="64" y="38"/>
                    </a:cubicBezTo>
                    <a:cubicBezTo>
                      <a:pt x="64" y="38"/>
                      <a:pt x="65" y="36"/>
                      <a:pt x="65" y="36"/>
                    </a:cubicBezTo>
                    <a:cubicBezTo>
                      <a:pt x="67" y="32"/>
                      <a:pt x="67" y="32"/>
                      <a:pt x="67" y="32"/>
                    </a:cubicBezTo>
                    <a:cubicBezTo>
                      <a:pt x="67" y="32"/>
                      <a:pt x="68" y="30"/>
                      <a:pt x="68" y="29"/>
                    </a:cubicBezTo>
                    <a:cubicBezTo>
                      <a:pt x="68" y="29"/>
                      <a:pt x="67" y="27"/>
                      <a:pt x="67" y="27"/>
                    </a:cubicBezTo>
                    <a:cubicBezTo>
                      <a:pt x="67" y="27"/>
                      <a:pt x="66" y="24"/>
                      <a:pt x="66" y="24"/>
                    </a:cubicBezTo>
                    <a:cubicBezTo>
                      <a:pt x="65" y="23"/>
                      <a:pt x="63" y="23"/>
                      <a:pt x="63" y="23"/>
                    </a:cubicBezTo>
                    <a:cubicBezTo>
                      <a:pt x="61" y="22"/>
                      <a:pt x="61" y="22"/>
                      <a:pt x="61" y="22"/>
                    </a:cubicBezTo>
                    <a:cubicBezTo>
                      <a:pt x="60" y="21"/>
                      <a:pt x="60" y="21"/>
                      <a:pt x="60" y="21"/>
                    </a:cubicBezTo>
                    <a:cubicBezTo>
                      <a:pt x="59" y="21"/>
                      <a:pt x="59" y="21"/>
                      <a:pt x="59" y="21"/>
                    </a:cubicBezTo>
                    <a:cubicBezTo>
                      <a:pt x="56" y="20"/>
                      <a:pt x="56" y="20"/>
                      <a:pt x="56" y="20"/>
                    </a:cubicBezTo>
                    <a:cubicBezTo>
                      <a:pt x="54" y="19"/>
                      <a:pt x="54" y="19"/>
                      <a:pt x="54" y="19"/>
                    </a:cubicBezTo>
                    <a:cubicBezTo>
                      <a:pt x="52" y="18"/>
                      <a:pt x="52" y="18"/>
                      <a:pt x="52" y="18"/>
                    </a:cubicBezTo>
                    <a:cubicBezTo>
                      <a:pt x="52" y="18"/>
                      <a:pt x="51" y="16"/>
                      <a:pt x="51" y="16"/>
                    </a:cubicBezTo>
                    <a:cubicBezTo>
                      <a:pt x="51" y="16"/>
                      <a:pt x="50" y="16"/>
                      <a:pt x="49" y="16"/>
                    </a:cubicBezTo>
                    <a:cubicBezTo>
                      <a:pt x="48" y="16"/>
                      <a:pt x="47" y="15"/>
                      <a:pt x="47" y="15"/>
                    </a:cubicBezTo>
                    <a:cubicBezTo>
                      <a:pt x="47" y="15"/>
                      <a:pt x="47" y="12"/>
                      <a:pt x="47" y="12"/>
                    </a:cubicBezTo>
                    <a:cubicBezTo>
                      <a:pt x="46" y="11"/>
                      <a:pt x="44" y="11"/>
                      <a:pt x="44" y="11"/>
                    </a:cubicBezTo>
                    <a:cubicBezTo>
                      <a:pt x="44" y="11"/>
                      <a:pt x="44" y="9"/>
                      <a:pt x="43" y="9"/>
                    </a:cubicBezTo>
                    <a:cubicBezTo>
                      <a:pt x="42" y="9"/>
                      <a:pt x="40" y="10"/>
                      <a:pt x="39" y="9"/>
                    </a:cubicBezTo>
                    <a:cubicBezTo>
                      <a:pt x="39" y="9"/>
                      <a:pt x="39" y="9"/>
                      <a:pt x="39" y="9"/>
                    </a:cubicBezTo>
                    <a:cubicBezTo>
                      <a:pt x="38" y="8"/>
                      <a:pt x="38" y="8"/>
                      <a:pt x="37" y="8"/>
                    </a:cubicBezTo>
                    <a:cubicBezTo>
                      <a:pt x="37" y="8"/>
                      <a:pt x="37" y="7"/>
                      <a:pt x="37" y="7"/>
                    </a:cubicBezTo>
                    <a:cubicBezTo>
                      <a:pt x="34" y="7"/>
                      <a:pt x="34" y="7"/>
                      <a:pt x="34" y="7"/>
                    </a:cubicBezTo>
                    <a:cubicBezTo>
                      <a:pt x="33" y="7"/>
                      <a:pt x="33" y="7"/>
                      <a:pt x="33" y="7"/>
                    </a:cubicBezTo>
                    <a:cubicBezTo>
                      <a:pt x="33" y="7"/>
                      <a:pt x="32" y="6"/>
                      <a:pt x="32" y="6"/>
                    </a:cubicBezTo>
                    <a:cubicBezTo>
                      <a:pt x="32" y="6"/>
                      <a:pt x="33" y="5"/>
                      <a:pt x="34" y="4"/>
                    </a:cubicBezTo>
                    <a:cubicBezTo>
                      <a:pt x="34" y="3"/>
                      <a:pt x="33" y="2"/>
                      <a:pt x="33" y="2"/>
                    </a:cubicBezTo>
                    <a:cubicBezTo>
                      <a:pt x="33" y="2"/>
                      <a:pt x="33" y="0"/>
                      <a:pt x="32" y="0"/>
                    </a:cubicBezTo>
                    <a:cubicBezTo>
                      <a:pt x="31" y="0"/>
                      <a:pt x="31" y="2"/>
                      <a:pt x="31" y="1"/>
                    </a:cubicBezTo>
                    <a:cubicBezTo>
                      <a:pt x="31" y="1"/>
                      <a:pt x="30" y="4"/>
                      <a:pt x="30" y="4"/>
                    </a:cubicBezTo>
                    <a:cubicBezTo>
                      <a:pt x="29" y="4"/>
                      <a:pt x="28" y="3"/>
                      <a:pt x="27" y="4"/>
                    </a:cubicBezTo>
                    <a:cubicBezTo>
                      <a:pt x="26" y="4"/>
                      <a:pt x="25" y="5"/>
                      <a:pt x="25" y="5"/>
                    </a:cubicBezTo>
                    <a:cubicBezTo>
                      <a:pt x="25" y="5"/>
                      <a:pt x="24" y="8"/>
                      <a:pt x="24" y="9"/>
                    </a:cubicBezTo>
                    <a:cubicBezTo>
                      <a:pt x="25" y="9"/>
                      <a:pt x="25" y="10"/>
                      <a:pt x="26" y="11"/>
                    </a:cubicBezTo>
                    <a:cubicBezTo>
                      <a:pt x="26" y="11"/>
                      <a:pt x="25" y="15"/>
                      <a:pt x="25" y="15"/>
                    </a:cubicBezTo>
                    <a:cubicBezTo>
                      <a:pt x="25" y="15"/>
                      <a:pt x="23" y="17"/>
                      <a:pt x="22" y="18"/>
                    </a:cubicBezTo>
                    <a:cubicBezTo>
                      <a:pt x="21" y="19"/>
                      <a:pt x="22" y="20"/>
                      <a:pt x="22" y="20"/>
                    </a:cubicBezTo>
                    <a:cubicBezTo>
                      <a:pt x="21" y="21"/>
                      <a:pt x="21" y="22"/>
                      <a:pt x="20" y="23"/>
                    </a:cubicBezTo>
                    <a:cubicBezTo>
                      <a:pt x="20" y="23"/>
                      <a:pt x="18" y="24"/>
                      <a:pt x="18" y="24"/>
                    </a:cubicBezTo>
                    <a:cubicBezTo>
                      <a:pt x="14" y="24"/>
                      <a:pt x="14" y="24"/>
                      <a:pt x="14" y="24"/>
                    </a:cubicBezTo>
                    <a:cubicBezTo>
                      <a:pt x="10" y="24"/>
                      <a:pt x="10" y="24"/>
                      <a:pt x="10" y="24"/>
                    </a:cubicBezTo>
                    <a:cubicBezTo>
                      <a:pt x="9" y="26"/>
                      <a:pt x="9" y="26"/>
                      <a:pt x="9" y="26"/>
                    </a:cubicBezTo>
                    <a:cubicBezTo>
                      <a:pt x="6" y="25"/>
                      <a:pt x="6" y="25"/>
                      <a:pt x="6" y="25"/>
                    </a:cubicBezTo>
                    <a:cubicBezTo>
                      <a:pt x="3" y="25"/>
                      <a:pt x="3" y="25"/>
                      <a:pt x="3" y="25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4" y="35"/>
                      <a:pt x="4" y="35"/>
                      <a:pt x="4" y="35"/>
                    </a:cubicBezTo>
                    <a:cubicBezTo>
                      <a:pt x="5" y="37"/>
                      <a:pt x="5" y="37"/>
                      <a:pt x="5" y="37"/>
                    </a:cubicBezTo>
                    <a:cubicBezTo>
                      <a:pt x="9" y="35"/>
                      <a:pt x="9" y="35"/>
                      <a:pt x="9" y="35"/>
                    </a:cubicBezTo>
                    <a:cubicBezTo>
                      <a:pt x="9" y="35"/>
                      <a:pt x="11" y="36"/>
                      <a:pt x="12" y="38"/>
                    </a:cubicBezTo>
                    <a:cubicBezTo>
                      <a:pt x="14" y="40"/>
                      <a:pt x="15" y="45"/>
                      <a:pt x="15" y="45"/>
                    </a:cubicBezTo>
                    <a:cubicBezTo>
                      <a:pt x="15" y="45"/>
                      <a:pt x="23" y="46"/>
                      <a:pt x="26" y="48"/>
                    </a:cubicBezTo>
                    <a:cubicBezTo>
                      <a:pt x="28" y="52"/>
                      <a:pt x="31" y="59"/>
                      <a:pt x="31" y="59"/>
                    </a:cubicBezTo>
                    <a:cubicBezTo>
                      <a:pt x="29" y="69"/>
                      <a:pt x="29" y="69"/>
                      <a:pt x="29" y="69"/>
                    </a:cubicBezTo>
                    <a:cubicBezTo>
                      <a:pt x="36" y="65"/>
                      <a:pt x="36" y="65"/>
                      <a:pt x="36" y="65"/>
                    </a:cubicBezTo>
                    <a:cubicBezTo>
                      <a:pt x="36" y="65"/>
                      <a:pt x="33" y="58"/>
                      <a:pt x="35" y="55"/>
                    </a:cubicBezTo>
                    <a:cubicBezTo>
                      <a:pt x="37" y="51"/>
                      <a:pt x="42" y="51"/>
                      <a:pt x="42" y="51"/>
                    </a:cubicBezTo>
                    <a:cubicBezTo>
                      <a:pt x="46" y="47"/>
                      <a:pt x="46" y="47"/>
                      <a:pt x="46" y="47"/>
                    </a:cubicBezTo>
                    <a:cubicBezTo>
                      <a:pt x="52" y="54"/>
                      <a:pt x="52" y="54"/>
                      <a:pt x="52" y="54"/>
                    </a:cubicBezTo>
                    <a:cubicBezTo>
                      <a:pt x="58" y="43"/>
                      <a:pt x="58" y="43"/>
                      <a:pt x="58" y="43"/>
                    </a:cubicBezTo>
                    <a:cubicBezTo>
                      <a:pt x="58" y="43"/>
                      <a:pt x="60" y="43"/>
                      <a:pt x="61" y="43"/>
                    </a:cubicBezTo>
                    <a:cubicBezTo>
                      <a:pt x="62" y="42"/>
                      <a:pt x="63" y="42"/>
                      <a:pt x="63" y="42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70" name="Italy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4491038" y="4529138"/>
                <a:ext cx="1255712" cy="1443037"/>
              </a:xfrm>
              <a:custGeom>
                <a:avLst/>
                <a:gdLst/>
                <a:ahLst/>
                <a:cxnLst>
                  <a:cxn ang="0">
                    <a:pos x="173" y="282"/>
                  </a:cxn>
                  <a:cxn ang="0">
                    <a:pos x="150" y="269"/>
                  </a:cxn>
                  <a:cxn ang="0">
                    <a:pos x="126" y="392"/>
                  </a:cxn>
                  <a:cxn ang="0">
                    <a:pos x="63" y="407"/>
                  </a:cxn>
                  <a:cxn ang="0">
                    <a:pos x="70" y="460"/>
                  </a:cxn>
                  <a:cxn ang="0">
                    <a:pos x="73" y="519"/>
                  </a:cxn>
                  <a:cxn ang="0">
                    <a:pos x="104" y="525"/>
                  </a:cxn>
                  <a:cxn ang="0">
                    <a:pos x="140" y="458"/>
                  </a:cxn>
                  <a:cxn ang="0">
                    <a:pos x="70" y="394"/>
                  </a:cxn>
                  <a:cxn ang="0">
                    <a:pos x="271" y="599"/>
                  </a:cxn>
                  <a:cxn ang="0">
                    <a:pos x="263" y="595"/>
                  </a:cxn>
                  <a:cxn ang="0">
                    <a:pos x="549" y="402"/>
                  </a:cxn>
                  <a:cxn ang="0">
                    <a:pos x="489" y="378"/>
                  </a:cxn>
                  <a:cxn ang="0">
                    <a:pos x="432" y="333"/>
                  </a:cxn>
                  <a:cxn ang="0">
                    <a:pos x="363" y="300"/>
                  </a:cxn>
                  <a:cxn ang="0">
                    <a:pos x="327" y="230"/>
                  </a:cxn>
                  <a:cxn ang="0">
                    <a:pos x="278" y="141"/>
                  </a:cxn>
                  <a:cxn ang="0">
                    <a:pos x="286" y="106"/>
                  </a:cxn>
                  <a:cxn ang="0">
                    <a:pos x="329" y="91"/>
                  </a:cxn>
                  <a:cxn ang="0">
                    <a:pos x="319" y="59"/>
                  </a:cxn>
                  <a:cxn ang="0">
                    <a:pos x="290" y="34"/>
                  </a:cxn>
                  <a:cxn ang="0">
                    <a:pos x="262" y="2"/>
                  </a:cxn>
                  <a:cxn ang="0">
                    <a:pos x="206" y="26"/>
                  </a:cxn>
                  <a:cxn ang="0">
                    <a:pos x="172" y="38"/>
                  </a:cxn>
                  <a:cxn ang="0">
                    <a:pos x="163" y="60"/>
                  </a:cxn>
                  <a:cxn ang="0">
                    <a:pos x="128" y="41"/>
                  </a:cxn>
                  <a:cxn ang="0">
                    <a:pos x="115" y="79"/>
                  </a:cxn>
                  <a:cxn ang="0">
                    <a:pos x="93" y="60"/>
                  </a:cxn>
                  <a:cxn ang="0">
                    <a:pos x="72" y="54"/>
                  </a:cxn>
                  <a:cxn ang="0">
                    <a:pos x="33" y="75"/>
                  </a:cxn>
                  <a:cxn ang="0">
                    <a:pos x="10" y="126"/>
                  </a:cxn>
                  <a:cxn ang="0">
                    <a:pos x="14" y="178"/>
                  </a:cxn>
                  <a:cxn ang="0">
                    <a:pos x="76" y="195"/>
                  </a:cxn>
                  <a:cxn ang="0">
                    <a:pos x="168" y="211"/>
                  </a:cxn>
                  <a:cxn ang="0">
                    <a:pos x="201" y="286"/>
                  </a:cxn>
                  <a:cxn ang="0">
                    <a:pos x="246" y="333"/>
                  </a:cxn>
                  <a:cxn ang="0">
                    <a:pos x="303" y="375"/>
                  </a:cxn>
                  <a:cxn ang="0">
                    <a:pos x="359" y="410"/>
                  </a:cxn>
                  <a:cxn ang="0">
                    <a:pos x="375" y="423"/>
                  </a:cxn>
                  <a:cxn ang="0">
                    <a:pos x="404" y="437"/>
                  </a:cxn>
                  <a:cxn ang="0">
                    <a:pos x="449" y="464"/>
                  </a:cxn>
                  <a:cxn ang="0">
                    <a:pos x="457" y="544"/>
                  </a:cxn>
                  <a:cxn ang="0">
                    <a:pos x="475" y="588"/>
                  </a:cxn>
                  <a:cxn ang="0">
                    <a:pos x="522" y="501"/>
                  </a:cxn>
                  <a:cxn ang="0">
                    <a:pos x="492" y="456"/>
                  </a:cxn>
                  <a:cxn ang="0">
                    <a:pos x="523" y="425"/>
                  </a:cxn>
                  <a:cxn ang="0">
                    <a:pos x="589" y="436"/>
                  </a:cxn>
                  <a:cxn ang="0">
                    <a:pos x="280" y="207"/>
                  </a:cxn>
                  <a:cxn ang="0">
                    <a:pos x="421" y="580"/>
                  </a:cxn>
                  <a:cxn ang="0">
                    <a:pos x="384" y="589"/>
                  </a:cxn>
                  <a:cxn ang="0">
                    <a:pos x="327" y="579"/>
                  </a:cxn>
                  <a:cxn ang="0">
                    <a:pos x="294" y="583"/>
                  </a:cxn>
                  <a:cxn ang="0">
                    <a:pos x="295" y="622"/>
                  </a:cxn>
                  <a:cxn ang="0">
                    <a:pos x="384" y="656"/>
                  </a:cxn>
                  <a:cxn ang="0">
                    <a:pos x="427" y="662"/>
                  </a:cxn>
                  <a:cxn ang="0">
                    <a:pos x="427" y="634"/>
                  </a:cxn>
                  <a:cxn ang="0">
                    <a:pos x="446" y="568"/>
                  </a:cxn>
                </a:cxnLst>
                <a:rect l="0" t="0" r="r" b="b"/>
                <a:pathLst>
                  <a:path w="589" h="678">
                    <a:moveTo>
                      <a:pt x="173" y="282"/>
                    </a:moveTo>
                    <a:cubicBezTo>
                      <a:pt x="161" y="283"/>
                      <a:pt x="161" y="283"/>
                      <a:pt x="161" y="283"/>
                    </a:cubicBezTo>
                    <a:cubicBezTo>
                      <a:pt x="162" y="289"/>
                      <a:pt x="162" y="289"/>
                      <a:pt x="162" y="289"/>
                    </a:cubicBezTo>
                    <a:cubicBezTo>
                      <a:pt x="172" y="285"/>
                      <a:pt x="172" y="285"/>
                      <a:pt x="172" y="285"/>
                    </a:cubicBezTo>
                    <a:cubicBezTo>
                      <a:pt x="178" y="288"/>
                      <a:pt x="178" y="288"/>
                      <a:pt x="178" y="288"/>
                    </a:cubicBezTo>
                    <a:cubicBezTo>
                      <a:pt x="179" y="281"/>
                      <a:pt x="179" y="281"/>
                      <a:pt x="179" y="281"/>
                    </a:cubicBezTo>
                    <a:cubicBezTo>
                      <a:pt x="177" y="279"/>
                      <a:pt x="177" y="279"/>
                      <a:pt x="177" y="279"/>
                    </a:cubicBezTo>
                    <a:lnTo>
                      <a:pt x="173" y="282"/>
                    </a:lnTo>
                    <a:close/>
                    <a:moveTo>
                      <a:pt x="201" y="310"/>
                    </a:moveTo>
                    <a:cubicBezTo>
                      <a:pt x="196" y="311"/>
                      <a:pt x="200" y="315"/>
                      <a:pt x="200" y="315"/>
                    </a:cubicBezTo>
                    <a:cubicBezTo>
                      <a:pt x="203" y="315"/>
                      <a:pt x="205" y="310"/>
                      <a:pt x="201" y="310"/>
                    </a:cubicBezTo>
                    <a:close/>
                    <a:moveTo>
                      <a:pt x="158" y="294"/>
                    </a:moveTo>
                    <a:cubicBezTo>
                      <a:pt x="154" y="297"/>
                      <a:pt x="159" y="300"/>
                      <a:pt x="159" y="300"/>
                    </a:cubicBezTo>
                    <a:cubicBezTo>
                      <a:pt x="164" y="299"/>
                      <a:pt x="163" y="291"/>
                      <a:pt x="158" y="294"/>
                    </a:cubicBezTo>
                    <a:close/>
                    <a:moveTo>
                      <a:pt x="151" y="265"/>
                    </a:moveTo>
                    <a:cubicBezTo>
                      <a:pt x="147" y="265"/>
                      <a:pt x="150" y="269"/>
                      <a:pt x="150" y="269"/>
                    </a:cubicBezTo>
                    <a:cubicBezTo>
                      <a:pt x="154" y="268"/>
                      <a:pt x="154" y="264"/>
                      <a:pt x="151" y="265"/>
                    </a:cubicBezTo>
                    <a:close/>
                    <a:moveTo>
                      <a:pt x="142" y="408"/>
                    </a:moveTo>
                    <a:cubicBezTo>
                      <a:pt x="136" y="402"/>
                      <a:pt x="136" y="402"/>
                      <a:pt x="136" y="402"/>
                    </a:cubicBezTo>
                    <a:cubicBezTo>
                      <a:pt x="138" y="396"/>
                      <a:pt x="138" y="396"/>
                      <a:pt x="138" y="396"/>
                    </a:cubicBezTo>
                    <a:cubicBezTo>
                      <a:pt x="134" y="395"/>
                      <a:pt x="134" y="395"/>
                      <a:pt x="134" y="395"/>
                    </a:cubicBezTo>
                    <a:cubicBezTo>
                      <a:pt x="134" y="392"/>
                      <a:pt x="134" y="392"/>
                      <a:pt x="134" y="392"/>
                    </a:cubicBezTo>
                    <a:cubicBezTo>
                      <a:pt x="132" y="389"/>
                      <a:pt x="132" y="389"/>
                      <a:pt x="132" y="389"/>
                    </a:cubicBezTo>
                    <a:cubicBezTo>
                      <a:pt x="126" y="392"/>
                      <a:pt x="126" y="392"/>
                      <a:pt x="126" y="392"/>
                    </a:cubicBezTo>
                    <a:cubicBezTo>
                      <a:pt x="126" y="392"/>
                      <a:pt x="125" y="389"/>
                      <a:pt x="121" y="386"/>
                    </a:cubicBezTo>
                    <a:cubicBezTo>
                      <a:pt x="118" y="383"/>
                      <a:pt x="113" y="382"/>
                      <a:pt x="113" y="382"/>
                    </a:cubicBezTo>
                    <a:cubicBezTo>
                      <a:pt x="113" y="390"/>
                      <a:pt x="113" y="390"/>
                      <a:pt x="113" y="390"/>
                    </a:cubicBezTo>
                    <a:cubicBezTo>
                      <a:pt x="106" y="389"/>
                      <a:pt x="106" y="389"/>
                      <a:pt x="106" y="389"/>
                    </a:cubicBezTo>
                    <a:cubicBezTo>
                      <a:pt x="106" y="389"/>
                      <a:pt x="91" y="407"/>
                      <a:pt x="80" y="408"/>
                    </a:cubicBezTo>
                    <a:cubicBezTo>
                      <a:pt x="67" y="410"/>
                      <a:pt x="65" y="400"/>
                      <a:pt x="65" y="400"/>
                    </a:cubicBezTo>
                    <a:cubicBezTo>
                      <a:pt x="59" y="401"/>
                      <a:pt x="59" y="401"/>
                      <a:pt x="59" y="401"/>
                    </a:cubicBezTo>
                    <a:cubicBezTo>
                      <a:pt x="63" y="407"/>
                      <a:pt x="63" y="407"/>
                      <a:pt x="63" y="407"/>
                    </a:cubicBezTo>
                    <a:cubicBezTo>
                      <a:pt x="60" y="415"/>
                      <a:pt x="60" y="415"/>
                      <a:pt x="60" y="415"/>
                    </a:cubicBezTo>
                    <a:cubicBezTo>
                      <a:pt x="60" y="415"/>
                      <a:pt x="58" y="421"/>
                      <a:pt x="59" y="425"/>
                    </a:cubicBezTo>
                    <a:cubicBezTo>
                      <a:pt x="61" y="429"/>
                      <a:pt x="67" y="426"/>
                      <a:pt x="67" y="426"/>
                    </a:cubicBezTo>
                    <a:cubicBezTo>
                      <a:pt x="73" y="431"/>
                      <a:pt x="73" y="431"/>
                      <a:pt x="73" y="431"/>
                    </a:cubicBezTo>
                    <a:cubicBezTo>
                      <a:pt x="72" y="440"/>
                      <a:pt x="72" y="440"/>
                      <a:pt x="72" y="440"/>
                    </a:cubicBezTo>
                    <a:cubicBezTo>
                      <a:pt x="76" y="443"/>
                      <a:pt x="76" y="443"/>
                      <a:pt x="76" y="443"/>
                    </a:cubicBezTo>
                    <a:cubicBezTo>
                      <a:pt x="75" y="458"/>
                      <a:pt x="75" y="458"/>
                      <a:pt x="75" y="458"/>
                    </a:cubicBezTo>
                    <a:cubicBezTo>
                      <a:pt x="70" y="460"/>
                      <a:pt x="70" y="460"/>
                      <a:pt x="70" y="460"/>
                    </a:cubicBezTo>
                    <a:cubicBezTo>
                      <a:pt x="73" y="472"/>
                      <a:pt x="73" y="472"/>
                      <a:pt x="73" y="472"/>
                    </a:cubicBezTo>
                    <a:cubicBezTo>
                      <a:pt x="73" y="472"/>
                      <a:pt x="77" y="471"/>
                      <a:pt x="80" y="473"/>
                    </a:cubicBezTo>
                    <a:cubicBezTo>
                      <a:pt x="82" y="475"/>
                      <a:pt x="77" y="483"/>
                      <a:pt x="77" y="483"/>
                    </a:cubicBezTo>
                    <a:cubicBezTo>
                      <a:pt x="74" y="478"/>
                      <a:pt x="74" y="478"/>
                      <a:pt x="74" y="478"/>
                    </a:cubicBezTo>
                    <a:cubicBezTo>
                      <a:pt x="69" y="504"/>
                      <a:pt x="69" y="504"/>
                      <a:pt x="69" y="504"/>
                    </a:cubicBezTo>
                    <a:cubicBezTo>
                      <a:pt x="73" y="509"/>
                      <a:pt x="73" y="509"/>
                      <a:pt x="73" y="509"/>
                    </a:cubicBezTo>
                    <a:cubicBezTo>
                      <a:pt x="69" y="515"/>
                      <a:pt x="69" y="515"/>
                      <a:pt x="69" y="515"/>
                    </a:cubicBezTo>
                    <a:cubicBezTo>
                      <a:pt x="69" y="515"/>
                      <a:pt x="73" y="518"/>
                      <a:pt x="73" y="519"/>
                    </a:cubicBezTo>
                    <a:cubicBezTo>
                      <a:pt x="73" y="521"/>
                      <a:pt x="68" y="520"/>
                      <a:pt x="68" y="520"/>
                    </a:cubicBezTo>
                    <a:cubicBezTo>
                      <a:pt x="66" y="523"/>
                      <a:pt x="66" y="523"/>
                      <a:pt x="66" y="523"/>
                    </a:cubicBezTo>
                    <a:cubicBezTo>
                      <a:pt x="71" y="531"/>
                      <a:pt x="71" y="531"/>
                      <a:pt x="71" y="531"/>
                    </a:cubicBezTo>
                    <a:cubicBezTo>
                      <a:pt x="71" y="531"/>
                      <a:pt x="74" y="525"/>
                      <a:pt x="76" y="525"/>
                    </a:cubicBezTo>
                    <a:cubicBezTo>
                      <a:pt x="79" y="525"/>
                      <a:pt x="81" y="536"/>
                      <a:pt x="81" y="536"/>
                    </a:cubicBezTo>
                    <a:cubicBezTo>
                      <a:pt x="81" y="536"/>
                      <a:pt x="85" y="534"/>
                      <a:pt x="87" y="534"/>
                    </a:cubicBezTo>
                    <a:cubicBezTo>
                      <a:pt x="89" y="534"/>
                      <a:pt x="93" y="535"/>
                      <a:pt x="93" y="535"/>
                    </a:cubicBezTo>
                    <a:cubicBezTo>
                      <a:pt x="104" y="525"/>
                      <a:pt x="104" y="525"/>
                      <a:pt x="104" y="525"/>
                    </a:cubicBezTo>
                    <a:cubicBezTo>
                      <a:pt x="103" y="521"/>
                      <a:pt x="103" y="521"/>
                      <a:pt x="103" y="521"/>
                    </a:cubicBezTo>
                    <a:cubicBezTo>
                      <a:pt x="103" y="521"/>
                      <a:pt x="105" y="517"/>
                      <a:pt x="113" y="516"/>
                    </a:cubicBezTo>
                    <a:cubicBezTo>
                      <a:pt x="119" y="516"/>
                      <a:pt x="123" y="520"/>
                      <a:pt x="123" y="520"/>
                    </a:cubicBezTo>
                    <a:cubicBezTo>
                      <a:pt x="131" y="523"/>
                      <a:pt x="131" y="523"/>
                      <a:pt x="131" y="523"/>
                    </a:cubicBezTo>
                    <a:cubicBezTo>
                      <a:pt x="134" y="511"/>
                      <a:pt x="134" y="511"/>
                      <a:pt x="134" y="511"/>
                    </a:cubicBezTo>
                    <a:cubicBezTo>
                      <a:pt x="137" y="508"/>
                      <a:pt x="137" y="508"/>
                      <a:pt x="137" y="508"/>
                    </a:cubicBezTo>
                    <a:cubicBezTo>
                      <a:pt x="134" y="501"/>
                      <a:pt x="134" y="501"/>
                      <a:pt x="134" y="501"/>
                    </a:cubicBezTo>
                    <a:cubicBezTo>
                      <a:pt x="140" y="458"/>
                      <a:pt x="140" y="458"/>
                      <a:pt x="140" y="458"/>
                    </a:cubicBezTo>
                    <a:cubicBezTo>
                      <a:pt x="140" y="458"/>
                      <a:pt x="136" y="452"/>
                      <a:pt x="137" y="446"/>
                    </a:cubicBezTo>
                    <a:cubicBezTo>
                      <a:pt x="137" y="440"/>
                      <a:pt x="148" y="430"/>
                      <a:pt x="148" y="430"/>
                    </a:cubicBezTo>
                    <a:cubicBezTo>
                      <a:pt x="138" y="412"/>
                      <a:pt x="138" y="412"/>
                      <a:pt x="138" y="412"/>
                    </a:cubicBezTo>
                    <a:lnTo>
                      <a:pt x="142" y="408"/>
                    </a:lnTo>
                    <a:close/>
                    <a:moveTo>
                      <a:pt x="63" y="515"/>
                    </a:moveTo>
                    <a:cubicBezTo>
                      <a:pt x="55" y="516"/>
                      <a:pt x="63" y="520"/>
                      <a:pt x="63" y="520"/>
                    </a:cubicBezTo>
                    <a:cubicBezTo>
                      <a:pt x="70" y="520"/>
                      <a:pt x="71" y="514"/>
                      <a:pt x="63" y="515"/>
                    </a:cubicBezTo>
                    <a:close/>
                    <a:moveTo>
                      <a:pt x="70" y="394"/>
                    </a:moveTo>
                    <a:cubicBezTo>
                      <a:pt x="75" y="390"/>
                      <a:pt x="71" y="383"/>
                      <a:pt x="68" y="390"/>
                    </a:cubicBezTo>
                    <a:cubicBezTo>
                      <a:pt x="65" y="396"/>
                      <a:pt x="70" y="394"/>
                      <a:pt x="70" y="394"/>
                    </a:cubicBezTo>
                    <a:close/>
                    <a:moveTo>
                      <a:pt x="261" y="671"/>
                    </a:moveTo>
                    <a:cubicBezTo>
                      <a:pt x="255" y="666"/>
                      <a:pt x="256" y="671"/>
                      <a:pt x="256" y="671"/>
                    </a:cubicBezTo>
                    <a:cubicBezTo>
                      <a:pt x="256" y="675"/>
                      <a:pt x="256" y="675"/>
                      <a:pt x="256" y="675"/>
                    </a:cubicBezTo>
                    <a:cubicBezTo>
                      <a:pt x="264" y="678"/>
                      <a:pt x="266" y="675"/>
                      <a:pt x="261" y="671"/>
                    </a:cubicBezTo>
                    <a:close/>
                    <a:moveTo>
                      <a:pt x="277" y="598"/>
                    </a:moveTo>
                    <a:cubicBezTo>
                      <a:pt x="271" y="597"/>
                      <a:pt x="271" y="599"/>
                      <a:pt x="271" y="599"/>
                    </a:cubicBezTo>
                    <a:cubicBezTo>
                      <a:pt x="274" y="600"/>
                      <a:pt x="274" y="600"/>
                      <a:pt x="274" y="600"/>
                    </a:cubicBezTo>
                    <a:cubicBezTo>
                      <a:pt x="277" y="601"/>
                      <a:pt x="281" y="598"/>
                      <a:pt x="277" y="598"/>
                    </a:cubicBezTo>
                    <a:close/>
                    <a:moveTo>
                      <a:pt x="413" y="564"/>
                    </a:moveTo>
                    <a:cubicBezTo>
                      <a:pt x="415" y="564"/>
                      <a:pt x="418" y="562"/>
                      <a:pt x="413" y="562"/>
                    </a:cubicBezTo>
                    <a:cubicBezTo>
                      <a:pt x="409" y="562"/>
                      <a:pt x="413" y="564"/>
                      <a:pt x="413" y="564"/>
                    </a:cubicBezTo>
                    <a:close/>
                    <a:moveTo>
                      <a:pt x="263" y="595"/>
                    </a:moveTo>
                    <a:cubicBezTo>
                      <a:pt x="261" y="595"/>
                      <a:pt x="261" y="598"/>
                      <a:pt x="261" y="598"/>
                    </a:cubicBezTo>
                    <a:cubicBezTo>
                      <a:pt x="264" y="599"/>
                      <a:pt x="265" y="596"/>
                      <a:pt x="263" y="595"/>
                    </a:cubicBezTo>
                    <a:close/>
                    <a:moveTo>
                      <a:pt x="589" y="436"/>
                    </a:moveTo>
                    <a:cubicBezTo>
                      <a:pt x="585" y="435"/>
                      <a:pt x="585" y="435"/>
                      <a:pt x="585" y="435"/>
                    </a:cubicBezTo>
                    <a:cubicBezTo>
                      <a:pt x="581" y="427"/>
                      <a:pt x="581" y="427"/>
                      <a:pt x="581" y="427"/>
                    </a:cubicBezTo>
                    <a:cubicBezTo>
                      <a:pt x="573" y="416"/>
                      <a:pt x="573" y="416"/>
                      <a:pt x="573" y="416"/>
                    </a:cubicBezTo>
                    <a:cubicBezTo>
                      <a:pt x="567" y="417"/>
                      <a:pt x="567" y="417"/>
                      <a:pt x="567" y="417"/>
                    </a:cubicBezTo>
                    <a:cubicBezTo>
                      <a:pt x="560" y="410"/>
                      <a:pt x="560" y="410"/>
                      <a:pt x="560" y="410"/>
                    </a:cubicBezTo>
                    <a:cubicBezTo>
                      <a:pt x="560" y="410"/>
                      <a:pt x="562" y="407"/>
                      <a:pt x="558" y="405"/>
                    </a:cubicBezTo>
                    <a:cubicBezTo>
                      <a:pt x="552" y="402"/>
                      <a:pt x="549" y="402"/>
                      <a:pt x="549" y="402"/>
                    </a:cubicBezTo>
                    <a:cubicBezTo>
                      <a:pt x="543" y="398"/>
                      <a:pt x="543" y="398"/>
                      <a:pt x="543" y="398"/>
                    </a:cubicBezTo>
                    <a:cubicBezTo>
                      <a:pt x="540" y="399"/>
                      <a:pt x="540" y="399"/>
                      <a:pt x="540" y="399"/>
                    </a:cubicBezTo>
                    <a:cubicBezTo>
                      <a:pt x="528" y="394"/>
                      <a:pt x="528" y="394"/>
                      <a:pt x="528" y="394"/>
                    </a:cubicBezTo>
                    <a:cubicBezTo>
                      <a:pt x="525" y="390"/>
                      <a:pt x="525" y="390"/>
                      <a:pt x="525" y="390"/>
                    </a:cubicBezTo>
                    <a:cubicBezTo>
                      <a:pt x="516" y="386"/>
                      <a:pt x="516" y="386"/>
                      <a:pt x="516" y="386"/>
                    </a:cubicBezTo>
                    <a:cubicBezTo>
                      <a:pt x="513" y="383"/>
                      <a:pt x="513" y="383"/>
                      <a:pt x="513" y="383"/>
                    </a:cubicBezTo>
                    <a:cubicBezTo>
                      <a:pt x="492" y="377"/>
                      <a:pt x="492" y="377"/>
                      <a:pt x="492" y="377"/>
                    </a:cubicBezTo>
                    <a:cubicBezTo>
                      <a:pt x="489" y="378"/>
                      <a:pt x="489" y="378"/>
                      <a:pt x="489" y="378"/>
                    </a:cubicBezTo>
                    <a:cubicBezTo>
                      <a:pt x="472" y="369"/>
                      <a:pt x="472" y="369"/>
                      <a:pt x="472" y="369"/>
                    </a:cubicBezTo>
                    <a:cubicBezTo>
                      <a:pt x="467" y="369"/>
                      <a:pt x="467" y="369"/>
                      <a:pt x="467" y="369"/>
                    </a:cubicBezTo>
                    <a:cubicBezTo>
                      <a:pt x="467" y="369"/>
                      <a:pt x="450" y="361"/>
                      <a:pt x="448" y="357"/>
                    </a:cubicBezTo>
                    <a:cubicBezTo>
                      <a:pt x="447" y="352"/>
                      <a:pt x="451" y="349"/>
                      <a:pt x="454" y="347"/>
                    </a:cubicBezTo>
                    <a:cubicBezTo>
                      <a:pt x="458" y="345"/>
                      <a:pt x="462" y="341"/>
                      <a:pt x="462" y="341"/>
                    </a:cubicBezTo>
                    <a:cubicBezTo>
                      <a:pt x="461" y="334"/>
                      <a:pt x="461" y="334"/>
                      <a:pt x="461" y="334"/>
                    </a:cubicBezTo>
                    <a:cubicBezTo>
                      <a:pt x="461" y="334"/>
                      <a:pt x="457" y="330"/>
                      <a:pt x="452" y="330"/>
                    </a:cubicBezTo>
                    <a:cubicBezTo>
                      <a:pt x="448" y="329"/>
                      <a:pt x="437" y="332"/>
                      <a:pt x="432" y="333"/>
                    </a:cubicBezTo>
                    <a:cubicBezTo>
                      <a:pt x="407" y="333"/>
                      <a:pt x="407" y="333"/>
                      <a:pt x="407" y="333"/>
                    </a:cubicBezTo>
                    <a:cubicBezTo>
                      <a:pt x="405" y="331"/>
                      <a:pt x="405" y="331"/>
                      <a:pt x="405" y="331"/>
                    </a:cubicBezTo>
                    <a:cubicBezTo>
                      <a:pt x="390" y="323"/>
                      <a:pt x="390" y="323"/>
                      <a:pt x="390" y="323"/>
                    </a:cubicBezTo>
                    <a:cubicBezTo>
                      <a:pt x="388" y="318"/>
                      <a:pt x="388" y="318"/>
                      <a:pt x="388" y="318"/>
                    </a:cubicBezTo>
                    <a:cubicBezTo>
                      <a:pt x="380" y="316"/>
                      <a:pt x="380" y="316"/>
                      <a:pt x="380" y="316"/>
                    </a:cubicBezTo>
                    <a:cubicBezTo>
                      <a:pt x="371" y="306"/>
                      <a:pt x="371" y="306"/>
                      <a:pt x="371" y="306"/>
                    </a:cubicBezTo>
                    <a:cubicBezTo>
                      <a:pt x="366" y="304"/>
                      <a:pt x="366" y="304"/>
                      <a:pt x="366" y="304"/>
                    </a:cubicBezTo>
                    <a:cubicBezTo>
                      <a:pt x="363" y="300"/>
                      <a:pt x="363" y="300"/>
                      <a:pt x="363" y="300"/>
                    </a:cubicBezTo>
                    <a:cubicBezTo>
                      <a:pt x="356" y="296"/>
                      <a:pt x="356" y="296"/>
                      <a:pt x="356" y="296"/>
                    </a:cubicBezTo>
                    <a:cubicBezTo>
                      <a:pt x="350" y="285"/>
                      <a:pt x="350" y="285"/>
                      <a:pt x="350" y="285"/>
                    </a:cubicBezTo>
                    <a:cubicBezTo>
                      <a:pt x="350" y="278"/>
                      <a:pt x="350" y="278"/>
                      <a:pt x="350" y="278"/>
                    </a:cubicBezTo>
                    <a:cubicBezTo>
                      <a:pt x="346" y="273"/>
                      <a:pt x="346" y="273"/>
                      <a:pt x="346" y="273"/>
                    </a:cubicBezTo>
                    <a:cubicBezTo>
                      <a:pt x="346" y="273"/>
                      <a:pt x="346" y="262"/>
                      <a:pt x="343" y="257"/>
                    </a:cubicBezTo>
                    <a:cubicBezTo>
                      <a:pt x="341" y="252"/>
                      <a:pt x="332" y="235"/>
                      <a:pt x="332" y="235"/>
                    </a:cubicBezTo>
                    <a:cubicBezTo>
                      <a:pt x="333" y="233"/>
                      <a:pt x="333" y="233"/>
                      <a:pt x="333" y="233"/>
                    </a:cubicBezTo>
                    <a:cubicBezTo>
                      <a:pt x="327" y="230"/>
                      <a:pt x="327" y="230"/>
                      <a:pt x="327" y="230"/>
                    </a:cubicBezTo>
                    <a:cubicBezTo>
                      <a:pt x="318" y="227"/>
                      <a:pt x="318" y="227"/>
                      <a:pt x="318" y="227"/>
                    </a:cubicBezTo>
                    <a:cubicBezTo>
                      <a:pt x="297" y="209"/>
                      <a:pt x="297" y="209"/>
                      <a:pt x="297" y="209"/>
                    </a:cubicBezTo>
                    <a:cubicBezTo>
                      <a:pt x="287" y="206"/>
                      <a:pt x="287" y="206"/>
                      <a:pt x="287" y="206"/>
                    </a:cubicBezTo>
                    <a:cubicBezTo>
                      <a:pt x="271" y="189"/>
                      <a:pt x="271" y="189"/>
                      <a:pt x="271" y="189"/>
                    </a:cubicBezTo>
                    <a:cubicBezTo>
                      <a:pt x="268" y="164"/>
                      <a:pt x="268" y="164"/>
                      <a:pt x="268" y="164"/>
                    </a:cubicBezTo>
                    <a:cubicBezTo>
                      <a:pt x="265" y="160"/>
                      <a:pt x="265" y="160"/>
                      <a:pt x="265" y="160"/>
                    </a:cubicBezTo>
                    <a:cubicBezTo>
                      <a:pt x="270" y="148"/>
                      <a:pt x="270" y="148"/>
                      <a:pt x="270" y="148"/>
                    </a:cubicBezTo>
                    <a:cubicBezTo>
                      <a:pt x="270" y="148"/>
                      <a:pt x="277" y="146"/>
                      <a:pt x="278" y="141"/>
                    </a:cubicBezTo>
                    <a:cubicBezTo>
                      <a:pt x="279" y="136"/>
                      <a:pt x="269" y="134"/>
                      <a:pt x="269" y="134"/>
                    </a:cubicBezTo>
                    <a:cubicBezTo>
                      <a:pt x="269" y="134"/>
                      <a:pt x="269" y="129"/>
                      <a:pt x="267" y="127"/>
                    </a:cubicBezTo>
                    <a:cubicBezTo>
                      <a:pt x="266" y="124"/>
                      <a:pt x="261" y="121"/>
                      <a:pt x="261" y="121"/>
                    </a:cubicBezTo>
                    <a:cubicBezTo>
                      <a:pt x="261" y="121"/>
                      <a:pt x="265" y="118"/>
                      <a:pt x="266" y="117"/>
                    </a:cubicBezTo>
                    <a:cubicBezTo>
                      <a:pt x="268" y="116"/>
                      <a:pt x="267" y="111"/>
                      <a:pt x="267" y="111"/>
                    </a:cubicBezTo>
                    <a:cubicBezTo>
                      <a:pt x="271" y="109"/>
                      <a:pt x="271" y="109"/>
                      <a:pt x="271" y="109"/>
                    </a:cubicBezTo>
                    <a:cubicBezTo>
                      <a:pt x="271" y="111"/>
                      <a:pt x="271" y="111"/>
                      <a:pt x="271" y="111"/>
                    </a:cubicBezTo>
                    <a:cubicBezTo>
                      <a:pt x="271" y="111"/>
                      <a:pt x="281" y="109"/>
                      <a:pt x="286" y="106"/>
                    </a:cubicBezTo>
                    <a:cubicBezTo>
                      <a:pt x="293" y="102"/>
                      <a:pt x="296" y="97"/>
                      <a:pt x="296" y="97"/>
                    </a:cubicBezTo>
                    <a:cubicBezTo>
                      <a:pt x="303" y="97"/>
                      <a:pt x="303" y="97"/>
                      <a:pt x="303" y="97"/>
                    </a:cubicBezTo>
                    <a:cubicBezTo>
                      <a:pt x="306" y="94"/>
                      <a:pt x="306" y="94"/>
                      <a:pt x="306" y="94"/>
                    </a:cubicBezTo>
                    <a:cubicBezTo>
                      <a:pt x="302" y="93"/>
                      <a:pt x="302" y="93"/>
                      <a:pt x="302" y="93"/>
                    </a:cubicBezTo>
                    <a:cubicBezTo>
                      <a:pt x="305" y="89"/>
                      <a:pt x="305" y="89"/>
                      <a:pt x="305" y="89"/>
                    </a:cubicBezTo>
                    <a:cubicBezTo>
                      <a:pt x="323" y="93"/>
                      <a:pt x="323" y="93"/>
                      <a:pt x="323" y="93"/>
                    </a:cubicBezTo>
                    <a:cubicBezTo>
                      <a:pt x="322" y="90"/>
                      <a:pt x="322" y="90"/>
                      <a:pt x="322" y="90"/>
                    </a:cubicBezTo>
                    <a:cubicBezTo>
                      <a:pt x="322" y="90"/>
                      <a:pt x="326" y="90"/>
                      <a:pt x="329" y="91"/>
                    </a:cubicBezTo>
                    <a:cubicBezTo>
                      <a:pt x="332" y="91"/>
                      <a:pt x="334" y="99"/>
                      <a:pt x="334" y="99"/>
                    </a:cubicBezTo>
                    <a:cubicBezTo>
                      <a:pt x="334" y="99"/>
                      <a:pt x="339" y="96"/>
                      <a:pt x="339" y="92"/>
                    </a:cubicBezTo>
                    <a:cubicBezTo>
                      <a:pt x="339" y="86"/>
                      <a:pt x="327" y="86"/>
                      <a:pt x="327" y="86"/>
                    </a:cubicBezTo>
                    <a:cubicBezTo>
                      <a:pt x="327" y="86"/>
                      <a:pt x="331" y="75"/>
                      <a:pt x="330" y="73"/>
                    </a:cubicBezTo>
                    <a:cubicBezTo>
                      <a:pt x="329" y="70"/>
                      <a:pt x="321" y="76"/>
                      <a:pt x="321" y="76"/>
                    </a:cubicBezTo>
                    <a:cubicBezTo>
                      <a:pt x="320" y="70"/>
                      <a:pt x="320" y="70"/>
                      <a:pt x="320" y="70"/>
                    </a:cubicBezTo>
                    <a:cubicBezTo>
                      <a:pt x="320" y="70"/>
                      <a:pt x="330" y="65"/>
                      <a:pt x="330" y="61"/>
                    </a:cubicBezTo>
                    <a:cubicBezTo>
                      <a:pt x="329" y="55"/>
                      <a:pt x="319" y="59"/>
                      <a:pt x="319" y="59"/>
                    </a:cubicBezTo>
                    <a:cubicBezTo>
                      <a:pt x="316" y="53"/>
                      <a:pt x="316" y="53"/>
                      <a:pt x="316" y="53"/>
                    </a:cubicBezTo>
                    <a:cubicBezTo>
                      <a:pt x="326" y="44"/>
                      <a:pt x="326" y="44"/>
                      <a:pt x="326" y="44"/>
                    </a:cubicBezTo>
                    <a:cubicBezTo>
                      <a:pt x="331" y="44"/>
                      <a:pt x="331" y="44"/>
                      <a:pt x="331" y="44"/>
                    </a:cubicBezTo>
                    <a:cubicBezTo>
                      <a:pt x="332" y="43"/>
                      <a:pt x="331" y="39"/>
                      <a:pt x="330" y="38"/>
                    </a:cubicBezTo>
                    <a:cubicBezTo>
                      <a:pt x="315" y="35"/>
                      <a:pt x="315" y="35"/>
                      <a:pt x="315" y="35"/>
                    </a:cubicBezTo>
                    <a:cubicBezTo>
                      <a:pt x="309" y="37"/>
                      <a:pt x="309" y="37"/>
                      <a:pt x="309" y="37"/>
                    </a:cubicBezTo>
                    <a:cubicBezTo>
                      <a:pt x="306" y="34"/>
                      <a:pt x="306" y="34"/>
                      <a:pt x="306" y="34"/>
                    </a:cubicBezTo>
                    <a:cubicBezTo>
                      <a:pt x="290" y="34"/>
                      <a:pt x="290" y="34"/>
                      <a:pt x="290" y="34"/>
                    </a:cubicBezTo>
                    <a:cubicBezTo>
                      <a:pt x="288" y="31"/>
                      <a:pt x="288" y="31"/>
                      <a:pt x="288" y="31"/>
                    </a:cubicBezTo>
                    <a:cubicBezTo>
                      <a:pt x="271" y="30"/>
                      <a:pt x="271" y="30"/>
                      <a:pt x="271" y="30"/>
                    </a:cubicBezTo>
                    <a:cubicBezTo>
                      <a:pt x="268" y="22"/>
                      <a:pt x="268" y="22"/>
                      <a:pt x="268" y="22"/>
                    </a:cubicBezTo>
                    <a:cubicBezTo>
                      <a:pt x="265" y="21"/>
                      <a:pt x="265" y="21"/>
                      <a:pt x="265" y="21"/>
                    </a:cubicBezTo>
                    <a:cubicBezTo>
                      <a:pt x="265" y="21"/>
                      <a:pt x="266" y="17"/>
                      <a:pt x="264" y="16"/>
                    </a:cubicBezTo>
                    <a:cubicBezTo>
                      <a:pt x="262" y="15"/>
                      <a:pt x="260" y="17"/>
                      <a:pt x="260" y="17"/>
                    </a:cubicBezTo>
                    <a:cubicBezTo>
                      <a:pt x="257" y="8"/>
                      <a:pt x="257" y="8"/>
                      <a:pt x="257" y="8"/>
                    </a:cubicBezTo>
                    <a:cubicBezTo>
                      <a:pt x="257" y="8"/>
                      <a:pt x="264" y="4"/>
                      <a:pt x="262" y="2"/>
                    </a:cubicBezTo>
                    <a:cubicBezTo>
                      <a:pt x="260" y="0"/>
                      <a:pt x="254" y="6"/>
                      <a:pt x="254" y="6"/>
                    </a:cubicBezTo>
                    <a:cubicBezTo>
                      <a:pt x="250" y="4"/>
                      <a:pt x="250" y="4"/>
                      <a:pt x="250" y="4"/>
                    </a:cubicBezTo>
                    <a:cubicBezTo>
                      <a:pt x="241" y="13"/>
                      <a:pt x="241" y="13"/>
                      <a:pt x="241" y="13"/>
                    </a:cubicBezTo>
                    <a:cubicBezTo>
                      <a:pt x="227" y="7"/>
                      <a:pt x="227" y="7"/>
                      <a:pt x="227" y="7"/>
                    </a:cubicBezTo>
                    <a:cubicBezTo>
                      <a:pt x="224" y="12"/>
                      <a:pt x="224" y="12"/>
                      <a:pt x="224" y="12"/>
                    </a:cubicBezTo>
                    <a:cubicBezTo>
                      <a:pt x="224" y="12"/>
                      <a:pt x="222" y="11"/>
                      <a:pt x="213" y="12"/>
                    </a:cubicBezTo>
                    <a:cubicBezTo>
                      <a:pt x="204" y="13"/>
                      <a:pt x="210" y="21"/>
                      <a:pt x="210" y="21"/>
                    </a:cubicBezTo>
                    <a:cubicBezTo>
                      <a:pt x="206" y="26"/>
                      <a:pt x="206" y="26"/>
                      <a:pt x="206" y="26"/>
                    </a:cubicBezTo>
                    <a:cubicBezTo>
                      <a:pt x="194" y="23"/>
                      <a:pt x="194" y="23"/>
                      <a:pt x="194" y="23"/>
                    </a:cubicBezTo>
                    <a:cubicBezTo>
                      <a:pt x="194" y="23"/>
                      <a:pt x="194" y="19"/>
                      <a:pt x="190" y="17"/>
                    </a:cubicBezTo>
                    <a:cubicBezTo>
                      <a:pt x="187" y="16"/>
                      <a:pt x="185" y="20"/>
                      <a:pt x="185" y="20"/>
                    </a:cubicBezTo>
                    <a:cubicBezTo>
                      <a:pt x="182" y="20"/>
                      <a:pt x="182" y="20"/>
                      <a:pt x="182" y="20"/>
                    </a:cubicBezTo>
                    <a:cubicBezTo>
                      <a:pt x="179" y="34"/>
                      <a:pt x="179" y="34"/>
                      <a:pt x="179" y="34"/>
                    </a:cubicBezTo>
                    <a:cubicBezTo>
                      <a:pt x="182" y="34"/>
                      <a:pt x="182" y="34"/>
                      <a:pt x="182" y="34"/>
                    </a:cubicBezTo>
                    <a:cubicBezTo>
                      <a:pt x="182" y="41"/>
                      <a:pt x="182" y="41"/>
                      <a:pt x="182" y="41"/>
                    </a:cubicBezTo>
                    <a:cubicBezTo>
                      <a:pt x="172" y="38"/>
                      <a:pt x="172" y="38"/>
                      <a:pt x="172" y="38"/>
                    </a:cubicBezTo>
                    <a:cubicBezTo>
                      <a:pt x="171" y="32"/>
                      <a:pt x="171" y="32"/>
                      <a:pt x="171" y="32"/>
                    </a:cubicBezTo>
                    <a:cubicBezTo>
                      <a:pt x="171" y="32"/>
                      <a:pt x="169" y="31"/>
                      <a:pt x="163" y="37"/>
                    </a:cubicBezTo>
                    <a:cubicBezTo>
                      <a:pt x="157" y="43"/>
                      <a:pt x="163" y="47"/>
                      <a:pt x="163" y="47"/>
                    </a:cubicBezTo>
                    <a:cubicBezTo>
                      <a:pt x="166" y="47"/>
                      <a:pt x="166" y="47"/>
                      <a:pt x="166" y="47"/>
                    </a:cubicBezTo>
                    <a:cubicBezTo>
                      <a:pt x="168" y="48"/>
                      <a:pt x="168" y="48"/>
                      <a:pt x="168" y="48"/>
                    </a:cubicBezTo>
                    <a:cubicBezTo>
                      <a:pt x="165" y="53"/>
                      <a:pt x="165" y="53"/>
                      <a:pt x="165" y="53"/>
                    </a:cubicBezTo>
                    <a:cubicBezTo>
                      <a:pt x="165" y="60"/>
                      <a:pt x="165" y="60"/>
                      <a:pt x="165" y="60"/>
                    </a:cubicBezTo>
                    <a:cubicBezTo>
                      <a:pt x="163" y="60"/>
                      <a:pt x="163" y="60"/>
                      <a:pt x="163" y="60"/>
                    </a:cubicBezTo>
                    <a:cubicBezTo>
                      <a:pt x="162" y="58"/>
                      <a:pt x="162" y="58"/>
                      <a:pt x="162" y="58"/>
                    </a:cubicBezTo>
                    <a:cubicBezTo>
                      <a:pt x="159" y="54"/>
                      <a:pt x="159" y="54"/>
                      <a:pt x="159" y="54"/>
                    </a:cubicBezTo>
                    <a:cubicBezTo>
                      <a:pt x="157" y="50"/>
                      <a:pt x="157" y="50"/>
                      <a:pt x="157" y="50"/>
                    </a:cubicBezTo>
                    <a:cubicBezTo>
                      <a:pt x="148" y="52"/>
                      <a:pt x="148" y="52"/>
                      <a:pt x="148" y="52"/>
                    </a:cubicBezTo>
                    <a:cubicBezTo>
                      <a:pt x="148" y="52"/>
                      <a:pt x="145" y="57"/>
                      <a:pt x="139" y="54"/>
                    </a:cubicBezTo>
                    <a:cubicBezTo>
                      <a:pt x="134" y="51"/>
                      <a:pt x="135" y="41"/>
                      <a:pt x="135" y="41"/>
                    </a:cubicBezTo>
                    <a:cubicBezTo>
                      <a:pt x="132" y="43"/>
                      <a:pt x="132" y="43"/>
                      <a:pt x="132" y="43"/>
                    </a:cubicBezTo>
                    <a:cubicBezTo>
                      <a:pt x="128" y="41"/>
                      <a:pt x="128" y="41"/>
                      <a:pt x="128" y="41"/>
                    </a:cubicBezTo>
                    <a:cubicBezTo>
                      <a:pt x="125" y="46"/>
                      <a:pt x="125" y="46"/>
                      <a:pt x="125" y="46"/>
                    </a:cubicBezTo>
                    <a:cubicBezTo>
                      <a:pt x="128" y="48"/>
                      <a:pt x="128" y="48"/>
                      <a:pt x="128" y="48"/>
                    </a:cubicBezTo>
                    <a:cubicBezTo>
                      <a:pt x="128" y="48"/>
                      <a:pt x="128" y="51"/>
                      <a:pt x="125" y="57"/>
                    </a:cubicBezTo>
                    <a:cubicBezTo>
                      <a:pt x="123" y="62"/>
                      <a:pt x="117" y="66"/>
                      <a:pt x="117" y="66"/>
                    </a:cubicBezTo>
                    <a:cubicBezTo>
                      <a:pt x="116" y="69"/>
                      <a:pt x="116" y="69"/>
                      <a:pt x="116" y="69"/>
                    </a:cubicBezTo>
                    <a:cubicBezTo>
                      <a:pt x="112" y="73"/>
                      <a:pt x="112" y="73"/>
                      <a:pt x="112" y="73"/>
                    </a:cubicBezTo>
                    <a:cubicBezTo>
                      <a:pt x="113" y="77"/>
                      <a:pt x="113" y="77"/>
                      <a:pt x="113" y="77"/>
                    </a:cubicBezTo>
                    <a:cubicBezTo>
                      <a:pt x="115" y="79"/>
                      <a:pt x="115" y="79"/>
                      <a:pt x="115" y="79"/>
                    </a:cubicBezTo>
                    <a:cubicBezTo>
                      <a:pt x="114" y="84"/>
                      <a:pt x="114" y="84"/>
                      <a:pt x="114" y="84"/>
                    </a:cubicBezTo>
                    <a:cubicBezTo>
                      <a:pt x="110" y="83"/>
                      <a:pt x="110" y="83"/>
                      <a:pt x="110" y="83"/>
                    </a:cubicBezTo>
                    <a:cubicBezTo>
                      <a:pt x="106" y="74"/>
                      <a:pt x="106" y="74"/>
                      <a:pt x="106" y="74"/>
                    </a:cubicBezTo>
                    <a:cubicBezTo>
                      <a:pt x="104" y="71"/>
                      <a:pt x="104" y="71"/>
                      <a:pt x="104" y="71"/>
                    </a:cubicBezTo>
                    <a:cubicBezTo>
                      <a:pt x="107" y="69"/>
                      <a:pt x="107" y="69"/>
                      <a:pt x="107" y="69"/>
                    </a:cubicBezTo>
                    <a:cubicBezTo>
                      <a:pt x="104" y="66"/>
                      <a:pt x="104" y="66"/>
                      <a:pt x="104" y="66"/>
                    </a:cubicBezTo>
                    <a:cubicBezTo>
                      <a:pt x="104" y="66"/>
                      <a:pt x="99" y="67"/>
                      <a:pt x="96" y="65"/>
                    </a:cubicBezTo>
                    <a:cubicBezTo>
                      <a:pt x="92" y="63"/>
                      <a:pt x="93" y="61"/>
                      <a:pt x="93" y="60"/>
                    </a:cubicBezTo>
                    <a:cubicBezTo>
                      <a:pt x="93" y="59"/>
                      <a:pt x="89" y="58"/>
                      <a:pt x="87" y="54"/>
                    </a:cubicBezTo>
                    <a:cubicBezTo>
                      <a:pt x="85" y="51"/>
                      <a:pt x="91" y="45"/>
                      <a:pt x="91" y="45"/>
                    </a:cubicBezTo>
                    <a:cubicBezTo>
                      <a:pt x="87" y="43"/>
                      <a:pt x="87" y="43"/>
                      <a:pt x="87" y="43"/>
                    </a:cubicBezTo>
                    <a:cubicBezTo>
                      <a:pt x="80" y="45"/>
                      <a:pt x="80" y="45"/>
                      <a:pt x="80" y="45"/>
                    </a:cubicBezTo>
                    <a:cubicBezTo>
                      <a:pt x="82" y="48"/>
                      <a:pt x="82" y="48"/>
                      <a:pt x="82" y="48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4" y="51"/>
                      <a:pt x="74" y="51"/>
                      <a:pt x="74" y="51"/>
                    </a:cubicBezTo>
                    <a:cubicBezTo>
                      <a:pt x="72" y="54"/>
                      <a:pt x="72" y="54"/>
                      <a:pt x="72" y="54"/>
                    </a:cubicBezTo>
                    <a:cubicBezTo>
                      <a:pt x="75" y="62"/>
                      <a:pt x="75" y="62"/>
                      <a:pt x="75" y="62"/>
                    </a:cubicBezTo>
                    <a:cubicBezTo>
                      <a:pt x="75" y="62"/>
                      <a:pt x="72" y="65"/>
                      <a:pt x="69" y="66"/>
                    </a:cubicBezTo>
                    <a:cubicBezTo>
                      <a:pt x="67" y="67"/>
                      <a:pt x="68" y="70"/>
                      <a:pt x="67" y="71"/>
                    </a:cubicBezTo>
                    <a:cubicBezTo>
                      <a:pt x="66" y="73"/>
                      <a:pt x="63" y="73"/>
                      <a:pt x="61" y="73"/>
                    </a:cubicBezTo>
                    <a:cubicBezTo>
                      <a:pt x="60" y="73"/>
                      <a:pt x="61" y="77"/>
                      <a:pt x="57" y="77"/>
                    </a:cubicBezTo>
                    <a:cubicBezTo>
                      <a:pt x="54" y="77"/>
                      <a:pt x="47" y="71"/>
                      <a:pt x="46" y="71"/>
                    </a:cubicBezTo>
                    <a:cubicBezTo>
                      <a:pt x="43" y="71"/>
                      <a:pt x="42" y="76"/>
                      <a:pt x="39" y="76"/>
                    </a:cubicBezTo>
                    <a:cubicBezTo>
                      <a:pt x="36" y="77"/>
                      <a:pt x="35" y="76"/>
                      <a:pt x="33" y="75"/>
                    </a:cubicBezTo>
                    <a:cubicBezTo>
                      <a:pt x="32" y="75"/>
                      <a:pt x="32" y="78"/>
                      <a:pt x="27" y="79"/>
                    </a:cubicBezTo>
                    <a:cubicBezTo>
                      <a:pt x="25" y="79"/>
                      <a:pt x="23" y="78"/>
                      <a:pt x="23" y="77"/>
                    </a:cubicBezTo>
                    <a:cubicBezTo>
                      <a:pt x="21" y="80"/>
                      <a:pt x="15" y="79"/>
                      <a:pt x="11" y="84"/>
                    </a:cubicBezTo>
                    <a:cubicBezTo>
                      <a:pt x="8" y="91"/>
                      <a:pt x="19" y="92"/>
                      <a:pt x="19" y="92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9" y="106"/>
                      <a:pt x="21" y="104"/>
                      <a:pt x="24" y="106"/>
                    </a:cubicBezTo>
                    <a:cubicBezTo>
                      <a:pt x="26" y="108"/>
                      <a:pt x="26" y="109"/>
                      <a:pt x="24" y="116"/>
                    </a:cubicBezTo>
                    <a:cubicBezTo>
                      <a:pt x="23" y="123"/>
                      <a:pt x="10" y="126"/>
                      <a:pt x="10" y="126"/>
                    </a:cubicBezTo>
                    <a:cubicBezTo>
                      <a:pt x="6" y="125"/>
                      <a:pt x="6" y="125"/>
                      <a:pt x="6" y="125"/>
                    </a:cubicBezTo>
                    <a:cubicBezTo>
                      <a:pt x="6" y="125"/>
                      <a:pt x="1" y="126"/>
                      <a:pt x="1" y="131"/>
                    </a:cubicBezTo>
                    <a:cubicBezTo>
                      <a:pt x="0" y="138"/>
                      <a:pt x="5" y="132"/>
                      <a:pt x="5" y="132"/>
                    </a:cubicBezTo>
                    <a:cubicBezTo>
                      <a:pt x="5" y="132"/>
                      <a:pt x="5" y="133"/>
                      <a:pt x="8" y="141"/>
                    </a:cubicBezTo>
                    <a:cubicBezTo>
                      <a:pt x="10" y="147"/>
                      <a:pt x="17" y="143"/>
                      <a:pt x="17" y="143"/>
                    </a:cubicBezTo>
                    <a:cubicBezTo>
                      <a:pt x="18" y="155"/>
                      <a:pt x="18" y="155"/>
                      <a:pt x="18" y="155"/>
                    </a:cubicBezTo>
                    <a:cubicBezTo>
                      <a:pt x="18" y="155"/>
                      <a:pt x="17" y="158"/>
                      <a:pt x="14" y="159"/>
                    </a:cubicBezTo>
                    <a:cubicBezTo>
                      <a:pt x="11" y="161"/>
                      <a:pt x="8" y="170"/>
                      <a:pt x="14" y="178"/>
                    </a:cubicBezTo>
                    <a:cubicBezTo>
                      <a:pt x="18" y="187"/>
                      <a:pt x="23" y="190"/>
                      <a:pt x="30" y="192"/>
                    </a:cubicBezTo>
                    <a:cubicBezTo>
                      <a:pt x="35" y="194"/>
                      <a:pt x="43" y="190"/>
                      <a:pt x="46" y="190"/>
                    </a:cubicBezTo>
                    <a:cubicBezTo>
                      <a:pt x="47" y="190"/>
                      <a:pt x="49" y="192"/>
                      <a:pt x="47" y="200"/>
                    </a:cubicBezTo>
                    <a:cubicBezTo>
                      <a:pt x="43" y="208"/>
                      <a:pt x="36" y="209"/>
                      <a:pt x="36" y="209"/>
                    </a:cubicBezTo>
                    <a:cubicBezTo>
                      <a:pt x="40" y="218"/>
                      <a:pt x="40" y="218"/>
                      <a:pt x="40" y="218"/>
                    </a:cubicBezTo>
                    <a:cubicBezTo>
                      <a:pt x="40" y="218"/>
                      <a:pt x="51" y="218"/>
                      <a:pt x="57" y="216"/>
                    </a:cubicBezTo>
                    <a:cubicBezTo>
                      <a:pt x="63" y="213"/>
                      <a:pt x="71" y="208"/>
                      <a:pt x="71" y="208"/>
                    </a:cubicBezTo>
                    <a:cubicBezTo>
                      <a:pt x="71" y="208"/>
                      <a:pt x="73" y="200"/>
                      <a:pt x="76" y="195"/>
                    </a:cubicBezTo>
                    <a:cubicBezTo>
                      <a:pt x="79" y="191"/>
                      <a:pt x="89" y="180"/>
                      <a:pt x="97" y="177"/>
                    </a:cubicBezTo>
                    <a:cubicBezTo>
                      <a:pt x="104" y="175"/>
                      <a:pt x="116" y="180"/>
                      <a:pt x="116" y="180"/>
                    </a:cubicBezTo>
                    <a:cubicBezTo>
                      <a:pt x="118" y="184"/>
                      <a:pt x="118" y="184"/>
                      <a:pt x="118" y="184"/>
                    </a:cubicBezTo>
                    <a:cubicBezTo>
                      <a:pt x="122" y="183"/>
                      <a:pt x="122" y="183"/>
                      <a:pt x="122" y="183"/>
                    </a:cubicBezTo>
                    <a:cubicBezTo>
                      <a:pt x="133" y="189"/>
                      <a:pt x="133" y="189"/>
                      <a:pt x="133" y="189"/>
                    </a:cubicBezTo>
                    <a:cubicBezTo>
                      <a:pt x="149" y="199"/>
                      <a:pt x="149" y="199"/>
                      <a:pt x="149" y="199"/>
                    </a:cubicBezTo>
                    <a:cubicBezTo>
                      <a:pt x="152" y="197"/>
                      <a:pt x="152" y="197"/>
                      <a:pt x="152" y="197"/>
                    </a:cubicBezTo>
                    <a:cubicBezTo>
                      <a:pt x="168" y="211"/>
                      <a:pt x="168" y="211"/>
                      <a:pt x="168" y="211"/>
                    </a:cubicBezTo>
                    <a:cubicBezTo>
                      <a:pt x="168" y="217"/>
                      <a:pt x="168" y="217"/>
                      <a:pt x="168" y="217"/>
                    </a:cubicBezTo>
                    <a:cubicBezTo>
                      <a:pt x="171" y="238"/>
                      <a:pt x="171" y="238"/>
                      <a:pt x="171" y="238"/>
                    </a:cubicBezTo>
                    <a:cubicBezTo>
                      <a:pt x="171" y="238"/>
                      <a:pt x="179" y="248"/>
                      <a:pt x="182" y="257"/>
                    </a:cubicBezTo>
                    <a:cubicBezTo>
                      <a:pt x="186" y="267"/>
                      <a:pt x="179" y="271"/>
                      <a:pt x="179" y="271"/>
                    </a:cubicBezTo>
                    <a:cubicBezTo>
                      <a:pt x="182" y="275"/>
                      <a:pt x="182" y="275"/>
                      <a:pt x="182" y="275"/>
                    </a:cubicBezTo>
                    <a:cubicBezTo>
                      <a:pt x="182" y="275"/>
                      <a:pt x="188" y="273"/>
                      <a:pt x="192" y="275"/>
                    </a:cubicBezTo>
                    <a:cubicBezTo>
                      <a:pt x="198" y="278"/>
                      <a:pt x="192" y="284"/>
                      <a:pt x="192" y="284"/>
                    </a:cubicBezTo>
                    <a:cubicBezTo>
                      <a:pt x="201" y="286"/>
                      <a:pt x="201" y="286"/>
                      <a:pt x="201" y="286"/>
                    </a:cubicBezTo>
                    <a:cubicBezTo>
                      <a:pt x="212" y="298"/>
                      <a:pt x="212" y="298"/>
                      <a:pt x="212" y="298"/>
                    </a:cubicBezTo>
                    <a:cubicBezTo>
                      <a:pt x="217" y="303"/>
                      <a:pt x="217" y="303"/>
                      <a:pt x="217" y="303"/>
                    </a:cubicBezTo>
                    <a:cubicBezTo>
                      <a:pt x="217" y="303"/>
                      <a:pt x="214" y="303"/>
                      <a:pt x="211" y="306"/>
                    </a:cubicBezTo>
                    <a:cubicBezTo>
                      <a:pt x="208" y="310"/>
                      <a:pt x="215" y="312"/>
                      <a:pt x="215" y="312"/>
                    </a:cubicBezTo>
                    <a:cubicBezTo>
                      <a:pt x="216" y="306"/>
                      <a:pt x="216" y="306"/>
                      <a:pt x="216" y="306"/>
                    </a:cubicBezTo>
                    <a:cubicBezTo>
                      <a:pt x="220" y="306"/>
                      <a:pt x="220" y="306"/>
                      <a:pt x="220" y="306"/>
                    </a:cubicBezTo>
                    <a:cubicBezTo>
                      <a:pt x="220" y="306"/>
                      <a:pt x="227" y="310"/>
                      <a:pt x="233" y="314"/>
                    </a:cubicBezTo>
                    <a:cubicBezTo>
                      <a:pt x="240" y="318"/>
                      <a:pt x="246" y="333"/>
                      <a:pt x="246" y="333"/>
                    </a:cubicBezTo>
                    <a:cubicBezTo>
                      <a:pt x="250" y="332"/>
                      <a:pt x="250" y="332"/>
                      <a:pt x="250" y="332"/>
                    </a:cubicBezTo>
                    <a:cubicBezTo>
                      <a:pt x="252" y="334"/>
                      <a:pt x="252" y="334"/>
                      <a:pt x="252" y="334"/>
                    </a:cubicBezTo>
                    <a:cubicBezTo>
                      <a:pt x="252" y="334"/>
                      <a:pt x="257" y="335"/>
                      <a:pt x="263" y="341"/>
                    </a:cubicBezTo>
                    <a:cubicBezTo>
                      <a:pt x="267" y="345"/>
                      <a:pt x="266" y="351"/>
                      <a:pt x="266" y="351"/>
                    </a:cubicBezTo>
                    <a:cubicBezTo>
                      <a:pt x="266" y="351"/>
                      <a:pt x="273" y="353"/>
                      <a:pt x="277" y="356"/>
                    </a:cubicBezTo>
                    <a:cubicBezTo>
                      <a:pt x="280" y="359"/>
                      <a:pt x="286" y="369"/>
                      <a:pt x="286" y="369"/>
                    </a:cubicBezTo>
                    <a:cubicBezTo>
                      <a:pt x="290" y="369"/>
                      <a:pt x="290" y="369"/>
                      <a:pt x="290" y="369"/>
                    </a:cubicBezTo>
                    <a:cubicBezTo>
                      <a:pt x="290" y="369"/>
                      <a:pt x="300" y="373"/>
                      <a:pt x="303" y="375"/>
                    </a:cubicBezTo>
                    <a:cubicBezTo>
                      <a:pt x="305" y="376"/>
                      <a:pt x="309" y="383"/>
                      <a:pt x="309" y="383"/>
                    </a:cubicBezTo>
                    <a:cubicBezTo>
                      <a:pt x="310" y="384"/>
                      <a:pt x="310" y="384"/>
                      <a:pt x="310" y="384"/>
                    </a:cubicBezTo>
                    <a:cubicBezTo>
                      <a:pt x="310" y="384"/>
                      <a:pt x="314" y="380"/>
                      <a:pt x="319" y="378"/>
                    </a:cubicBezTo>
                    <a:cubicBezTo>
                      <a:pt x="325" y="377"/>
                      <a:pt x="335" y="383"/>
                      <a:pt x="335" y="383"/>
                    </a:cubicBezTo>
                    <a:cubicBezTo>
                      <a:pt x="335" y="383"/>
                      <a:pt x="338" y="377"/>
                      <a:pt x="346" y="384"/>
                    </a:cubicBezTo>
                    <a:cubicBezTo>
                      <a:pt x="353" y="391"/>
                      <a:pt x="354" y="398"/>
                      <a:pt x="354" y="398"/>
                    </a:cubicBezTo>
                    <a:cubicBezTo>
                      <a:pt x="354" y="398"/>
                      <a:pt x="359" y="400"/>
                      <a:pt x="360" y="402"/>
                    </a:cubicBezTo>
                    <a:cubicBezTo>
                      <a:pt x="361" y="405"/>
                      <a:pt x="359" y="410"/>
                      <a:pt x="359" y="410"/>
                    </a:cubicBezTo>
                    <a:cubicBezTo>
                      <a:pt x="361" y="411"/>
                      <a:pt x="361" y="411"/>
                      <a:pt x="361" y="411"/>
                    </a:cubicBezTo>
                    <a:cubicBezTo>
                      <a:pt x="362" y="408"/>
                      <a:pt x="362" y="408"/>
                      <a:pt x="362" y="408"/>
                    </a:cubicBezTo>
                    <a:cubicBezTo>
                      <a:pt x="367" y="410"/>
                      <a:pt x="367" y="410"/>
                      <a:pt x="367" y="410"/>
                    </a:cubicBezTo>
                    <a:cubicBezTo>
                      <a:pt x="371" y="406"/>
                      <a:pt x="371" y="406"/>
                      <a:pt x="371" y="406"/>
                    </a:cubicBezTo>
                    <a:cubicBezTo>
                      <a:pt x="378" y="413"/>
                      <a:pt x="378" y="413"/>
                      <a:pt x="378" y="413"/>
                    </a:cubicBezTo>
                    <a:cubicBezTo>
                      <a:pt x="381" y="414"/>
                      <a:pt x="381" y="414"/>
                      <a:pt x="381" y="414"/>
                    </a:cubicBezTo>
                    <a:cubicBezTo>
                      <a:pt x="372" y="422"/>
                      <a:pt x="372" y="422"/>
                      <a:pt x="372" y="422"/>
                    </a:cubicBezTo>
                    <a:cubicBezTo>
                      <a:pt x="375" y="423"/>
                      <a:pt x="375" y="423"/>
                      <a:pt x="375" y="423"/>
                    </a:cubicBezTo>
                    <a:cubicBezTo>
                      <a:pt x="381" y="420"/>
                      <a:pt x="381" y="420"/>
                      <a:pt x="381" y="420"/>
                    </a:cubicBezTo>
                    <a:cubicBezTo>
                      <a:pt x="384" y="421"/>
                      <a:pt x="384" y="421"/>
                      <a:pt x="384" y="421"/>
                    </a:cubicBezTo>
                    <a:cubicBezTo>
                      <a:pt x="388" y="419"/>
                      <a:pt x="388" y="419"/>
                      <a:pt x="388" y="419"/>
                    </a:cubicBezTo>
                    <a:cubicBezTo>
                      <a:pt x="391" y="420"/>
                      <a:pt x="391" y="420"/>
                      <a:pt x="391" y="420"/>
                    </a:cubicBezTo>
                    <a:cubicBezTo>
                      <a:pt x="395" y="416"/>
                      <a:pt x="395" y="416"/>
                      <a:pt x="395" y="416"/>
                    </a:cubicBezTo>
                    <a:cubicBezTo>
                      <a:pt x="395" y="416"/>
                      <a:pt x="400" y="420"/>
                      <a:pt x="404" y="424"/>
                    </a:cubicBezTo>
                    <a:cubicBezTo>
                      <a:pt x="408" y="428"/>
                      <a:pt x="408" y="437"/>
                      <a:pt x="408" y="437"/>
                    </a:cubicBezTo>
                    <a:cubicBezTo>
                      <a:pt x="404" y="437"/>
                      <a:pt x="404" y="437"/>
                      <a:pt x="404" y="437"/>
                    </a:cubicBezTo>
                    <a:cubicBezTo>
                      <a:pt x="404" y="444"/>
                      <a:pt x="404" y="444"/>
                      <a:pt x="404" y="444"/>
                    </a:cubicBezTo>
                    <a:cubicBezTo>
                      <a:pt x="413" y="448"/>
                      <a:pt x="413" y="448"/>
                      <a:pt x="413" y="448"/>
                    </a:cubicBezTo>
                    <a:cubicBezTo>
                      <a:pt x="413" y="448"/>
                      <a:pt x="416" y="448"/>
                      <a:pt x="419" y="449"/>
                    </a:cubicBezTo>
                    <a:cubicBezTo>
                      <a:pt x="423" y="451"/>
                      <a:pt x="425" y="456"/>
                      <a:pt x="425" y="456"/>
                    </a:cubicBezTo>
                    <a:cubicBezTo>
                      <a:pt x="429" y="459"/>
                      <a:pt x="429" y="459"/>
                      <a:pt x="429" y="459"/>
                    </a:cubicBezTo>
                    <a:cubicBezTo>
                      <a:pt x="429" y="459"/>
                      <a:pt x="435" y="452"/>
                      <a:pt x="440" y="452"/>
                    </a:cubicBezTo>
                    <a:cubicBezTo>
                      <a:pt x="444" y="451"/>
                      <a:pt x="445" y="459"/>
                      <a:pt x="445" y="459"/>
                    </a:cubicBezTo>
                    <a:cubicBezTo>
                      <a:pt x="449" y="464"/>
                      <a:pt x="449" y="464"/>
                      <a:pt x="449" y="464"/>
                    </a:cubicBezTo>
                    <a:cubicBezTo>
                      <a:pt x="449" y="464"/>
                      <a:pt x="452" y="478"/>
                      <a:pt x="456" y="484"/>
                    </a:cubicBezTo>
                    <a:cubicBezTo>
                      <a:pt x="459" y="489"/>
                      <a:pt x="462" y="490"/>
                      <a:pt x="465" y="498"/>
                    </a:cubicBezTo>
                    <a:cubicBezTo>
                      <a:pt x="468" y="505"/>
                      <a:pt x="469" y="518"/>
                      <a:pt x="469" y="518"/>
                    </a:cubicBezTo>
                    <a:cubicBezTo>
                      <a:pt x="473" y="523"/>
                      <a:pt x="473" y="523"/>
                      <a:pt x="473" y="523"/>
                    </a:cubicBezTo>
                    <a:cubicBezTo>
                      <a:pt x="473" y="523"/>
                      <a:pt x="475" y="523"/>
                      <a:pt x="476" y="527"/>
                    </a:cubicBezTo>
                    <a:cubicBezTo>
                      <a:pt x="477" y="532"/>
                      <a:pt x="473" y="537"/>
                      <a:pt x="473" y="537"/>
                    </a:cubicBezTo>
                    <a:cubicBezTo>
                      <a:pt x="465" y="537"/>
                      <a:pt x="465" y="537"/>
                      <a:pt x="465" y="537"/>
                    </a:cubicBezTo>
                    <a:cubicBezTo>
                      <a:pt x="465" y="537"/>
                      <a:pt x="458" y="542"/>
                      <a:pt x="457" y="544"/>
                    </a:cubicBezTo>
                    <a:cubicBezTo>
                      <a:pt x="454" y="548"/>
                      <a:pt x="461" y="550"/>
                      <a:pt x="462" y="552"/>
                    </a:cubicBezTo>
                    <a:cubicBezTo>
                      <a:pt x="464" y="554"/>
                      <a:pt x="461" y="555"/>
                      <a:pt x="459" y="559"/>
                    </a:cubicBezTo>
                    <a:cubicBezTo>
                      <a:pt x="456" y="564"/>
                      <a:pt x="457" y="568"/>
                      <a:pt x="457" y="568"/>
                    </a:cubicBezTo>
                    <a:cubicBezTo>
                      <a:pt x="448" y="573"/>
                      <a:pt x="448" y="573"/>
                      <a:pt x="448" y="573"/>
                    </a:cubicBezTo>
                    <a:cubicBezTo>
                      <a:pt x="450" y="579"/>
                      <a:pt x="450" y="579"/>
                      <a:pt x="450" y="579"/>
                    </a:cubicBezTo>
                    <a:cubicBezTo>
                      <a:pt x="450" y="579"/>
                      <a:pt x="449" y="586"/>
                      <a:pt x="452" y="590"/>
                    </a:cubicBezTo>
                    <a:cubicBezTo>
                      <a:pt x="457" y="595"/>
                      <a:pt x="464" y="590"/>
                      <a:pt x="464" y="590"/>
                    </a:cubicBezTo>
                    <a:cubicBezTo>
                      <a:pt x="464" y="590"/>
                      <a:pt x="470" y="590"/>
                      <a:pt x="475" y="588"/>
                    </a:cubicBezTo>
                    <a:cubicBezTo>
                      <a:pt x="479" y="587"/>
                      <a:pt x="478" y="571"/>
                      <a:pt x="482" y="567"/>
                    </a:cubicBezTo>
                    <a:cubicBezTo>
                      <a:pt x="486" y="563"/>
                      <a:pt x="494" y="558"/>
                      <a:pt x="497" y="556"/>
                    </a:cubicBezTo>
                    <a:cubicBezTo>
                      <a:pt x="500" y="553"/>
                      <a:pt x="495" y="541"/>
                      <a:pt x="495" y="535"/>
                    </a:cubicBezTo>
                    <a:cubicBezTo>
                      <a:pt x="494" y="528"/>
                      <a:pt x="508" y="523"/>
                      <a:pt x="511" y="522"/>
                    </a:cubicBezTo>
                    <a:cubicBezTo>
                      <a:pt x="515" y="521"/>
                      <a:pt x="519" y="522"/>
                      <a:pt x="523" y="521"/>
                    </a:cubicBezTo>
                    <a:cubicBezTo>
                      <a:pt x="526" y="520"/>
                      <a:pt x="526" y="514"/>
                      <a:pt x="526" y="514"/>
                    </a:cubicBezTo>
                    <a:cubicBezTo>
                      <a:pt x="521" y="507"/>
                      <a:pt x="521" y="507"/>
                      <a:pt x="521" y="507"/>
                    </a:cubicBezTo>
                    <a:cubicBezTo>
                      <a:pt x="522" y="501"/>
                      <a:pt x="522" y="501"/>
                      <a:pt x="522" y="501"/>
                    </a:cubicBezTo>
                    <a:cubicBezTo>
                      <a:pt x="519" y="498"/>
                      <a:pt x="519" y="498"/>
                      <a:pt x="519" y="498"/>
                    </a:cubicBezTo>
                    <a:cubicBezTo>
                      <a:pt x="521" y="490"/>
                      <a:pt x="521" y="490"/>
                      <a:pt x="521" y="490"/>
                    </a:cubicBezTo>
                    <a:cubicBezTo>
                      <a:pt x="512" y="483"/>
                      <a:pt x="512" y="483"/>
                      <a:pt x="512" y="483"/>
                    </a:cubicBezTo>
                    <a:cubicBezTo>
                      <a:pt x="509" y="483"/>
                      <a:pt x="509" y="483"/>
                      <a:pt x="509" y="483"/>
                    </a:cubicBezTo>
                    <a:cubicBezTo>
                      <a:pt x="502" y="475"/>
                      <a:pt x="502" y="475"/>
                      <a:pt x="502" y="475"/>
                    </a:cubicBezTo>
                    <a:cubicBezTo>
                      <a:pt x="502" y="475"/>
                      <a:pt x="496" y="477"/>
                      <a:pt x="489" y="476"/>
                    </a:cubicBezTo>
                    <a:cubicBezTo>
                      <a:pt x="482" y="475"/>
                      <a:pt x="486" y="464"/>
                      <a:pt x="486" y="464"/>
                    </a:cubicBezTo>
                    <a:cubicBezTo>
                      <a:pt x="486" y="464"/>
                      <a:pt x="491" y="458"/>
                      <a:pt x="492" y="456"/>
                    </a:cubicBezTo>
                    <a:cubicBezTo>
                      <a:pt x="494" y="453"/>
                      <a:pt x="491" y="449"/>
                      <a:pt x="491" y="449"/>
                    </a:cubicBezTo>
                    <a:cubicBezTo>
                      <a:pt x="495" y="444"/>
                      <a:pt x="495" y="444"/>
                      <a:pt x="495" y="444"/>
                    </a:cubicBezTo>
                    <a:cubicBezTo>
                      <a:pt x="498" y="436"/>
                      <a:pt x="498" y="436"/>
                      <a:pt x="498" y="436"/>
                    </a:cubicBezTo>
                    <a:cubicBezTo>
                      <a:pt x="498" y="436"/>
                      <a:pt x="503" y="424"/>
                      <a:pt x="507" y="422"/>
                    </a:cubicBezTo>
                    <a:cubicBezTo>
                      <a:pt x="509" y="420"/>
                      <a:pt x="516" y="417"/>
                      <a:pt x="516" y="417"/>
                    </a:cubicBezTo>
                    <a:cubicBezTo>
                      <a:pt x="518" y="421"/>
                      <a:pt x="518" y="421"/>
                      <a:pt x="518" y="421"/>
                    </a:cubicBezTo>
                    <a:cubicBezTo>
                      <a:pt x="523" y="422"/>
                      <a:pt x="523" y="422"/>
                      <a:pt x="523" y="422"/>
                    </a:cubicBezTo>
                    <a:cubicBezTo>
                      <a:pt x="523" y="425"/>
                      <a:pt x="523" y="425"/>
                      <a:pt x="523" y="425"/>
                    </a:cubicBezTo>
                    <a:cubicBezTo>
                      <a:pt x="523" y="425"/>
                      <a:pt x="533" y="430"/>
                      <a:pt x="538" y="430"/>
                    </a:cubicBezTo>
                    <a:cubicBezTo>
                      <a:pt x="542" y="431"/>
                      <a:pt x="545" y="428"/>
                      <a:pt x="545" y="428"/>
                    </a:cubicBezTo>
                    <a:cubicBezTo>
                      <a:pt x="545" y="428"/>
                      <a:pt x="550" y="429"/>
                      <a:pt x="556" y="432"/>
                    </a:cubicBezTo>
                    <a:cubicBezTo>
                      <a:pt x="562" y="437"/>
                      <a:pt x="562" y="446"/>
                      <a:pt x="562" y="451"/>
                    </a:cubicBezTo>
                    <a:cubicBezTo>
                      <a:pt x="563" y="455"/>
                      <a:pt x="575" y="456"/>
                      <a:pt x="575" y="456"/>
                    </a:cubicBezTo>
                    <a:cubicBezTo>
                      <a:pt x="575" y="456"/>
                      <a:pt x="580" y="460"/>
                      <a:pt x="583" y="458"/>
                    </a:cubicBezTo>
                    <a:cubicBezTo>
                      <a:pt x="587" y="456"/>
                      <a:pt x="582" y="446"/>
                      <a:pt x="582" y="446"/>
                    </a:cubicBezTo>
                    <a:lnTo>
                      <a:pt x="589" y="436"/>
                    </a:lnTo>
                    <a:close/>
                    <a:moveTo>
                      <a:pt x="280" y="207"/>
                    </a:moveTo>
                    <a:cubicBezTo>
                      <a:pt x="279" y="208"/>
                      <a:pt x="278" y="213"/>
                      <a:pt x="278" y="213"/>
                    </a:cubicBezTo>
                    <a:cubicBezTo>
                      <a:pt x="278" y="213"/>
                      <a:pt x="274" y="216"/>
                      <a:pt x="273" y="215"/>
                    </a:cubicBezTo>
                    <a:cubicBezTo>
                      <a:pt x="271" y="214"/>
                      <a:pt x="271" y="214"/>
                      <a:pt x="271" y="214"/>
                    </a:cubicBezTo>
                    <a:cubicBezTo>
                      <a:pt x="271" y="210"/>
                      <a:pt x="271" y="210"/>
                      <a:pt x="271" y="210"/>
                    </a:cubicBezTo>
                    <a:cubicBezTo>
                      <a:pt x="275" y="209"/>
                      <a:pt x="275" y="209"/>
                      <a:pt x="275" y="209"/>
                    </a:cubicBezTo>
                    <a:cubicBezTo>
                      <a:pt x="275" y="209"/>
                      <a:pt x="275" y="207"/>
                      <a:pt x="278" y="206"/>
                    </a:cubicBezTo>
                    <a:cubicBezTo>
                      <a:pt x="281" y="205"/>
                      <a:pt x="280" y="206"/>
                      <a:pt x="280" y="207"/>
                    </a:cubicBezTo>
                    <a:close/>
                    <a:moveTo>
                      <a:pt x="412" y="554"/>
                    </a:moveTo>
                    <a:cubicBezTo>
                      <a:pt x="409" y="551"/>
                      <a:pt x="409" y="556"/>
                      <a:pt x="409" y="556"/>
                    </a:cubicBezTo>
                    <a:cubicBezTo>
                      <a:pt x="412" y="559"/>
                      <a:pt x="416" y="557"/>
                      <a:pt x="412" y="554"/>
                    </a:cubicBezTo>
                    <a:close/>
                    <a:moveTo>
                      <a:pt x="446" y="568"/>
                    </a:moveTo>
                    <a:cubicBezTo>
                      <a:pt x="445" y="567"/>
                      <a:pt x="445" y="567"/>
                      <a:pt x="445" y="567"/>
                    </a:cubicBezTo>
                    <a:cubicBezTo>
                      <a:pt x="445" y="567"/>
                      <a:pt x="434" y="574"/>
                      <a:pt x="432" y="574"/>
                    </a:cubicBezTo>
                    <a:cubicBezTo>
                      <a:pt x="430" y="574"/>
                      <a:pt x="427" y="572"/>
                      <a:pt x="427" y="572"/>
                    </a:cubicBezTo>
                    <a:cubicBezTo>
                      <a:pt x="427" y="572"/>
                      <a:pt x="423" y="579"/>
                      <a:pt x="421" y="580"/>
                    </a:cubicBezTo>
                    <a:cubicBezTo>
                      <a:pt x="419" y="580"/>
                      <a:pt x="418" y="579"/>
                      <a:pt x="418" y="579"/>
                    </a:cubicBezTo>
                    <a:cubicBezTo>
                      <a:pt x="414" y="578"/>
                      <a:pt x="414" y="578"/>
                      <a:pt x="414" y="578"/>
                    </a:cubicBezTo>
                    <a:cubicBezTo>
                      <a:pt x="411" y="577"/>
                      <a:pt x="411" y="577"/>
                      <a:pt x="411" y="577"/>
                    </a:cubicBezTo>
                    <a:cubicBezTo>
                      <a:pt x="411" y="577"/>
                      <a:pt x="409" y="580"/>
                      <a:pt x="408" y="580"/>
                    </a:cubicBezTo>
                    <a:cubicBezTo>
                      <a:pt x="405" y="579"/>
                      <a:pt x="403" y="578"/>
                      <a:pt x="403" y="578"/>
                    </a:cubicBezTo>
                    <a:cubicBezTo>
                      <a:pt x="403" y="578"/>
                      <a:pt x="397" y="583"/>
                      <a:pt x="395" y="585"/>
                    </a:cubicBezTo>
                    <a:cubicBezTo>
                      <a:pt x="393" y="586"/>
                      <a:pt x="388" y="586"/>
                      <a:pt x="388" y="586"/>
                    </a:cubicBezTo>
                    <a:cubicBezTo>
                      <a:pt x="384" y="589"/>
                      <a:pt x="384" y="589"/>
                      <a:pt x="384" y="589"/>
                    </a:cubicBezTo>
                    <a:cubicBezTo>
                      <a:pt x="370" y="590"/>
                      <a:pt x="370" y="590"/>
                      <a:pt x="370" y="590"/>
                    </a:cubicBezTo>
                    <a:cubicBezTo>
                      <a:pt x="370" y="590"/>
                      <a:pt x="368" y="588"/>
                      <a:pt x="365" y="588"/>
                    </a:cubicBezTo>
                    <a:cubicBezTo>
                      <a:pt x="362" y="588"/>
                      <a:pt x="355" y="594"/>
                      <a:pt x="352" y="594"/>
                    </a:cubicBezTo>
                    <a:cubicBezTo>
                      <a:pt x="348" y="594"/>
                      <a:pt x="341" y="589"/>
                      <a:pt x="341" y="589"/>
                    </a:cubicBezTo>
                    <a:cubicBezTo>
                      <a:pt x="339" y="585"/>
                      <a:pt x="339" y="585"/>
                      <a:pt x="339" y="585"/>
                    </a:cubicBezTo>
                    <a:cubicBezTo>
                      <a:pt x="339" y="585"/>
                      <a:pt x="332" y="587"/>
                      <a:pt x="331" y="586"/>
                    </a:cubicBezTo>
                    <a:cubicBezTo>
                      <a:pt x="330" y="584"/>
                      <a:pt x="331" y="581"/>
                      <a:pt x="331" y="581"/>
                    </a:cubicBezTo>
                    <a:cubicBezTo>
                      <a:pt x="327" y="579"/>
                      <a:pt x="327" y="579"/>
                      <a:pt x="327" y="579"/>
                    </a:cubicBezTo>
                    <a:cubicBezTo>
                      <a:pt x="316" y="581"/>
                      <a:pt x="316" y="581"/>
                      <a:pt x="316" y="581"/>
                    </a:cubicBezTo>
                    <a:cubicBezTo>
                      <a:pt x="314" y="583"/>
                      <a:pt x="314" y="583"/>
                      <a:pt x="314" y="583"/>
                    </a:cubicBezTo>
                    <a:cubicBezTo>
                      <a:pt x="315" y="587"/>
                      <a:pt x="315" y="587"/>
                      <a:pt x="315" y="587"/>
                    </a:cubicBezTo>
                    <a:cubicBezTo>
                      <a:pt x="306" y="591"/>
                      <a:pt x="306" y="591"/>
                      <a:pt x="306" y="591"/>
                    </a:cubicBezTo>
                    <a:cubicBezTo>
                      <a:pt x="301" y="588"/>
                      <a:pt x="301" y="588"/>
                      <a:pt x="301" y="588"/>
                    </a:cubicBezTo>
                    <a:cubicBezTo>
                      <a:pt x="301" y="588"/>
                      <a:pt x="301" y="585"/>
                      <a:pt x="299" y="583"/>
                    </a:cubicBezTo>
                    <a:cubicBezTo>
                      <a:pt x="296" y="581"/>
                      <a:pt x="294" y="581"/>
                      <a:pt x="294" y="581"/>
                    </a:cubicBezTo>
                    <a:cubicBezTo>
                      <a:pt x="294" y="583"/>
                      <a:pt x="294" y="583"/>
                      <a:pt x="294" y="583"/>
                    </a:cubicBezTo>
                    <a:cubicBezTo>
                      <a:pt x="294" y="583"/>
                      <a:pt x="297" y="584"/>
                      <a:pt x="297" y="585"/>
                    </a:cubicBezTo>
                    <a:cubicBezTo>
                      <a:pt x="296" y="586"/>
                      <a:pt x="288" y="588"/>
                      <a:pt x="288" y="588"/>
                    </a:cubicBezTo>
                    <a:cubicBezTo>
                      <a:pt x="284" y="595"/>
                      <a:pt x="284" y="595"/>
                      <a:pt x="284" y="595"/>
                    </a:cubicBezTo>
                    <a:cubicBezTo>
                      <a:pt x="285" y="602"/>
                      <a:pt x="285" y="602"/>
                      <a:pt x="285" y="602"/>
                    </a:cubicBezTo>
                    <a:cubicBezTo>
                      <a:pt x="282" y="606"/>
                      <a:pt x="282" y="606"/>
                      <a:pt x="282" y="606"/>
                    </a:cubicBezTo>
                    <a:cubicBezTo>
                      <a:pt x="285" y="616"/>
                      <a:pt x="285" y="616"/>
                      <a:pt x="285" y="616"/>
                    </a:cubicBezTo>
                    <a:cubicBezTo>
                      <a:pt x="292" y="615"/>
                      <a:pt x="292" y="615"/>
                      <a:pt x="292" y="615"/>
                    </a:cubicBezTo>
                    <a:cubicBezTo>
                      <a:pt x="295" y="622"/>
                      <a:pt x="295" y="622"/>
                      <a:pt x="295" y="622"/>
                    </a:cubicBezTo>
                    <a:cubicBezTo>
                      <a:pt x="295" y="622"/>
                      <a:pt x="303" y="620"/>
                      <a:pt x="310" y="622"/>
                    </a:cubicBezTo>
                    <a:cubicBezTo>
                      <a:pt x="312" y="624"/>
                      <a:pt x="313" y="625"/>
                      <a:pt x="315" y="626"/>
                    </a:cubicBezTo>
                    <a:cubicBezTo>
                      <a:pt x="319" y="627"/>
                      <a:pt x="321" y="626"/>
                      <a:pt x="321" y="626"/>
                    </a:cubicBezTo>
                    <a:cubicBezTo>
                      <a:pt x="321" y="626"/>
                      <a:pt x="333" y="638"/>
                      <a:pt x="335" y="638"/>
                    </a:cubicBezTo>
                    <a:cubicBezTo>
                      <a:pt x="337" y="638"/>
                      <a:pt x="341" y="637"/>
                      <a:pt x="343" y="640"/>
                    </a:cubicBezTo>
                    <a:cubicBezTo>
                      <a:pt x="344" y="641"/>
                      <a:pt x="346" y="644"/>
                      <a:pt x="350" y="646"/>
                    </a:cubicBezTo>
                    <a:cubicBezTo>
                      <a:pt x="354" y="649"/>
                      <a:pt x="362" y="650"/>
                      <a:pt x="366" y="650"/>
                    </a:cubicBezTo>
                    <a:cubicBezTo>
                      <a:pt x="370" y="650"/>
                      <a:pt x="381" y="650"/>
                      <a:pt x="384" y="656"/>
                    </a:cubicBezTo>
                    <a:cubicBezTo>
                      <a:pt x="388" y="660"/>
                      <a:pt x="391" y="667"/>
                      <a:pt x="392" y="668"/>
                    </a:cubicBezTo>
                    <a:cubicBezTo>
                      <a:pt x="394" y="669"/>
                      <a:pt x="398" y="667"/>
                      <a:pt x="401" y="669"/>
                    </a:cubicBezTo>
                    <a:cubicBezTo>
                      <a:pt x="403" y="672"/>
                      <a:pt x="404" y="673"/>
                      <a:pt x="404" y="673"/>
                    </a:cubicBezTo>
                    <a:cubicBezTo>
                      <a:pt x="404" y="673"/>
                      <a:pt x="411" y="672"/>
                      <a:pt x="414" y="672"/>
                    </a:cubicBezTo>
                    <a:cubicBezTo>
                      <a:pt x="416" y="672"/>
                      <a:pt x="419" y="674"/>
                      <a:pt x="419" y="674"/>
                    </a:cubicBezTo>
                    <a:cubicBezTo>
                      <a:pt x="420" y="673"/>
                      <a:pt x="420" y="673"/>
                      <a:pt x="420" y="673"/>
                    </a:cubicBezTo>
                    <a:cubicBezTo>
                      <a:pt x="420" y="673"/>
                      <a:pt x="426" y="677"/>
                      <a:pt x="427" y="675"/>
                    </a:cubicBezTo>
                    <a:cubicBezTo>
                      <a:pt x="428" y="673"/>
                      <a:pt x="425" y="669"/>
                      <a:pt x="427" y="662"/>
                    </a:cubicBezTo>
                    <a:cubicBezTo>
                      <a:pt x="430" y="654"/>
                      <a:pt x="436" y="652"/>
                      <a:pt x="436" y="652"/>
                    </a:cubicBezTo>
                    <a:cubicBezTo>
                      <a:pt x="436" y="649"/>
                      <a:pt x="436" y="649"/>
                      <a:pt x="436" y="649"/>
                    </a:cubicBezTo>
                    <a:cubicBezTo>
                      <a:pt x="434" y="649"/>
                      <a:pt x="434" y="649"/>
                      <a:pt x="434" y="649"/>
                    </a:cubicBezTo>
                    <a:cubicBezTo>
                      <a:pt x="434" y="646"/>
                      <a:pt x="434" y="646"/>
                      <a:pt x="434" y="646"/>
                    </a:cubicBezTo>
                    <a:cubicBezTo>
                      <a:pt x="429" y="640"/>
                      <a:pt x="429" y="640"/>
                      <a:pt x="429" y="640"/>
                    </a:cubicBezTo>
                    <a:cubicBezTo>
                      <a:pt x="431" y="638"/>
                      <a:pt x="431" y="638"/>
                      <a:pt x="431" y="638"/>
                    </a:cubicBezTo>
                    <a:cubicBezTo>
                      <a:pt x="429" y="633"/>
                      <a:pt x="429" y="633"/>
                      <a:pt x="429" y="633"/>
                    </a:cubicBezTo>
                    <a:cubicBezTo>
                      <a:pt x="427" y="634"/>
                      <a:pt x="427" y="634"/>
                      <a:pt x="427" y="634"/>
                    </a:cubicBezTo>
                    <a:cubicBezTo>
                      <a:pt x="427" y="634"/>
                      <a:pt x="423" y="631"/>
                      <a:pt x="423" y="626"/>
                    </a:cubicBezTo>
                    <a:cubicBezTo>
                      <a:pt x="423" y="620"/>
                      <a:pt x="425" y="618"/>
                      <a:pt x="425" y="618"/>
                    </a:cubicBezTo>
                    <a:cubicBezTo>
                      <a:pt x="428" y="603"/>
                      <a:pt x="428" y="603"/>
                      <a:pt x="428" y="603"/>
                    </a:cubicBezTo>
                    <a:cubicBezTo>
                      <a:pt x="428" y="603"/>
                      <a:pt x="436" y="590"/>
                      <a:pt x="440" y="585"/>
                    </a:cubicBezTo>
                    <a:cubicBezTo>
                      <a:pt x="444" y="580"/>
                      <a:pt x="445" y="575"/>
                      <a:pt x="445" y="575"/>
                    </a:cubicBezTo>
                    <a:cubicBezTo>
                      <a:pt x="445" y="573"/>
                      <a:pt x="445" y="573"/>
                      <a:pt x="445" y="573"/>
                    </a:cubicBezTo>
                    <a:cubicBezTo>
                      <a:pt x="448" y="569"/>
                      <a:pt x="448" y="569"/>
                      <a:pt x="448" y="569"/>
                    </a:cubicBezTo>
                    <a:lnTo>
                      <a:pt x="446" y="568"/>
                    </a:lnTo>
                    <a:close/>
                    <a:moveTo>
                      <a:pt x="405" y="550"/>
                    </a:moveTo>
                    <a:cubicBezTo>
                      <a:pt x="401" y="550"/>
                      <a:pt x="404" y="553"/>
                      <a:pt x="404" y="553"/>
                    </a:cubicBezTo>
                    <a:cubicBezTo>
                      <a:pt x="407" y="554"/>
                      <a:pt x="410" y="550"/>
                      <a:pt x="405" y="550"/>
                    </a:cubicBezTo>
                    <a:close/>
                  </a:path>
                </a:pathLst>
              </a:custGeom>
              <a:solidFill>
                <a:srgbClr val="FDC795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73" name="Ireland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3089275" y="3200400"/>
                <a:ext cx="434975" cy="493712"/>
              </a:xfrm>
              <a:custGeom>
                <a:avLst/>
                <a:gdLst/>
                <a:ahLst/>
                <a:cxnLst>
                  <a:cxn ang="0">
                    <a:pos x="55" y="68"/>
                  </a:cxn>
                  <a:cxn ang="0">
                    <a:pos x="52" y="60"/>
                  </a:cxn>
                  <a:cxn ang="0">
                    <a:pos x="57" y="74"/>
                  </a:cxn>
                  <a:cxn ang="0">
                    <a:pos x="45" y="85"/>
                  </a:cxn>
                  <a:cxn ang="0">
                    <a:pos x="56" y="117"/>
                  </a:cxn>
                  <a:cxn ang="0">
                    <a:pos x="49" y="119"/>
                  </a:cxn>
                  <a:cxn ang="0">
                    <a:pos x="201" y="95"/>
                  </a:cxn>
                  <a:cxn ang="0">
                    <a:pos x="183" y="84"/>
                  </a:cxn>
                  <a:cxn ang="0">
                    <a:pos x="159" y="82"/>
                  </a:cxn>
                  <a:cxn ang="0">
                    <a:pos x="142" y="53"/>
                  </a:cxn>
                  <a:cxn ang="0">
                    <a:pos x="149" y="43"/>
                  </a:cxn>
                  <a:cxn ang="0">
                    <a:pos x="170" y="36"/>
                  </a:cxn>
                  <a:cxn ang="0">
                    <a:pos x="186" y="20"/>
                  </a:cxn>
                  <a:cxn ang="0">
                    <a:pos x="184" y="9"/>
                  </a:cxn>
                  <a:cxn ang="0">
                    <a:pos x="174" y="22"/>
                  </a:cxn>
                  <a:cxn ang="0">
                    <a:pos x="172" y="17"/>
                  </a:cxn>
                  <a:cxn ang="0">
                    <a:pos x="168" y="13"/>
                  </a:cxn>
                  <a:cxn ang="0">
                    <a:pos x="161" y="13"/>
                  </a:cxn>
                  <a:cxn ang="0">
                    <a:pos x="145" y="8"/>
                  </a:cxn>
                  <a:cxn ang="0">
                    <a:pos x="131" y="26"/>
                  </a:cxn>
                  <a:cxn ang="0">
                    <a:pos x="126" y="44"/>
                  </a:cxn>
                  <a:cxn ang="0">
                    <a:pos x="125" y="52"/>
                  </a:cxn>
                  <a:cxn ang="0">
                    <a:pos x="103" y="56"/>
                  </a:cxn>
                  <a:cxn ang="0">
                    <a:pos x="84" y="51"/>
                  </a:cxn>
                  <a:cxn ang="0">
                    <a:pos x="67" y="47"/>
                  </a:cxn>
                  <a:cxn ang="0">
                    <a:pos x="63" y="57"/>
                  </a:cxn>
                  <a:cxn ang="0">
                    <a:pos x="64" y="70"/>
                  </a:cxn>
                  <a:cxn ang="0">
                    <a:pos x="58" y="79"/>
                  </a:cxn>
                  <a:cxn ang="0">
                    <a:pos x="44" y="90"/>
                  </a:cxn>
                  <a:cxn ang="0">
                    <a:pos x="55" y="104"/>
                  </a:cxn>
                  <a:cxn ang="0">
                    <a:pos x="62" y="107"/>
                  </a:cxn>
                  <a:cxn ang="0">
                    <a:pos x="84" y="121"/>
                  </a:cxn>
                  <a:cxn ang="0">
                    <a:pos x="60" y="135"/>
                  </a:cxn>
                  <a:cxn ang="0">
                    <a:pos x="47" y="150"/>
                  </a:cxn>
                  <a:cxn ang="0">
                    <a:pos x="71" y="152"/>
                  </a:cxn>
                  <a:cxn ang="0">
                    <a:pos x="75" y="159"/>
                  </a:cxn>
                  <a:cxn ang="0">
                    <a:pos x="34" y="164"/>
                  </a:cxn>
                  <a:cxn ang="0">
                    <a:pos x="21" y="172"/>
                  </a:cxn>
                  <a:cxn ang="0">
                    <a:pos x="19" y="181"/>
                  </a:cxn>
                  <a:cxn ang="0">
                    <a:pos x="2" y="199"/>
                  </a:cxn>
                  <a:cxn ang="0">
                    <a:pos x="14" y="210"/>
                  </a:cxn>
                  <a:cxn ang="0">
                    <a:pos x="33" y="211"/>
                  </a:cxn>
                  <a:cxn ang="0">
                    <a:pos x="22" y="224"/>
                  </a:cxn>
                  <a:cxn ang="0">
                    <a:pos x="35" y="230"/>
                  </a:cxn>
                  <a:cxn ang="0">
                    <a:pos x="61" y="230"/>
                  </a:cxn>
                  <a:cxn ang="0">
                    <a:pos x="87" y="215"/>
                  </a:cxn>
                  <a:cxn ang="0">
                    <a:pos x="112" y="218"/>
                  </a:cxn>
                  <a:cxn ang="0">
                    <a:pos x="141" y="204"/>
                  </a:cxn>
                  <a:cxn ang="0">
                    <a:pos x="150" y="210"/>
                  </a:cxn>
                  <a:cxn ang="0">
                    <a:pos x="164" y="201"/>
                  </a:cxn>
                  <a:cxn ang="0">
                    <a:pos x="184" y="177"/>
                  </a:cxn>
                  <a:cxn ang="0">
                    <a:pos x="195" y="135"/>
                  </a:cxn>
                  <a:cxn ang="0">
                    <a:pos x="204" y="102"/>
                  </a:cxn>
                </a:cxnLst>
                <a:rect l="0" t="0" r="r" b="b"/>
                <a:pathLst>
                  <a:path w="204" h="232">
                    <a:moveTo>
                      <a:pt x="134" y="14"/>
                    </a:moveTo>
                    <a:cubicBezTo>
                      <a:pt x="131" y="17"/>
                      <a:pt x="131" y="17"/>
                      <a:pt x="131" y="17"/>
                    </a:cubicBezTo>
                    <a:cubicBezTo>
                      <a:pt x="135" y="19"/>
                      <a:pt x="135" y="19"/>
                      <a:pt x="135" y="19"/>
                    </a:cubicBezTo>
                    <a:lnTo>
                      <a:pt x="134" y="14"/>
                    </a:lnTo>
                    <a:close/>
                    <a:moveTo>
                      <a:pt x="55" y="68"/>
                    </a:moveTo>
                    <a:cubicBezTo>
                      <a:pt x="55" y="70"/>
                      <a:pt x="57" y="71"/>
                      <a:pt x="57" y="71"/>
                    </a:cubicBezTo>
                    <a:cubicBezTo>
                      <a:pt x="60" y="67"/>
                      <a:pt x="60" y="67"/>
                      <a:pt x="60" y="67"/>
                    </a:cubicBezTo>
                    <a:cubicBezTo>
                      <a:pt x="60" y="60"/>
                      <a:pt x="60" y="60"/>
                      <a:pt x="60" y="60"/>
                    </a:cubicBezTo>
                    <a:cubicBezTo>
                      <a:pt x="56" y="62"/>
                      <a:pt x="56" y="62"/>
                      <a:pt x="56" y="62"/>
                    </a:cubicBezTo>
                    <a:cubicBezTo>
                      <a:pt x="52" y="60"/>
                      <a:pt x="52" y="60"/>
                      <a:pt x="52" y="60"/>
                    </a:cubicBezTo>
                    <a:cubicBezTo>
                      <a:pt x="49" y="61"/>
                      <a:pt x="49" y="61"/>
                      <a:pt x="49" y="61"/>
                    </a:cubicBezTo>
                    <a:cubicBezTo>
                      <a:pt x="49" y="61"/>
                      <a:pt x="51" y="64"/>
                      <a:pt x="52" y="64"/>
                    </a:cubicBezTo>
                    <a:cubicBezTo>
                      <a:pt x="53" y="64"/>
                      <a:pt x="55" y="66"/>
                      <a:pt x="55" y="68"/>
                    </a:cubicBezTo>
                    <a:close/>
                    <a:moveTo>
                      <a:pt x="57" y="77"/>
                    </a:moveTo>
                    <a:cubicBezTo>
                      <a:pt x="57" y="74"/>
                      <a:pt x="57" y="74"/>
                      <a:pt x="57" y="74"/>
                    </a:cubicBezTo>
                    <a:cubicBezTo>
                      <a:pt x="53" y="76"/>
                      <a:pt x="53" y="76"/>
                      <a:pt x="53" y="76"/>
                    </a:cubicBezTo>
                    <a:lnTo>
                      <a:pt x="57" y="77"/>
                    </a:lnTo>
                    <a:close/>
                    <a:moveTo>
                      <a:pt x="42" y="84"/>
                    </a:moveTo>
                    <a:cubicBezTo>
                      <a:pt x="42" y="86"/>
                      <a:pt x="42" y="86"/>
                      <a:pt x="42" y="86"/>
                    </a:cubicBezTo>
                    <a:cubicBezTo>
                      <a:pt x="45" y="85"/>
                      <a:pt x="45" y="85"/>
                      <a:pt x="45" y="85"/>
                    </a:cubicBezTo>
                    <a:lnTo>
                      <a:pt x="42" y="84"/>
                    </a:lnTo>
                    <a:close/>
                    <a:moveTo>
                      <a:pt x="56" y="117"/>
                    </a:moveTo>
                    <a:cubicBezTo>
                      <a:pt x="57" y="112"/>
                      <a:pt x="57" y="112"/>
                      <a:pt x="57" y="112"/>
                    </a:cubicBezTo>
                    <a:cubicBezTo>
                      <a:pt x="55" y="112"/>
                      <a:pt x="55" y="112"/>
                      <a:pt x="55" y="112"/>
                    </a:cubicBezTo>
                    <a:lnTo>
                      <a:pt x="56" y="117"/>
                    </a:lnTo>
                    <a:close/>
                    <a:moveTo>
                      <a:pt x="49" y="119"/>
                    </a:moveTo>
                    <a:cubicBezTo>
                      <a:pt x="55" y="123"/>
                      <a:pt x="55" y="123"/>
                      <a:pt x="55" y="123"/>
                    </a:cubicBezTo>
                    <a:cubicBezTo>
                      <a:pt x="55" y="122"/>
                      <a:pt x="55" y="122"/>
                      <a:pt x="55" y="122"/>
                    </a:cubicBezTo>
                    <a:cubicBezTo>
                      <a:pt x="51" y="119"/>
                      <a:pt x="51" y="119"/>
                      <a:pt x="51" y="119"/>
                    </a:cubicBezTo>
                    <a:lnTo>
                      <a:pt x="49" y="119"/>
                    </a:lnTo>
                    <a:close/>
                    <a:moveTo>
                      <a:pt x="55" y="126"/>
                    </a:moveTo>
                    <a:cubicBezTo>
                      <a:pt x="58" y="126"/>
                      <a:pt x="58" y="126"/>
                      <a:pt x="58" y="126"/>
                    </a:cubicBezTo>
                    <a:cubicBezTo>
                      <a:pt x="56" y="124"/>
                      <a:pt x="56" y="124"/>
                      <a:pt x="56" y="124"/>
                    </a:cubicBezTo>
                    <a:lnTo>
                      <a:pt x="55" y="126"/>
                    </a:lnTo>
                    <a:close/>
                    <a:moveTo>
                      <a:pt x="201" y="95"/>
                    </a:moveTo>
                    <a:cubicBezTo>
                      <a:pt x="199" y="91"/>
                      <a:pt x="199" y="91"/>
                      <a:pt x="199" y="91"/>
                    </a:cubicBezTo>
                    <a:cubicBezTo>
                      <a:pt x="197" y="95"/>
                      <a:pt x="197" y="95"/>
                      <a:pt x="197" y="95"/>
                    </a:cubicBezTo>
                    <a:cubicBezTo>
                      <a:pt x="197" y="95"/>
                      <a:pt x="192" y="94"/>
                      <a:pt x="186" y="94"/>
                    </a:cubicBezTo>
                    <a:cubicBezTo>
                      <a:pt x="181" y="94"/>
                      <a:pt x="188" y="85"/>
                      <a:pt x="188" y="85"/>
                    </a:cubicBezTo>
                    <a:cubicBezTo>
                      <a:pt x="183" y="84"/>
                      <a:pt x="183" y="84"/>
                      <a:pt x="183" y="84"/>
                    </a:cubicBezTo>
                    <a:cubicBezTo>
                      <a:pt x="183" y="76"/>
                      <a:pt x="183" y="76"/>
                      <a:pt x="183" y="76"/>
                    </a:cubicBezTo>
                    <a:cubicBezTo>
                      <a:pt x="183" y="76"/>
                      <a:pt x="182" y="68"/>
                      <a:pt x="177" y="67"/>
                    </a:cubicBezTo>
                    <a:cubicBezTo>
                      <a:pt x="172" y="66"/>
                      <a:pt x="169" y="73"/>
                      <a:pt x="169" y="73"/>
                    </a:cubicBezTo>
                    <a:cubicBezTo>
                      <a:pt x="170" y="77"/>
                      <a:pt x="170" y="77"/>
                      <a:pt x="170" y="77"/>
                    </a:cubicBezTo>
                    <a:cubicBezTo>
                      <a:pt x="170" y="77"/>
                      <a:pt x="167" y="83"/>
                      <a:pt x="159" y="82"/>
                    </a:cubicBezTo>
                    <a:cubicBezTo>
                      <a:pt x="152" y="82"/>
                      <a:pt x="150" y="75"/>
                      <a:pt x="150" y="75"/>
                    </a:cubicBezTo>
                    <a:cubicBezTo>
                      <a:pt x="143" y="74"/>
                      <a:pt x="143" y="74"/>
                      <a:pt x="143" y="74"/>
                    </a:cubicBezTo>
                    <a:cubicBezTo>
                      <a:pt x="144" y="68"/>
                      <a:pt x="144" y="68"/>
                      <a:pt x="144" y="68"/>
                    </a:cubicBezTo>
                    <a:cubicBezTo>
                      <a:pt x="144" y="68"/>
                      <a:pt x="137" y="57"/>
                      <a:pt x="137" y="54"/>
                    </a:cubicBezTo>
                    <a:cubicBezTo>
                      <a:pt x="137" y="51"/>
                      <a:pt x="142" y="53"/>
                      <a:pt x="142" y="53"/>
                    </a:cubicBezTo>
                    <a:cubicBezTo>
                      <a:pt x="144" y="48"/>
                      <a:pt x="144" y="48"/>
                      <a:pt x="144" y="48"/>
                    </a:cubicBezTo>
                    <a:cubicBezTo>
                      <a:pt x="150" y="51"/>
                      <a:pt x="150" y="51"/>
                      <a:pt x="150" y="51"/>
                    </a:cubicBezTo>
                    <a:cubicBezTo>
                      <a:pt x="154" y="48"/>
                      <a:pt x="154" y="48"/>
                      <a:pt x="154" y="48"/>
                    </a:cubicBezTo>
                    <a:cubicBezTo>
                      <a:pt x="157" y="47"/>
                      <a:pt x="157" y="47"/>
                      <a:pt x="157" y="47"/>
                    </a:cubicBezTo>
                    <a:cubicBezTo>
                      <a:pt x="157" y="47"/>
                      <a:pt x="149" y="45"/>
                      <a:pt x="149" y="43"/>
                    </a:cubicBezTo>
                    <a:cubicBezTo>
                      <a:pt x="149" y="40"/>
                      <a:pt x="153" y="39"/>
                      <a:pt x="154" y="39"/>
                    </a:cubicBezTo>
                    <a:cubicBezTo>
                      <a:pt x="156" y="39"/>
                      <a:pt x="157" y="43"/>
                      <a:pt x="157" y="43"/>
                    </a:cubicBezTo>
                    <a:cubicBezTo>
                      <a:pt x="157" y="43"/>
                      <a:pt x="159" y="41"/>
                      <a:pt x="161" y="41"/>
                    </a:cubicBezTo>
                    <a:cubicBezTo>
                      <a:pt x="165" y="41"/>
                      <a:pt x="164" y="43"/>
                      <a:pt x="164" y="43"/>
                    </a:cubicBezTo>
                    <a:cubicBezTo>
                      <a:pt x="170" y="36"/>
                      <a:pt x="170" y="36"/>
                      <a:pt x="170" y="36"/>
                    </a:cubicBezTo>
                    <a:cubicBezTo>
                      <a:pt x="171" y="30"/>
                      <a:pt x="171" y="30"/>
                      <a:pt x="171" y="30"/>
                    </a:cubicBezTo>
                    <a:cubicBezTo>
                      <a:pt x="173" y="30"/>
                      <a:pt x="173" y="30"/>
                      <a:pt x="173" y="30"/>
                    </a:cubicBezTo>
                    <a:cubicBezTo>
                      <a:pt x="176" y="23"/>
                      <a:pt x="176" y="23"/>
                      <a:pt x="176" y="23"/>
                    </a:cubicBezTo>
                    <a:cubicBezTo>
                      <a:pt x="182" y="24"/>
                      <a:pt x="182" y="24"/>
                      <a:pt x="182" y="24"/>
                    </a:cubicBezTo>
                    <a:cubicBezTo>
                      <a:pt x="186" y="20"/>
                      <a:pt x="186" y="20"/>
                      <a:pt x="186" y="20"/>
                    </a:cubicBezTo>
                    <a:cubicBezTo>
                      <a:pt x="186" y="20"/>
                      <a:pt x="194" y="17"/>
                      <a:pt x="194" y="15"/>
                    </a:cubicBezTo>
                    <a:cubicBezTo>
                      <a:pt x="195" y="13"/>
                      <a:pt x="189" y="9"/>
                      <a:pt x="189" y="9"/>
                    </a:cubicBezTo>
                    <a:cubicBezTo>
                      <a:pt x="189" y="6"/>
                      <a:pt x="189" y="6"/>
                      <a:pt x="189" y="6"/>
                    </a:cubicBezTo>
                    <a:cubicBezTo>
                      <a:pt x="189" y="6"/>
                      <a:pt x="183" y="0"/>
                      <a:pt x="182" y="1"/>
                    </a:cubicBezTo>
                    <a:cubicBezTo>
                      <a:pt x="181" y="3"/>
                      <a:pt x="185" y="9"/>
                      <a:pt x="184" y="9"/>
                    </a:cubicBezTo>
                    <a:cubicBezTo>
                      <a:pt x="184" y="10"/>
                      <a:pt x="182" y="7"/>
                      <a:pt x="182" y="7"/>
                    </a:cubicBezTo>
                    <a:cubicBezTo>
                      <a:pt x="175" y="6"/>
                      <a:pt x="175" y="6"/>
                      <a:pt x="175" y="6"/>
                    </a:cubicBezTo>
                    <a:cubicBezTo>
                      <a:pt x="173" y="11"/>
                      <a:pt x="173" y="11"/>
                      <a:pt x="173" y="11"/>
                    </a:cubicBezTo>
                    <a:cubicBezTo>
                      <a:pt x="174" y="13"/>
                      <a:pt x="174" y="13"/>
                      <a:pt x="174" y="13"/>
                    </a:cubicBezTo>
                    <a:cubicBezTo>
                      <a:pt x="174" y="22"/>
                      <a:pt x="174" y="22"/>
                      <a:pt x="174" y="22"/>
                    </a:cubicBezTo>
                    <a:cubicBezTo>
                      <a:pt x="166" y="26"/>
                      <a:pt x="166" y="26"/>
                      <a:pt x="166" y="26"/>
                    </a:cubicBezTo>
                    <a:cubicBezTo>
                      <a:pt x="165" y="26"/>
                      <a:pt x="165" y="26"/>
                      <a:pt x="165" y="26"/>
                    </a:cubicBezTo>
                    <a:cubicBezTo>
                      <a:pt x="168" y="22"/>
                      <a:pt x="168" y="22"/>
                      <a:pt x="168" y="22"/>
                    </a:cubicBezTo>
                    <a:cubicBezTo>
                      <a:pt x="167" y="21"/>
                      <a:pt x="167" y="21"/>
                      <a:pt x="167" y="21"/>
                    </a:cubicBezTo>
                    <a:cubicBezTo>
                      <a:pt x="167" y="21"/>
                      <a:pt x="171" y="21"/>
                      <a:pt x="172" y="17"/>
                    </a:cubicBezTo>
                    <a:cubicBezTo>
                      <a:pt x="172" y="15"/>
                      <a:pt x="170" y="12"/>
                      <a:pt x="170" y="11"/>
                    </a:cubicBezTo>
                    <a:cubicBezTo>
                      <a:pt x="170" y="9"/>
                      <a:pt x="171" y="7"/>
                      <a:pt x="171" y="7"/>
                    </a:cubicBezTo>
                    <a:cubicBezTo>
                      <a:pt x="166" y="7"/>
                      <a:pt x="166" y="7"/>
                      <a:pt x="166" y="7"/>
                    </a:cubicBezTo>
                    <a:cubicBezTo>
                      <a:pt x="166" y="10"/>
                      <a:pt x="166" y="10"/>
                      <a:pt x="166" y="10"/>
                    </a:cubicBezTo>
                    <a:cubicBezTo>
                      <a:pt x="166" y="10"/>
                      <a:pt x="169" y="11"/>
                      <a:pt x="168" y="13"/>
                    </a:cubicBezTo>
                    <a:cubicBezTo>
                      <a:pt x="168" y="15"/>
                      <a:pt x="166" y="16"/>
                      <a:pt x="166" y="16"/>
                    </a:cubicBezTo>
                    <a:cubicBezTo>
                      <a:pt x="166" y="16"/>
                      <a:pt x="166" y="13"/>
                      <a:pt x="165" y="12"/>
                    </a:cubicBezTo>
                    <a:cubicBezTo>
                      <a:pt x="164" y="11"/>
                      <a:pt x="164" y="7"/>
                      <a:pt x="164" y="7"/>
                    </a:cubicBezTo>
                    <a:cubicBezTo>
                      <a:pt x="161" y="7"/>
                      <a:pt x="161" y="7"/>
                      <a:pt x="161" y="7"/>
                    </a:cubicBezTo>
                    <a:cubicBezTo>
                      <a:pt x="161" y="7"/>
                      <a:pt x="162" y="13"/>
                      <a:pt x="161" y="13"/>
                    </a:cubicBezTo>
                    <a:cubicBezTo>
                      <a:pt x="160" y="14"/>
                      <a:pt x="159" y="11"/>
                      <a:pt x="159" y="11"/>
                    </a:cubicBezTo>
                    <a:cubicBezTo>
                      <a:pt x="157" y="9"/>
                      <a:pt x="157" y="9"/>
                      <a:pt x="157" y="9"/>
                    </a:cubicBezTo>
                    <a:cubicBezTo>
                      <a:pt x="157" y="7"/>
                      <a:pt x="157" y="7"/>
                      <a:pt x="157" y="7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5" y="8"/>
                      <a:pt x="145" y="8"/>
                      <a:pt x="145" y="8"/>
                    </a:cubicBezTo>
                    <a:cubicBezTo>
                      <a:pt x="145" y="8"/>
                      <a:pt x="143" y="13"/>
                      <a:pt x="142" y="14"/>
                    </a:cubicBezTo>
                    <a:cubicBezTo>
                      <a:pt x="140" y="15"/>
                      <a:pt x="138" y="15"/>
                      <a:pt x="138" y="15"/>
                    </a:cubicBezTo>
                    <a:cubicBezTo>
                      <a:pt x="136" y="21"/>
                      <a:pt x="136" y="21"/>
                      <a:pt x="136" y="21"/>
                    </a:cubicBezTo>
                    <a:cubicBezTo>
                      <a:pt x="138" y="25"/>
                      <a:pt x="138" y="25"/>
                      <a:pt x="138" y="25"/>
                    </a:cubicBezTo>
                    <a:cubicBezTo>
                      <a:pt x="131" y="26"/>
                      <a:pt x="131" y="26"/>
                      <a:pt x="131" y="26"/>
                    </a:cubicBezTo>
                    <a:cubicBezTo>
                      <a:pt x="132" y="29"/>
                      <a:pt x="132" y="29"/>
                      <a:pt x="132" y="29"/>
                    </a:cubicBezTo>
                    <a:cubicBezTo>
                      <a:pt x="132" y="29"/>
                      <a:pt x="124" y="27"/>
                      <a:pt x="121" y="30"/>
                    </a:cubicBezTo>
                    <a:cubicBezTo>
                      <a:pt x="118" y="32"/>
                      <a:pt x="118" y="40"/>
                      <a:pt x="124" y="40"/>
                    </a:cubicBezTo>
                    <a:cubicBezTo>
                      <a:pt x="131" y="40"/>
                      <a:pt x="129" y="42"/>
                      <a:pt x="129" y="42"/>
                    </a:cubicBezTo>
                    <a:cubicBezTo>
                      <a:pt x="126" y="44"/>
                      <a:pt x="126" y="44"/>
                      <a:pt x="126" y="44"/>
                    </a:cubicBezTo>
                    <a:cubicBezTo>
                      <a:pt x="129" y="45"/>
                      <a:pt x="129" y="45"/>
                      <a:pt x="129" y="45"/>
                    </a:cubicBezTo>
                    <a:cubicBezTo>
                      <a:pt x="134" y="42"/>
                      <a:pt x="134" y="42"/>
                      <a:pt x="134" y="42"/>
                    </a:cubicBezTo>
                    <a:cubicBezTo>
                      <a:pt x="139" y="43"/>
                      <a:pt x="139" y="43"/>
                      <a:pt x="139" y="43"/>
                    </a:cubicBezTo>
                    <a:cubicBezTo>
                      <a:pt x="132" y="51"/>
                      <a:pt x="132" y="51"/>
                      <a:pt x="132" y="51"/>
                    </a:cubicBezTo>
                    <a:cubicBezTo>
                      <a:pt x="125" y="52"/>
                      <a:pt x="125" y="52"/>
                      <a:pt x="125" y="52"/>
                    </a:cubicBezTo>
                    <a:cubicBezTo>
                      <a:pt x="117" y="56"/>
                      <a:pt x="117" y="56"/>
                      <a:pt x="117" y="56"/>
                    </a:cubicBezTo>
                    <a:cubicBezTo>
                      <a:pt x="117" y="56"/>
                      <a:pt x="119" y="62"/>
                      <a:pt x="118" y="63"/>
                    </a:cubicBezTo>
                    <a:cubicBezTo>
                      <a:pt x="117" y="64"/>
                      <a:pt x="115" y="66"/>
                      <a:pt x="115" y="66"/>
                    </a:cubicBezTo>
                    <a:cubicBezTo>
                      <a:pt x="115" y="63"/>
                      <a:pt x="115" y="63"/>
                      <a:pt x="115" y="63"/>
                    </a:cubicBezTo>
                    <a:cubicBezTo>
                      <a:pt x="115" y="63"/>
                      <a:pt x="105" y="56"/>
                      <a:pt x="103" y="56"/>
                    </a:cubicBezTo>
                    <a:cubicBezTo>
                      <a:pt x="100" y="56"/>
                      <a:pt x="95" y="61"/>
                      <a:pt x="95" y="61"/>
                    </a:cubicBezTo>
                    <a:cubicBezTo>
                      <a:pt x="93" y="59"/>
                      <a:pt x="93" y="59"/>
                      <a:pt x="93" y="59"/>
                    </a:cubicBezTo>
                    <a:cubicBezTo>
                      <a:pt x="93" y="55"/>
                      <a:pt x="93" y="55"/>
                      <a:pt x="93" y="55"/>
                    </a:cubicBezTo>
                    <a:cubicBezTo>
                      <a:pt x="91" y="52"/>
                      <a:pt x="91" y="52"/>
                      <a:pt x="91" y="52"/>
                    </a:cubicBezTo>
                    <a:cubicBezTo>
                      <a:pt x="91" y="52"/>
                      <a:pt x="86" y="51"/>
                      <a:pt x="84" y="51"/>
                    </a:cubicBezTo>
                    <a:cubicBezTo>
                      <a:pt x="80" y="49"/>
                      <a:pt x="75" y="44"/>
                      <a:pt x="73" y="45"/>
                    </a:cubicBezTo>
                    <a:cubicBezTo>
                      <a:pt x="72" y="45"/>
                      <a:pt x="70" y="46"/>
                      <a:pt x="70" y="46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67" y="52"/>
                      <a:pt x="67" y="52"/>
                      <a:pt x="67" y="52"/>
                    </a:cubicBezTo>
                    <a:cubicBezTo>
                      <a:pt x="67" y="47"/>
                      <a:pt x="67" y="47"/>
                      <a:pt x="67" y="47"/>
                    </a:cubicBezTo>
                    <a:cubicBezTo>
                      <a:pt x="62" y="46"/>
                      <a:pt x="62" y="46"/>
                      <a:pt x="62" y="46"/>
                    </a:cubicBezTo>
                    <a:cubicBezTo>
                      <a:pt x="57" y="56"/>
                      <a:pt x="57" y="56"/>
                      <a:pt x="57" y="56"/>
                    </a:cubicBezTo>
                    <a:cubicBezTo>
                      <a:pt x="58" y="56"/>
                      <a:pt x="58" y="56"/>
                      <a:pt x="58" y="56"/>
                    </a:cubicBezTo>
                    <a:cubicBezTo>
                      <a:pt x="62" y="51"/>
                      <a:pt x="62" y="51"/>
                      <a:pt x="62" y="51"/>
                    </a:cubicBezTo>
                    <a:cubicBezTo>
                      <a:pt x="63" y="57"/>
                      <a:pt x="63" y="57"/>
                      <a:pt x="63" y="57"/>
                    </a:cubicBezTo>
                    <a:cubicBezTo>
                      <a:pt x="61" y="57"/>
                      <a:pt x="61" y="57"/>
                      <a:pt x="61" y="57"/>
                    </a:cubicBezTo>
                    <a:cubicBezTo>
                      <a:pt x="62" y="59"/>
                      <a:pt x="62" y="59"/>
                      <a:pt x="62" y="59"/>
                    </a:cubicBezTo>
                    <a:cubicBezTo>
                      <a:pt x="67" y="58"/>
                      <a:pt x="67" y="58"/>
                      <a:pt x="67" y="58"/>
                    </a:cubicBezTo>
                    <a:cubicBezTo>
                      <a:pt x="64" y="63"/>
                      <a:pt x="64" y="63"/>
                      <a:pt x="64" y="63"/>
                    </a:cubicBezTo>
                    <a:cubicBezTo>
                      <a:pt x="64" y="70"/>
                      <a:pt x="64" y="70"/>
                      <a:pt x="64" y="70"/>
                    </a:cubicBezTo>
                    <a:cubicBezTo>
                      <a:pt x="62" y="68"/>
                      <a:pt x="62" y="68"/>
                      <a:pt x="62" y="68"/>
                    </a:cubicBezTo>
                    <a:cubicBezTo>
                      <a:pt x="62" y="68"/>
                      <a:pt x="55" y="73"/>
                      <a:pt x="60" y="73"/>
                    </a:cubicBezTo>
                    <a:cubicBezTo>
                      <a:pt x="64" y="74"/>
                      <a:pt x="73" y="74"/>
                      <a:pt x="73" y="74"/>
                    </a:cubicBezTo>
                    <a:cubicBezTo>
                      <a:pt x="70" y="80"/>
                      <a:pt x="70" y="80"/>
                      <a:pt x="70" y="80"/>
                    </a:cubicBezTo>
                    <a:cubicBezTo>
                      <a:pt x="58" y="79"/>
                      <a:pt x="58" y="79"/>
                      <a:pt x="58" y="79"/>
                    </a:cubicBezTo>
                    <a:cubicBezTo>
                      <a:pt x="56" y="87"/>
                      <a:pt x="56" y="87"/>
                      <a:pt x="56" y="87"/>
                    </a:cubicBezTo>
                    <a:cubicBezTo>
                      <a:pt x="62" y="93"/>
                      <a:pt x="62" y="93"/>
                      <a:pt x="62" y="93"/>
                    </a:cubicBezTo>
                    <a:cubicBezTo>
                      <a:pt x="51" y="88"/>
                      <a:pt x="51" y="88"/>
                      <a:pt x="51" y="88"/>
                    </a:cubicBezTo>
                    <a:cubicBezTo>
                      <a:pt x="51" y="91"/>
                      <a:pt x="51" y="91"/>
                      <a:pt x="51" y="91"/>
                    </a:cubicBezTo>
                    <a:cubicBezTo>
                      <a:pt x="44" y="90"/>
                      <a:pt x="44" y="90"/>
                      <a:pt x="44" y="90"/>
                    </a:cubicBezTo>
                    <a:cubicBezTo>
                      <a:pt x="44" y="90"/>
                      <a:pt x="47" y="93"/>
                      <a:pt x="46" y="95"/>
                    </a:cubicBezTo>
                    <a:cubicBezTo>
                      <a:pt x="44" y="99"/>
                      <a:pt x="42" y="98"/>
                      <a:pt x="42" y="98"/>
                    </a:cubicBezTo>
                    <a:cubicBezTo>
                      <a:pt x="49" y="104"/>
                      <a:pt x="49" y="104"/>
                      <a:pt x="49" y="104"/>
                    </a:cubicBezTo>
                    <a:cubicBezTo>
                      <a:pt x="52" y="102"/>
                      <a:pt x="52" y="102"/>
                      <a:pt x="52" y="102"/>
                    </a:cubicBezTo>
                    <a:cubicBezTo>
                      <a:pt x="55" y="104"/>
                      <a:pt x="55" y="104"/>
                      <a:pt x="55" y="104"/>
                    </a:cubicBezTo>
                    <a:cubicBezTo>
                      <a:pt x="49" y="106"/>
                      <a:pt x="49" y="106"/>
                      <a:pt x="49" y="106"/>
                    </a:cubicBezTo>
                    <a:cubicBezTo>
                      <a:pt x="55" y="110"/>
                      <a:pt x="55" y="110"/>
                      <a:pt x="55" y="110"/>
                    </a:cubicBezTo>
                    <a:cubicBezTo>
                      <a:pt x="59" y="106"/>
                      <a:pt x="59" y="106"/>
                      <a:pt x="59" y="106"/>
                    </a:cubicBezTo>
                    <a:cubicBezTo>
                      <a:pt x="60" y="108"/>
                      <a:pt x="60" y="108"/>
                      <a:pt x="60" y="108"/>
                    </a:cubicBezTo>
                    <a:cubicBezTo>
                      <a:pt x="62" y="107"/>
                      <a:pt x="62" y="107"/>
                      <a:pt x="62" y="107"/>
                    </a:cubicBezTo>
                    <a:cubicBezTo>
                      <a:pt x="63" y="111"/>
                      <a:pt x="63" y="111"/>
                      <a:pt x="63" y="111"/>
                    </a:cubicBezTo>
                    <a:cubicBezTo>
                      <a:pt x="59" y="111"/>
                      <a:pt x="59" y="111"/>
                      <a:pt x="59" y="111"/>
                    </a:cubicBezTo>
                    <a:cubicBezTo>
                      <a:pt x="59" y="116"/>
                      <a:pt x="59" y="116"/>
                      <a:pt x="59" y="116"/>
                    </a:cubicBezTo>
                    <a:cubicBezTo>
                      <a:pt x="59" y="116"/>
                      <a:pt x="64" y="119"/>
                      <a:pt x="69" y="119"/>
                    </a:cubicBezTo>
                    <a:cubicBezTo>
                      <a:pt x="74" y="119"/>
                      <a:pt x="84" y="121"/>
                      <a:pt x="84" y="121"/>
                    </a:cubicBezTo>
                    <a:cubicBezTo>
                      <a:pt x="83" y="127"/>
                      <a:pt x="83" y="127"/>
                      <a:pt x="83" y="127"/>
                    </a:cubicBezTo>
                    <a:cubicBezTo>
                      <a:pt x="83" y="127"/>
                      <a:pt x="78" y="129"/>
                      <a:pt x="76" y="129"/>
                    </a:cubicBezTo>
                    <a:cubicBezTo>
                      <a:pt x="74" y="129"/>
                      <a:pt x="70" y="124"/>
                      <a:pt x="70" y="124"/>
                    </a:cubicBezTo>
                    <a:cubicBezTo>
                      <a:pt x="70" y="124"/>
                      <a:pt x="67" y="129"/>
                      <a:pt x="64" y="131"/>
                    </a:cubicBezTo>
                    <a:cubicBezTo>
                      <a:pt x="62" y="132"/>
                      <a:pt x="60" y="135"/>
                      <a:pt x="60" y="135"/>
                    </a:cubicBezTo>
                    <a:cubicBezTo>
                      <a:pt x="64" y="139"/>
                      <a:pt x="64" y="139"/>
                      <a:pt x="64" y="139"/>
                    </a:cubicBezTo>
                    <a:cubicBezTo>
                      <a:pt x="64" y="139"/>
                      <a:pt x="61" y="140"/>
                      <a:pt x="58" y="142"/>
                    </a:cubicBezTo>
                    <a:cubicBezTo>
                      <a:pt x="56" y="145"/>
                      <a:pt x="54" y="148"/>
                      <a:pt x="54" y="148"/>
                    </a:cubicBezTo>
                    <a:cubicBezTo>
                      <a:pt x="50" y="147"/>
                      <a:pt x="50" y="147"/>
                      <a:pt x="50" y="147"/>
                    </a:cubicBezTo>
                    <a:cubicBezTo>
                      <a:pt x="47" y="150"/>
                      <a:pt x="47" y="150"/>
                      <a:pt x="47" y="150"/>
                    </a:cubicBezTo>
                    <a:cubicBezTo>
                      <a:pt x="35" y="155"/>
                      <a:pt x="35" y="155"/>
                      <a:pt x="35" y="155"/>
                    </a:cubicBezTo>
                    <a:cubicBezTo>
                      <a:pt x="47" y="155"/>
                      <a:pt x="47" y="155"/>
                      <a:pt x="47" y="155"/>
                    </a:cubicBezTo>
                    <a:cubicBezTo>
                      <a:pt x="49" y="153"/>
                      <a:pt x="49" y="153"/>
                      <a:pt x="49" y="153"/>
                    </a:cubicBezTo>
                    <a:cubicBezTo>
                      <a:pt x="49" y="153"/>
                      <a:pt x="53" y="159"/>
                      <a:pt x="60" y="157"/>
                    </a:cubicBezTo>
                    <a:cubicBezTo>
                      <a:pt x="67" y="156"/>
                      <a:pt x="71" y="152"/>
                      <a:pt x="71" y="152"/>
                    </a:cubicBezTo>
                    <a:cubicBezTo>
                      <a:pt x="73" y="151"/>
                      <a:pt x="73" y="151"/>
                      <a:pt x="73" y="151"/>
                    </a:cubicBezTo>
                    <a:cubicBezTo>
                      <a:pt x="73" y="157"/>
                      <a:pt x="73" y="157"/>
                      <a:pt x="73" y="157"/>
                    </a:cubicBezTo>
                    <a:cubicBezTo>
                      <a:pt x="79" y="158"/>
                      <a:pt x="79" y="158"/>
                      <a:pt x="79" y="158"/>
                    </a:cubicBezTo>
                    <a:cubicBezTo>
                      <a:pt x="82" y="161"/>
                      <a:pt x="82" y="161"/>
                      <a:pt x="82" y="161"/>
                    </a:cubicBezTo>
                    <a:cubicBezTo>
                      <a:pt x="75" y="159"/>
                      <a:pt x="75" y="159"/>
                      <a:pt x="75" y="159"/>
                    </a:cubicBezTo>
                    <a:cubicBezTo>
                      <a:pt x="67" y="159"/>
                      <a:pt x="67" y="159"/>
                      <a:pt x="67" y="159"/>
                    </a:cubicBezTo>
                    <a:cubicBezTo>
                      <a:pt x="55" y="161"/>
                      <a:pt x="55" y="161"/>
                      <a:pt x="55" y="161"/>
                    </a:cubicBezTo>
                    <a:cubicBezTo>
                      <a:pt x="46" y="157"/>
                      <a:pt x="46" y="157"/>
                      <a:pt x="46" y="157"/>
                    </a:cubicBezTo>
                    <a:cubicBezTo>
                      <a:pt x="39" y="163"/>
                      <a:pt x="39" y="163"/>
                      <a:pt x="39" y="163"/>
                    </a:cubicBezTo>
                    <a:cubicBezTo>
                      <a:pt x="34" y="164"/>
                      <a:pt x="34" y="164"/>
                      <a:pt x="34" y="164"/>
                    </a:cubicBezTo>
                    <a:cubicBezTo>
                      <a:pt x="31" y="173"/>
                      <a:pt x="31" y="173"/>
                      <a:pt x="31" y="173"/>
                    </a:cubicBezTo>
                    <a:cubicBezTo>
                      <a:pt x="35" y="175"/>
                      <a:pt x="35" y="175"/>
                      <a:pt x="35" y="175"/>
                    </a:cubicBezTo>
                    <a:cubicBezTo>
                      <a:pt x="26" y="173"/>
                      <a:pt x="26" y="173"/>
                      <a:pt x="26" y="173"/>
                    </a:cubicBezTo>
                    <a:cubicBezTo>
                      <a:pt x="26" y="169"/>
                      <a:pt x="26" y="169"/>
                      <a:pt x="26" y="169"/>
                    </a:cubicBezTo>
                    <a:cubicBezTo>
                      <a:pt x="21" y="172"/>
                      <a:pt x="21" y="172"/>
                      <a:pt x="21" y="172"/>
                    </a:cubicBezTo>
                    <a:cubicBezTo>
                      <a:pt x="19" y="171"/>
                      <a:pt x="19" y="171"/>
                      <a:pt x="19" y="171"/>
                    </a:cubicBezTo>
                    <a:cubicBezTo>
                      <a:pt x="19" y="169"/>
                      <a:pt x="19" y="169"/>
                      <a:pt x="19" y="169"/>
                    </a:cubicBezTo>
                    <a:cubicBezTo>
                      <a:pt x="19" y="169"/>
                      <a:pt x="14" y="169"/>
                      <a:pt x="9" y="171"/>
                    </a:cubicBezTo>
                    <a:cubicBezTo>
                      <a:pt x="5" y="173"/>
                      <a:pt x="0" y="175"/>
                      <a:pt x="4" y="178"/>
                    </a:cubicBezTo>
                    <a:cubicBezTo>
                      <a:pt x="9" y="179"/>
                      <a:pt x="17" y="181"/>
                      <a:pt x="19" y="181"/>
                    </a:cubicBezTo>
                    <a:cubicBezTo>
                      <a:pt x="21" y="181"/>
                      <a:pt x="30" y="180"/>
                      <a:pt x="29" y="182"/>
                    </a:cubicBezTo>
                    <a:cubicBezTo>
                      <a:pt x="28" y="184"/>
                      <a:pt x="22" y="188"/>
                      <a:pt x="16" y="188"/>
                    </a:cubicBezTo>
                    <a:cubicBezTo>
                      <a:pt x="10" y="188"/>
                      <a:pt x="10" y="190"/>
                      <a:pt x="9" y="192"/>
                    </a:cubicBezTo>
                    <a:cubicBezTo>
                      <a:pt x="7" y="193"/>
                      <a:pt x="2" y="193"/>
                      <a:pt x="2" y="193"/>
                    </a:cubicBezTo>
                    <a:cubicBezTo>
                      <a:pt x="2" y="199"/>
                      <a:pt x="2" y="199"/>
                      <a:pt x="2" y="199"/>
                    </a:cubicBezTo>
                    <a:cubicBezTo>
                      <a:pt x="2" y="199"/>
                      <a:pt x="8" y="196"/>
                      <a:pt x="8" y="198"/>
                    </a:cubicBezTo>
                    <a:cubicBezTo>
                      <a:pt x="8" y="200"/>
                      <a:pt x="10" y="204"/>
                      <a:pt x="10" y="204"/>
                    </a:cubicBezTo>
                    <a:cubicBezTo>
                      <a:pt x="30" y="202"/>
                      <a:pt x="30" y="202"/>
                      <a:pt x="30" y="202"/>
                    </a:cubicBezTo>
                    <a:cubicBezTo>
                      <a:pt x="16" y="206"/>
                      <a:pt x="16" y="206"/>
                      <a:pt x="16" y="206"/>
                    </a:cubicBezTo>
                    <a:cubicBezTo>
                      <a:pt x="14" y="210"/>
                      <a:pt x="14" y="210"/>
                      <a:pt x="14" y="210"/>
                    </a:cubicBezTo>
                    <a:cubicBezTo>
                      <a:pt x="9" y="210"/>
                      <a:pt x="9" y="210"/>
                      <a:pt x="9" y="210"/>
                    </a:cubicBezTo>
                    <a:cubicBezTo>
                      <a:pt x="7" y="214"/>
                      <a:pt x="7" y="214"/>
                      <a:pt x="7" y="214"/>
                    </a:cubicBezTo>
                    <a:cubicBezTo>
                      <a:pt x="22" y="212"/>
                      <a:pt x="22" y="212"/>
                      <a:pt x="22" y="212"/>
                    </a:cubicBezTo>
                    <a:cubicBezTo>
                      <a:pt x="26" y="213"/>
                      <a:pt x="26" y="213"/>
                      <a:pt x="26" y="213"/>
                    </a:cubicBezTo>
                    <a:cubicBezTo>
                      <a:pt x="33" y="211"/>
                      <a:pt x="33" y="211"/>
                      <a:pt x="33" y="211"/>
                    </a:cubicBezTo>
                    <a:cubicBezTo>
                      <a:pt x="35" y="214"/>
                      <a:pt x="35" y="214"/>
                      <a:pt x="35" y="214"/>
                    </a:cubicBezTo>
                    <a:cubicBezTo>
                      <a:pt x="35" y="214"/>
                      <a:pt x="29" y="215"/>
                      <a:pt x="26" y="216"/>
                    </a:cubicBezTo>
                    <a:cubicBezTo>
                      <a:pt x="23" y="216"/>
                      <a:pt x="18" y="220"/>
                      <a:pt x="18" y="220"/>
                    </a:cubicBezTo>
                    <a:cubicBezTo>
                      <a:pt x="28" y="219"/>
                      <a:pt x="28" y="219"/>
                      <a:pt x="28" y="219"/>
                    </a:cubicBezTo>
                    <a:cubicBezTo>
                      <a:pt x="28" y="219"/>
                      <a:pt x="23" y="224"/>
                      <a:pt x="22" y="224"/>
                    </a:cubicBezTo>
                    <a:cubicBezTo>
                      <a:pt x="20" y="224"/>
                      <a:pt x="16" y="225"/>
                      <a:pt x="16" y="225"/>
                    </a:cubicBezTo>
                    <a:cubicBezTo>
                      <a:pt x="18" y="226"/>
                      <a:pt x="18" y="226"/>
                      <a:pt x="18" y="226"/>
                    </a:cubicBezTo>
                    <a:cubicBezTo>
                      <a:pt x="34" y="225"/>
                      <a:pt x="34" y="225"/>
                      <a:pt x="34" y="225"/>
                    </a:cubicBezTo>
                    <a:cubicBezTo>
                      <a:pt x="37" y="226"/>
                      <a:pt x="37" y="226"/>
                      <a:pt x="37" y="226"/>
                    </a:cubicBezTo>
                    <a:cubicBezTo>
                      <a:pt x="35" y="230"/>
                      <a:pt x="35" y="230"/>
                      <a:pt x="35" y="230"/>
                    </a:cubicBezTo>
                    <a:cubicBezTo>
                      <a:pt x="35" y="230"/>
                      <a:pt x="40" y="232"/>
                      <a:pt x="42" y="231"/>
                    </a:cubicBezTo>
                    <a:cubicBezTo>
                      <a:pt x="44" y="229"/>
                      <a:pt x="46" y="228"/>
                      <a:pt x="46" y="228"/>
                    </a:cubicBezTo>
                    <a:cubicBezTo>
                      <a:pt x="53" y="231"/>
                      <a:pt x="53" y="231"/>
                      <a:pt x="53" y="231"/>
                    </a:cubicBezTo>
                    <a:cubicBezTo>
                      <a:pt x="57" y="228"/>
                      <a:pt x="57" y="228"/>
                      <a:pt x="57" y="228"/>
                    </a:cubicBezTo>
                    <a:cubicBezTo>
                      <a:pt x="61" y="230"/>
                      <a:pt x="61" y="230"/>
                      <a:pt x="61" y="230"/>
                    </a:cubicBezTo>
                    <a:cubicBezTo>
                      <a:pt x="66" y="227"/>
                      <a:pt x="66" y="227"/>
                      <a:pt x="66" y="227"/>
                    </a:cubicBezTo>
                    <a:cubicBezTo>
                      <a:pt x="69" y="228"/>
                      <a:pt x="69" y="228"/>
                      <a:pt x="69" y="228"/>
                    </a:cubicBezTo>
                    <a:cubicBezTo>
                      <a:pt x="69" y="228"/>
                      <a:pt x="83" y="228"/>
                      <a:pt x="82" y="222"/>
                    </a:cubicBezTo>
                    <a:cubicBezTo>
                      <a:pt x="82" y="213"/>
                      <a:pt x="82" y="213"/>
                      <a:pt x="82" y="213"/>
                    </a:cubicBezTo>
                    <a:cubicBezTo>
                      <a:pt x="82" y="213"/>
                      <a:pt x="85" y="212"/>
                      <a:pt x="87" y="215"/>
                    </a:cubicBezTo>
                    <a:cubicBezTo>
                      <a:pt x="90" y="219"/>
                      <a:pt x="85" y="218"/>
                      <a:pt x="85" y="220"/>
                    </a:cubicBezTo>
                    <a:cubicBezTo>
                      <a:pt x="85" y="222"/>
                      <a:pt x="87" y="224"/>
                      <a:pt x="91" y="222"/>
                    </a:cubicBezTo>
                    <a:cubicBezTo>
                      <a:pt x="96" y="222"/>
                      <a:pt x="103" y="218"/>
                      <a:pt x="103" y="218"/>
                    </a:cubicBezTo>
                    <a:cubicBezTo>
                      <a:pt x="103" y="214"/>
                      <a:pt x="103" y="214"/>
                      <a:pt x="103" y="214"/>
                    </a:cubicBezTo>
                    <a:cubicBezTo>
                      <a:pt x="103" y="214"/>
                      <a:pt x="109" y="220"/>
                      <a:pt x="112" y="218"/>
                    </a:cubicBezTo>
                    <a:cubicBezTo>
                      <a:pt x="117" y="216"/>
                      <a:pt x="116" y="210"/>
                      <a:pt x="116" y="210"/>
                    </a:cubicBezTo>
                    <a:cubicBezTo>
                      <a:pt x="119" y="211"/>
                      <a:pt x="119" y="211"/>
                      <a:pt x="119" y="211"/>
                    </a:cubicBezTo>
                    <a:cubicBezTo>
                      <a:pt x="125" y="208"/>
                      <a:pt x="125" y="208"/>
                      <a:pt x="125" y="208"/>
                    </a:cubicBezTo>
                    <a:cubicBezTo>
                      <a:pt x="139" y="212"/>
                      <a:pt x="139" y="212"/>
                      <a:pt x="139" y="212"/>
                    </a:cubicBezTo>
                    <a:cubicBezTo>
                      <a:pt x="141" y="204"/>
                      <a:pt x="141" y="204"/>
                      <a:pt x="141" y="204"/>
                    </a:cubicBezTo>
                    <a:cubicBezTo>
                      <a:pt x="144" y="206"/>
                      <a:pt x="144" y="206"/>
                      <a:pt x="144" y="206"/>
                    </a:cubicBezTo>
                    <a:cubicBezTo>
                      <a:pt x="143" y="213"/>
                      <a:pt x="143" y="213"/>
                      <a:pt x="143" y="213"/>
                    </a:cubicBezTo>
                    <a:cubicBezTo>
                      <a:pt x="148" y="212"/>
                      <a:pt x="148" y="212"/>
                      <a:pt x="148" y="212"/>
                    </a:cubicBezTo>
                    <a:cubicBezTo>
                      <a:pt x="150" y="206"/>
                      <a:pt x="150" y="206"/>
                      <a:pt x="150" y="206"/>
                    </a:cubicBezTo>
                    <a:cubicBezTo>
                      <a:pt x="150" y="210"/>
                      <a:pt x="150" y="210"/>
                      <a:pt x="150" y="210"/>
                    </a:cubicBezTo>
                    <a:cubicBezTo>
                      <a:pt x="150" y="210"/>
                      <a:pt x="153" y="214"/>
                      <a:pt x="157" y="214"/>
                    </a:cubicBezTo>
                    <a:cubicBezTo>
                      <a:pt x="161" y="214"/>
                      <a:pt x="169" y="213"/>
                      <a:pt x="169" y="213"/>
                    </a:cubicBezTo>
                    <a:cubicBezTo>
                      <a:pt x="168" y="208"/>
                      <a:pt x="168" y="208"/>
                      <a:pt x="168" y="208"/>
                    </a:cubicBezTo>
                    <a:cubicBezTo>
                      <a:pt x="162" y="202"/>
                      <a:pt x="162" y="202"/>
                      <a:pt x="162" y="202"/>
                    </a:cubicBezTo>
                    <a:cubicBezTo>
                      <a:pt x="164" y="201"/>
                      <a:pt x="164" y="201"/>
                      <a:pt x="164" y="201"/>
                    </a:cubicBezTo>
                    <a:cubicBezTo>
                      <a:pt x="169" y="203"/>
                      <a:pt x="169" y="203"/>
                      <a:pt x="169" y="203"/>
                    </a:cubicBezTo>
                    <a:cubicBezTo>
                      <a:pt x="169" y="201"/>
                      <a:pt x="169" y="201"/>
                      <a:pt x="169" y="201"/>
                    </a:cubicBezTo>
                    <a:cubicBezTo>
                      <a:pt x="178" y="193"/>
                      <a:pt x="178" y="193"/>
                      <a:pt x="178" y="193"/>
                    </a:cubicBezTo>
                    <a:cubicBezTo>
                      <a:pt x="178" y="187"/>
                      <a:pt x="178" y="187"/>
                      <a:pt x="178" y="187"/>
                    </a:cubicBezTo>
                    <a:cubicBezTo>
                      <a:pt x="178" y="187"/>
                      <a:pt x="182" y="178"/>
                      <a:pt x="184" y="177"/>
                    </a:cubicBezTo>
                    <a:cubicBezTo>
                      <a:pt x="187" y="175"/>
                      <a:pt x="192" y="170"/>
                      <a:pt x="193" y="161"/>
                    </a:cubicBezTo>
                    <a:cubicBezTo>
                      <a:pt x="193" y="149"/>
                      <a:pt x="193" y="149"/>
                      <a:pt x="193" y="149"/>
                    </a:cubicBezTo>
                    <a:cubicBezTo>
                      <a:pt x="193" y="149"/>
                      <a:pt x="186" y="145"/>
                      <a:pt x="188" y="142"/>
                    </a:cubicBezTo>
                    <a:cubicBezTo>
                      <a:pt x="191" y="140"/>
                      <a:pt x="194" y="141"/>
                      <a:pt x="194" y="141"/>
                    </a:cubicBezTo>
                    <a:cubicBezTo>
                      <a:pt x="194" y="141"/>
                      <a:pt x="194" y="137"/>
                      <a:pt x="195" y="135"/>
                    </a:cubicBezTo>
                    <a:cubicBezTo>
                      <a:pt x="197" y="134"/>
                      <a:pt x="200" y="132"/>
                      <a:pt x="199" y="130"/>
                    </a:cubicBezTo>
                    <a:cubicBezTo>
                      <a:pt x="197" y="127"/>
                      <a:pt x="194" y="119"/>
                      <a:pt x="194" y="119"/>
                    </a:cubicBezTo>
                    <a:cubicBezTo>
                      <a:pt x="194" y="119"/>
                      <a:pt x="197" y="117"/>
                      <a:pt x="197" y="112"/>
                    </a:cubicBezTo>
                    <a:cubicBezTo>
                      <a:pt x="197" y="107"/>
                      <a:pt x="190" y="104"/>
                      <a:pt x="193" y="102"/>
                    </a:cubicBezTo>
                    <a:cubicBezTo>
                      <a:pt x="197" y="99"/>
                      <a:pt x="203" y="103"/>
                      <a:pt x="204" y="102"/>
                    </a:cubicBezTo>
                    <a:cubicBezTo>
                      <a:pt x="204" y="101"/>
                      <a:pt x="201" y="95"/>
                      <a:pt x="201" y="95"/>
                    </a:cubicBezTo>
                    <a:close/>
                  </a:path>
                </a:pathLst>
              </a:custGeom>
              <a:solidFill>
                <a:srgbClr val="FDC795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74" name="Iceland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2936875" y="1406525"/>
                <a:ext cx="608012" cy="500062"/>
              </a:xfrm>
              <a:custGeom>
                <a:avLst/>
                <a:gdLst/>
                <a:ahLst/>
                <a:cxnLst>
                  <a:cxn ang="0">
                    <a:pos x="273" y="136"/>
                  </a:cxn>
                  <a:cxn ang="0">
                    <a:pos x="262" y="113"/>
                  </a:cxn>
                  <a:cxn ang="0">
                    <a:pos x="268" y="98"/>
                  </a:cxn>
                  <a:cxn ang="0">
                    <a:pos x="252" y="81"/>
                  </a:cxn>
                  <a:cxn ang="0">
                    <a:pos x="229" y="89"/>
                  </a:cxn>
                  <a:cxn ang="0">
                    <a:pos x="206" y="89"/>
                  </a:cxn>
                  <a:cxn ang="0">
                    <a:pos x="189" y="71"/>
                  </a:cxn>
                  <a:cxn ang="0">
                    <a:pos x="178" y="102"/>
                  </a:cxn>
                  <a:cxn ang="0">
                    <a:pos x="177" y="75"/>
                  </a:cxn>
                  <a:cxn ang="0">
                    <a:pos x="170" y="63"/>
                  </a:cxn>
                  <a:cxn ang="0">
                    <a:pos x="144" y="81"/>
                  </a:cxn>
                  <a:cxn ang="0">
                    <a:pos x="141" y="52"/>
                  </a:cxn>
                  <a:cxn ang="0">
                    <a:pos x="133" y="54"/>
                  </a:cxn>
                  <a:cxn ang="0">
                    <a:pos x="115" y="81"/>
                  </a:cxn>
                  <a:cxn ang="0">
                    <a:pos x="110" y="75"/>
                  </a:cxn>
                  <a:cxn ang="0">
                    <a:pos x="95" y="81"/>
                  </a:cxn>
                  <a:cxn ang="0">
                    <a:pos x="90" y="75"/>
                  </a:cxn>
                  <a:cxn ang="0">
                    <a:pos x="92" y="54"/>
                  </a:cxn>
                  <a:cxn ang="0">
                    <a:pos x="109" y="44"/>
                  </a:cxn>
                  <a:cxn ang="0">
                    <a:pos x="104" y="23"/>
                  </a:cxn>
                  <a:cxn ang="0">
                    <a:pos x="97" y="10"/>
                  </a:cxn>
                  <a:cxn ang="0">
                    <a:pos x="81" y="5"/>
                  </a:cxn>
                  <a:cxn ang="0">
                    <a:pos x="88" y="13"/>
                  </a:cxn>
                  <a:cxn ang="0">
                    <a:pos x="87" y="29"/>
                  </a:cxn>
                  <a:cxn ang="0">
                    <a:pos x="79" y="32"/>
                  </a:cxn>
                  <a:cxn ang="0">
                    <a:pos x="73" y="27"/>
                  </a:cxn>
                  <a:cxn ang="0">
                    <a:pos x="71" y="13"/>
                  </a:cxn>
                  <a:cxn ang="0">
                    <a:pos x="53" y="22"/>
                  </a:cxn>
                  <a:cxn ang="0">
                    <a:pos x="57" y="38"/>
                  </a:cxn>
                  <a:cxn ang="0">
                    <a:pos x="38" y="23"/>
                  </a:cxn>
                  <a:cxn ang="0">
                    <a:pos x="30" y="36"/>
                  </a:cxn>
                  <a:cxn ang="0">
                    <a:pos x="30" y="49"/>
                  </a:cxn>
                  <a:cxn ang="0">
                    <a:pos x="60" y="50"/>
                  </a:cxn>
                  <a:cxn ang="0">
                    <a:pos x="72" y="64"/>
                  </a:cxn>
                  <a:cxn ang="0">
                    <a:pos x="72" y="75"/>
                  </a:cxn>
                  <a:cxn ang="0">
                    <a:pos x="69" y="87"/>
                  </a:cxn>
                  <a:cxn ang="0">
                    <a:pos x="45" y="87"/>
                  </a:cxn>
                  <a:cxn ang="0">
                    <a:pos x="31" y="83"/>
                  </a:cxn>
                  <a:cxn ang="0">
                    <a:pos x="4" y="84"/>
                  </a:cxn>
                  <a:cxn ang="0">
                    <a:pos x="34" y="97"/>
                  </a:cxn>
                  <a:cxn ang="0">
                    <a:pos x="36" y="117"/>
                  </a:cxn>
                  <a:cxn ang="0">
                    <a:pos x="48" y="121"/>
                  </a:cxn>
                  <a:cxn ang="0">
                    <a:pos x="36" y="132"/>
                  </a:cxn>
                  <a:cxn ang="0">
                    <a:pos x="36" y="141"/>
                  </a:cxn>
                  <a:cxn ang="0">
                    <a:pos x="14" y="149"/>
                  </a:cxn>
                  <a:cxn ang="0">
                    <a:pos x="0" y="154"/>
                  </a:cxn>
                  <a:cxn ang="0">
                    <a:pos x="28" y="168"/>
                  </a:cxn>
                  <a:cxn ang="0">
                    <a:pos x="45" y="177"/>
                  </a:cxn>
                  <a:cxn ang="0">
                    <a:pos x="55" y="194"/>
                  </a:cxn>
                  <a:cxn ang="0">
                    <a:pos x="79" y="224"/>
                  </a:cxn>
                  <a:cxn ang="0">
                    <a:pos x="123" y="221"/>
                  </a:cxn>
                  <a:cxn ang="0">
                    <a:pos x="155" y="227"/>
                  </a:cxn>
                  <a:cxn ang="0">
                    <a:pos x="195" y="217"/>
                  </a:cxn>
                  <a:cxn ang="0">
                    <a:pos x="212" y="218"/>
                  </a:cxn>
                  <a:cxn ang="0">
                    <a:pos x="240" y="207"/>
                  </a:cxn>
                  <a:cxn ang="0">
                    <a:pos x="243" y="194"/>
                  </a:cxn>
                  <a:cxn ang="0">
                    <a:pos x="258" y="190"/>
                  </a:cxn>
                  <a:cxn ang="0">
                    <a:pos x="263" y="183"/>
                  </a:cxn>
                  <a:cxn ang="0">
                    <a:pos x="272" y="183"/>
                  </a:cxn>
                  <a:cxn ang="0">
                    <a:pos x="278" y="173"/>
                  </a:cxn>
                  <a:cxn ang="0">
                    <a:pos x="284" y="155"/>
                  </a:cxn>
                  <a:cxn ang="0">
                    <a:pos x="50" y="205"/>
                  </a:cxn>
                </a:cxnLst>
                <a:rect l="0" t="0" r="r" b="b"/>
                <a:pathLst>
                  <a:path w="285" h="235">
                    <a:moveTo>
                      <a:pt x="284" y="155"/>
                    </a:moveTo>
                    <a:cubicBezTo>
                      <a:pt x="280" y="156"/>
                      <a:pt x="280" y="156"/>
                      <a:pt x="280" y="156"/>
                    </a:cubicBezTo>
                    <a:cubicBezTo>
                      <a:pt x="280" y="153"/>
                      <a:pt x="280" y="153"/>
                      <a:pt x="280" y="153"/>
                    </a:cubicBezTo>
                    <a:cubicBezTo>
                      <a:pt x="279" y="153"/>
                      <a:pt x="279" y="153"/>
                      <a:pt x="279" y="153"/>
                    </a:cubicBezTo>
                    <a:cubicBezTo>
                      <a:pt x="281" y="150"/>
                      <a:pt x="281" y="150"/>
                      <a:pt x="281" y="150"/>
                    </a:cubicBezTo>
                    <a:cubicBezTo>
                      <a:pt x="280" y="149"/>
                      <a:pt x="280" y="149"/>
                      <a:pt x="280" y="149"/>
                    </a:cubicBezTo>
                    <a:cubicBezTo>
                      <a:pt x="280" y="149"/>
                      <a:pt x="275" y="147"/>
                      <a:pt x="272" y="143"/>
                    </a:cubicBezTo>
                    <a:cubicBezTo>
                      <a:pt x="270" y="139"/>
                      <a:pt x="273" y="136"/>
                      <a:pt x="273" y="136"/>
                    </a:cubicBezTo>
                    <a:cubicBezTo>
                      <a:pt x="260" y="133"/>
                      <a:pt x="260" y="133"/>
                      <a:pt x="260" y="133"/>
                    </a:cubicBezTo>
                    <a:cubicBezTo>
                      <a:pt x="261" y="130"/>
                      <a:pt x="261" y="130"/>
                      <a:pt x="261" y="130"/>
                    </a:cubicBezTo>
                    <a:cubicBezTo>
                      <a:pt x="259" y="130"/>
                      <a:pt x="259" y="130"/>
                      <a:pt x="259" y="130"/>
                    </a:cubicBezTo>
                    <a:cubicBezTo>
                      <a:pt x="259" y="130"/>
                      <a:pt x="260" y="128"/>
                      <a:pt x="262" y="128"/>
                    </a:cubicBezTo>
                    <a:cubicBezTo>
                      <a:pt x="264" y="127"/>
                      <a:pt x="265" y="127"/>
                      <a:pt x="269" y="124"/>
                    </a:cubicBezTo>
                    <a:cubicBezTo>
                      <a:pt x="273" y="122"/>
                      <a:pt x="272" y="116"/>
                      <a:pt x="271" y="115"/>
                    </a:cubicBezTo>
                    <a:cubicBezTo>
                      <a:pt x="270" y="113"/>
                      <a:pt x="268" y="115"/>
                      <a:pt x="265" y="115"/>
                    </a:cubicBezTo>
                    <a:cubicBezTo>
                      <a:pt x="264" y="115"/>
                      <a:pt x="262" y="113"/>
                      <a:pt x="262" y="113"/>
                    </a:cubicBezTo>
                    <a:cubicBezTo>
                      <a:pt x="262" y="113"/>
                      <a:pt x="263" y="112"/>
                      <a:pt x="263" y="110"/>
                    </a:cubicBezTo>
                    <a:cubicBezTo>
                      <a:pt x="263" y="108"/>
                      <a:pt x="260" y="107"/>
                      <a:pt x="260" y="107"/>
                    </a:cubicBezTo>
                    <a:cubicBezTo>
                      <a:pt x="260" y="107"/>
                      <a:pt x="269" y="106"/>
                      <a:pt x="270" y="105"/>
                    </a:cubicBezTo>
                    <a:cubicBezTo>
                      <a:pt x="271" y="102"/>
                      <a:pt x="271" y="99"/>
                      <a:pt x="271" y="99"/>
                    </a:cubicBezTo>
                    <a:cubicBezTo>
                      <a:pt x="284" y="97"/>
                      <a:pt x="284" y="97"/>
                      <a:pt x="284" y="97"/>
                    </a:cubicBezTo>
                    <a:cubicBezTo>
                      <a:pt x="284" y="97"/>
                      <a:pt x="280" y="96"/>
                      <a:pt x="278" y="96"/>
                    </a:cubicBezTo>
                    <a:cubicBezTo>
                      <a:pt x="277" y="95"/>
                      <a:pt x="279" y="94"/>
                      <a:pt x="276" y="93"/>
                    </a:cubicBezTo>
                    <a:cubicBezTo>
                      <a:pt x="274" y="92"/>
                      <a:pt x="270" y="97"/>
                      <a:pt x="268" y="98"/>
                    </a:cubicBezTo>
                    <a:cubicBezTo>
                      <a:pt x="264" y="99"/>
                      <a:pt x="265" y="96"/>
                      <a:pt x="262" y="97"/>
                    </a:cubicBezTo>
                    <a:cubicBezTo>
                      <a:pt x="258" y="97"/>
                      <a:pt x="259" y="101"/>
                      <a:pt x="258" y="102"/>
                    </a:cubicBezTo>
                    <a:cubicBezTo>
                      <a:pt x="257" y="102"/>
                      <a:pt x="256" y="99"/>
                      <a:pt x="256" y="97"/>
                    </a:cubicBezTo>
                    <a:cubicBezTo>
                      <a:pt x="255" y="96"/>
                      <a:pt x="253" y="95"/>
                      <a:pt x="253" y="95"/>
                    </a:cubicBezTo>
                    <a:cubicBezTo>
                      <a:pt x="254" y="93"/>
                      <a:pt x="254" y="93"/>
                      <a:pt x="254" y="93"/>
                    </a:cubicBezTo>
                    <a:cubicBezTo>
                      <a:pt x="252" y="92"/>
                      <a:pt x="252" y="92"/>
                      <a:pt x="252" y="92"/>
                    </a:cubicBezTo>
                    <a:cubicBezTo>
                      <a:pt x="252" y="92"/>
                      <a:pt x="255" y="90"/>
                      <a:pt x="256" y="86"/>
                    </a:cubicBezTo>
                    <a:cubicBezTo>
                      <a:pt x="258" y="84"/>
                      <a:pt x="252" y="81"/>
                      <a:pt x="252" y="81"/>
                    </a:cubicBezTo>
                    <a:cubicBezTo>
                      <a:pt x="252" y="81"/>
                      <a:pt x="255" y="79"/>
                      <a:pt x="253" y="74"/>
                    </a:cubicBezTo>
                    <a:cubicBezTo>
                      <a:pt x="251" y="69"/>
                      <a:pt x="245" y="74"/>
                      <a:pt x="245" y="74"/>
                    </a:cubicBezTo>
                    <a:cubicBezTo>
                      <a:pt x="245" y="74"/>
                      <a:pt x="242" y="69"/>
                      <a:pt x="240" y="69"/>
                    </a:cubicBezTo>
                    <a:cubicBezTo>
                      <a:pt x="238" y="69"/>
                      <a:pt x="238" y="75"/>
                      <a:pt x="238" y="77"/>
                    </a:cubicBezTo>
                    <a:cubicBezTo>
                      <a:pt x="238" y="79"/>
                      <a:pt x="236" y="80"/>
                      <a:pt x="236" y="80"/>
                    </a:cubicBezTo>
                    <a:cubicBezTo>
                      <a:pt x="236" y="80"/>
                      <a:pt x="236" y="86"/>
                      <a:pt x="235" y="89"/>
                    </a:cubicBezTo>
                    <a:cubicBezTo>
                      <a:pt x="232" y="90"/>
                      <a:pt x="230" y="90"/>
                      <a:pt x="230" y="90"/>
                    </a:cubicBezTo>
                    <a:cubicBezTo>
                      <a:pt x="229" y="89"/>
                      <a:pt x="229" y="89"/>
                      <a:pt x="229" y="89"/>
                    </a:cubicBezTo>
                    <a:cubicBezTo>
                      <a:pt x="226" y="89"/>
                      <a:pt x="226" y="89"/>
                      <a:pt x="226" y="89"/>
                    </a:cubicBezTo>
                    <a:cubicBezTo>
                      <a:pt x="226" y="89"/>
                      <a:pt x="224" y="90"/>
                      <a:pt x="223" y="91"/>
                    </a:cubicBezTo>
                    <a:cubicBezTo>
                      <a:pt x="222" y="91"/>
                      <a:pt x="219" y="89"/>
                      <a:pt x="219" y="89"/>
                    </a:cubicBezTo>
                    <a:cubicBezTo>
                      <a:pt x="220" y="84"/>
                      <a:pt x="220" y="84"/>
                      <a:pt x="220" y="84"/>
                    </a:cubicBezTo>
                    <a:cubicBezTo>
                      <a:pt x="220" y="84"/>
                      <a:pt x="217" y="81"/>
                      <a:pt x="214" y="82"/>
                    </a:cubicBezTo>
                    <a:cubicBezTo>
                      <a:pt x="210" y="82"/>
                      <a:pt x="210" y="84"/>
                      <a:pt x="210" y="86"/>
                    </a:cubicBezTo>
                    <a:cubicBezTo>
                      <a:pt x="209" y="87"/>
                      <a:pt x="206" y="87"/>
                      <a:pt x="206" y="87"/>
                    </a:cubicBezTo>
                    <a:cubicBezTo>
                      <a:pt x="206" y="89"/>
                      <a:pt x="206" y="89"/>
                      <a:pt x="206" y="89"/>
                    </a:cubicBezTo>
                    <a:cubicBezTo>
                      <a:pt x="203" y="93"/>
                      <a:pt x="203" y="93"/>
                      <a:pt x="203" y="93"/>
                    </a:cubicBezTo>
                    <a:cubicBezTo>
                      <a:pt x="203" y="93"/>
                      <a:pt x="202" y="91"/>
                      <a:pt x="199" y="90"/>
                    </a:cubicBezTo>
                    <a:cubicBezTo>
                      <a:pt x="198" y="89"/>
                      <a:pt x="197" y="90"/>
                      <a:pt x="197" y="90"/>
                    </a:cubicBezTo>
                    <a:cubicBezTo>
                      <a:pt x="196" y="80"/>
                      <a:pt x="196" y="80"/>
                      <a:pt x="196" y="80"/>
                    </a:cubicBezTo>
                    <a:cubicBezTo>
                      <a:pt x="195" y="79"/>
                      <a:pt x="195" y="79"/>
                      <a:pt x="195" y="79"/>
                    </a:cubicBezTo>
                    <a:cubicBezTo>
                      <a:pt x="195" y="76"/>
                      <a:pt x="195" y="76"/>
                      <a:pt x="195" y="76"/>
                    </a:cubicBezTo>
                    <a:cubicBezTo>
                      <a:pt x="191" y="74"/>
                      <a:pt x="191" y="74"/>
                      <a:pt x="191" y="74"/>
                    </a:cubicBezTo>
                    <a:cubicBezTo>
                      <a:pt x="189" y="71"/>
                      <a:pt x="189" y="71"/>
                      <a:pt x="189" y="71"/>
                    </a:cubicBezTo>
                    <a:cubicBezTo>
                      <a:pt x="189" y="71"/>
                      <a:pt x="184" y="71"/>
                      <a:pt x="183" y="78"/>
                    </a:cubicBezTo>
                    <a:cubicBezTo>
                      <a:pt x="181" y="84"/>
                      <a:pt x="183" y="85"/>
                      <a:pt x="183" y="85"/>
                    </a:cubicBezTo>
                    <a:cubicBezTo>
                      <a:pt x="181" y="86"/>
                      <a:pt x="181" y="86"/>
                      <a:pt x="181" y="86"/>
                    </a:cubicBezTo>
                    <a:cubicBezTo>
                      <a:pt x="181" y="87"/>
                      <a:pt x="181" y="87"/>
                      <a:pt x="181" y="87"/>
                    </a:cubicBezTo>
                    <a:cubicBezTo>
                      <a:pt x="183" y="87"/>
                      <a:pt x="183" y="87"/>
                      <a:pt x="183" y="87"/>
                    </a:cubicBezTo>
                    <a:cubicBezTo>
                      <a:pt x="182" y="93"/>
                      <a:pt x="182" y="93"/>
                      <a:pt x="182" y="93"/>
                    </a:cubicBezTo>
                    <a:cubicBezTo>
                      <a:pt x="178" y="99"/>
                      <a:pt x="178" y="99"/>
                      <a:pt x="178" y="99"/>
                    </a:cubicBezTo>
                    <a:cubicBezTo>
                      <a:pt x="178" y="102"/>
                      <a:pt x="178" y="102"/>
                      <a:pt x="178" y="102"/>
                    </a:cubicBezTo>
                    <a:cubicBezTo>
                      <a:pt x="176" y="105"/>
                      <a:pt x="176" y="105"/>
                      <a:pt x="176" y="105"/>
                    </a:cubicBezTo>
                    <a:cubicBezTo>
                      <a:pt x="177" y="102"/>
                      <a:pt x="177" y="102"/>
                      <a:pt x="177" y="102"/>
                    </a:cubicBezTo>
                    <a:cubicBezTo>
                      <a:pt x="177" y="98"/>
                      <a:pt x="177" y="98"/>
                      <a:pt x="177" y="98"/>
                    </a:cubicBezTo>
                    <a:cubicBezTo>
                      <a:pt x="177" y="98"/>
                      <a:pt x="177" y="96"/>
                      <a:pt x="178" y="95"/>
                    </a:cubicBezTo>
                    <a:cubicBezTo>
                      <a:pt x="179" y="94"/>
                      <a:pt x="179" y="92"/>
                      <a:pt x="179" y="92"/>
                    </a:cubicBezTo>
                    <a:cubicBezTo>
                      <a:pt x="178" y="83"/>
                      <a:pt x="178" y="83"/>
                      <a:pt x="178" y="83"/>
                    </a:cubicBezTo>
                    <a:cubicBezTo>
                      <a:pt x="178" y="83"/>
                      <a:pt x="175" y="81"/>
                      <a:pt x="175" y="80"/>
                    </a:cubicBezTo>
                    <a:cubicBezTo>
                      <a:pt x="175" y="78"/>
                      <a:pt x="177" y="77"/>
                      <a:pt x="177" y="75"/>
                    </a:cubicBezTo>
                    <a:cubicBezTo>
                      <a:pt x="178" y="74"/>
                      <a:pt x="177" y="71"/>
                      <a:pt x="177" y="71"/>
                    </a:cubicBezTo>
                    <a:cubicBezTo>
                      <a:pt x="178" y="69"/>
                      <a:pt x="178" y="69"/>
                      <a:pt x="178" y="69"/>
                    </a:cubicBezTo>
                    <a:cubicBezTo>
                      <a:pt x="177" y="67"/>
                      <a:pt x="177" y="67"/>
                      <a:pt x="177" y="67"/>
                    </a:cubicBezTo>
                    <a:cubicBezTo>
                      <a:pt x="175" y="67"/>
                      <a:pt x="175" y="67"/>
                      <a:pt x="175" y="67"/>
                    </a:cubicBezTo>
                    <a:cubicBezTo>
                      <a:pt x="176" y="65"/>
                      <a:pt x="176" y="65"/>
                      <a:pt x="176" y="65"/>
                    </a:cubicBezTo>
                    <a:cubicBezTo>
                      <a:pt x="175" y="64"/>
                      <a:pt x="175" y="64"/>
                      <a:pt x="175" y="64"/>
                    </a:cubicBezTo>
                    <a:cubicBezTo>
                      <a:pt x="172" y="66"/>
                      <a:pt x="172" y="66"/>
                      <a:pt x="172" y="66"/>
                    </a:cubicBezTo>
                    <a:cubicBezTo>
                      <a:pt x="172" y="66"/>
                      <a:pt x="173" y="63"/>
                      <a:pt x="170" y="63"/>
                    </a:cubicBezTo>
                    <a:cubicBezTo>
                      <a:pt x="167" y="62"/>
                      <a:pt x="166" y="66"/>
                      <a:pt x="164" y="66"/>
                    </a:cubicBezTo>
                    <a:cubicBezTo>
                      <a:pt x="162" y="67"/>
                      <a:pt x="161" y="65"/>
                      <a:pt x="159" y="64"/>
                    </a:cubicBezTo>
                    <a:cubicBezTo>
                      <a:pt x="156" y="64"/>
                      <a:pt x="155" y="67"/>
                      <a:pt x="155" y="68"/>
                    </a:cubicBezTo>
                    <a:cubicBezTo>
                      <a:pt x="154" y="69"/>
                      <a:pt x="153" y="68"/>
                      <a:pt x="150" y="70"/>
                    </a:cubicBezTo>
                    <a:cubicBezTo>
                      <a:pt x="149" y="73"/>
                      <a:pt x="151" y="76"/>
                      <a:pt x="150" y="79"/>
                    </a:cubicBezTo>
                    <a:cubicBezTo>
                      <a:pt x="149" y="82"/>
                      <a:pt x="145" y="83"/>
                      <a:pt x="145" y="83"/>
                    </a:cubicBezTo>
                    <a:cubicBezTo>
                      <a:pt x="145" y="81"/>
                      <a:pt x="145" y="81"/>
                      <a:pt x="145" y="81"/>
                    </a:cubicBezTo>
                    <a:cubicBezTo>
                      <a:pt x="144" y="81"/>
                      <a:pt x="144" y="81"/>
                      <a:pt x="144" y="81"/>
                    </a:cubicBezTo>
                    <a:cubicBezTo>
                      <a:pt x="142" y="82"/>
                      <a:pt x="142" y="82"/>
                      <a:pt x="142" y="82"/>
                    </a:cubicBezTo>
                    <a:cubicBezTo>
                      <a:pt x="141" y="80"/>
                      <a:pt x="141" y="80"/>
                      <a:pt x="141" y="80"/>
                    </a:cubicBezTo>
                    <a:cubicBezTo>
                      <a:pt x="141" y="80"/>
                      <a:pt x="143" y="75"/>
                      <a:pt x="143" y="73"/>
                    </a:cubicBezTo>
                    <a:cubicBezTo>
                      <a:pt x="144" y="71"/>
                      <a:pt x="141" y="69"/>
                      <a:pt x="141" y="69"/>
                    </a:cubicBezTo>
                    <a:cubicBezTo>
                      <a:pt x="141" y="69"/>
                      <a:pt x="141" y="66"/>
                      <a:pt x="142" y="64"/>
                    </a:cubicBezTo>
                    <a:cubicBezTo>
                      <a:pt x="142" y="59"/>
                      <a:pt x="142" y="59"/>
                      <a:pt x="142" y="59"/>
                    </a:cubicBezTo>
                    <a:cubicBezTo>
                      <a:pt x="142" y="59"/>
                      <a:pt x="143" y="57"/>
                      <a:pt x="143" y="54"/>
                    </a:cubicBezTo>
                    <a:cubicBezTo>
                      <a:pt x="143" y="53"/>
                      <a:pt x="141" y="52"/>
                      <a:pt x="141" y="52"/>
                    </a:cubicBezTo>
                    <a:cubicBezTo>
                      <a:pt x="141" y="51"/>
                      <a:pt x="141" y="51"/>
                      <a:pt x="141" y="51"/>
                    </a:cubicBezTo>
                    <a:cubicBezTo>
                      <a:pt x="139" y="53"/>
                      <a:pt x="139" y="53"/>
                      <a:pt x="139" y="53"/>
                    </a:cubicBezTo>
                    <a:cubicBezTo>
                      <a:pt x="138" y="52"/>
                      <a:pt x="138" y="52"/>
                      <a:pt x="138" y="52"/>
                    </a:cubicBezTo>
                    <a:cubicBezTo>
                      <a:pt x="135" y="52"/>
                      <a:pt x="135" y="52"/>
                      <a:pt x="135" y="52"/>
                    </a:cubicBezTo>
                    <a:cubicBezTo>
                      <a:pt x="134" y="53"/>
                      <a:pt x="134" y="53"/>
                      <a:pt x="134" y="53"/>
                    </a:cubicBezTo>
                    <a:cubicBezTo>
                      <a:pt x="134" y="52"/>
                      <a:pt x="134" y="52"/>
                      <a:pt x="134" y="52"/>
                    </a:cubicBezTo>
                    <a:cubicBezTo>
                      <a:pt x="133" y="52"/>
                      <a:pt x="133" y="52"/>
                      <a:pt x="133" y="52"/>
                    </a:cubicBezTo>
                    <a:cubicBezTo>
                      <a:pt x="133" y="54"/>
                      <a:pt x="133" y="54"/>
                      <a:pt x="133" y="54"/>
                    </a:cubicBezTo>
                    <a:cubicBezTo>
                      <a:pt x="131" y="57"/>
                      <a:pt x="131" y="57"/>
                      <a:pt x="131" y="57"/>
                    </a:cubicBezTo>
                    <a:cubicBezTo>
                      <a:pt x="131" y="59"/>
                      <a:pt x="131" y="59"/>
                      <a:pt x="131" y="59"/>
                    </a:cubicBezTo>
                    <a:cubicBezTo>
                      <a:pt x="131" y="59"/>
                      <a:pt x="130" y="63"/>
                      <a:pt x="128" y="66"/>
                    </a:cubicBezTo>
                    <a:cubicBezTo>
                      <a:pt x="126" y="70"/>
                      <a:pt x="126" y="76"/>
                      <a:pt x="126" y="76"/>
                    </a:cubicBezTo>
                    <a:cubicBezTo>
                      <a:pt x="123" y="79"/>
                      <a:pt x="123" y="79"/>
                      <a:pt x="123" y="79"/>
                    </a:cubicBezTo>
                    <a:cubicBezTo>
                      <a:pt x="122" y="79"/>
                      <a:pt x="122" y="79"/>
                      <a:pt x="122" y="79"/>
                    </a:cubicBezTo>
                    <a:cubicBezTo>
                      <a:pt x="118" y="81"/>
                      <a:pt x="118" y="81"/>
                      <a:pt x="118" y="81"/>
                    </a:cubicBezTo>
                    <a:cubicBezTo>
                      <a:pt x="115" y="81"/>
                      <a:pt x="115" y="81"/>
                      <a:pt x="115" y="81"/>
                    </a:cubicBezTo>
                    <a:cubicBezTo>
                      <a:pt x="115" y="82"/>
                      <a:pt x="115" y="82"/>
                      <a:pt x="115" y="82"/>
                    </a:cubicBezTo>
                    <a:cubicBezTo>
                      <a:pt x="115" y="82"/>
                      <a:pt x="114" y="85"/>
                      <a:pt x="112" y="85"/>
                    </a:cubicBezTo>
                    <a:cubicBezTo>
                      <a:pt x="110" y="84"/>
                      <a:pt x="113" y="79"/>
                      <a:pt x="113" y="79"/>
                    </a:cubicBezTo>
                    <a:cubicBezTo>
                      <a:pt x="111" y="79"/>
                      <a:pt x="111" y="79"/>
                      <a:pt x="111" y="79"/>
                    </a:cubicBezTo>
                    <a:cubicBezTo>
                      <a:pt x="115" y="74"/>
                      <a:pt x="115" y="74"/>
                      <a:pt x="115" y="74"/>
                    </a:cubicBezTo>
                    <a:cubicBezTo>
                      <a:pt x="113" y="71"/>
                      <a:pt x="113" y="71"/>
                      <a:pt x="113" y="71"/>
                    </a:cubicBezTo>
                    <a:cubicBezTo>
                      <a:pt x="110" y="73"/>
                      <a:pt x="110" y="73"/>
                      <a:pt x="110" y="73"/>
                    </a:cubicBezTo>
                    <a:cubicBezTo>
                      <a:pt x="110" y="75"/>
                      <a:pt x="110" y="75"/>
                      <a:pt x="110" y="75"/>
                    </a:cubicBezTo>
                    <a:cubicBezTo>
                      <a:pt x="106" y="75"/>
                      <a:pt x="106" y="75"/>
                      <a:pt x="106" y="75"/>
                    </a:cubicBezTo>
                    <a:cubicBezTo>
                      <a:pt x="104" y="75"/>
                      <a:pt x="102" y="77"/>
                      <a:pt x="102" y="77"/>
                    </a:cubicBezTo>
                    <a:cubicBezTo>
                      <a:pt x="102" y="77"/>
                      <a:pt x="101" y="78"/>
                      <a:pt x="100" y="80"/>
                    </a:cubicBezTo>
                    <a:cubicBezTo>
                      <a:pt x="99" y="82"/>
                      <a:pt x="98" y="89"/>
                      <a:pt x="98" y="89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3"/>
                      <a:pt x="97" y="83"/>
                      <a:pt x="97" y="83"/>
                    </a:cubicBezTo>
                    <a:cubicBezTo>
                      <a:pt x="98" y="80"/>
                      <a:pt x="98" y="80"/>
                      <a:pt x="98" y="80"/>
                    </a:cubicBezTo>
                    <a:cubicBezTo>
                      <a:pt x="95" y="81"/>
                      <a:pt x="95" y="81"/>
                      <a:pt x="95" y="81"/>
                    </a:cubicBezTo>
                    <a:cubicBezTo>
                      <a:pt x="94" y="86"/>
                      <a:pt x="94" y="86"/>
                      <a:pt x="94" y="86"/>
                    </a:cubicBezTo>
                    <a:cubicBezTo>
                      <a:pt x="94" y="86"/>
                      <a:pt x="92" y="89"/>
                      <a:pt x="91" y="90"/>
                    </a:cubicBezTo>
                    <a:cubicBezTo>
                      <a:pt x="90" y="91"/>
                      <a:pt x="90" y="95"/>
                      <a:pt x="90" y="95"/>
                    </a:cubicBezTo>
                    <a:cubicBezTo>
                      <a:pt x="88" y="97"/>
                      <a:pt x="88" y="97"/>
                      <a:pt x="88" y="97"/>
                    </a:cubicBezTo>
                    <a:cubicBezTo>
                      <a:pt x="88" y="97"/>
                      <a:pt x="88" y="92"/>
                      <a:pt x="89" y="89"/>
                    </a:cubicBezTo>
                    <a:cubicBezTo>
                      <a:pt x="89" y="85"/>
                      <a:pt x="93" y="82"/>
                      <a:pt x="93" y="82"/>
                    </a:cubicBezTo>
                    <a:cubicBezTo>
                      <a:pt x="94" y="76"/>
                      <a:pt x="94" y="76"/>
                      <a:pt x="94" y="76"/>
                    </a:cubicBezTo>
                    <a:cubicBezTo>
                      <a:pt x="90" y="75"/>
                      <a:pt x="90" y="75"/>
                      <a:pt x="90" y="75"/>
                    </a:cubicBezTo>
                    <a:cubicBezTo>
                      <a:pt x="94" y="74"/>
                      <a:pt x="94" y="74"/>
                      <a:pt x="94" y="74"/>
                    </a:cubicBezTo>
                    <a:cubicBezTo>
                      <a:pt x="96" y="69"/>
                      <a:pt x="96" y="69"/>
                      <a:pt x="96" y="69"/>
                    </a:cubicBezTo>
                    <a:cubicBezTo>
                      <a:pt x="92" y="68"/>
                      <a:pt x="92" y="68"/>
                      <a:pt x="92" y="68"/>
                    </a:cubicBezTo>
                    <a:cubicBezTo>
                      <a:pt x="95" y="67"/>
                      <a:pt x="95" y="67"/>
                      <a:pt x="95" y="67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6" y="65"/>
                      <a:pt x="92" y="64"/>
                      <a:pt x="91" y="62"/>
                    </a:cubicBezTo>
                    <a:cubicBezTo>
                      <a:pt x="90" y="60"/>
                      <a:pt x="91" y="60"/>
                      <a:pt x="92" y="59"/>
                    </a:cubicBezTo>
                    <a:cubicBezTo>
                      <a:pt x="92" y="54"/>
                      <a:pt x="92" y="54"/>
                      <a:pt x="92" y="54"/>
                    </a:cubicBezTo>
                    <a:cubicBezTo>
                      <a:pt x="93" y="54"/>
                      <a:pt x="93" y="54"/>
                      <a:pt x="93" y="54"/>
                    </a:cubicBezTo>
                    <a:cubicBezTo>
                      <a:pt x="93" y="54"/>
                      <a:pt x="93" y="59"/>
                      <a:pt x="94" y="60"/>
                    </a:cubicBezTo>
                    <a:cubicBezTo>
                      <a:pt x="94" y="62"/>
                      <a:pt x="97" y="62"/>
                      <a:pt x="98" y="62"/>
                    </a:cubicBezTo>
                    <a:cubicBezTo>
                      <a:pt x="100" y="62"/>
                      <a:pt x="99" y="59"/>
                      <a:pt x="99" y="59"/>
                    </a:cubicBezTo>
                    <a:cubicBezTo>
                      <a:pt x="99" y="59"/>
                      <a:pt x="101" y="60"/>
                      <a:pt x="107" y="54"/>
                    </a:cubicBezTo>
                    <a:cubicBezTo>
                      <a:pt x="112" y="49"/>
                      <a:pt x="101" y="47"/>
                      <a:pt x="102" y="46"/>
                    </a:cubicBezTo>
                    <a:cubicBezTo>
                      <a:pt x="102" y="44"/>
                      <a:pt x="109" y="46"/>
                      <a:pt x="109" y="46"/>
                    </a:cubicBezTo>
                    <a:cubicBezTo>
                      <a:pt x="109" y="44"/>
                      <a:pt x="109" y="44"/>
                      <a:pt x="109" y="44"/>
                    </a:cubicBezTo>
                    <a:cubicBezTo>
                      <a:pt x="107" y="42"/>
                      <a:pt x="107" y="42"/>
                      <a:pt x="107" y="42"/>
                    </a:cubicBezTo>
                    <a:cubicBezTo>
                      <a:pt x="108" y="38"/>
                      <a:pt x="108" y="38"/>
                      <a:pt x="108" y="38"/>
                    </a:cubicBezTo>
                    <a:cubicBezTo>
                      <a:pt x="106" y="38"/>
                      <a:pt x="106" y="38"/>
                      <a:pt x="106" y="38"/>
                    </a:cubicBezTo>
                    <a:cubicBezTo>
                      <a:pt x="104" y="42"/>
                      <a:pt x="104" y="42"/>
                      <a:pt x="104" y="42"/>
                    </a:cubicBezTo>
                    <a:cubicBezTo>
                      <a:pt x="104" y="38"/>
                      <a:pt x="104" y="38"/>
                      <a:pt x="104" y="38"/>
                    </a:cubicBezTo>
                    <a:cubicBezTo>
                      <a:pt x="102" y="37"/>
                      <a:pt x="105" y="35"/>
                      <a:pt x="106" y="33"/>
                    </a:cubicBezTo>
                    <a:cubicBezTo>
                      <a:pt x="107" y="30"/>
                      <a:pt x="104" y="30"/>
                      <a:pt x="102" y="28"/>
                    </a:cubicBezTo>
                    <a:cubicBezTo>
                      <a:pt x="101" y="26"/>
                      <a:pt x="104" y="23"/>
                      <a:pt x="104" y="23"/>
                    </a:cubicBezTo>
                    <a:cubicBezTo>
                      <a:pt x="100" y="22"/>
                      <a:pt x="100" y="22"/>
                      <a:pt x="100" y="22"/>
                    </a:cubicBezTo>
                    <a:cubicBezTo>
                      <a:pt x="100" y="19"/>
                      <a:pt x="100" y="19"/>
                      <a:pt x="100" y="19"/>
                    </a:cubicBezTo>
                    <a:cubicBezTo>
                      <a:pt x="98" y="19"/>
                      <a:pt x="98" y="19"/>
                      <a:pt x="98" y="19"/>
                    </a:cubicBezTo>
                    <a:cubicBezTo>
                      <a:pt x="98" y="19"/>
                      <a:pt x="99" y="17"/>
                      <a:pt x="100" y="16"/>
                    </a:cubicBezTo>
                    <a:cubicBezTo>
                      <a:pt x="102" y="14"/>
                      <a:pt x="98" y="12"/>
                      <a:pt x="98" y="12"/>
                    </a:cubicBezTo>
                    <a:cubicBezTo>
                      <a:pt x="100" y="7"/>
                      <a:pt x="100" y="7"/>
                      <a:pt x="100" y="7"/>
                    </a:cubicBezTo>
                    <a:cubicBezTo>
                      <a:pt x="99" y="5"/>
                      <a:pt x="99" y="5"/>
                      <a:pt x="99" y="5"/>
                    </a:cubicBezTo>
                    <a:cubicBezTo>
                      <a:pt x="97" y="10"/>
                      <a:pt x="97" y="10"/>
                      <a:pt x="97" y="10"/>
                    </a:cubicBezTo>
                    <a:cubicBezTo>
                      <a:pt x="95" y="5"/>
                      <a:pt x="95" y="5"/>
                      <a:pt x="95" y="5"/>
                    </a:cubicBezTo>
                    <a:cubicBezTo>
                      <a:pt x="93" y="6"/>
                      <a:pt x="93" y="6"/>
                      <a:pt x="93" y="6"/>
                    </a:cubicBezTo>
                    <a:cubicBezTo>
                      <a:pt x="89" y="0"/>
                      <a:pt x="89" y="0"/>
                      <a:pt x="89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87" y="3"/>
                      <a:pt x="87" y="3"/>
                      <a:pt x="87" y="3"/>
                    </a:cubicBezTo>
                    <a:cubicBezTo>
                      <a:pt x="83" y="1"/>
                      <a:pt x="83" y="1"/>
                      <a:pt x="83" y="1"/>
                    </a:cubicBezTo>
                    <a:cubicBezTo>
                      <a:pt x="82" y="1"/>
                      <a:pt x="82" y="1"/>
                      <a:pt x="82" y="1"/>
                    </a:cubicBezTo>
                    <a:cubicBezTo>
                      <a:pt x="82" y="1"/>
                      <a:pt x="83" y="5"/>
                      <a:pt x="81" y="5"/>
                    </a:cubicBezTo>
                    <a:cubicBezTo>
                      <a:pt x="80" y="6"/>
                      <a:pt x="79" y="3"/>
                      <a:pt x="79" y="3"/>
                    </a:cubicBezTo>
                    <a:cubicBezTo>
                      <a:pt x="77" y="3"/>
                      <a:pt x="77" y="3"/>
                      <a:pt x="77" y="3"/>
                    </a:cubicBezTo>
                    <a:cubicBezTo>
                      <a:pt x="77" y="3"/>
                      <a:pt x="77" y="6"/>
                      <a:pt x="80" y="8"/>
                    </a:cubicBezTo>
                    <a:cubicBezTo>
                      <a:pt x="83" y="11"/>
                      <a:pt x="87" y="8"/>
                      <a:pt x="87" y="8"/>
                    </a:cubicBezTo>
                    <a:cubicBezTo>
                      <a:pt x="85" y="11"/>
                      <a:pt x="85" y="11"/>
                      <a:pt x="85" y="11"/>
                    </a:cubicBezTo>
                    <a:cubicBezTo>
                      <a:pt x="87" y="11"/>
                      <a:pt x="87" y="11"/>
                      <a:pt x="87" y="11"/>
                    </a:cubicBezTo>
                    <a:cubicBezTo>
                      <a:pt x="91" y="10"/>
                      <a:pt x="91" y="10"/>
                      <a:pt x="91" y="10"/>
                    </a:cubicBezTo>
                    <a:cubicBezTo>
                      <a:pt x="88" y="13"/>
                      <a:pt x="88" y="13"/>
                      <a:pt x="88" y="13"/>
                    </a:cubicBezTo>
                    <a:cubicBezTo>
                      <a:pt x="89" y="15"/>
                      <a:pt x="89" y="15"/>
                      <a:pt x="89" y="15"/>
                    </a:cubicBezTo>
                    <a:cubicBezTo>
                      <a:pt x="92" y="15"/>
                      <a:pt x="92" y="15"/>
                      <a:pt x="92" y="15"/>
                    </a:cubicBezTo>
                    <a:cubicBezTo>
                      <a:pt x="91" y="16"/>
                      <a:pt x="91" y="16"/>
                      <a:pt x="91" y="16"/>
                    </a:cubicBezTo>
                    <a:cubicBezTo>
                      <a:pt x="91" y="16"/>
                      <a:pt x="92" y="19"/>
                      <a:pt x="91" y="18"/>
                    </a:cubicBezTo>
                    <a:cubicBezTo>
                      <a:pt x="89" y="17"/>
                      <a:pt x="87" y="17"/>
                      <a:pt x="85" y="15"/>
                    </a:cubicBezTo>
                    <a:cubicBezTo>
                      <a:pt x="84" y="13"/>
                      <a:pt x="81" y="13"/>
                      <a:pt x="79" y="14"/>
                    </a:cubicBezTo>
                    <a:cubicBezTo>
                      <a:pt x="76" y="16"/>
                      <a:pt x="81" y="22"/>
                      <a:pt x="82" y="23"/>
                    </a:cubicBezTo>
                    <a:cubicBezTo>
                      <a:pt x="83" y="24"/>
                      <a:pt x="87" y="29"/>
                      <a:pt x="87" y="29"/>
                    </a:cubicBezTo>
                    <a:cubicBezTo>
                      <a:pt x="87" y="29"/>
                      <a:pt x="84" y="30"/>
                      <a:pt x="83" y="31"/>
                    </a:cubicBezTo>
                    <a:cubicBezTo>
                      <a:pt x="82" y="32"/>
                      <a:pt x="83" y="34"/>
                      <a:pt x="82" y="37"/>
                    </a:cubicBezTo>
                    <a:cubicBezTo>
                      <a:pt x="82" y="41"/>
                      <a:pt x="78" y="43"/>
                      <a:pt x="78" y="43"/>
                    </a:cubicBezTo>
                    <a:cubicBezTo>
                      <a:pt x="77" y="42"/>
                      <a:pt x="77" y="42"/>
                      <a:pt x="77" y="42"/>
                    </a:cubicBezTo>
                    <a:cubicBezTo>
                      <a:pt x="77" y="42"/>
                      <a:pt x="80" y="38"/>
                      <a:pt x="80" y="34"/>
                    </a:cubicBezTo>
                    <a:cubicBezTo>
                      <a:pt x="80" y="31"/>
                      <a:pt x="75" y="38"/>
                      <a:pt x="75" y="38"/>
                    </a:cubicBezTo>
                    <a:cubicBezTo>
                      <a:pt x="75" y="37"/>
                      <a:pt x="75" y="37"/>
                      <a:pt x="75" y="37"/>
                    </a:cubicBezTo>
                    <a:cubicBezTo>
                      <a:pt x="79" y="32"/>
                      <a:pt x="79" y="32"/>
                      <a:pt x="79" y="32"/>
                    </a:cubicBezTo>
                    <a:cubicBezTo>
                      <a:pt x="78" y="29"/>
                      <a:pt x="78" y="29"/>
                      <a:pt x="78" y="29"/>
                    </a:cubicBezTo>
                    <a:cubicBezTo>
                      <a:pt x="79" y="27"/>
                      <a:pt x="79" y="27"/>
                      <a:pt x="79" y="27"/>
                    </a:cubicBezTo>
                    <a:cubicBezTo>
                      <a:pt x="77" y="27"/>
                      <a:pt x="77" y="27"/>
                      <a:pt x="77" y="27"/>
                    </a:cubicBezTo>
                    <a:cubicBezTo>
                      <a:pt x="72" y="33"/>
                      <a:pt x="72" y="33"/>
                      <a:pt x="72" y="33"/>
                    </a:cubicBezTo>
                    <a:cubicBezTo>
                      <a:pt x="74" y="29"/>
                      <a:pt x="74" y="29"/>
                      <a:pt x="74" y="29"/>
                    </a:cubicBezTo>
                    <a:cubicBezTo>
                      <a:pt x="73" y="29"/>
                      <a:pt x="73" y="29"/>
                      <a:pt x="73" y="29"/>
                    </a:cubicBezTo>
                    <a:cubicBezTo>
                      <a:pt x="71" y="30"/>
                      <a:pt x="71" y="30"/>
                      <a:pt x="71" y="30"/>
                    </a:cubicBezTo>
                    <a:cubicBezTo>
                      <a:pt x="73" y="27"/>
                      <a:pt x="73" y="27"/>
                      <a:pt x="73" y="27"/>
                    </a:cubicBezTo>
                    <a:cubicBezTo>
                      <a:pt x="72" y="26"/>
                      <a:pt x="72" y="26"/>
                      <a:pt x="72" y="26"/>
                    </a:cubicBezTo>
                    <a:cubicBezTo>
                      <a:pt x="68" y="27"/>
                      <a:pt x="68" y="27"/>
                      <a:pt x="68" y="27"/>
                    </a:cubicBezTo>
                    <a:cubicBezTo>
                      <a:pt x="73" y="22"/>
                      <a:pt x="73" y="22"/>
                      <a:pt x="73" y="22"/>
                    </a:cubicBezTo>
                    <a:cubicBezTo>
                      <a:pt x="73" y="20"/>
                      <a:pt x="73" y="20"/>
                      <a:pt x="73" y="20"/>
                    </a:cubicBezTo>
                    <a:cubicBezTo>
                      <a:pt x="73" y="20"/>
                      <a:pt x="69" y="22"/>
                      <a:pt x="68" y="21"/>
                    </a:cubicBezTo>
                    <a:cubicBezTo>
                      <a:pt x="68" y="20"/>
                      <a:pt x="72" y="19"/>
                      <a:pt x="72" y="19"/>
                    </a:cubicBezTo>
                    <a:cubicBezTo>
                      <a:pt x="71" y="16"/>
                      <a:pt x="71" y="16"/>
                      <a:pt x="71" y="16"/>
                    </a:cubicBezTo>
                    <a:cubicBezTo>
                      <a:pt x="71" y="13"/>
                      <a:pt x="71" y="13"/>
                      <a:pt x="71" y="13"/>
                    </a:cubicBezTo>
                    <a:cubicBezTo>
                      <a:pt x="71" y="13"/>
                      <a:pt x="68" y="10"/>
                      <a:pt x="64" y="10"/>
                    </a:cubicBezTo>
                    <a:cubicBezTo>
                      <a:pt x="60" y="11"/>
                      <a:pt x="65" y="14"/>
                      <a:pt x="65" y="14"/>
                    </a:cubicBezTo>
                    <a:cubicBezTo>
                      <a:pt x="65" y="14"/>
                      <a:pt x="63" y="13"/>
                      <a:pt x="61" y="13"/>
                    </a:cubicBezTo>
                    <a:cubicBezTo>
                      <a:pt x="60" y="13"/>
                      <a:pt x="59" y="13"/>
                      <a:pt x="61" y="16"/>
                    </a:cubicBezTo>
                    <a:cubicBezTo>
                      <a:pt x="62" y="20"/>
                      <a:pt x="63" y="21"/>
                      <a:pt x="62" y="21"/>
                    </a:cubicBezTo>
                    <a:cubicBezTo>
                      <a:pt x="61" y="22"/>
                      <a:pt x="60" y="20"/>
                      <a:pt x="59" y="18"/>
                    </a:cubicBezTo>
                    <a:cubicBezTo>
                      <a:pt x="58" y="15"/>
                      <a:pt x="56" y="13"/>
                      <a:pt x="53" y="14"/>
                    </a:cubicBezTo>
                    <a:cubicBezTo>
                      <a:pt x="50" y="16"/>
                      <a:pt x="53" y="21"/>
                      <a:pt x="53" y="22"/>
                    </a:cubicBezTo>
                    <a:cubicBezTo>
                      <a:pt x="55" y="24"/>
                      <a:pt x="52" y="24"/>
                      <a:pt x="52" y="24"/>
                    </a:cubicBezTo>
                    <a:cubicBezTo>
                      <a:pt x="55" y="27"/>
                      <a:pt x="55" y="27"/>
                      <a:pt x="55" y="27"/>
                    </a:cubicBezTo>
                    <a:cubicBezTo>
                      <a:pt x="57" y="27"/>
                      <a:pt x="57" y="27"/>
                      <a:pt x="57" y="27"/>
                    </a:cubicBezTo>
                    <a:cubicBezTo>
                      <a:pt x="58" y="31"/>
                      <a:pt x="58" y="31"/>
                      <a:pt x="58" y="31"/>
                    </a:cubicBezTo>
                    <a:cubicBezTo>
                      <a:pt x="58" y="31"/>
                      <a:pt x="50" y="23"/>
                      <a:pt x="47" y="21"/>
                    </a:cubicBezTo>
                    <a:cubicBezTo>
                      <a:pt x="45" y="20"/>
                      <a:pt x="45" y="29"/>
                      <a:pt x="48" y="32"/>
                    </a:cubicBezTo>
                    <a:cubicBezTo>
                      <a:pt x="51" y="36"/>
                      <a:pt x="58" y="36"/>
                      <a:pt x="58" y="36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48" y="36"/>
                      <a:pt x="48" y="36"/>
                      <a:pt x="48" y="36"/>
                    </a:cubicBezTo>
                    <a:cubicBezTo>
                      <a:pt x="49" y="39"/>
                      <a:pt x="49" y="39"/>
                      <a:pt x="49" y="39"/>
                    </a:cubicBezTo>
                    <a:cubicBezTo>
                      <a:pt x="52" y="42"/>
                      <a:pt x="52" y="42"/>
                      <a:pt x="52" y="42"/>
                    </a:cubicBezTo>
                    <a:cubicBezTo>
                      <a:pt x="48" y="42"/>
                      <a:pt x="48" y="42"/>
                      <a:pt x="48" y="42"/>
                    </a:cubicBezTo>
                    <a:cubicBezTo>
                      <a:pt x="47" y="41"/>
                      <a:pt x="47" y="41"/>
                      <a:pt x="47" y="41"/>
                    </a:cubicBezTo>
                    <a:cubicBezTo>
                      <a:pt x="44" y="42"/>
                      <a:pt x="44" y="42"/>
                      <a:pt x="44" y="42"/>
                    </a:cubicBezTo>
                    <a:cubicBezTo>
                      <a:pt x="44" y="42"/>
                      <a:pt x="45" y="41"/>
                      <a:pt x="46" y="37"/>
                    </a:cubicBezTo>
                    <a:cubicBezTo>
                      <a:pt x="46" y="34"/>
                      <a:pt x="38" y="23"/>
                      <a:pt x="38" y="23"/>
                    </a:cubicBezTo>
                    <a:cubicBezTo>
                      <a:pt x="38" y="23"/>
                      <a:pt x="35" y="26"/>
                      <a:pt x="35" y="29"/>
                    </a:cubicBezTo>
                    <a:cubicBezTo>
                      <a:pt x="35" y="32"/>
                      <a:pt x="38" y="37"/>
                      <a:pt x="38" y="37"/>
                    </a:cubicBezTo>
                    <a:cubicBezTo>
                      <a:pt x="33" y="32"/>
                      <a:pt x="33" y="32"/>
                      <a:pt x="33" y="32"/>
                    </a:cubicBezTo>
                    <a:cubicBezTo>
                      <a:pt x="33" y="38"/>
                      <a:pt x="33" y="38"/>
                      <a:pt x="33" y="38"/>
                    </a:cubicBezTo>
                    <a:cubicBezTo>
                      <a:pt x="34" y="41"/>
                      <a:pt x="36" y="43"/>
                      <a:pt x="36" y="43"/>
                    </a:cubicBezTo>
                    <a:cubicBezTo>
                      <a:pt x="33" y="43"/>
                      <a:pt x="33" y="43"/>
                      <a:pt x="33" y="43"/>
                    </a:cubicBezTo>
                    <a:cubicBezTo>
                      <a:pt x="32" y="43"/>
                      <a:pt x="32" y="39"/>
                      <a:pt x="32" y="38"/>
                    </a:cubicBezTo>
                    <a:cubicBezTo>
                      <a:pt x="32" y="37"/>
                      <a:pt x="30" y="38"/>
                      <a:pt x="30" y="36"/>
                    </a:cubicBezTo>
                    <a:cubicBezTo>
                      <a:pt x="30" y="34"/>
                      <a:pt x="30" y="31"/>
                      <a:pt x="27" y="30"/>
                    </a:cubicBezTo>
                    <a:cubicBezTo>
                      <a:pt x="24" y="29"/>
                      <a:pt x="23" y="33"/>
                      <a:pt x="22" y="34"/>
                    </a:cubicBezTo>
                    <a:cubicBezTo>
                      <a:pt x="20" y="35"/>
                      <a:pt x="18" y="35"/>
                      <a:pt x="17" y="36"/>
                    </a:cubicBezTo>
                    <a:cubicBezTo>
                      <a:pt x="16" y="37"/>
                      <a:pt x="19" y="37"/>
                      <a:pt x="23" y="38"/>
                    </a:cubicBezTo>
                    <a:cubicBezTo>
                      <a:pt x="25" y="38"/>
                      <a:pt x="25" y="41"/>
                      <a:pt x="26" y="42"/>
                    </a:cubicBezTo>
                    <a:cubicBezTo>
                      <a:pt x="29" y="45"/>
                      <a:pt x="29" y="45"/>
                      <a:pt x="29" y="45"/>
                    </a:cubicBezTo>
                    <a:cubicBezTo>
                      <a:pt x="27" y="47"/>
                      <a:pt x="27" y="47"/>
                      <a:pt x="27" y="47"/>
                    </a:cubicBezTo>
                    <a:cubicBezTo>
                      <a:pt x="27" y="47"/>
                      <a:pt x="26" y="48"/>
                      <a:pt x="30" y="49"/>
                    </a:cubicBezTo>
                    <a:cubicBezTo>
                      <a:pt x="33" y="51"/>
                      <a:pt x="36" y="48"/>
                      <a:pt x="41" y="49"/>
                    </a:cubicBezTo>
                    <a:cubicBezTo>
                      <a:pt x="45" y="50"/>
                      <a:pt x="46" y="52"/>
                      <a:pt x="48" y="52"/>
                    </a:cubicBezTo>
                    <a:cubicBezTo>
                      <a:pt x="49" y="52"/>
                      <a:pt x="51" y="48"/>
                      <a:pt x="51" y="48"/>
                    </a:cubicBezTo>
                    <a:cubicBezTo>
                      <a:pt x="51" y="50"/>
                      <a:pt x="51" y="50"/>
                      <a:pt x="51" y="50"/>
                    </a:cubicBezTo>
                    <a:cubicBezTo>
                      <a:pt x="53" y="52"/>
                      <a:pt x="53" y="52"/>
                      <a:pt x="53" y="52"/>
                    </a:cubicBezTo>
                    <a:cubicBezTo>
                      <a:pt x="58" y="49"/>
                      <a:pt x="58" y="49"/>
                      <a:pt x="58" y="49"/>
                    </a:cubicBezTo>
                    <a:cubicBezTo>
                      <a:pt x="58" y="52"/>
                      <a:pt x="58" y="52"/>
                      <a:pt x="58" y="52"/>
                    </a:cubicBezTo>
                    <a:cubicBezTo>
                      <a:pt x="60" y="50"/>
                      <a:pt x="60" y="50"/>
                      <a:pt x="60" y="50"/>
                    </a:cubicBezTo>
                    <a:cubicBezTo>
                      <a:pt x="63" y="51"/>
                      <a:pt x="63" y="51"/>
                      <a:pt x="63" y="51"/>
                    </a:cubicBezTo>
                    <a:cubicBezTo>
                      <a:pt x="61" y="58"/>
                      <a:pt x="61" y="58"/>
                      <a:pt x="61" y="58"/>
                    </a:cubicBezTo>
                    <a:cubicBezTo>
                      <a:pt x="64" y="55"/>
                      <a:pt x="64" y="55"/>
                      <a:pt x="64" y="55"/>
                    </a:cubicBezTo>
                    <a:cubicBezTo>
                      <a:pt x="65" y="57"/>
                      <a:pt x="65" y="57"/>
                      <a:pt x="65" y="57"/>
                    </a:cubicBezTo>
                    <a:cubicBezTo>
                      <a:pt x="67" y="54"/>
                      <a:pt x="67" y="54"/>
                      <a:pt x="67" y="54"/>
                    </a:cubicBezTo>
                    <a:cubicBezTo>
                      <a:pt x="66" y="62"/>
                      <a:pt x="66" y="62"/>
                      <a:pt x="66" y="62"/>
                    </a:cubicBezTo>
                    <a:cubicBezTo>
                      <a:pt x="75" y="62"/>
                      <a:pt x="75" y="62"/>
                      <a:pt x="75" y="62"/>
                    </a:cubicBezTo>
                    <a:cubicBezTo>
                      <a:pt x="72" y="64"/>
                      <a:pt x="72" y="64"/>
                      <a:pt x="72" y="64"/>
                    </a:cubicBezTo>
                    <a:cubicBezTo>
                      <a:pt x="67" y="64"/>
                      <a:pt x="67" y="64"/>
                      <a:pt x="67" y="64"/>
                    </a:cubicBezTo>
                    <a:cubicBezTo>
                      <a:pt x="69" y="69"/>
                      <a:pt x="69" y="69"/>
                      <a:pt x="69" y="69"/>
                    </a:cubicBezTo>
                    <a:cubicBezTo>
                      <a:pt x="74" y="66"/>
                      <a:pt x="74" y="66"/>
                      <a:pt x="74" y="66"/>
                    </a:cubicBezTo>
                    <a:cubicBezTo>
                      <a:pt x="74" y="66"/>
                      <a:pt x="76" y="66"/>
                      <a:pt x="77" y="68"/>
                    </a:cubicBezTo>
                    <a:cubicBezTo>
                      <a:pt x="78" y="70"/>
                      <a:pt x="77" y="71"/>
                      <a:pt x="77" y="71"/>
                    </a:cubicBezTo>
                    <a:cubicBezTo>
                      <a:pt x="82" y="74"/>
                      <a:pt x="82" y="74"/>
                      <a:pt x="82" y="74"/>
                    </a:cubicBezTo>
                    <a:cubicBezTo>
                      <a:pt x="74" y="74"/>
                      <a:pt x="74" y="74"/>
                      <a:pt x="74" y="74"/>
                    </a:cubicBezTo>
                    <a:cubicBezTo>
                      <a:pt x="72" y="75"/>
                      <a:pt x="72" y="75"/>
                      <a:pt x="72" y="75"/>
                    </a:cubicBezTo>
                    <a:cubicBezTo>
                      <a:pt x="72" y="75"/>
                      <a:pt x="64" y="75"/>
                      <a:pt x="58" y="76"/>
                    </a:cubicBezTo>
                    <a:cubicBezTo>
                      <a:pt x="50" y="76"/>
                      <a:pt x="56" y="79"/>
                      <a:pt x="56" y="79"/>
                    </a:cubicBezTo>
                    <a:cubicBezTo>
                      <a:pt x="52" y="80"/>
                      <a:pt x="52" y="80"/>
                      <a:pt x="52" y="80"/>
                    </a:cubicBezTo>
                    <a:cubicBezTo>
                      <a:pt x="57" y="82"/>
                      <a:pt x="57" y="82"/>
                      <a:pt x="57" y="82"/>
                    </a:cubicBezTo>
                    <a:cubicBezTo>
                      <a:pt x="57" y="85"/>
                      <a:pt x="57" y="85"/>
                      <a:pt x="57" y="85"/>
                    </a:cubicBezTo>
                    <a:cubicBezTo>
                      <a:pt x="58" y="86"/>
                      <a:pt x="60" y="85"/>
                      <a:pt x="60" y="85"/>
                    </a:cubicBezTo>
                    <a:cubicBezTo>
                      <a:pt x="60" y="85"/>
                      <a:pt x="61" y="90"/>
                      <a:pt x="62" y="90"/>
                    </a:cubicBezTo>
                    <a:cubicBezTo>
                      <a:pt x="64" y="90"/>
                      <a:pt x="69" y="87"/>
                      <a:pt x="69" y="87"/>
                    </a:cubicBezTo>
                    <a:cubicBezTo>
                      <a:pt x="69" y="87"/>
                      <a:pt x="72" y="86"/>
                      <a:pt x="73" y="89"/>
                    </a:cubicBezTo>
                    <a:cubicBezTo>
                      <a:pt x="74" y="92"/>
                      <a:pt x="66" y="93"/>
                      <a:pt x="66" y="93"/>
                    </a:cubicBezTo>
                    <a:cubicBezTo>
                      <a:pt x="65" y="96"/>
                      <a:pt x="65" y="96"/>
                      <a:pt x="65" y="96"/>
                    </a:cubicBezTo>
                    <a:cubicBezTo>
                      <a:pt x="62" y="96"/>
                      <a:pt x="62" y="96"/>
                      <a:pt x="62" y="96"/>
                    </a:cubicBezTo>
                    <a:cubicBezTo>
                      <a:pt x="60" y="96"/>
                      <a:pt x="59" y="92"/>
                      <a:pt x="59" y="92"/>
                    </a:cubicBezTo>
                    <a:cubicBezTo>
                      <a:pt x="59" y="92"/>
                      <a:pt x="58" y="91"/>
                      <a:pt x="57" y="92"/>
                    </a:cubicBezTo>
                    <a:cubicBezTo>
                      <a:pt x="55" y="92"/>
                      <a:pt x="55" y="89"/>
                      <a:pt x="51" y="86"/>
                    </a:cubicBezTo>
                    <a:cubicBezTo>
                      <a:pt x="48" y="84"/>
                      <a:pt x="45" y="87"/>
                      <a:pt x="45" y="87"/>
                    </a:cubicBezTo>
                    <a:cubicBezTo>
                      <a:pt x="46" y="83"/>
                      <a:pt x="46" y="83"/>
                      <a:pt x="46" y="83"/>
                    </a:cubicBezTo>
                    <a:cubicBezTo>
                      <a:pt x="44" y="81"/>
                      <a:pt x="44" y="81"/>
                      <a:pt x="44" y="81"/>
                    </a:cubicBezTo>
                    <a:cubicBezTo>
                      <a:pt x="40" y="82"/>
                      <a:pt x="40" y="82"/>
                      <a:pt x="40" y="82"/>
                    </a:cubicBezTo>
                    <a:cubicBezTo>
                      <a:pt x="41" y="84"/>
                      <a:pt x="41" y="84"/>
                      <a:pt x="41" y="84"/>
                    </a:cubicBezTo>
                    <a:cubicBezTo>
                      <a:pt x="41" y="84"/>
                      <a:pt x="40" y="85"/>
                      <a:pt x="38" y="85"/>
                    </a:cubicBezTo>
                    <a:cubicBezTo>
                      <a:pt x="36" y="85"/>
                      <a:pt x="36" y="84"/>
                      <a:pt x="35" y="82"/>
                    </a:cubicBezTo>
                    <a:cubicBezTo>
                      <a:pt x="34" y="81"/>
                      <a:pt x="33" y="83"/>
                      <a:pt x="31" y="85"/>
                    </a:cubicBezTo>
                    <a:cubicBezTo>
                      <a:pt x="29" y="87"/>
                      <a:pt x="30" y="83"/>
                      <a:pt x="31" y="83"/>
                    </a:cubicBezTo>
                    <a:cubicBezTo>
                      <a:pt x="32" y="82"/>
                      <a:pt x="32" y="80"/>
                      <a:pt x="30" y="80"/>
                    </a:cubicBezTo>
                    <a:cubicBezTo>
                      <a:pt x="28" y="79"/>
                      <a:pt x="28" y="83"/>
                      <a:pt x="26" y="83"/>
                    </a:cubicBezTo>
                    <a:cubicBezTo>
                      <a:pt x="24" y="83"/>
                      <a:pt x="25" y="81"/>
                      <a:pt x="25" y="81"/>
                    </a:cubicBezTo>
                    <a:cubicBezTo>
                      <a:pt x="23" y="81"/>
                      <a:pt x="23" y="81"/>
                      <a:pt x="23" y="81"/>
                    </a:cubicBezTo>
                    <a:cubicBezTo>
                      <a:pt x="22" y="80"/>
                      <a:pt x="22" y="80"/>
                      <a:pt x="22" y="80"/>
                    </a:cubicBezTo>
                    <a:cubicBezTo>
                      <a:pt x="22" y="80"/>
                      <a:pt x="16" y="81"/>
                      <a:pt x="14" y="81"/>
                    </a:cubicBezTo>
                    <a:cubicBezTo>
                      <a:pt x="12" y="80"/>
                      <a:pt x="13" y="76"/>
                      <a:pt x="9" y="76"/>
                    </a:cubicBezTo>
                    <a:cubicBezTo>
                      <a:pt x="4" y="76"/>
                      <a:pt x="3" y="81"/>
                      <a:pt x="4" y="84"/>
                    </a:cubicBezTo>
                    <a:cubicBezTo>
                      <a:pt x="4" y="89"/>
                      <a:pt x="8" y="90"/>
                      <a:pt x="10" y="90"/>
                    </a:cubicBezTo>
                    <a:cubicBezTo>
                      <a:pt x="12" y="90"/>
                      <a:pt x="11" y="87"/>
                      <a:pt x="13" y="86"/>
                    </a:cubicBezTo>
                    <a:cubicBezTo>
                      <a:pt x="15" y="86"/>
                      <a:pt x="16" y="89"/>
                      <a:pt x="17" y="90"/>
                    </a:cubicBezTo>
                    <a:cubicBezTo>
                      <a:pt x="18" y="90"/>
                      <a:pt x="19" y="89"/>
                      <a:pt x="19" y="89"/>
                    </a:cubicBezTo>
                    <a:cubicBezTo>
                      <a:pt x="27" y="95"/>
                      <a:pt x="27" y="95"/>
                      <a:pt x="27" y="95"/>
                    </a:cubicBezTo>
                    <a:cubicBezTo>
                      <a:pt x="29" y="95"/>
                      <a:pt x="29" y="95"/>
                      <a:pt x="29" y="95"/>
                    </a:cubicBezTo>
                    <a:cubicBezTo>
                      <a:pt x="32" y="98"/>
                      <a:pt x="32" y="98"/>
                      <a:pt x="32" y="98"/>
                    </a:cubicBezTo>
                    <a:cubicBezTo>
                      <a:pt x="33" y="98"/>
                      <a:pt x="33" y="97"/>
                      <a:pt x="34" y="97"/>
                    </a:cubicBezTo>
                    <a:cubicBezTo>
                      <a:pt x="36" y="98"/>
                      <a:pt x="35" y="99"/>
                      <a:pt x="36" y="100"/>
                    </a:cubicBezTo>
                    <a:cubicBezTo>
                      <a:pt x="38" y="101"/>
                      <a:pt x="40" y="99"/>
                      <a:pt x="41" y="100"/>
                    </a:cubicBezTo>
                    <a:cubicBezTo>
                      <a:pt x="43" y="102"/>
                      <a:pt x="41" y="103"/>
                      <a:pt x="41" y="103"/>
                    </a:cubicBezTo>
                    <a:cubicBezTo>
                      <a:pt x="43" y="106"/>
                      <a:pt x="43" y="106"/>
                      <a:pt x="43" y="106"/>
                    </a:cubicBezTo>
                    <a:cubicBezTo>
                      <a:pt x="40" y="108"/>
                      <a:pt x="40" y="108"/>
                      <a:pt x="40" y="108"/>
                    </a:cubicBezTo>
                    <a:cubicBezTo>
                      <a:pt x="41" y="110"/>
                      <a:pt x="41" y="110"/>
                      <a:pt x="41" y="110"/>
                    </a:cubicBezTo>
                    <a:cubicBezTo>
                      <a:pt x="36" y="110"/>
                      <a:pt x="36" y="110"/>
                      <a:pt x="36" y="110"/>
                    </a:cubicBezTo>
                    <a:cubicBezTo>
                      <a:pt x="36" y="117"/>
                      <a:pt x="36" y="117"/>
                      <a:pt x="36" y="117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5" y="122"/>
                      <a:pt x="35" y="122"/>
                      <a:pt x="35" y="122"/>
                    </a:cubicBezTo>
                    <a:cubicBezTo>
                      <a:pt x="36" y="122"/>
                      <a:pt x="36" y="122"/>
                      <a:pt x="36" y="122"/>
                    </a:cubicBezTo>
                    <a:cubicBezTo>
                      <a:pt x="36" y="122"/>
                      <a:pt x="36" y="124"/>
                      <a:pt x="39" y="124"/>
                    </a:cubicBezTo>
                    <a:cubicBezTo>
                      <a:pt x="40" y="124"/>
                      <a:pt x="42" y="122"/>
                      <a:pt x="42" y="122"/>
                    </a:cubicBezTo>
                    <a:cubicBezTo>
                      <a:pt x="43" y="123"/>
                      <a:pt x="43" y="123"/>
                      <a:pt x="43" y="123"/>
                    </a:cubicBezTo>
                    <a:cubicBezTo>
                      <a:pt x="46" y="123"/>
                      <a:pt x="46" y="123"/>
                      <a:pt x="46" y="123"/>
                    </a:cubicBezTo>
                    <a:cubicBezTo>
                      <a:pt x="48" y="121"/>
                      <a:pt x="48" y="121"/>
                      <a:pt x="48" y="121"/>
                    </a:cubicBezTo>
                    <a:cubicBezTo>
                      <a:pt x="49" y="123"/>
                      <a:pt x="49" y="123"/>
                      <a:pt x="49" y="123"/>
                    </a:cubicBezTo>
                    <a:cubicBezTo>
                      <a:pt x="48" y="125"/>
                      <a:pt x="48" y="125"/>
                      <a:pt x="48" y="125"/>
                    </a:cubicBezTo>
                    <a:cubicBezTo>
                      <a:pt x="44" y="125"/>
                      <a:pt x="44" y="125"/>
                      <a:pt x="44" y="125"/>
                    </a:cubicBezTo>
                    <a:cubicBezTo>
                      <a:pt x="42" y="125"/>
                      <a:pt x="38" y="128"/>
                      <a:pt x="38" y="128"/>
                    </a:cubicBezTo>
                    <a:cubicBezTo>
                      <a:pt x="38" y="130"/>
                      <a:pt x="38" y="130"/>
                      <a:pt x="38" y="130"/>
                    </a:cubicBezTo>
                    <a:cubicBezTo>
                      <a:pt x="41" y="130"/>
                      <a:pt x="41" y="130"/>
                      <a:pt x="41" y="130"/>
                    </a:cubicBezTo>
                    <a:cubicBezTo>
                      <a:pt x="41" y="132"/>
                      <a:pt x="41" y="132"/>
                      <a:pt x="41" y="132"/>
                    </a:cubicBezTo>
                    <a:cubicBezTo>
                      <a:pt x="36" y="132"/>
                      <a:pt x="36" y="132"/>
                      <a:pt x="36" y="132"/>
                    </a:cubicBezTo>
                    <a:cubicBezTo>
                      <a:pt x="33" y="134"/>
                      <a:pt x="33" y="134"/>
                      <a:pt x="33" y="134"/>
                    </a:cubicBezTo>
                    <a:cubicBezTo>
                      <a:pt x="36" y="136"/>
                      <a:pt x="36" y="136"/>
                      <a:pt x="36" y="136"/>
                    </a:cubicBezTo>
                    <a:cubicBezTo>
                      <a:pt x="43" y="136"/>
                      <a:pt x="43" y="136"/>
                      <a:pt x="43" y="136"/>
                    </a:cubicBezTo>
                    <a:cubicBezTo>
                      <a:pt x="43" y="136"/>
                      <a:pt x="45" y="133"/>
                      <a:pt x="49" y="136"/>
                    </a:cubicBezTo>
                    <a:cubicBezTo>
                      <a:pt x="52" y="137"/>
                      <a:pt x="50" y="140"/>
                      <a:pt x="50" y="140"/>
                    </a:cubicBezTo>
                    <a:cubicBezTo>
                      <a:pt x="47" y="137"/>
                      <a:pt x="47" y="137"/>
                      <a:pt x="47" y="137"/>
                    </a:cubicBezTo>
                    <a:cubicBezTo>
                      <a:pt x="47" y="137"/>
                      <a:pt x="44" y="138"/>
                      <a:pt x="41" y="138"/>
                    </a:cubicBezTo>
                    <a:cubicBezTo>
                      <a:pt x="38" y="138"/>
                      <a:pt x="36" y="138"/>
                      <a:pt x="36" y="141"/>
                    </a:cubicBezTo>
                    <a:cubicBezTo>
                      <a:pt x="35" y="143"/>
                      <a:pt x="38" y="147"/>
                      <a:pt x="38" y="147"/>
                    </a:cubicBezTo>
                    <a:cubicBezTo>
                      <a:pt x="33" y="148"/>
                      <a:pt x="33" y="148"/>
                      <a:pt x="33" y="148"/>
                    </a:cubicBezTo>
                    <a:cubicBezTo>
                      <a:pt x="31" y="145"/>
                      <a:pt x="31" y="145"/>
                      <a:pt x="31" y="145"/>
                    </a:cubicBezTo>
                    <a:cubicBezTo>
                      <a:pt x="27" y="146"/>
                      <a:pt x="27" y="146"/>
                      <a:pt x="27" y="146"/>
                    </a:cubicBezTo>
                    <a:cubicBezTo>
                      <a:pt x="28" y="149"/>
                      <a:pt x="28" y="149"/>
                      <a:pt x="28" y="149"/>
                    </a:cubicBezTo>
                    <a:cubicBezTo>
                      <a:pt x="23" y="150"/>
                      <a:pt x="23" y="150"/>
                      <a:pt x="23" y="150"/>
                    </a:cubicBezTo>
                    <a:cubicBezTo>
                      <a:pt x="23" y="150"/>
                      <a:pt x="22" y="149"/>
                      <a:pt x="19" y="149"/>
                    </a:cubicBezTo>
                    <a:cubicBezTo>
                      <a:pt x="17" y="148"/>
                      <a:pt x="15" y="149"/>
                      <a:pt x="14" y="149"/>
                    </a:cubicBezTo>
                    <a:cubicBezTo>
                      <a:pt x="12" y="149"/>
                      <a:pt x="10" y="147"/>
                      <a:pt x="10" y="147"/>
                    </a:cubicBezTo>
                    <a:cubicBezTo>
                      <a:pt x="12" y="144"/>
                      <a:pt x="12" y="144"/>
                      <a:pt x="12" y="144"/>
                    </a:cubicBezTo>
                    <a:cubicBezTo>
                      <a:pt x="9" y="140"/>
                      <a:pt x="9" y="140"/>
                      <a:pt x="9" y="140"/>
                    </a:cubicBezTo>
                    <a:cubicBezTo>
                      <a:pt x="4" y="144"/>
                      <a:pt x="4" y="144"/>
                      <a:pt x="4" y="144"/>
                    </a:cubicBezTo>
                    <a:cubicBezTo>
                      <a:pt x="4" y="148"/>
                      <a:pt x="4" y="148"/>
                      <a:pt x="4" y="148"/>
                    </a:cubicBezTo>
                    <a:cubicBezTo>
                      <a:pt x="2" y="149"/>
                      <a:pt x="2" y="149"/>
                      <a:pt x="2" y="149"/>
                    </a:cubicBezTo>
                    <a:cubicBezTo>
                      <a:pt x="2" y="152"/>
                      <a:pt x="2" y="152"/>
                      <a:pt x="2" y="152"/>
                    </a:cubicBezTo>
                    <a:cubicBezTo>
                      <a:pt x="0" y="154"/>
                      <a:pt x="0" y="154"/>
                      <a:pt x="0" y="154"/>
                    </a:cubicBezTo>
                    <a:cubicBezTo>
                      <a:pt x="4" y="157"/>
                      <a:pt x="4" y="157"/>
                      <a:pt x="4" y="157"/>
                    </a:cubicBezTo>
                    <a:cubicBezTo>
                      <a:pt x="7" y="157"/>
                      <a:pt x="7" y="157"/>
                      <a:pt x="7" y="157"/>
                    </a:cubicBezTo>
                    <a:cubicBezTo>
                      <a:pt x="9" y="158"/>
                      <a:pt x="9" y="158"/>
                      <a:pt x="9" y="158"/>
                    </a:cubicBezTo>
                    <a:cubicBezTo>
                      <a:pt x="11" y="157"/>
                      <a:pt x="11" y="157"/>
                      <a:pt x="11" y="157"/>
                    </a:cubicBezTo>
                    <a:cubicBezTo>
                      <a:pt x="11" y="157"/>
                      <a:pt x="12" y="159"/>
                      <a:pt x="13" y="160"/>
                    </a:cubicBezTo>
                    <a:cubicBezTo>
                      <a:pt x="14" y="161"/>
                      <a:pt x="19" y="163"/>
                      <a:pt x="19" y="163"/>
                    </a:cubicBezTo>
                    <a:cubicBezTo>
                      <a:pt x="19" y="163"/>
                      <a:pt x="24" y="163"/>
                      <a:pt x="26" y="164"/>
                    </a:cubicBezTo>
                    <a:cubicBezTo>
                      <a:pt x="28" y="165"/>
                      <a:pt x="28" y="168"/>
                      <a:pt x="28" y="168"/>
                    </a:cubicBezTo>
                    <a:cubicBezTo>
                      <a:pt x="35" y="171"/>
                      <a:pt x="35" y="171"/>
                      <a:pt x="35" y="171"/>
                    </a:cubicBezTo>
                    <a:cubicBezTo>
                      <a:pt x="36" y="170"/>
                      <a:pt x="36" y="170"/>
                      <a:pt x="36" y="170"/>
                    </a:cubicBezTo>
                    <a:cubicBezTo>
                      <a:pt x="41" y="170"/>
                      <a:pt x="41" y="170"/>
                      <a:pt x="41" y="170"/>
                    </a:cubicBezTo>
                    <a:cubicBezTo>
                      <a:pt x="39" y="166"/>
                      <a:pt x="39" y="166"/>
                      <a:pt x="39" y="166"/>
                    </a:cubicBezTo>
                    <a:cubicBezTo>
                      <a:pt x="39" y="166"/>
                      <a:pt x="42" y="165"/>
                      <a:pt x="44" y="166"/>
                    </a:cubicBezTo>
                    <a:cubicBezTo>
                      <a:pt x="46" y="168"/>
                      <a:pt x="41" y="169"/>
                      <a:pt x="41" y="169"/>
                    </a:cubicBezTo>
                    <a:cubicBezTo>
                      <a:pt x="41" y="169"/>
                      <a:pt x="42" y="170"/>
                      <a:pt x="43" y="172"/>
                    </a:cubicBezTo>
                    <a:cubicBezTo>
                      <a:pt x="43" y="174"/>
                      <a:pt x="43" y="175"/>
                      <a:pt x="45" y="177"/>
                    </a:cubicBezTo>
                    <a:cubicBezTo>
                      <a:pt x="47" y="178"/>
                      <a:pt x="47" y="181"/>
                      <a:pt x="47" y="181"/>
                    </a:cubicBezTo>
                    <a:cubicBezTo>
                      <a:pt x="52" y="179"/>
                      <a:pt x="52" y="179"/>
                      <a:pt x="52" y="179"/>
                    </a:cubicBezTo>
                    <a:cubicBezTo>
                      <a:pt x="52" y="179"/>
                      <a:pt x="51" y="183"/>
                      <a:pt x="50" y="183"/>
                    </a:cubicBezTo>
                    <a:cubicBezTo>
                      <a:pt x="49" y="184"/>
                      <a:pt x="49" y="184"/>
                      <a:pt x="49" y="184"/>
                    </a:cubicBezTo>
                    <a:cubicBezTo>
                      <a:pt x="50" y="189"/>
                      <a:pt x="50" y="189"/>
                      <a:pt x="50" y="189"/>
                    </a:cubicBezTo>
                    <a:cubicBezTo>
                      <a:pt x="51" y="189"/>
                      <a:pt x="51" y="189"/>
                      <a:pt x="51" y="189"/>
                    </a:cubicBezTo>
                    <a:cubicBezTo>
                      <a:pt x="51" y="194"/>
                      <a:pt x="51" y="194"/>
                      <a:pt x="51" y="194"/>
                    </a:cubicBezTo>
                    <a:cubicBezTo>
                      <a:pt x="55" y="194"/>
                      <a:pt x="55" y="194"/>
                      <a:pt x="55" y="194"/>
                    </a:cubicBezTo>
                    <a:cubicBezTo>
                      <a:pt x="53" y="196"/>
                      <a:pt x="53" y="196"/>
                      <a:pt x="53" y="196"/>
                    </a:cubicBezTo>
                    <a:cubicBezTo>
                      <a:pt x="53" y="196"/>
                      <a:pt x="55" y="202"/>
                      <a:pt x="56" y="204"/>
                    </a:cubicBezTo>
                    <a:cubicBezTo>
                      <a:pt x="58" y="206"/>
                      <a:pt x="60" y="205"/>
                      <a:pt x="61" y="205"/>
                    </a:cubicBezTo>
                    <a:cubicBezTo>
                      <a:pt x="62" y="205"/>
                      <a:pt x="64" y="208"/>
                      <a:pt x="65" y="208"/>
                    </a:cubicBezTo>
                    <a:cubicBezTo>
                      <a:pt x="66" y="209"/>
                      <a:pt x="67" y="208"/>
                      <a:pt x="67" y="208"/>
                    </a:cubicBezTo>
                    <a:cubicBezTo>
                      <a:pt x="67" y="211"/>
                      <a:pt x="67" y="211"/>
                      <a:pt x="67" y="211"/>
                    </a:cubicBezTo>
                    <a:cubicBezTo>
                      <a:pt x="67" y="211"/>
                      <a:pt x="72" y="216"/>
                      <a:pt x="74" y="218"/>
                    </a:cubicBezTo>
                    <a:cubicBezTo>
                      <a:pt x="76" y="220"/>
                      <a:pt x="79" y="224"/>
                      <a:pt x="79" y="224"/>
                    </a:cubicBezTo>
                    <a:cubicBezTo>
                      <a:pt x="79" y="224"/>
                      <a:pt x="83" y="224"/>
                      <a:pt x="85" y="226"/>
                    </a:cubicBezTo>
                    <a:cubicBezTo>
                      <a:pt x="89" y="229"/>
                      <a:pt x="91" y="229"/>
                      <a:pt x="91" y="229"/>
                    </a:cubicBezTo>
                    <a:cubicBezTo>
                      <a:pt x="91" y="229"/>
                      <a:pt x="99" y="232"/>
                      <a:pt x="106" y="233"/>
                    </a:cubicBezTo>
                    <a:cubicBezTo>
                      <a:pt x="112" y="235"/>
                      <a:pt x="118" y="227"/>
                      <a:pt x="118" y="227"/>
                    </a:cubicBezTo>
                    <a:cubicBezTo>
                      <a:pt x="117" y="226"/>
                      <a:pt x="117" y="226"/>
                      <a:pt x="117" y="226"/>
                    </a:cubicBezTo>
                    <a:cubicBezTo>
                      <a:pt x="123" y="226"/>
                      <a:pt x="123" y="226"/>
                      <a:pt x="123" y="226"/>
                    </a:cubicBezTo>
                    <a:cubicBezTo>
                      <a:pt x="120" y="224"/>
                      <a:pt x="120" y="224"/>
                      <a:pt x="120" y="224"/>
                    </a:cubicBezTo>
                    <a:cubicBezTo>
                      <a:pt x="120" y="224"/>
                      <a:pt x="120" y="221"/>
                      <a:pt x="123" y="221"/>
                    </a:cubicBezTo>
                    <a:cubicBezTo>
                      <a:pt x="127" y="221"/>
                      <a:pt x="126" y="224"/>
                      <a:pt x="126" y="224"/>
                    </a:cubicBezTo>
                    <a:cubicBezTo>
                      <a:pt x="133" y="223"/>
                      <a:pt x="133" y="223"/>
                      <a:pt x="133" y="223"/>
                    </a:cubicBezTo>
                    <a:cubicBezTo>
                      <a:pt x="133" y="225"/>
                      <a:pt x="133" y="225"/>
                      <a:pt x="133" y="225"/>
                    </a:cubicBezTo>
                    <a:cubicBezTo>
                      <a:pt x="142" y="225"/>
                      <a:pt x="142" y="225"/>
                      <a:pt x="142" y="225"/>
                    </a:cubicBezTo>
                    <a:cubicBezTo>
                      <a:pt x="144" y="225"/>
                      <a:pt x="148" y="228"/>
                      <a:pt x="148" y="228"/>
                    </a:cubicBezTo>
                    <a:cubicBezTo>
                      <a:pt x="153" y="224"/>
                      <a:pt x="153" y="224"/>
                      <a:pt x="153" y="224"/>
                    </a:cubicBezTo>
                    <a:cubicBezTo>
                      <a:pt x="153" y="228"/>
                      <a:pt x="153" y="228"/>
                      <a:pt x="153" y="228"/>
                    </a:cubicBezTo>
                    <a:cubicBezTo>
                      <a:pt x="155" y="227"/>
                      <a:pt x="155" y="227"/>
                      <a:pt x="155" y="227"/>
                    </a:cubicBezTo>
                    <a:cubicBezTo>
                      <a:pt x="161" y="226"/>
                      <a:pt x="161" y="226"/>
                      <a:pt x="161" y="226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9"/>
                      <a:pt x="160" y="229"/>
                      <a:pt x="160" y="229"/>
                    </a:cubicBezTo>
                    <a:cubicBezTo>
                      <a:pt x="160" y="229"/>
                      <a:pt x="172" y="222"/>
                      <a:pt x="177" y="220"/>
                    </a:cubicBezTo>
                    <a:cubicBezTo>
                      <a:pt x="181" y="219"/>
                      <a:pt x="193" y="218"/>
                      <a:pt x="193" y="218"/>
                    </a:cubicBezTo>
                    <a:cubicBezTo>
                      <a:pt x="192" y="216"/>
                      <a:pt x="192" y="216"/>
                      <a:pt x="192" y="216"/>
                    </a:cubicBezTo>
                    <a:cubicBezTo>
                      <a:pt x="195" y="216"/>
                      <a:pt x="195" y="216"/>
                      <a:pt x="195" y="216"/>
                    </a:cubicBezTo>
                    <a:cubicBezTo>
                      <a:pt x="195" y="217"/>
                      <a:pt x="195" y="217"/>
                      <a:pt x="195" y="217"/>
                    </a:cubicBezTo>
                    <a:cubicBezTo>
                      <a:pt x="200" y="217"/>
                      <a:pt x="200" y="217"/>
                      <a:pt x="200" y="217"/>
                    </a:cubicBezTo>
                    <a:cubicBezTo>
                      <a:pt x="207" y="220"/>
                      <a:pt x="207" y="220"/>
                      <a:pt x="207" y="220"/>
                    </a:cubicBezTo>
                    <a:cubicBezTo>
                      <a:pt x="207" y="219"/>
                      <a:pt x="207" y="219"/>
                      <a:pt x="207" y="219"/>
                    </a:cubicBezTo>
                    <a:cubicBezTo>
                      <a:pt x="203" y="216"/>
                      <a:pt x="203" y="216"/>
                      <a:pt x="203" y="216"/>
                    </a:cubicBezTo>
                    <a:cubicBezTo>
                      <a:pt x="206" y="211"/>
                      <a:pt x="206" y="211"/>
                      <a:pt x="206" y="211"/>
                    </a:cubicBezTo>
                    <a:cubicBezTo>
                      <a:pt x="206" y="211"/>
                      <a:pt x="207" y="215"/>
                      <a:pt x="209" y="216"/>
                    </a:cubicBezTo>
                    <a:cubicBezTo>
                      <a:pt x="210" y="217"/>
                      <a:pt x="208" y="218"/>
                      <a:pt x="208" y="218"/>
                    </a:cubicBezTo>
                    <a:cubicBezTo>
                      <a:pt x="208" y="218"/>
                      <a:pt x="210" y="217"/>
                      <a:pt x="212" y="218"/>
                    </a:cubicBezTo>
                    <a:cubicBezTo>
                      <a:pt x="213" y="219"/>
                      <a:pt x="212" y="222"/>
                      <a:pt x="212" y="222"/>
                    </a:cubicBezTo>
                    <a:cubicBezTo>
                      <a:pt x="214" y="222"/>
                      <a:pt x="214" y="222"/>
                      <a:pt x="214" y="222"/>
                    </a:cubicBezTo>
                    <a:cubicBezTo>
                      <a:pt x="216" y="221"/>
                      <a:pt x="216" y="219"/>
                      <a:pt x="216" y="219"/>
                    </a:cubicBezTo>
                    <a:cubicBezTo>
                      <a:pt x="216" y="219"/>
                      <a:pt x="221" y="218"/>
                      <a:pt x="223" y="217"/>
                    </a:cubicBezTo>
                    <a:cubicBezTo>
                      <a:pt x="225" y="216"/>
                      <a:pt x="226" y="212"/>
                      <a:pt x="228" y="213"/>
                    </a:cubicBezTo>
                    <a:cubicBezTo>
                      <a:pt x="229" y="213"/>
                      <a:pt x="227" y="216"/>
                      <a:pt x="227" y="216"/>
                    </a:cubicBezTo>
                    <a:cubicBezTo>
                      <a:pt x="230" y="217"/>
                      <a:pt x="230" y="217"/>
                      <a:pt x="230" y="217"/>
                    </a:cubicBezTo>
                    <a:cubicBezTo>
                      <a:pt x="240" y="207"/>
                      <a:pt x="240" y="207"/>
                      <a:pt x="240" y="207"/>
                    </a:cubicBezTo>
                    <a:cubicBezTo>
                      <a:pt x="236" y="208"/>
                      <a:pt x="236" y="208"/>
                      <a:pt x="236" y="208"/>
                    </a:cubicBezTo>
                    <a:cubicBezTo>
                      <a:pt x="236" y="205"/>
                      <a:pt x="236" y="205"/>
                      <a:pt x="236" y="205"/>
                    </a:cubicBezTo>
                    <a:cubicBezTo>
                      <a:pt x="240" y="205"/>
                      <a:pt x="240" y="205"/>
                      <a:pt x="240" y="205"/>
                    </a:cubicBezTo>
                    <a:cubicBezTo>
                      <a:pt x="240" y="202"/>
                      <a:pt x="240" y="202"/>
                      <a:pt x="240" y="202"/>
                    </a:cubicBezTo>
                    <a:cubicBezTo>
                      <a:pt x="243" y="206"/>
                      <a:pt x="243" y="206"/>
                      <a:pt x="243" y="206"/>
                    </a:cubicBezTo>
                    <a:cubicBezTo>
                      <a:pt x="245" y="204"/>
                      <a:pt x="245" y="204"/>
                      <a:pt x="245" y="204"/>
                    </a:cubicBezTo>
                    <a:cubicBezTo>
                      <a:pt x="243" y="201"/>
                      <a:pt x="243" y="201"/>
                      <a:pt x="243" y="201"/>
                    </a:cubicBezTo>
                    <a:cubicBezTo>
                      <a:pt x="243" y="201"/>
                      <a:pt x="242" y="193"/>
                      <a:pt x="243" y="194"/>
                    </a:cubicBezTo>
                    <a:cubicBezTo>
                      <a:pt x="244" y="194"/>
                      <a:pt x="244" y="199"/>
                      <a:pt x="245" y="201"/>
                    </a:cubicBezTo>
                    <a:cubicBezTo>
                      <a:pt x="245" y="204"/>
                      <a:pt x="254" y="202"/>
                      <a:pt x="254" y="202"/>
                    </a:cubicBezTo>
                    <a:cubicBezTo>
                      <a:pt x="254" y="200"/>
                      <a:pt x="254" y="200"/>
                      <a:pt x="254" y="200"/>
                    </a:cubicBezTo>
                    <a:cubicBezTo>
                      <a:pt x="260" y="199"/>
                      <a:pt x="260" y="199"/>
                      <a:pt x="260" y="199"/>
                    </a:cubicBezTo>
                    <a:cubicBezTo>
                      <a:pt x="258" y="195"/>
                      <a:pt x="258" y="195"/>
                      <a:pt x="258" y="195"/>
                    </a:cubicBezTo>
                    <a:cubicBezTo>
                      <a:pt x="262" y="197"/>
                      <a:pt x="262" y="197"/>
                      <a:pt x="262" y="197"/>
                    </a:cubicBezTo>
                    <a:cubicBezTo>
                      <a:pt x="264" y="195"/>
                      <a:pt x="264" y="195"/>
                      <a:pt x="264" y="195"/>
                    </a:cubicBezTo>
                    <a:cubicBezTo>
                      <a:pt x="258" y="190"/>
                      <a:pt x="258" y="190"/>
                      <a:pt x="258" y="190"/>
                    </a:cubicBezTo>
                    <a:cubicBezTo>
                      <a:pt x="259" y="189"/>
                      <a:pt x="261" y="191"/>
                      <a:pt x="262" y="192"/>
                    </a:cubicBezTo>
                    <a:cubicBezTo>
                      <a:pt x="263" y="193"/>
                      <a:pt x="268" y="193"/>
                      <a:pt x="268" y="193"/>
                    </a:cubicBezTo>
                    <a:cubicBezTo>
                      <a:pt x="268" y="191"/>
                      <a:pt x="268" y="191"/>
                      <a:pt x="268" y="191"/>
                    </a:cubicBezTo>
                    <a:cubicBezTo>
                      <a:pt x="268" y="191"/>
                      <a:pt x="265" y="191"/>
                      <a:pt x="264" y="190"/>
                    </a:cubicBezTo>
                    <a:cubicBezTo>
                      <a:pt x="263" y="190"/>
                      <a:pt x="264" y="189"/>
                      <a:pt x="263" y="187"/>
                    </a:cubicBezTo>
                    <a:cubicBezTo>
                      <a:pt x="263" y="186"/>
                      <a:pt x="257" y="181"/>
                      <a:pt x="257" y="181"/>
                    </a:cubicBezTo>
                    <a:cubicBezTo>
                      <a:pt x="262" y="183"/>
                      <a:pt x="262" y="183"/>
                      <a:pt x="262" y="183"/>
                    </a:cubicBezTo>
                    <a:cubicBezTo>
                      <a:pt x="263" y="183"/>
                      <a:pt x="263" y="183"/>
                      <a:pt x="263" y="183"/>
                    </a:cubicBezTo>
                    <a:cubicBezTo>
                      <a:pt x="263" y="183"/>
                      <a:pt x="265" y="189"/>
                      <a:pt x="269" y="190"/>
                    </a:cubicBezTo>
                    <a:cubicBezTo>
                      <a:pt x="273" y="191"/>
                      <a:pt x="273" y="187"/>
                      <a:pt x="273" y="187"/>
                    </a:cubicBezTo>
                    <a:cubicBezTo>
                      <a:pt x="276" y="187"/>
                      <a:pt x="276" y="187"/>
                      <a:pt x="276" y="187"/>
                    </a:cubicBezTo>
                    <a:cubicBezTo>
                      <a:pt x="276" y="184"/>
                      <a:pt x="276" y="184"/>
                      <a:pt x="276" y="184"/>
                    </a:cubicBezTo>
                    <a:cubicBezTo>
                      <a:pt x="278" y="181"/>
                      <a:pt x="278" y="181"/>
                      <a:pt x="278" y="181"/>
                    </a:cubicBezTo>
                    <a:cubicBezTo>
                      <a:pt x="277" y="180"/>
                      <a:pt x="277" y="180"/>
                      <a:pt x="277" y="180"/>
                    </a:cubicBezTo>
                    <a:cubicBezTo>
                      <a:pt x="273" y="184"/>
                      <a:pt x="273" y="184"/>
                      <a:pt x="273" y="184"/>
                    </a:cubicBezTo>
                    <a:cubicBezTo>
                      <a:pt x="272" y="183"/>
                      <a:pt x="272" y="183"/>
                      <a:pt x="272" y="183"/>
                    </a:cubicBezTo>
                    <a:cubicBezTo>
                      <a:pt x="273" y="181"/>
                      <a:pt x="273" y="181"/>
                      <a:pt x="273" y="181"/>
                    </a:cubicBezTo>
                    <a:cubicBezTo>
                      <a:pt x="272" y="180"/>
                      <a:pt x="272" y="180"/>
                      <a:pt x="272" y="180"/>
                    </a:cubicBezTo>
                    <a:cubicBezTo>
                      <a:pt x="276" y="178"/>
                      <a:pt x="276" y="178"/>
                      <a:pt x="276" y="178"/>
                    </a:cubicBezTo>
                    <a:cubicBezTo>
                      <a:pt x="276" y="177"/>
                      <a:pt x="276" y="177"/>
                      <a:pt x="276" y="177"/>
                    </a:cubicBezTo>
                    <a:cubicBezTo>
                      <a:pt x="271" y="177"/>
                      <a:pt x="271" y="177"/>
                      <a:pt x="271" y="177"/>
                    </a:cubicBezTo>
                    <a:cubicBezTo>
                      <a:pt x="269" y="174"/>
                      <a:pt x="269" y="174"/>
                      <a:pt x="269" y="174"/>
                    </a:cubicBezTo>
                    <a:cubicBezTo>
                      <a:pt x="274" y="175"/>
                      <a:pt x="274" y="175"/>
                      <a:pt x="274" y="175"/>
                    </a:cubicBezTo>
                    <a:cubicBezTo>
                      <a:pt x="274" y="175"/>
                      <a:pt x="278" y="176"/>
                      <a:pt x="278" y="173"/>
                    </a:cubicBezTo>
                    <a:cubicBezTo>
                      <a:pt x="279" y="170"/>
                      <a:pt x="269" y="170"/>
                      <a:pt x="269" y="170"/>
                    </a:cubicBezTo>
                    <a:cubicBezTo>
                      <a:pt x="268" y="169"/>
                      <a:pt x="268" y="169"/>
                      <a:pt x="268" y="169"/>
                    </a:cubicBezTo>
                    <a:cubicBezTo>
                      <a:pt x="274" y="169"/>
                      <a:pt x="274" y="169"/>
                      <a:pt x="274" y="169"/>
                    </a:cubicBezTo>
                    <a:cubicBezTo>
                      <a:pt x="276" y="169"/>
                      <a:pt x="275" y="165"/>
                      <a:pt x="275" y="165"/>
                    </a:cubicBezTo>
                    <a:cubicBezTo>
                      <a:pt x="275" y="165"/>
                      <a:pt x="277" y="166"/>
                      <a:pt x="279" y="166"/>
                    </a:cubicBezTo>
                    <a:cubicBezTo>
                      <a:pt x="281" y="166"/>
                      <a:pt x="281" y="162"/>
                      <a:pt x="281" y="162"/>
                    </a:cubicBezTo>
                    <a:cubicBezTo>
                      <a:pt x="284" y="160"/>
                      <a:pt x="284" y="160"/>
                      <a:pt x="284" y="160"/>
                    </a:cubicBezTo>
                    <a:cubicBezTo>
                      <a:pt x="285" y="160"/>
                      <a:pt x="284" y="155"/>
                      <a:pt x="284" y="155"/>
                    </a:cubicBezTo>
                    <a:close/>
                    <a:moveTo>
                      <a:pt x="61" y="51"/>
                    </a:moveTo>
                    <a:cubicBezTo>
                      <a:pt x="60" y="51"/>
                      <a:pt x="60" y="51"/>
                      <a:pt x="60" y="51"/>
                    </a:cubicBezTo>
                    <a:cubicBezTo>
                      <a:pt x="56" y="57"/>
                      <a:pt x="56" y="57"/>
                      <a:pt x="56" y="57"/>
                    </a:cubicBezTo>
                    <a:cubicBezTo>
                      <a:pt x="59" y="59"/>
                      <a:pt x="59" y="59"/>
                      <a:pt x="59" y="59"/>
                    </a:cubicBezTo>
                    <a:lnTo>
                      <a:pt x="61" y="51"/>
                    </a:lnTo>
                    <a:close/>
                    <a:moveTo>
                      <a:pt x="48" y="210"/>
                    </a:moveTo>
                    <a:cubicBezTo>
                      <a:pt x="52" y="208"/>
                      <a:pt x="52" y="208"/>
                      <a:pt x="52" y="208"/>
                    </a:cubicBezTo>
                    <a:cubicBezTo>
                      <a:pt x="50" y="205"/>
                      <a:pt x="50" y="205"/>
                      <a:pt x="50" y="205"/>
                    </a:cubicBezTo>
                    <a:lnTo>
                      <a:pt x="48" y="210"/>
                    </a:lnTo>
                    <a:close/>
                    <a:moveTo>
                      <a:pt x="122" y="222"/>
                    </a:moveTo>
                    <a:cubicBezTo>
                      <a:pt x="122" y="222"/>
                      <a:pt x="121" y="225"/>
                      <a:pt x="124" y="224"/>
                    </a:cubicBezTo>
                    <a:cubicBezTo>
                      <a:pt x="126" y="224"/>
                      <a:pt x="125" y="221"/>
                      <a:pt x="122" y="222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76" name="Hungary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429250" y="4264025"/>
                <a:ext cx="639762" cy="427037"/>
              </a:xfrm>
              <a:custGeom>
                <a:avLst/>
                <a:gdLst/>
                <a:ahLst/>
                <a:cxnLst>
                  <a:cxn ang="0">
                    <a:pos x="292" y="23"/>
                  </a:cxn>
                  <a:cxn ang="0">
                    <a:pos x="276" y="15"/>
                  </a:cxn>
                  <a:cxn ang="0">
                    <a:pos x="265" y="10"/>
                  </a:cxn>
                  <a:cxn ang="0">
                    <a:pos x="250" y="9"/>
                  </a:cxn>
                  <a:cxn ang="0">
                    <a:pos x="235" y="5"/>
                  </a:cxn>
                  <a:cxn ang="0">
                    <a:pos x="210" y="5"/>
                  </a:cxn>
                  <a:cxn ang="0">
                    <a:pos x="180" y="25"/>
                  </a:cxn>
                  <a:cxn ang="0">
                    <a:pos x="148" y="31"/>
                  </a:cxn>
                  <a:cxn ang="0">
                    <a:pos x="127" y="46"/>
                  </a:cxn>
                  <a:cxn ang="0">
                    <a:pos x="118" y="60"/>
                  </a:cxn>
                  <a:cxn ang="0">
                    <a:pos x="101" y="68"/>
                  </a:cxn>
                  <a:cxn ang="0">
                    <a:pos x="81" y="71"/>
                  </a:cxn>
                  <a:cxn ang="0">
                    <a:pos x="62" y="68"/>
                  </a:cxn>
                  <a:cxn ang="0">
                    <a:pos x="39" y="59"/>
                  </a:cxn>
                  <a:cxn ang="0">
                    <a:pos x="36" y="67"/>
                  </a:cxn>
                  <a:cxn ang="0">
                    <a:pos x="38" y="76"/>
                  </a:cxn>
                  <a:cxn ang="0">
                    <a:pos x="19" y="75"/>
                  </a:cxn>
                  <a:cxn ang="0">
                    <a:pos x="14" y="84"/>
                  </a:cxn>
                  <a:cxn ang="0">
                    <a:pos x="23" y="90"/>
                  </a:cxn>
                  <a:cxn ang="0">
                    <a:pos x="14" y="107"/>
                  </a:cxn>
                  <a:cxn ang="0">
                    <a:pos x="17" y="116"/>
                  </a:cxn>
                  <a:cxn ang="0">
                    <a:pos x="6" y="126"/>
                  </a:cxn>
                  <a:cxn ang="0">
                    <a:pos x="9" y="135"/>
                  </a:cxn>
                  <a:cxn ang="0">
                    <a:pos x="13" y="143"/>
                  </a:cxn>
                  <a:cxn ang="0">
                    <a:pos x="21" y="152"/>
                  </a:cxn>
                  <a:cxn ang="0">
                    <a:pos x="27" y="160"/>
                  </a:cxn>
                  <a:cxn ang="0">
                    <a:pos x="38" y="166"/>
                  </a:cxn>
                  <a:cxn ang="0">
                    <a:pos x="60" y="189"/>
                  </a:cxn>
                  <a:cxn ang="0">
                    <a:pos x="76" y="198"/>
                  </a:cxn>
                  <a:cxn ang="0">
                    <a:pos x="115" y="199"/>
                  </a:cxn>
                  <a:cxn ang="0">
                    <a:pos x="129" y="188"/>
                  </a:cxn>
                  <a:cxn ang="0">
                    <a:pos x="140" y="179"/>
                  </a:cxn>
                  <a:cxn ang="0">
                    <a:pos x="157" y="173"/>
                  </a:cxn>
                  <a:cxn ang="0">
                    <a:pos x="173" y="168"/>
                  </a:cxn>
                  <a:cxn ang="0">
                    <a:pos x="202" y="163"/>
                  </a:cxn>
                  <a:cxn ang="0">
                    <a:pos x="213" y="162"/>
                  </a:cxn>
                  <a:cxn ang="0">
                    <a:pos x="234" y="152"/>
                  </a:cxn>
                  <a:cxn ang="0">
                    <a:pos x="239" y="140"/>
                  </a:cxn>
                  <a:cxn ang="0">
                    <a:pos x="241" y="127"/>
                  </a:cxn>
                  <a:cxn ang="0">
                    <a:pos x="245" y="114"/>
                  </a:cxn>
                  <a:cxn ang="0">
                    <a:pos x="250" y="98"/>
                  </a:cxn>
                  <a:cxn ang="0">
                    <a:pos x="259" y="76"/>
                  </a:cxn>
                  <a:cxn ang="0">
                    <a:pos x="262" y="66"/>
                  </a:cxn>
                  <a:cxn ang="0">
                    <a:pos x="276" y="46"/>
                  </a:cxn>
                  <a:cxn ang="0">
                    <a:pos x="297" y="31"/>
                  </a:cxn>
                </a:cxnLst>
                <a:rect l="0" t="0" r="r" b="b"/>
                <a:pathLst>
                  <a:path w="300" h="200">
                    <a:moveTo>
                      <a:pt x="294" y="30"/>
                    </a:moveTo>
                    <a:cubicBezTo>
                      <a:pt x="294" y="30"/>
                      <a:pt x="300" y="25"/>
                      <a:pt x="292" y="23"/>
                    </a:cubicBezTo>
                    <a:cubicBezTo>
                      <a:pt x="285" y="21"/>
                      <a:pt x="283" y="25"/>
                      <a:pt x="281" y="21"/>
                    </a:cubicBezTo>
                    <a:cubicBezTo>
                      <a:pt x="279" y="19"/>
                      <a:pt x="279" y="16"/>
                      <a:pt x="276" y="15"/>
                    </a:cubicBezTo>
                    <a:cubicBezTo>
                      <a:pt x="273" y="15"/>
                      <a:pt x="270" y="16"/>
                      <a:pt x="270" y="16"/>
                    </a:cubicBezTo>
                    <a:cubicBezTo>
                      <a:pt x="270" y="16"/>
                      <a:pt x="267" y="11"/>
                      <a:pt x="265" y="10"/>
                    </a:cubicBezTo>
                    <a:cubicBezTo>
                      <a:pt x="263" y="8"/>
                      <a:pt x="259" y="8"/>
                      <a:pt x="259" y="8"/>
                    </a:cubicBezTo>
                    <a:cubicBezTo>
                      <a:pt x="259" y="8"/>
                      <a:pt x="253" y="6"/>
                      <a:pt x="250" y="9"/>
                    </a:cubicBezTo>
                    <a:cubicBezTo>
                      <a:pt x="247" y="11"/>
                      <a:pt x="247" y="15"/>
                      <a:pt x="241" y="14"/>
                    </a:cubicBezTo>
                    <a:cubicBezTo>
                      <a:pt x="236" y="13"/>
                      <a:pt x="235" y="5"/>
                      <a:pt x="235" y="5"/>
                    </a:cubicBezTo>
                    <a:cubicBezTo>
                      <a:pt x="226" y="0"/>
                      <a:pt x="226" y="0"/>
                      <a:pt x="226" y="0"/>
                    </a:cubicBezTo>
                    <a:cubicBezTo>
                      <a:pt x="226" y="0"/>
                      <a:pt x="219" y="9"/>
                      <a:pt x="210" y="5"/>
                    </a:cubicBezTo>
                    <a:cubicBezTo>
                      <a:pt x="201" y="3"/>
                      <a:pt x="193" y="4"/>
                      <a:pt x="188" y="8"/>
                    </a:cubicBezTo>
                    <a:cubicBezTo>
                      <a:pt x="183" y="11"/>
                      <a:pt x="184" y="21"/>
                      <a:pt x="180" y="25"/>
                    </a:cubicBezTo>
                    <a:cubicBezTo>
                      <a:pt x="175" y="29"/>
                      <a:pt x="163" y="36"/>
                      <a:pt x="163" y="36"/>
                    </a:cubicBezTo>
                    <a:cubicBezTo>
                      <a:pt x="163" y="36"/>
                      <a:pt x="152" y="30"/>
                      <a:pt x="148" y="31"/>
                    </a:cubicBezTo>
                    <a:cubicBezTo>
                      <a:pt x="143" y="32"/>
                      <a:pt x="144" y="40"/>
                      <a:pt x="144" y="40"/>
                    </a:cubicBezTo>
                    <a:cubicBezTo>
                      <a:pt x="127" y="46"/>
                      <a:pt x="127" y="46"/>
                      <a:pt x="127" y="46"/>
                    </a:cubicBezTo>
                    <a:cubicBezTo>
                      <a:pt x="127" y="46"/>
                      <a:pt x="118" y="43"/>
                      <a:pt x="115" y="48"/>
                    </a:cubicBezTo>
                    <a:cubicBezTo>
                      <a:pt x="111" y="55"/>
                      <a:pt x="118" y="60"/>
                      <a:pt x="118" y="60"/>
                    </a:cubicBezTo>
                    <a:cubicBezTo>
                      <a:pt x="111" y="67"/>
                      <a:pt x="111" y="67"/>
                      <a:pt x="111" y="67"/>
                    </a:cubicBezTo>
                    <a:cubicBezTo>
                      <a:pt x="101" y="68"/>
                      <a:pt x="101" y="68"/>
                      <a:pt x="101" y="68"/>
                    </a:cubicBezTo>
                    <a:cubicBezTo>
                      <a:pt x="88" y="71"/>
                      <a:pt x="88" y="71"/>
                      <a:pt x="88" y="71"/>
                    </a:cubicBezTo>
                    <a:cubicBezTo>
                      <a:pt x="81" y="71"/>
                      <a:pt x="81" y="71"/>
                      <a:pt x="81" y="71"/>
                    </a:cubicBezTo>
                    <a:cubicBezTo>
                      <a:pt x="81" y="71"/>
                      <a:pt x="75" y="72"/>
                      <a:pt x="71" y="72"/>
                    </a:cubicBezTo>
                    <a:cubicBezTo>
                      <a:pt x="66" y="72"/>
                      <a:pt x="62" y="68"/>
                      <a:pt x="62" y="68"/>
                    </a:cubicBezTo>
                    <a:cubicBezTo>
                      <a:pt x="62" y="68"/>
                      <a:pt x="55" y="60"/>
                      <a:pt x="50" y="59"/>
                    </a:cubicBezTo>
                    <a:cubicBezTo>
                      <a:pt x="47" y="58"/>
                      <a:pt x="43" y="58"/>
                      <a:pt x="39" y="59"/>
                    </a:cubicBezTo>
                    <a:cubicBezTo>
                      <a:pt x="39" y="65"/>
                      <a:pt x="39" y="65"/>
                      <a:pt x="39" y="65"/>
                    </a:cubicBezTo>
                    <a:cubicBezTo>
                      <a:pt x="36" y="67"/>
                      <a:pt x="36" y="67"/>
                      <a:pt x="36" y="67"/>
                    </a:cubicBezTo>
                    <a:cubicBezTo>
                      <a:pt x="38" y="68"/>
                      <a:pt x="38" y="68"/>
                      <a:pt x="38" y="68"/>
                    </a:cubicBezTo>
                    <a:cubicBezTo>
                      <a:pt x="38" y="76"/>
                      <a:pt x="38" y="76"/>
                      <a:pt x="38" y="76"/>
                    </a:cubicBezTo>
                    <a:cubicBezTo>
                      <a:pt x="25" y="80"/>
                      <a:pt x="25" y="80"/>
                      <a:pt x="25" y="80"/>
                    </a:cubicBezTo>
                    <a:cubicBezTo>
                      <a:pt x="25" y="80"/>
                      <a:pt x="21" y="75"/>
                      <a:pt x="19" y="75"/>
                    </a:cubicBezTo>
                    <a:cubicBezTo>
                      <a:pt x="17" y="76"/>
                      <a:pt x="12" y="77"/>
                      <a:pt x="11" y="81"/>
                    </a:cubicBezTo>
                    <a:cubicBezTo>
                      <a:pt x="9" y="86"/>
                      <a:pt x="14" y="84"/>
                      <a:pt x="14" y="84"/>
                    </a:cubicBezTo>
                    <a:cubicBezTo>
                      <a:pt x="19" y="83"/>
                      <a:pt x="19" y="83"/>
                      <a:pt x="19" y="83"/>
                    </a:cubicBezTo>
                    <a:cubicBezTo>
                      <a:pt x="19" y="83"/>
                      <a:pt x="21" y="83"/>
                      <a:pt x="23" y="90"/>
                    </a:cubicBezTo>
                    <a:cubicBezTo>
                      <a:pt x="25" y="96"/>
                      <a:pt x="11" y="99"/>
                      <a:pt x="10" y="102"/>
                    </a:cubicBezTo>
                    <a:cubicBezTo>
                      <a:pt x="10" y="105"/>
                      <a:pt x="14" y="105"/>
                      <a:pt x="14" y="107"/>
                    </a:cubicBezTo>
                    <a:cubicBezTo>
                      <a:pt x="14" y="108"/>
                      <a:pt x="11" y="110"/>
                      <a:pt x="12" y="113"/>
                    </a:cubicBezTo>
                    <a:cubicBezTo>
                      <a:pt x="12" y="115"/>
                      <a:pt x="17" y="116"/>
                      <a:pt x="17" y="116"/>
                    </a:cubicBezTo>
                    <a:cubicBezTo>
                      <a:pt x="16" y="125"/>
                      <a:pt x="16" y="125"/>
                      <a:pt x="16" y="125"/>
                    </a:cubicBezTo>
                    <a:cubicBezTo>
                      <a:pt x="6" y="126"/>
                      <a:pt x="6" y="126"/>
                      <a:pt x="6" y="126"/>
                    </a:cubicBezTo>
                    <a:cubicBezTo>
                      <a:pt x="0" y="132"/>
                      <a:pt x="0" y="132"/>
                      <a:pt x="0" y="132"/>
                    </a:cubicBezTo>
                    <a:cubicBezTo>
                      <a:pt x="4" y="134"/>
                      <a:pt x="8" y="135"/>
                      <a:pt x="9" y="135"/>
                    </a:cubicBezTo>
                    <a:cubicBezTo>
                      <a:pt x="13" y="137"/>
                      <a:pt x="10" y="139"/>
                      <a:pt x="9" y="141"/>
                    </a:cubicBezTo>
                    <a:cubicBezTo>
                      <a:pt x="9" y="144"/>
                      <a:pt x="13" y="143"/>
                      <a:pt x="13" y="143"/>
                    </a:cubicBezTo>
                    <a:cubicBezTo>
                      <a:pt x="13" y="150"/>
                      <a:pt x="13" y="150"/>
                      <a:pt x="13" y="150"/>
                    </a:cubicBezTo>
                    <a:cubicBezTo>
                      <a:pt x="13" y="153"/>
                      <a:pt x="21" y="152"/>
                      <a:pt x="21" y="152"/>
                    </a:cubicBezTo>
                    <a:cubicBezTo>
                      <a:pt x="21" y="157"/>
                      <a:pt x="21" y="157"/>
                      <a:pt x="21" y="157"/>
                    </a:cubicBezTo>
                    <a:cubicBezTo>
                      <a:pt x="27" y="160"/>
                      <a:pt x="27" y="160"/>
                      <a:pt x="27" y="160"/>
                    </a:cubicBezTo>
                    <a:cubicBezTo>
                      <a:pt x="29" y="165"/>
                      <a:pt x="29" y="165"/>
                      <a:pt x="29" y="165"/>
                    </a:cubicBezTo>
                    <a:cubicBezTo>
                      <a:pt x="29" y="165"/>
                      <a:pt x="36" y="163"/>
                      <a:pt x="38" y="166"/>
                    </a:cubicBezTo>
                    <a:cubicBezTo>
                      <a:pt x="40" y="169"/>
                      <a:pt x="42" y="174"/>
                      <a:pt x="42" y="174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0" y="189"/>
                      <a:pt x="67" y="188"/>
                      <a:pt x="71" y="190"/>
                    </a:cubicBezTo>
                    <a:cubicBezTo>
                      <a:pt x="75" y="192"/>
                      <a:pt x="76" y="198"/>
                      <a:pt x="76" y="198"/>
                    </a:cubicBezTo>
                    <a:cubicBezTo>
                      <a:pt x="76" y="198"/>
                      <a:pt x="94" y="200"/>
                      <a:pt x="99" y="200"/>
                    </a:cubicBezTo>
                    <a:cubicBezTo>
                      <a:pt x="104" y="200"/>
                      <a:pt x="115" y="199"/>
                      <a:pt x="115" y="199"/>
                    </a:cubicBezTo>
                    <a:cubicBezTo>
                      <a:pt x="122" y="189"/>
                      <a:pt x="122" y="189"/>
                      <a:pt x="122" y="189"/>
                    </a:cubicBezTo>
                    <a:cubicBezTo>
                      <a:pt x="129" y="188"/>
                      <a:pt x="129" y="188"/>
                      <a:pt x="129" y="188"/>
                    </a:cubicBezTo>
                    <a:cubicBezTo>
                      <a:pt x="139" y="183"/>
                      <a:pt x="139" y="183"/>
                      <a:pt x="139" y="183"/>
                    </a:cubicBezTo>
                    <a:cubicBezTo>
                      <a:pt x="140" y="179"/>
                      <a:pt x="140" y="179"/>
                      <a:pt x="140" y="179"/>
                    </a:cubicBezTo>
                    <a:cubicBezTo>
                      <a:pt x="145" y="181"/>
                      <a:pt x="145" y="181"/>
                      <a:pt x="145" y="181"/>
                    </a:cubicBezTo>
                    <a:cubicBezTo>
                      <a:pt x="145" y="181"/>
                      <a:pt x="154" y="176"/>
                      <a:pt x="157" y="173"/>
                    </a:cubicBezTo>
                    <a:cubicBezTo>
                      <a:pt x="159" y="170"/>
                      <a:pt x="164" y="165"/>
                      <a:pt x="166" y="165"/>
                    </a:cubicBezTo>
                    <a:cubicBezTo>
                      <a:pt x="169" y="165"/>
                      <a:pt x="173" y="168"/>
                      <a:pt x="173" y="168"/>
                    </a:cubicBezTo>
                    <a:cubicBezTo>
                      <a:pt x="173" y="168"/>
                      <a:pt x="175" y="162"/>
                      <a:pt x="184" y="163"/>
                    </a:cubicBezTo>
                    <a:cubicBezTo>
                      <a:pt x="202" y="163"/>
                      <a:pt x="202" y="163"/>
                      <a:pt x="202" y="163"/>
                    </a:cubicBezTo>
                    <a:cubicBezTo>
                      <a:pt x="204" y="160"/>
                      <a:pt x="204" y="160"/>
                      <a:pt x="204" y="160"/>
                    </a:cubicBezTo>
                    <a:cubicBezTo>
                      <a:pt x="204" y="160"/>
                      <a:pt x="209" y="163"/>
                      <a:pt x="213" y="162"/>
                    </a:cubicBezTo>
                    <a:cubicBezTo>
                      <a:pt x="216" y="161"/>
                      <a:pt x="214" y="154"/>
                      <a:pt x="219" y="153"/>
                    </a:cubicBezTo>
                    <a:cubicBezTo>
                      <a:pt x="225" y="152"/>
                      <a:pt x="231" y="156"/>
                      <a:pt x="234" y="152"/>
                    </a:cubicBezTo>
                    <a:cubicBezTo>
                      <a:pt x="237" y="149"/>
                      <a:pt x="235" y="143"/>
                      <a:pt x="235" y="143"/>
                    </a:cubicBezTo>
                    <a:cubicBezTo>
                      <a:pt x="239" y="140"/>
                      <a:pt x="239" y="140"/>
                      <a:pt x="239" y="140"/>
                    </a:cubicBezTo>
                    <a:cubicBezTo>
                      <a:pt x="237" y="127"/>
                      <a:pt x="237" y="127"/>
                      <a:pt x="237" y="127"/>
                    </a:cubicBezTo>
                    <a:cubicBezTo>
                      <a:pt x="241" y="127"/>
                      <a:pt x="241" y="127"/>
                      <a:pt x="241" y="127"/>
                    </a:cubicBezTo>
                    <a:cubicBezTo>
                      <a:pt x="247" y="119"/>
                      <a:pt x="247" y="119"/>
                      <a:pt x="247" y="119"/>
                    </a:cubicBezTo>
                    <a:cubicBezTo>
                      <a:pt x="245" y="114"/>
                      <a:pt x="245" y="114"/>
                      <a:pt x="245" y="114"/>
                    </a:cubicBezTo>
                    <a:cubicBezTo>
                      <a:pt x="251" y="104"/>
                      <a:pt x="251" y="104"/>
                      <a:pt x="251" y="104"/>
                    </a:cubicBezTo>
                    <a:cubicBezTo>
                      <a:pt x="250" y="98"/>
                      <a:pt x="250" y="98"/>
                      <a:pt x="250" y="98"/>
                    </a:cubicBezTo>
                    <a:cubicBezTo>
                      <a:pt x="257" y="87"/>
                      <a:pt x="257" y="87"/>
                      <a:pt x="257" y="87"/>
                    </a:cubicBezTo>
                    <a:cubicBezTo>
                      <a:pt x="259" y="76"/>
                      <a:pt x="259" y="76"/>
                      <a:pt x="259" y="76"/>
                    </a:cubicBezTo>
                    <a:cubicBezTo>
                      <a:pt x="263" y="73"/>
                      <a:pt x="263" y="73"/>
                      <a:pt x="263" y="73"/>
                    </a:cubicBezTo>
                    <a:cubicBezTo>
                      <a:pt x="262" y="66"/>
                      <a:pt x="262" y="66"/>
                      <a:pt x="262" y="66"/>
                    </a:cubicBezTo>
                    <a:cubicBezTo>
                      <a:pt x="273" y="49"/>
                      <a:pt x="273" y="49"/>
                      <a:pt x="273" y="49"/>
                    </a:cubicBezTo>
                    <a:cubicBezTo>
                      <a:pt x="276" y="46"/>
                      <a:pt x="276" y="46"/>
                      <a:pt x="276" y="46"/>
                    </a:cubicBezTo>
                    <a:cubicBezTo>
                      <a:pt x="285" y="46"/>
                      <a:pt x="285" y="46"/>
                      <a:pt x="285" y="46"/>
                    </a:cubicBezTo>
                    <a:cubicBezTo>
                      <a:pt x="297" y="31"/>
                      <a:pt x="297" y="31"/>
                      <a:pt x="297" y="31"/>
                    </a:cubicBezTo>
                    <a:lnTo>
                      <a:pt x="294" y="30"/>
                    </a:ln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77" name="Greece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5875338" y="5122863"/>
                <a:ext cx="1027112" cy="962025"/>
              </a:xfrm>
              <a:custGeom>
                <a:avLst/>
                <a:gdLst/>
                <a:ahLst/>
                <a:cxnLst>
                  <a:cxn ang="0">
                    <a:pos x="168" y="214"/>
                  </a:cxn>
                  <a:cxn ang="0">
                    <a:pos x="269" y="244"/>
                  </a:cxn>
                  <a:cxn ang="0">
                    <a:pos x="168" y="189"/>
                  </a:cxn>
                  <a:cxn ang="0">
                    <a:pos x="156" y="148"/>
                  </a:cxn>
                  <a:cxn ang="0">
                    <a:pos x="161" y="113"/>
                  </a:cxn>
                  <a:cxn ang="0">
                    <a:pos x="194" y="117"/>
                  </a:cxn>
                  <a:cxn ang="0">
                    <a:pos x="236" y="119"/>
                  </a:cxn>
                  <a:cxn ang="0">
                    <a:pos x="228" y="73"/>
                  </a:cxn>
                  <a:cxn ang="0">
                    <a:pos x="279" y="58"/>
                  </a:cxn>
                  <a:cxn ang="0">
                    <a:pos x="317" y="0"/>
                  </a:cxn>
                  <a:cxn ang="0">
                    <a:pos x="230" y="26"/>
                  </a:cxn>
                  <a:cxn ang="0">
                    <a:pos x="177" y="46"/>
                  </a:cxn>
                  <a:cxn ang="0">
                    <a:pos x="111" y="71"/>
                  </a:cxn>
                  <a:cxn ang="0">
                    <a:pos x="55" y="132"/>
                  </a:cxn>
                  <a:cxn ang="0">
                    <a:pos x="29" y="182"/>
                  </a:cxn>
                  <a:cxn ang="0">
                    <a:pos x="59" y="230"/>
                  </a:cxn>
                  <a:cxn ang="0">
                    <a:pos x="113" y="255"/>
                  </a:cxn>
                  <a:cxn ang="0">
                    <a:pos x="171" y="245"/>
                  </a:cxn>
                  <a:cxn ang="0">
                    <a:pos x="116" y="267"/>
                  </a:cxn>
                  <a:cxn ang="0">
                    <a:pos x="144" y="353"/>
                  </a:cxn>
                  <a:cxn ang="0">
                    <a:pos x="205" y="353"/>
                  </a:cxn>
                  <a:cxn ang="0">
                    <a:pos x="216" y="296"/>
                  </a:cxn>
                  <a:cxn ang="0">
                    <a:pos x="253" y="275"/>
                  </a:cxn>
                  <a:cxn ang="0">
                    <a:pos x="285" y="129"/>
                  </a:cxn>
                  <a:cxn ang="0">
                    <a:pos x="337" y="172"/>
                  </a:cxn>
                  <a:cxn ang="0">
                    <a:pos x="214" y="193"/>
                  </a:cxn>
                  <a:cxn ang="0">
                    <a:pos x="228" y="180"/>
                  </a:cxn>
                  <a:cxn ang="0">
                    <a:pos x="268" y="198"/>
                  </a:cxn>
                  <a:cxn ang="0">
                    <a:pos x="317" y="213"/>
                  </a:cxn>
                  <a:cxn ang="0">
                    <a:pos x="286" y="255"/>
                  </a:cxn>
                  <a:cxn ang="0">
                    <a:pos x="295" y="273"/>
                  </a:cxn>
                  <a:cxn ang="0">
                    <a:pos x="311" y="283"/>
                  </a:cxn>
                  <a:cxn ang="0">
                    <a:pos x="310" y="303"/>
                  </a:cxn>
                  <a:cxn ang="0">
                    <a:pos x="283" y="316"/>
                  </a:cxn>
                  <a:cxn ang="0">
                    <a:pos x="266" y="290"/>
                  </a:cxn>
                  <a:cxn ang="0">
                    <a:pos x="352" y="262"/>
                  </a:cxn>
                  <a:cxn ang="0">
                    <a:pos x="398" y="246"/>
                  </a:cxn>
                  <a:cxn ang="0">
                    <a:pos x="382" y="274"/>
                  </a:cxn>
                  <a:cxn ang="0">
                    <a:pos x="393" y="285"/>
                  </a:cxn>
                  <a:cxn ang="0">
                    <a:pos x="421" y="296"/>
                  </a:cxn>
                  <a:cxn ang="0">
                    <a:pos x="328" y="330"/>
                  </a:cxn>
                  <a:cxn ang="0">
                    <a:pos x="378" y="333"/>
                  </a:cxn>
                  <a:cxn ang="0">
                    <a:pos x="213" y="278"/>
                  </a:cxn>
                  <a:cxn ang="0">
                    <a:pos x="273" y="334"/>
                  </a:cxn>
                  <a:cxn ang="0">
                    <a:pos x="316" y="332"/>
                  </a:cxn>
                  <a:cxn ang="0">
                    <a:pos x="304" y="339"/>
                  </a:cxn>
                  <a:cxn ang="0">
                    <a:pos x="63" y="291"/>
                  </a:cxn>
                  <a:cxn ang="0">
                    <a:pos x="55" y="260"/>
                  </a:cxn>
                  <a:cxn ang="0">
                    <a:pos x="18" y="190"/>
                  </a:cxn>
                  <a:cxn ang="0">
                    <a:pos x="392" y="415"/>
                  </a:cxn>
                  <a:cxn ang="0">
                    <a:pos x="324" y="420"/>
                  </a:cxn>
                  <a:cxn ang="0">
                    <a:pos x="276" y="414"/>
                  </a:cxn>
                  <a:cxn ang="0">
                    <a:pos x="273" y="440"/>
                  </a:cxn>
                  <a:cxn ang="0">
                    <a:pos x="389" y="429"/>
                  </a:cxn>
                  <a:cxn ang="0">
                    <a:pos x="459" y="352"/>
                  </a:cxn>
                  <a:cxn ang="0">
                    <a:pos x="448" y="337"/>
                  </a:cxn>
                  <a:cxn ang="0">
                    <a:pos x="422" y="322"/>
                  </a:cxn>
                  <a:cxn ang="0">
                    <a:pos x="437" y="390"/>
                  </a:cxn>
                  <a:cxn ang="0">
                    <a:pos x="420" y="398"/>
                  </a:cxn>
                </a:cxnLst>
                <a:rect l="0" t="0" r="r" b="b"/>
                <a:pathLst>
                  <a:path w="482" h="452">
                    <a:moveTo>
                      <a:pt x="253" y="275"/>
                    </a:moveTo>
                    <a:cubicBezTo>
                      <a:pt x="253" y="275"/>
                      <a:pt x="245" y="270"/>
                      <a:pt x="243" y="261"/>
                    </a:cubicBezTo>
                    <a:cubicBezTo>
                      <a:pt x="241" y="254"/>
                      <a:pt x="243" y="248"/>
                      <a:pt x="243" y="244"/>
                    </a:cubicBezTo>
                    <a:cubicBezTo>
                      <a:pt x="243" y="240"/>
                      <a:pt x="223" y="239"/>
                      <a:pt x="219" y="239"/>
                    </a:cubicBezTo>
                    <a:cubicBezTo>
                      <a:pt x="214" y="238"/>
                      <a:pt x="214" y="232"/>
                      <a:pt x="214" y="232"/>
                    </a:cubicBezTo>
                    <a:cubicBezTo>
                      <a:pt x="214" y="232"/>
                      <a:pt x="210" y="235"/>
                      <a:pt x="207" y="232"/>
                    </a:cubicBezTo>
                    <a:cubicBezTo>
                      <a:pt x="204" y="231"/>
                      <a:pt x="193" y="222"/>
                      <a:pt x="193" y="222"/>
                    </a:cubicBezTo>
                    <a:cubicBezTo>
                      <a:pt x="193" y="222"/>
                      <a:pt x="190" y="226"/>
                      <a:pt x="189" y="226"/>
                    </a:cubicBezTo>
                    <a:cubicBezTo>
                      <a:pt x="187" y="226"/>
                      <a:pt x="185" y="220"/>
                      <a:pt x="185" y="220"/>
                    </a:cubicBezTo>
                    <a:cubicBezTo>
                      <a:pt x="169" y="219"/>
                      <a:pt x="169" y="219"/>
                      <a:pt x="169" y="219"/>
                    </a:cubicBezTo>
                    <a:cubicBezTo>
                      <a:pt x="168" y="214"/>
                      <a:pt x="168" y="214"/>
                      <a:pt x="168" y="214"/>
                    </a:cubicBezTo>
                    <a:cubicBezTo>
                      <a:pt x="168" y="214"/>
                      <a:pt x="160" y="217"/>
                      <a:pt x="160" y="213"/>
                    </a:cubicBezTo>
                    <a:cubicBezTo>
                      <a:pt x="160" y="209"/>
                      <a:pt x="174" y="211"/>
                      <a:pt x="174" y="211"/>
                    </a:cubicBezTo>
                    <a:cubicBezTo>
                      <a:pt x="174" y="211"/>
                      <a:pt x="184" y="211"/>
                      <a:pt x="193" y="213"/>
                    </a:cubicBezTo>
                    <a:cubicBezTo>
                      <a:pt x="203" y="216"/>
                      <a:pt x="210" y="224"/>
                      <a:pt x="210" y="224"/>
                    </a:cubicBezTo>
                    <a:cubicBezTo>
                      <a:pt x="216" y="225"/>
                      <a:pt x="216" y="225"/>
                      <a:pt x="216" y="225"/>
                    </a:cubicBezTo>
                    <a:cubicBezTo>
                      <a:pt x="216" y="225"/>
                      <a:pt x="217" y="232"/>
                      <a:pt x="219" y="235"/>
                    </a:cubicBezTo>
                    <a:cubicBezTo>
                      <a:pt x="221" y="237"/>
                      <a:pt x="225" y="235"/>
                      <a:pt x="227" y="235"/>
                    </a:cubicBezTo>
                    <a:cubicBezTo>
                      <a:pt x="229" y="235"/>
                      <a:pt x="238" y="235"/>
                      <a:pt x="244" y="239"/>
                    </a:cubicBezTo>
                    <a:cubicBezTo>
                      <a:pt x="251" y="244"/>
                      <a:pt x="258" y="258"/>
                      <a:pt x="258" y="258"/>
                    </a:cubicBezTo>
                    <a:cubicBezTo>
                      <a:pt x="258" y="258"/>
                      <a:pt x="267" y="259"/>
                      <a:pt x="269" y="257"/>
                    </a:cubicBezTo>
                    <a:cubicBezTo>
                      <a:pt x="271" y="256"/>
                      <a:pt x="269" y="244"/>
                      <a:pt x="269" y="244"/>
                    </a:cubicBezTo>
                    <a:cubicBezTo>
                      <a:pt x="269" y="244"/>
                      <a:pt x="257" y="246"/>
                      <a:pt x="253" y="239"/>
                    </a:cubicBezTo>
                    <a:cubicBezTo>
                      <a:pt x="247" y="231"/>
                      <a:pt x="249" y="224"/>
                      <a:pt x="249" y="224"/>
                    </a:cubicBezTo>
                    <a:cubicBezTo>
                      <a:pt x="242" y="222"/>
                      <a:pt x="242" y="222"/>
                      <a:pt x="242" y="222"/>
                    </a:cubicBezTo>
                    <a:cubicBezTo>
                      <a:pt x="240" y="214"/>
                      <a:pt x="240" y="214"/>
                      <a:pt x="240" y="214"/>
                    </a:cubicBezTo>
                    <a:cubicBezTo>
                      <a:pt x="240" y="214"/>
                      <a:pt x="236" y="216"/>
                      <a:pt x="229" y="216"/>
                    </a:cubicBezTo>
                    <a:cubicBezTo>
                      <a:pt x="222" y="216"/>
                      <a:pt x="220" y="212"/>
                      <a:pt x="220" y="212"/>
                    </a:cubicBezTo>
                    <a:cubicBezTo>
                      <a:pt x="217" y="214"/>
                      <a:pt x="217" y="214"/>
                      <a:pt x="217" y="214"/>
                    </a:cubicBezTo>
                    <a:cubicBezTo>
                      <a:pt x="204" y="207"/>
                      <a:pt x="204" y="207"/>
                      <a:pt x="204" y="207"/>
                    </a:cubicBezTo>
                    <a:cubicBezTo>
                      <a:pt x="204" y="207"/>
                      <a:pt x="200" y="197"/>
                      <a:pt x="196" y="196"/>
                    </a:cubicBezTo>
                    <a:cubicBezTo>
                      <a:pt x="192" y="195"/>
                      <a:pt x="185" y="201"/>
                      <a:pt x="180" y="200"/>
                    </a:cubicBezTo>
                    <a:cubicBezTo>
                      <a:pt x="176" y="199"/>
                      <a:pt x="169" y="192"/>
                      <a:pt x="168" y="189"/>
                    </a:cubicBezTo>
                    <a:cubicBezTo>
                      <a:pt x="167" y="185"/>
                      <a:pt x="174" y="184"/>
                      <a:pt x="174" y="184"/>
                    </a:cubicBezTo>
                    <a:cubicBezTo>
                      <a:pt x="173" y="182"/>
                      <a:pt x="173" y="182"/>
                      <a:pt x="173" y="182"/>
                    </a:cubicBezTo>
                    <a:cubicBezTo>
                      <a:pt x="173" y="182"/>
                      <a:pt x="184" y="181"/>
                      <a:pt x="187" y="186"/>
                    </a:cubicBezTo>
                    <a:cubicBezTo>
                      <a:pt x="191" y="192"/>
                      <a:pt x="182" y="193"/>
                      <a:pt x="182" y="193"/>
                    </a:cubicBezTo>
                    <a:cubicBezTo>
                      <a:pt x="184" y="197"/>
                      <a:pt x="184" y="197"/>
                      <a:pt x="184" y="197"/>
                    </a:cubicBezTo>
                    <a:cubicBezTo>
                      <a:pt x="193" y="193"/>
                      <a:pt x="193" y="193"/>
                      <a:pt x="193" y="193"/>
                    </a:cubicBezTo>
                    <a:cubicBezTo>
                      <a:pt x="193" y="184"/>
                      <a:pt x="193" y="184"/>
                      <a:pt x="193" y="184"/>
                    </a:cubicBezTo>
                    <a:cubicBezTo>
                      <a:pt x="179" y="169"/>
                      <a:pt x="179" y="169"/>
                      <a:pt x="179" y="169"/>
                    </a:cubicBezTo>
                    <a:cubicBezTo>
                      <a:pt x="170" y="166"/>
                      <a:pt x="170" y="166"/>
                      <a:pt x="170" y="166"/>
                    </a:cubicBezTo>
                    <a:cubicBezTo>
                      <a:pt x="170" y="166"/>
                      <a:pt x="167" y="159"/>
                      <a:pt x="167" y="154"/>
                    </a:cubicBezTo>
                    <a:cubicBezTo>
                      <a:pt x="167" y="149"/>
                      <a:pt x="156" y="148"/>
                      <a:pt x="156" y="148"/>
                    </a:cubicBezTo>
                    <a:cubicBezTo>
                      <a:pt x="156" y="143"/>
                      <a:pt x="156" y="143"/>
                      <a:pt x="156" y="143"/>
                    </a:cubicBezTo>
                    <a:cubicBezTo>
                      <a:pt x="156" y="143"/>
                      <a:pt x="151" y="141"/>
                      <a:pt x="147" y="134"/>
                    </a:cubicBezTo>
                    <a:cubicBezTo>
                      <a:pt x="143" y="129"/>
                      <a:pt x="149" y="117"/>
                      <a:pt x="149" y="117"/>
                    </a:cubicBezTo>
                    <a:cubicBezTo>
                      <a:pt x="147" y="112"/>
                      <a:pt x="147" y="112"/>
                      <a:pt x="147" y="112"/>
                    </a:cubicBezTo>
                    <a:cubicBezTo>
                      <a:pt x="148" y="106"/>
                      <a:pt x="148" y="106"/>
                      <a:pt x="148" y="106"/>
                    </a:cubicBezTo>
                    <a:cubicBezTo>
                      <a:pt x="154" y="106"/>
                      <a:pt x="154" y="106"/>
                      <a:pt x="154" y="106"/>
                    </a:cubicBezTo>
                    <a:cubicBezTo>
                      <a:pt x="159" y="100"/>
                      <a:pt x="159" y="100"/>
                      <a:pt x="159" y="100"/>
                    </a:cubicBezTo>
                    <a:cubicBezTo>
                      <a:pt x="159" y="97"/>
                      <a:pt x="159" y="97"/>
                      <a:pt x="159" y="97"/>
                    </a:cubicBezTo>
                    <a:cubicBezTo>
                      <a:pt x="164" y="102"/>
                      <a:pt x="164" y="102"/>
                      <a:pt x="164" y="102"/>
                    </a:cubicBezTo>
                    <a:cubicBezTo>
                      <a:pt x="158" y="106"/>
                      <a:pt x="158" y="106"/>
                      <a:pt x="158" y="106"/>
                    </a:cubicBezTo>
                    <a:cubicBezTo>
                      <a:pt x="161" y="113"/>
                      <a:pt x="161" y="113"/>
                      <a:pt x="161" y="113"/>
                    </a:cubicBezTo>
                    <a:cubicBezTo>
                      <a:pt x="168" y="113"/>
                      <a:pt x="168" y="113"/>
                      <a:pt x="168" y="113"/>
                    </a:cubicBezTo>
                    <a:cubicBezTo>
                      <a:pt x="174" y="117"/>
                      <a:pt x="174" y="117"/>
                      <a:pt x="174" y="117"/>
                    </a:cubicBezTo>
                    <a:cubicBezTo>
                      <a:pt x="174" y="117"/>
                      <a:pt x="182" y="118"/>
                      <a:pt x="186" y="120"/>
                    </a:cubicBezTo>
                    <a:cubicBezTo>
                      <a:pt x="189" y="121"/>
                      <a:pt x="188" y="126"/>
                      <a:pt x="188" y="129"/>
                    </a:cubicBezTo>
                    <a:cubicBezTo>
                      <a:pt x="188" y="132"/>
                      <a:pt x="191" y="134"/>
                      <a:pt x="191" y="134"/>
                    </a:cubicBezTo>
                    <a:cubicBezTo>
                      <a:pt x="192" y="138"/>
                      <a:pt x="192" y="138"/>
                      <a:pt x="192" y="138"/>
                    </a:cubicBezTo>
                    <a:cubicBezTo>
                      <a:pt x="206" y="138"/>
                      <a:pt x="206" y="138"/>
                      <a:pt x="206" y="138"/>
                    </a:cubicBezTo>
                    <a:cubicBezTo>
                      <a:pt x="210" y="138"/>
                      <a:pt x="212" y="135"/>
                      <a:pt x="209" y="134"/>
                    </a:cubicBezTo>
                    <a:cubicBezTo>
                      <a:pt x="205" y="132"/>
                      <a:pt x="195" y="130"/>
                      <a:pt x="195" y="130"/>
                    </a:cubicBezTo>
                    <a:cubicBezTo>
                      <a:pt x="195" y="130"/>
                      <a:pt x="189" y="122"/>
                      <a:pt x="189" y="118"/>
                    </a:cubicBezTo>
                    <a:cubicBezTo>
                      <a:pt x="189" y="114"/>
                      <a:pt x="194" y="117"/>
                      <a:pt x="194" y="117"/>
                    </a:cubicBezTo>
                    <a:cubicBezTo>
                      <a:pt x="202" y="117"/>
                      <a:pt x="202" y="117"/>
                      <a:pt x="202" y="117"/>
                    </a:cubicBezTo>
                    <a:cubicBezTo>
                      <a:pt x="212" y="127"/>
                      <a:pt x="212" y="127"/>
                      <a:pt x="212" y="127"/>
                    </a:cubicBezTo>
                    <a:cubicBezTo>
                      <a:pt x="221" y="134"/>
                      <a:pt x="221" y="134"/>
                      <a:pt x="221" y="134"/>
                    </a:cubicBezTo>
                    <a:cubicBezTo>
                      <a:pt x="221" y="134"/>
                      <a:pt x="225" y="130"/>
                      <a:pt x="222" y="125"/>
                    </a:cubicBezTo>
                    <a:cubicBezTo>
                      <a:pt x="220" y="119"/>
                      <a:pt x="214" y="118"/>
                      <a:pt x="212" y="118"/>
                    </a:cubicBezTo>
                    <a:cubicBezTo>
                      <a:pt x="209" y="117"/>
                      <a:pt x="206" y="115"/>
                      <a:pt x="206" y="111"/>
                    </a:cubicBezTo>
                    <a:cubicBezTo>
                      <a:pt x="205" y="107"/>
                      <a:pt x="209" y="106"/>
                      <a:pt x="209" y="106"/>
                    </a:cubicBezTo>
                    <a:cubicBezTo>
                      <a:pt x="225" y="110"/>
                      <a:pt x="225" y="110"/>
                      <a:pt x="225" y="110"/>
                    </a:cubicBezTo>
                    <a:cubicBezTo>
                      <a:pt x="229" y="111"/>
                      <a:pt x="229" y="111"/>
                      <a:pt x="229" y="111"/>
                    </a:cubicBezTo>
                    <a:cubicBezTo>
                      <a:pt x="230" y="113"/>
                      <a:pt x="230" y="113"/>
                      <a:pt x="230" y="113"/>
                    </a:cubicBezTo>
                    <a:cubicBezTo>
                      <a:pt x="236" y="119"/>
                      <a:pt x="236" y="119"/>
                      <a:pt x="236" y="119"/>
                    </a:cubicBezTo>
                    <a:cubicBezTo>
                      <a:pt x="240" y="114"/>
                      <a:pt x="240" y="114"/>
                      <a:pt x="240" y="114"/>
                    </a:cubicBezTo>
                    <a:cubicBezTo>
                      <a:pt x="227" y="103"/>
                      <a:pt x="227" y="103"/>
                      <a:pt x="227" y="103"/>
                    </a:cubicBezTo>
                    <a:cubicBezTo>
                      <a:pt x="224" y="103"/>
                      <a:pt x="224" y="103"/>
                      <a:pt x="224" y="103"/>
                    </a:cubicBezTo>
                    <a:cubicBezTo>
                      <a:pt x="217" y="100"/>
                      <a:pt x="217" y="100"/>
                      <a:pt x="217" y="100"/>
                    </a:cubicBezTo>
                    <a:cubicBezTo>
                      <a:pt x="217" y="104"/>
                      <a:pt x="217" y="104"/>
                      <a:pt x="217" y="104"/>
                    </a:cubicBezTo>
                    <a:cubicBezTo>
                      <a:pt x="217" y="104"/>
                      <a:pt x="213" y="102"/>
                      <a:pt x="210" y="102"/>
                    </a:cubicBezTo>
                    <a:cubicBezTo>
                      <a:pt x="207" y="101"/>
                      <a:pt x="210" y="95"/>
                      <a:pt x="210" y="95"/>
                    </a:cubicBezTo>
                    <a:cubicBezTo>
                      <a:pt x="210" y="95"/>
                      <a:pt x="200" y="88"/>
                      <a:pt x="200" y="86"/>
                    </a:cubicBezTo>
                    <a:cubicBezTo>
                      <a:pt x="200" y="84"/>
                      <a:pt x="206" y="81"/>
                      <a:pt x="206" y="81"/>
                    </a:cubicBezTo>
                    <a:cubicBezTo>
                      <a:pt x="206" y="81"/>
                      <a:pt x="214" y="82"/>
                      <a:pt x="218" y="82"/>
                    </a:cubicBezTo>
                    <a:cubicBezTo>
                      <a:pt x="221" y="82"/>
                      <a:pt x="228" y="73"/>
                      <a:pt x="228" y="73"/>
                    </a:cubicBezTo>
                    <a:cubicBezTo>
                      <a:pt x="229" y="68"/>
                      <a:pt x="229" y="68"/>
                      <a:pt x="229" y="68"/>
                    </a:cubicBezTo>
                    <a:cubicBezTo>
                      <a:pt x="229" y="68"/>
                      <a:pt x="234" y="64"/>
                      <a:pt x="236" y="64"/>
                    </a:cubicBezTo>
                    <a:cubicBezTo>
                      <a:pt x="239" y="63"/>
                      <a:pt x="244" y="67"/>
                      <a:pt x="250" y="67"/>
                    </a:cubicBezTo>
                    <a:cubicBezTo>
                      <a:pt x="256" y="66"/>
                      <a:pt x="259" y="64"/>
                      <a:pt x="260" y="63"/>
                    </a:cubicBezTo>
                    <a:cubicBezTo>
                      <a:pt x="262" y="60"/>
                      <a:pt x="267" y="55"/>
                      <a:pt x="267" y="55"/>
                    </a:cubicBezTo>
                    <a:cubicBezTo>
                      <a:pt x="263" y="51"/>
                      <a:pt x="263" y="51"/>
                      <a:pt x="263" y="51"/>
                    </a:cubicBezTo>
                    <a:cubicBezTo>
                      <a:pt x="265" y="50"/>
                      <a:pt x="265" y="50"/>
                      <a:pt x="265" y="50"/>
                    </a:cubicBezTo>
                    <a:cubicBezTo>
                      <a:pt x="269" y="54"/>
                      <a:pt x="269" y="54"/>
                      <a:pt x="269" y="54"/>
                    </a:cubicBezTo>
                    <a:cubicBezTo>
                      <a:pt x="269" y="58"/>
                      <a:pt x="269" y="58"/>
                      <a:pt x="269" y="58"/>
                    </a:cubicBezTo>
                    <a:cubicBezTo>
                      <a:pt x="275" y="60"/>
                      <a:pt x="275" y="60"/>
                      <a:pt x="275" y="60"/>
                    </a:cubicBezTo>
                    <a:cubicBezTo>
                      <a:pt x="279" y="58"/>
                      <a:pt x="279" y="58"/>
                      <a:pt x="279" y="58"/>
                    </a:cubicBezTo>
                    <a:cubicBezTo>
                      <a:pt x="279" y="58"/>
                      <a:pt x="305" y="59"/>
                      <a:pt x="310" y="59"/>
                    </a:cubicBezTo>
                    <a:cubicBezTo>
                      <a:pt x="315" y="60"/>
                      <a:pt x="316" y="66"/>
                      <a:pt x="316" y="66"/>
                    </a:cubicBezTo>
                    <a:cubicBezTo>
                      <a:pt x="316" y="66"/>
                      <a:pt x="326" y="55"/>
                      <a:pt x="328" y="50"/>
                    </a:cubicBezTo>
                    <a:cubicBezTo>
                      <a:pt x="331" y="46"/>
                      <a:pt x="323" y="40"/>
                      <a:pt x="323" y="40"/>
                    </a:cubicBezTo>
                    <a:cubicBezTo>
                      <a:pt x="322" y="31"/>
                      <a:pt x="322" y="31"/>
                      <a:pt x="322" y="31"/>
                    </a:cubicBezTo>
                    <a:cubicBezTo>
                      <a:pt x="329" y="24"/>
                      <a:pt x="329" y="24"/>
                      <a:pt x="329" y="24"/>
                    </a:cubicBezTo>
                    <a:cubicBezTo>
                      <a:pt x="329" y="24"/>
                      <a:pt x="335" y="25"/>
                      <a:pt x="337" y="23"/>
                    </a:cubicBezTo>
                    <a:cubicBezTo>
                      <a:pt x="339" y="21"/>
                      <a:pt x="333" y="16"/>
                      <a:pt x="332" y="14"/>
                    </a:cubicBezTo>
                    <a:cubicBezTo>
                      <a:pt x="331" y="11"/>
                      <a:pt x="331" y="5"/>
                      <a:pt x="331" y="5"/>
                    </a:cubicBezTo>
                    <a:cubicBezTo>
                      <a:pt x="324" y="2"/>
                      <a:pt x="324" y="2"/>
                      <a:pt x="324" y="2"/>
                    </a:cubicBezTo>
                    <a:cubicBezTo>
                      <a:pt x="317" y="0"/>
                      <a:pt x="317" y="0"/>
                      <a:pt x="317" y="0"/>
                    </a:cubicBezTo>
                    <a:cubicBezTo>
                      <a:pt x="317" y="0"/>
                      <a:pt x="306" y="1"/>
                      <a:pt x="303" y="3"/>
                    </a:cubicBezTo>
                    <a:cubicBezTo>
                      <a:pt x="301" y="6"/>
                      <a:pt x="311" y="11"/>
                      <a:pt x="311" y="20"/>
                    </a:cubicBezTo>
                    <a:cubicBezTo>
                      <a:pt x="310" y="27"/>
                      <a:pt x="301" y="31"/>
                      <a:pt x="301" y="31"/>
                    </a:cubicBezTo>
                    <a:cubicBezTo>
                      <a:pt x="294" y="30"/>
                      <a:pt x="294" y="30"/>
                      <a:pt x="294" y="30"/>
                    </a:cubicBezTo>
                    <a:cubicBezTo>
                      <a:pt x="294" y="30"/>
                      <a:pt x="271" y="41"/>
                      <a:pt x="270" y="41"/>
                    </a:cubicBezTo>
                    <a:cubicBezTo>
                      <a:pt x="268" y="42"/>
                      <a:pt x="265" y="37"/>
                      <a:pt x="265" y="37"/>
                    </a:cubicBezTo>
                    <a:cubicBezTo>
                      <a:pt x="251" y="33"/>
                      <a:pt x="251" y="33"/>
                      <a:pt x="251" y="33"/>
                    </a:cubicBezTo>
                    <a:cubicBezTo>
                      <a:pt x="245" y="38"/>
                      <a:pt x="245" y="38"/>
                      <a:pt x="245" y="38"/>
                    </a:cubicBezTo>
                    <a:cubicBezTo>
                      <a:pt x="240" y="32"/>
                      <a:pt x="240" y="32"/>
                      <a:pt x="240" y="32"/>
                    </a:cubicBezTo>
                    <a:cubicBezTo>
                      <a:pt x="236" y="33"/>
                      <a:pt x="236" y="33"/>
                      <a:pt x="236" y="33"/>
                    </a:cubicBezTo>
                    <a:cubicBezTo>
                      <a:pt x="230" y="26"/>
                      <a:pt x="230" y="26"/>
                      <a:pt x="230" y="26"/>
                    </a:cubicBezTo>
                    <a:cubicBezTo>
                      <a:pt x="230" y="26"/>
                      <a:pt x="223" y="30"/>
                      <a:pt x="221" y="32"/>
                    </a:cubicBezTo>
                    <a:cubicBezTo>
                      <a:pt x="219" y="33"/>
                      <a:pt x="216" y="27"/>
                      <a:pt x="216" y="27"/>
                    </a:cubicBezTo>
                    <a:cubicBezTo>
                      <a:pt x="213" y="31"/>
                      <a:pt x="213" y="31"/>
                      <a:pt x="213" y="31"/>
                    </a:cubicBezTo>
                    <a:cubicBezTo>
                      <a:pt x="207" y="31"/>
                      <a:pt x="207" y="31"/>
                      <a:pt x="207" y="31"/>
                    </a:cubicBezTo>
                    <a:cubicBezTo>
                      <a:pt x="208" y="36"/>
                      <a:pt x="208" y="36"/>
                      <a:pt x="208" y="36"/>
                    </a:cubicBezTo>
                    <a:cubicBezTo>
                      <a:pt x="203" y="40"/>
                      <a:pt x="203" y="40"/>
                      <a:pt x="203" y="40"/>
                    </a:cubicBezTo>
                    <a:cubicBezTo>
                      <a:pt x="201" y="37"/>
                      <a:pt x="201" y="37"/>
                      <a:pt x="201" y="37"/>
                    </a:cubicBezTo>
                    <a:cubicBezTo>
                      <a:pt x="194" y="42"/>
                      <a:pt x="194" y="42"/>
                      <a:pt x="194" y="42"/>
                    </a:cubicBezTo>
                    <a:cubicBezTo>
                      <a:pt x="191" y="43"/>
                      <a:pt x="191" y="43"/>
                      <a:pt x="191" y="43"/>
                    </a:cubicBezTo>
                    <a:cubicBezTo>
                      <a:pt x="189" y="46"/>
                      <a:pt x="189" y="46"/>
                      <a:pt x="189" y="46"/>
                    </a:cubicBezTo>
                    <a:cubicBezTo>
                      <a:pt x="177" y="46"/>
                      <a:pt x="177" y="46"/>
                      <a:pt x="177" y="46"/>
                    </a:cubicBezTo>
                    <a:cubicBezTo>
                      <a:pt x="175" y="50"/>
                      <a:pt x="175" y="50"/>
                      <a:pt x="175" y="50"/>
                    </a:cubicBezTo>
                    <a:cubicBezTo>
                      <a:pt x="170" y="48"/>
                      <a:pt x="170" y="48"/>
                      <a:pt x="170" y="48"/>
                    </a:cubicBezTo>
                    <a:cubicBezTo>
                      <a:pt x="165" y="53"/>
                      <a:pt x="165" y="53"/>
                      <a:pt x="165" y="53"/>
                    </a:cubicBezTo>
                    <a:cubicBezTo>
                      <a:pt x="155" y="54"/>
                      <a:pt x="155" y="54"/>
                      <a:pt x="155" y="54"/>
                    </a:cubicBezTo>
                    <a:cubicBezTo>
                      <a:pt x="155" y="54"/>
                      <a:pt x="146" y="52"/>
                      <a:pt x="146" y="55"/>
                    </a:cubicBezTo>
                    <a:cubicBezTo>
                      <a:pt x="145" y="59"/>
                      <a:pt x="146" y="69"/>
                      <a:pt x="146" y="69"/>
                    </a:cubicBezTo>
                    <a:cubicBezTo>
                      <a:pt x="142" y="66"/>
                      <a:pt x="142" y="66"/>
                      <a:pt x="142" y="66"/>
                    </a:cubicBezTo>
                    <a:cubicBezTo>
                      <a:pt x="141" y="70"/>
                      <a:pt x="141" y="70"/>
                      <a:pt x="141" y="70"/>
                    </a:cubicBezTo>
                    <a:cubicBezTo>
                      <a:pt x="122" y="69"/>
                      <a:pt x="122" y="69"/>
                      <a:pt x="122" y="69"/>
                    </a:cubicBezTo>
                    <a:cubicBezTo>
                      <a:pt x="118" y="72"/>
                      <a:pt x="118" y="72"/>
                      <a:pt x="118" y="72"/>
                    </a:cubicBezTo>
                    <a:cubicBezTo>
                      <a:pt x="111" y="71"/>
                      <a:pt x="111" y="71"/>
                      <a:pt x="111" y="71"/>
                    </a:cubicBezTo>
                    <a:cubicBezTo>
                      <a:pt x="111" y="71"/>
                      <a:pt x="107" y="72"/>
                      <a:pt x="105" y="75"/>
                    </a:cubicBezTo>
                    <a:cubicBezTo>
                      <a:pt x="103" y="80"/>
                      <a:pt x="105" y="84"/>
                      <a:pt x="102" y="87"/>
                    </a:cubicBezTo>
                    <a:cubicBezTo>
                      <a:pt x="98" y="89"/>
                      <a:pt x="92" y="93"/>
                      <a:pt x="92" y="93"/>
                    </a:cubicBezTo>
                    <a:cubicBezTo>
                      <a:pt x="92" y="93"/>
                      <a:pt x="88" y="91"/>
                      <a:pt x="86" y="91"/>
                    </a:cubicBezTo>
                    <a:cubicBezTo>
                      <a:pt x="82" y="91"/>
                      <a:pt x="77" y="97"/>
                      <a:pt x="77" y="97"/>
                    </a:cubicBezTo>
                    <a:cubicBezTo>
                      <a:pt x="61" y="98"/>
                      <a:pt x="61" y="98"/>
                      <a:pt x="61" y="98"/>
                    </a:cubicBezTo>
                    <a:cubicBezTo>
                      <a:pt x="61" y="105"/>
                      <a:pt x="61" y="105"/>
                      <a:pt x="61" y="105"/>
                    </a:cubicBezTo>
                    <a:cubicBezTo>
                      <a:pt x="61" y="105"/>
                      <a:pt x="65" y="109"/>
                      <a:pt x="66" y="113"/>
                    </a:cubicBezTo>
                    <a:cubicBezTo>
                      <a:pt x="66" y="117"/>
                      <a:pt x="61" y="122"/>
                      <a:pt x="61" y="122"/>
                    </a:cubicBezTo>
                    <a:cubicBezTo>
                      <a:pt x="61" y="122"/>
                      <a:pt x="58" y="122"/>
                      <a:pt x="56" y="123"/>
                    </a:cubicBezTo>
                    <a:cubicBezTo>
                      <a:pt x="53" y="126"/>
                      <a:pt x="55" y="132"/>
                      <a:pt x="55" y="132"/>
                    </a:cubicBezTo>
                    <a:cubicBezTo>
                      <a:pt x="51" y="137"/>
                      <a:pt x="51" y="137"/>
                      <a:pt x="51" y="137"/>
                    </a:cubicBezTo>
                    <a:cubicBezTo>
                      <a:pt x="51" y="137"/>
                      <a:pt x="54" y="144"/>
                      <a:pt x="49" y="149"/>
                    </a:cubicBezTo>
                    <a:cubicBezTo>
                      <a:pt x="44" y="153"/>
                      <a:pt x="42" y="150"/>
                      <a:pt x="39" y="151"/>
                    </a:cubicBezTo>
                    <a:cubicBezTo>
                      <a:pt x="36" y="152"/>
                      <a:pt x="37" y="156"/>
                      <a:pt x="37" y="156"/>
                    </a:cubicBezTo>
                    <a:cubicBezTo>
                      <a:pt x="37" y="156"/>
                      <a:pt x="33" y="154"/>
                      <a:pt x="32" y="159"/>
                    </a:cubicBezTo>
                    <a:cubicBezTo>
                      <a:pt x="31" y="162"/>
                      <a:pt x="37" y="165"/>
                      <a:pt x="37" y="165"/>
                    </a:cubicBezTo>
                    <a:cubicBezTo>
                      <a:pt x="38" y="169"/>
                      <a:pt x="38" y="169"/>
                      <a:pt x="38" y="169"/>
                    </a:cubicBezTo>
                    <a:cubicBezTo>
                      <a:pt x="38" y="169"/>
                      <a:pt x="33" y="168"/>
                      <a:pt x="33" y="169"/>
                    </a:cubicBezTo>
                    <a:cubicBezTo>
                      <a:pt x="32" y="172"/>
                      <a:pt x="33" y="175"/>
                      <a:pt x="33" y="175"/>
                    </a:cubicBezTo>
                    <a:cubicBezTo>
                      <a:pt x="33" y="175"/>
                      <a:pt x="28" y="180"/>
                      <a:pt x="26" y="180"/>
                    </a:cubicBezTo>
                    <a:cubicBezTo>
                      <a:pt x="29" y="182"/>
                      <a:pt x="29" y="182"/>
                      <a:pt x="29" y="182"/>
                    </a:cubicBezTo>
                    <a:cubicBezTo>
                      <a:pt x="29" y="188"/>
                      <a:pt x="29" y="188"/>
                      <a:pt x="29" y="188"/>
                    </a:cubicBezTo>
                    <a:cubicBezTo>
                      <a:pt x="34" y="190"/>
                      <a:pt x="34" y="190"/>
                      <a:pt x="34" y="190"/>
                    </a:cubicBezTo>
                    <a:cubicBezTo>
                      <a:pt x="33" y="195"/>
                      <a:pt x="33" y="195"/>
                      <a:pt x="33" y="195"/>
                    </a:cubicBezTo>
                    <a:cubicBezTo>
                      <a:pt x="40" y="204"/>
                      <a:pt x="40" y="204"/>
                      <a:pt x="40" y="204"/>
                    </a:cubicBezTo>
                    <a:cubicBezTo>
                      <a:pt x="48" y="205"/>
                      <a:pt x="48" y="205"/>
                      <a:pt x="48" y="205"/>
                    </a:cubicBezTo>
                    <a:cubicBezTo>
                      <a:pt x="63" y="222"/>
                      <a:pt x="63" y="222"/>
                      <a:pt x="63" y="222"/>
                    </a:cubicBezTo>
                    <a:cubicBezTo>
                      <a:pt x="70" y="215"/>
                      <a:pt x="70" y="215"/>
                      <a:pt x="70" y="215"/>
                    </a:cubicBezTo>
                    <a:cubicBezTo>
                      <a:pt x="85" y="216"/>
                      <a:pt x="85" y="216"/>
                      <a:pt x="85" y="216"/>
                    </a:cubicBezTo>
                    <a:cubicBezTo>
                      <a:pt x="87" y="223"/>
                      <a:pt x="87" y="223"/>
                      <a:pt x="87" y="223"/>
                    </a:cubicBezTo>
                    <a:cubicBezTo>
                      <a:pt x="73" y="220"/>
                      <a:pt x="73" y="220"/>
                      <a:pt x="73" y="220"/>
                    </a:cubicBezTo>
                    <a:cubicBezTo>
                      <a:pt x="73" y="220"/>
                      <a:pt x="63" y="226"/>
                      <a:pt x="59" y="230"/>
                    </a:cubicBezTo>
                    <a:cubicBezTo>
                      <a:pt x="55" y="235"/>
                      <a:pt x="54" y="244"/>
                      <a:pt x="57" y="246"/>
                    </a:cubicBezTo>
                    <a:cubicBezTo>
                      <a:pt x="61" y="249"/>
                      <a:pt x="64" y="242"/>
                      <a:pt x="65" y="238"/>
                    </a:cubicBezTo>
                    <a:cubicBezTo>
                      <a:pt x="67" y="233"/>
                      <a:pt x="71" y="232"/>
                      <a:pt x="71" y="232"/>
                    </a:cubicBezTo>
                    <a:cubicBezTo>
                      <a:pt x="75" y="238"/>
                      <a:pt x="75" y="238"/>
                      <a:pt x="75" y="238"/>
                    </a:cubicBezTo>
                    <a:cubicBezTo>
                      <a:pt x="74" y="246"/>
                      <a:pt x="74" y="246"/>
                      <a:pt x="74" y="246"/>
                    </a:cubicBezTo>
                    <a:cubicBezTo>
                      <a:pt x="80" y="243"/>
                      <a:pt x="80" y="243"/>
                      <a:pt x="80" y="243"/>
                    </a:cubicBezTo>
                    <a:cubicBezTo>
                      <a:pt x="85" y="248"/>
                      <a:pt x="85" y="248"/>
                      <a:pt x="85" y="248"/>
                    </a:cubicBezTo>
                    <a:cubicBezTo>
                      <a:pt x="85" y="248"/>
                      <a:pt x="80" y="258"/>
                      <a:pt x="89" y="259"/>
                    </a:cubicBezTo>
                    <a:cubicBezTo>
                      <a:pt x="97" y="261"/>
                      <a:pt x="98" y="249"/>
                      <a:pt x="98" y="249"/>
                    </a:cubicBezTo>
                    <a:cubicBezTo>
                      <a:pt x="108" y="260"/>
                      <a:pt x="108" y="260"/>
                      <a:pt x="108" y="260"/>
                    </a:cubicBezTo>
                    <a:cubicBezTo>
                      <a:pt x="108" y="260"/>
                      <a:pt x="111" y="257"/>
                      <a:pt x="113" y="255"/>
                    </a:cubicBezTo>
                    <a:cubicBezTo>
                      <a:pt x="116" y="254"/>
                      <a:pt x="121" y="255"/>
                      <a:pt x="121" y="255"/>
                    </a:cubicBezTo>
                    <a:cubicBezTo>
                      <a:pt x="121" y="255"/>
                      <a:pt x="125" y="248"/>
                      <a:pt x="129" y="248"/>
                    </a:cubicBezTo>
                    <a:cubicBezTo>
                      <a:pt x="134" y="248"/>
                      <a:pt x="144" y="251"/>
                      <a:pt x="144" y="251"/>
                    </a:cubicBezTo>
                    <a:cubicBezTo>
                      <a:pt x="146" y="249"/>
                      <a:pt x="146" y="249"/>
                      <a:pt x="146" y="249"/>
                    </a:cubicBezTo>
                    <a:cubicBezTo>
                      <a:pt x="156" y="251"/>
                      <a:pt x="156" y="251"/>
                      <a:pt x="156" y="251"/>
                    </a:cubicBezTo>
                    <a:cubicBezTo>
                      <a:pt x="153" y="245"/>
                      <a:pt x="153" y="245"/>
                      <a:pt x="153" y="245"/>
                    </a:cubicBezTo>
                    <a:cubicBezTo>
                      <a:pt x="155" y="243"/>
                      <a:pt x="155" y="243"/>
                      <a:pt x="155" y="243"/>
                    </a:cubicBezTo>
                    <a:cubicBezTo>
                      <a:pt x="162" y="247"/>
                      <a:pt x="162" y="247"/>
                      <a:pt x="162" y="247"/>
                    </a:cubicBezTo>
                    <a:cubicBezTo>
                      <a:pt x="161" y="252"/>
                      <a:pt x="161" y="252"/>
                      <a:pt x="161" y="252"/>
                    </a:cubicBezTo>
                    <a:cubicBezTo>
                      <a:pt x="164" y="252"/>
                      <a:pt x="164" y="252"/>
                      <a:pt x="164" y="252"/>
                    </a:cubicBezTo>
                    <a:cubicBezTo>
                      <a:pt x="171" y="245"/>
                      <a:pt x="171" y="245"/>
                      <a:pt x="171" y="245"/>
                    </a:cubicBezTo>
                    <a:cubicBezTo>
                      <a:pt x="177" y="254"/>
                      <a:pt x="177" y="254"/>
                      <a:pt x="177" y="254"/>
                    </a:cubicBezTo>
                    <a:cubicBezTo>
                      <a:pt x="177" y="254"/>
                      <a:pt x="192" y="253"/>
                      <a:pt x="197" y="255"/>
                    </a:cubicBezTo>
                    <a:cubicBezTo>
                      <a:pt x="203" y="257"/>
                      <a:pt x="191" y="262"/>
                      <a:pt x="191" y="262"/>
                    </a:cubicBezTo>
                    <a:cubicBezTo>
                      <a:pt x="187" y="262"/>
                      <a:pt x="187" y="262"/>
                      <a:pt x="187" y="262"/>
                    </a:cubicBezTo>
                    <a:cubicBezTo>
                      <a:pt x="182" y="268"/>
                      <a:pt x="182" y="268"/>
                      <a:pt x="182" y="268"/>
                    </a:cubicBezTo>
                    <a:cubicBezTo>
                      <a:pt x="186" y="270"/>
                      <a:pt x="186" y="270"/>
                      <a:pt x="186" y="270"/>
                    </a:cubicBezTo>
                    <a:cubicBezTo>
                      <a:pt x="184" y="273"/>
                      <a:pt x="184" y="273"/>
                      <a:pt x="184" y="273"/>
                    </a:cubicBezTo>
                    <a:cubicBezTo>
                      <a:pt x="184" y="273"/>
                      <a:pt x="172" y="263"/>
                      <a:pt x="167" y="263"/>
                    </a:cubicBezTo>
                    <a:cubicBezTo>
                      <a:pt x="162" y="262"/>
                      <a:pt x="146" y="260"/>
                      <a:pt x="146" y="260"/>
                    </a:cubicBezTo>
                    <a:cubicBezTo>
                      <a:pt x="146" y="260"/>
                      <a:pt x="136" y="255"/>
                      <a:pt x="129" y="255"/>
                    </a:cubicBezTo>
                    <a:cubicBezTo>
                      <a:pt x="122" y="254"/>
                      <a:pt x="116" y="267"/>
                      <a:pt x="116" y="267"/>
                    </a:cubicBezTo>
                    <a:cubicBezTo>
                      <a:pt x="102" y="267"/>
                      <a:pt x="102" y="267"/>
                      <a:pt x="102" y="267"/>
                    </a:cubicBezTo>
                    <a:cubicBezTo>
                      <a:pt x="100" y="279"/>
                      <a:pt x="100" y="279"/>
                      <a:pt x="100" y="279"/>
                    </a:cubicBezTo>
                    <a:cubicBezTo>
                      <a:pt x="100" y="279"/>
                      <a:pt x="91" y="284"/>
                      <a:pt x="91" y="290"/>
                    </a:cubicBezTo>
                    <a:cubicBezTo>
                      <a:pt x="91" y="296"/>
                      <a:pt x="100" y="294"/>
                      <a:pt x="100" y="294"/>
                    </a:cubicBezTo>
                    <a:cubicBezTo>
                      <a:pt x="104" y="303"/>
                      <a:pt x="104" y="303"/>
                      <a:pt x="104" y="303"/>
                    </a:cubicBezTo>
                    <a:cubicBezTo>
                      <a:pt x="104" y="303"/>
                      <a:pt x="114" y="304"/>
                      <a:pt x="122" y="311"/>
                    </a:cubicBezTo>
                    <a:cubicBezTo>
                      <a:pt x="130" y="319"/>
                      <a:pt x="122" y="326"/>
                      <a:pt x="120" y="334"/>
                    </a:cubicBezTo>
                    <a:cubicBezTo>
                      <a:pt x="119" y="340"/>
                      <a:pt x="129" y="346"/>
                      <a:pt x="129" y="346"/>
                    </a:cubicBezTo>
                    <a:cubicBezTo>
                      <a:pt x="129" y="350"/>
                      <a:pt x="129" y="350"/>
                      <a:pt x="129" y="350"/>
                    </a:cubicBezTo>
                    <a:cubicBezTo>
                      <a:pt x="140" y="356"/>
                      <a:pt x="140" y="356"/>
                      <a:pt x="140" y="356"/>
                    </a:cubicBezTo>
                    <a:cubicBezTo>
                      <a:pt x="144" y="353"/>
                      <a:pt x="144" y="353"/>
                      <a:pt x="144" y="353"/>
                    </a:cubicBezTo>
                    <a:cubicBezTo>
                      <a:pt x="144" y="353"/>
                      <a:pt x="141" y="349"/>
                      <a:pt x="144" y="341"/>
                    </a:cubicBezTo>
                    <a:cubicBezTo>
                      <a:pt x="146" y="333"/>
                      <a:pt x="155" y="339"/>
                      <a:pt x="155" y="339"/>
                    </a:cubicBezTo>
                    <a:cubicBezTo>
                      <a:pt x="155" y="345"/>
                      <a:pt x="155" y="345"/>
                      <a:pt x="155" y="345"/>
                    </a:cubicBezTo>
                    <a:cubicBezTo>
                      <a:pt x="155" y="345"/>
                      <a:pt x="160" y="347"/>
                      <a:pt x="165" y="353"/>
                    </a:cubicBezTo>
                    <a:cubicBezTo>
                      <a:pt x="171" y="358"/>
                      <a:pt x="168" y="369"/>
                      <a:pt x="168" y="369"/>
                    </a:cubicBezTo>
                    <a:cubicBezTo>
                      <a:pt x="176" y="374"/>
                      <a:pt x="176" y="374"/>
                      <a:pt x="176" y="374"/>
                    </a:cubicBezTo>
                    <a:cubicBezTo>
                      <a:pt x="176" y="374"/>
                      <a:pt x="173" y="353"/>
                      <a:pt x="181" y="347"/>
                    </a:cubicBezTo>
                    <a:cubicBezTo>
                      <a:pt x="190" y="340"/>
                      <a:pt x="191" y="353"/>
                      <a:pt x="191" y="353"/>
                    </a:cubicBezTo>
                    <a:cubicBezTo>
                      <a:pt x="210" y="368"/>
                      <a:pt x="210" y="368"/>
                      <a:pt x="210" y="368"/>
                    </a:cubicBezTo>
                    <a:cubicBezTo>
                      <a:pt x="213" y="366"/>
                      <a:pt x="213" y="366"/>
                      <a:pt x="213" y="366"/>
                    </a:cubicBezTo>
                    <a:cubicBezTo>
                      <a:pt x="205" y="353"/>
                      <a:pt x="205" y="353"/>
                      <a:pt x="205" y="353"/>
                    </a:cubicBezTo>
                    <a:cubicBezTo>
                      <a:pt x="205" y="346"/>
                      <a:pt x="205" y="346"/>
                      <a:pt x="205" y="346"/>
                    </a:cubicBezTo>
                    <a:cubicBezTo>
                      <a:pt x="192" y="325"/>
                      <a:pt x="192" y="325"/>
                      <a:pt x="192" y="325"/>
                    </a:cubicBezTo>
                    <a:cubicBezTo>
                      <a:pt x="191" y="317"/>
                      <a:pt x="191" y="317"/>
                      <a:pt x="191" y="317"/>
                    </a:cubicBezTo>
                    <a:cubicBezTo>
                      <a:pt x="179" y="299"/>
                      <a:pt x="179" y="299"/>
                      <a:pt x="179" y="299"/>
                    </a:cubicBezTo>
                    <a:cubicBezTo>
                      <a:pt x="200" y="303"/>
                      <a:pt x="200" y="303"/>
                      <a:pt x="200" y="303"/>
                    </a:cubicBezTo>
                    <a:cubicBezTo>
                      <a:pt x="197" y="309"/>
                      <a:pt x="197" y="309"/>
                      <a:pt x="197" y="309"/>
                    </a:cubicBezTo>
                    <a:cubicBezTo>
                      <a:pt x="206" y="311"/>
                      <a:pt x="206" y="311"/>
                      <a:pt x="206" y="311"/>
                    </a:cubicBezTo>
                    <a:cubicBezTo>
                      <a:pt x="211" y="303"/>
                      <a:pt x="211" y="303"/>
                      <a:pt x="211" y="303"/>
                    </a:cubicBezTo>
                    <a:cubicBezTo>
                      <a:pt x="216" y="304"/>
                      <a:pt x="216" y="304"/>
                      <a:pt x="216" y="304"/>
                    </a:cubicBezTo>
                    <a:cubicBezTo>
                      <a:pt x="221" y="296"/>
                      <a:pt x="221" y="296"/>
                      <a:pt x="221" y="296"/>
                    </a:cubicBezTo>
                    <a:cubicBezTo>
                      <a:pt x="216" y="296"/>
                      <a:pt x="216" y="296"/>
                      <a:pt x="216" y="296"/>
                    </a:cubicBezTo>
                    <a:cubicBezTo>
                      <a:pt x="211" y="287"/>
                      <a:pt x="211" y="287"/>
                      <a:pt x="211" y="287"/>
                    </a:cubicBezTo>
                    <a:cubicBezTo>
                      <a:pt x="211" y="287"/>
                      <a:pt x="205" y="291"/>
                      <a:pt x="202" y="289"/>
                    </a:cubicBezTo>
                    <a:cubicBezTo>
                      <a:pt x="197" y="286"/>
                      <a:pt x="202" y="284"/>
                      <a:pt x="202" y="280"/>
                    </a:cubicBezTo>
                    <a:cubicBezTo>
                      <a:pt x="202" y="276"/>
                      <a:pt x="194" y="277"/>
                      <a:pt x="192" y="275"/>
                    </a:cubicBezTo>
                    <a:cubicBezTo>
                      <a:pt x="190" y="274"/>
                      <a:pt x="196" y="272"/>
                      <a:pt x="196" y="272"/>
                    </a:cubicBezTo>
                    <a:cubicBezTo>
                      <a:pt x="208" y="267"/>
                      <a:pt x="208" y="267"/>
                      <a:pt x="208" y="267"/>
                    </a:cubicBezTo>
                    <a:cubicBezTo>
                      <a:pt x="219" y="260"/>
                      <a:pt x="219" y="260"/>
                      <a:pt x="219" y="260"/>
                    </a:cubicBezTo>
                    <a:cubicBezTo>
                      <a:pt x="220" y="265"/>
                      <a:pt x="220" y="265"/>
                      <a:pt x="220" y="265"/>
                    </a:cubicBezTo>
                    <a:cubicBezTo>
                      <a:pt x="226" y="265"/>
                      <a:pt x="226" y="265"/>
                      <a:pt x="226" y="265"/>
                    </a:cubicBezTo>
                    <a:cubicBezTo>
                      <a:pt x="226" y="265"/>
                      <a:pt x="239" y="279"/>
                      <a:pt x="245" y="282"/>
                    </a:cubicBezTo>
                    <a:cubicBezTo>
                      <a:pt x="251" y="284"/>
                      <a:pt x="253" y="275"/>
                      <a:pt x="253" y="275"/>
                    </a:cubicBezTo>
                    <a:close/>
                    <a:moveTo>
                      <a:pt x="247" y="72"/>
                    </a:moveTo>
                    <a:cubicBezTo>
                      <a:pt x="234" y="72"/>
                      <a:pt x="238" y="86"/>
                      <a:pt x="247" y="87"/>
                    </a:cubicBezTo>
                    <a:cubicBezTo>
                      <a:pt x="258" y="88"/>
                      <a:pt x="262" y="72"/>
                      <a:pt x="247" y="72"/>
                    </a:cubicBezTo>
                    <a:close/>
                    <a:moveTo>
                      <a:pt x="288" y="89"/>
                    </a:moveTo>
                    <a:cubicBezTo>
                      <a:pt x="288" y="89"/>
                      <a:pt x="293" y="91"/>
                      <a:pt x="296" y="94"/>
                    </a:cubicBezTo>
                    <a:cubicBezTo>
                      <a:pt x="300" y="96"/>
                      <a:pt x="303" y="89"/>
                      <a:pt x="298" y="84"/>
                    </a:cubicBezTo>
                    <a:cubicBezTo>
                      <a:pt x="292" y="79"/>
                      <a:pt x="288" y="89"/>
                      <a:pt x="288" y="89"/>
                    </a:cubicBezTo>
                    <a:close/>
                    <a:moveTo>
                      <a:pt x="274" y="125"/>
                    </a:moveTo>
                    <a:cubicBezTo>
                      <a:pt x="276" y="133"/>
                      <a:pt x="276" y="133"/>
                      <a:pt x="276" y="133"/>
                    </a:cubicBezTo>
                    <a:cubicBezTo>
                      <a:pt x="285" y="134"/>
                      <a:pt x="285" y="134"/>
                      <a:pt x="285" y="134"/>
                    </a:cubicBezTo>
                    <a:cubicBezTo>
                      <a:pt x="285" y="129"/>
                      <a:pt x="285" y="129"/>
                      <a:pt x="285" y="129"/>
                    </a:cubicBezTo>
                    <a:cubicBezTo>
                      <a:pt x="285" y="129"/>
                      <a:pt x="288" y="134"/>
                      <a:pt x="291" y="134"/>
                    </a:cubicBezTo>
                    <a:cubicBezTo>
                      <a:pt x="294" y="135"/>
                      <a:pt x="290" y="127"/>
                      <a:pt x="290" y="127"/>
                    </a:cubicBezTo>
                    <a:cubicBezTo>
                      <a:pt x="293" y="116"/>
                      <a:pt x="293" y="116"/>
                      <a:pt x="293" y="116"/>
                    </a:cubicBezTo>
                    <a:cubicBezTo>
                      <a:pt x="291" y="116"/>
                      <a:pt x="291" y="116"/>
                      <a:pt x="291" y="116"/>
                    </a:cubicBezTo>
                    <a:cubicBezTo>
                      <a:pt x="287" y="122"/>
                      <a:pt x="287" y="122"/>
                      <a:pt x="287" y="122"/>
                    </a:cubicBezTo>
                    <a:cubicBezTo>
                      <a:pt x="287" y="122"/>
                      <a:pt x="278" y="118"/>
                      <a:pt x="274" y="125"/>
                    </a:cubicBezTo>
                    <a:close/>
                    <a:moveTo>
                      <a:pt x="322" y="160"/>
                    </a:moveTo>
                    <a:cubicBezTo>
                      <a:pt x="322" y="168"/>
                      <a:pt x="322" y="168"/>
                      <a:pt x="322" y="168"/>
                    </a:cubicBezTo>
                    <a:cubicBezTo>
                      <a:pt x="334" y="173"/>
                      <a:pt x="334" y="173"/>
                      <a:pt x="334" y="173"/>
                    </a:cubicBezTo>
                    <a:cubicBezTo>
                      <a:pt x="339" y="168"/>
                      <a:pt x="339" y="168"/>
                      <a:pt x="339" y="168"/>
                    </a:cubicBezTo>
                    <a:cubicBezTo>
                      <a:pt x="337" y="172"/>
                      <a:pt x="337" y="172"/>
                      <a:pt x="337" y="172"/>
                    </a:cubicBezTo>
                    <a:cubicBezTo>
                      <a:pt x="340" y="177"/>
                      <a:pt x="340" y="177"/>
                      <a:pt x="340" y="177"/>
                    </a:cubicBezTo>
                    <a:cubicBezTo>
                      <a:pt x="353" y="176"/>
                      <a:pt x="353" y="176"/>
                      <a:pt x="353" y="176"/>
                    </a:cubicBezTo>
                    <a:cubicBezTo>
                      <a:pt x="353" y="176"/>
                      <a:pt x="361" y="172"/>
                      <a:pt x="361" y="166"/>
                    </a:cubicBezTo>
                    <a:cubicBezTo>
                      <a:pt x="361" y="161"/>
                      <a:pt x="350" y="157"/>
                      <a:pt x="350" y="157"/>
                    </a:cubicBezTo>
                    <a:cubicBezTo>
                      <a:pt x="350" y="157"/>
                      <a:pt x="348" y="150"/>
                      <a:pt x="343" y="151"/>
                    </a:cubicBezTo>
                    <a:cubicBezTo>
                      <a:pt x="338" y="152"/>
                      <a:pt x="336" y="157"/>
                      <a:pt x="336" y="157"/>
                    </a:cubicBezTo>
                    <a:lnTo>
                      <a:pt x="322" y="160"/>
                    </a:lnTo>
                    <a:close/>
                    <a:moveTo>
                      <a:pt x="274" y="154"/>
                    </a:moveTo>
                    <a:cubicBezTo>
                      <a:pt x="274" y="162"/>
                      <a:pt x="277" y="161"/>
                      <a:pt x="279" y="156"/>
                    </a:cubicBezTo>
                    <a:cubicBezTo>
                      <a:pt x="280" y="149"/>
                      <a:pt x="275" y="149"/>
                      <a:pt x="274" y="154"/>
                    </a:cubicBezTo>
                    <a:close/>
                    <a:moveTo>
                      <a:pt x="214" y="193"/>
                    </a:moveTo>
                    <a:cubicBezTo>
                      <a:pt x="221" y="191"/>
                      <a:pt x="221" y="191"/>
                      <a:pt x="221" y="191"/>
                    </a:cubicBezTo>
                    <a:cubicBezTo>
                      <a:pt x="208" y="184"/>
                      <a:pt x="208" y="184"/>
                      <a:pt x="208" y="184"/>
                    </a:cubicBezTo>
                    <a:lnTo>
                      <a:pt x="214" y="193"/>
                    </a:lnTo>
                    <a:close/>
                    <a:moveTo>
                      <a:pt x="202" y="191"/>
                    </a:moveTo>
                    <a:cubicBezTo>
                      <a:pt x="206" y="188"/>
                      <a:pt x="206" y="188"/>
                      <a:pt x="206" y="188"/>
                    </a:cubicBezTo>
                    <a:cubicBezTo>
                      <a:pt x="202" y="185"/>
                      <a:pt x="202" y="185"/>
                      <a:pt x="202" y="185"/>
                    </a:cubicBezTo>
                    <a:cubicBezTo>
                      <a:pt x="197" y="190"/>
                      <a:pt x="197" y="190"/>
                      <a:pt x="197" y="190"/>
                    </a:cubicBezTo>
                    <a:lnTo>
                      <a:pt x="202" y="191"/>
                    </a:lnTo>
                    <a:close/>
                    <a:moveTo>
                      <a:pt x="222" y="185"/>
                    </a:moveTo>
                    <a:cubicBezTo>
                      <a:pt x="225" y="186"/>
                      <a:pt x="225" y="186"/>
                      <a:pt x="225" y="186"/>
                    </a:cubicBezTo>
                    <a:cubicBezTo>
                      <a:pt x="228" y="180"/>
                      <a:pt x="228" y="180"/>
                      <a:pt x="228" y="180"/>
                    </a:cubicBezTo>
                    <a:cubicBezTo>
                      <a:pt x="224" y="179"/>
                      <a:pt x="224" y="179"/>
                      <a:pt x="224" y="179"/>
                    </a:cubicBezTo>
                    <a:lnTo>
                      <a:pt x="222" y="185"/>
                    </a:lnTo>
                    <a:close/>
                    <a:moveTo>
                      <a:pt x="236" y="193"/>
                    </a:moveTo>
                    <a:cubicBezTo>
                      <a:pt x="240" y="195"/>
                      <a:pt x="240" y="189"/>
                      <a:pt x="236" y="189"/>
                    </a:cubicBezTo>
                    <a:cubicBezTo>
                      <a:pt x="231" y="189"/>
                      <a:pt x="230" y="192"/>
                      <a:pt x="236" y="193"/>
                    </a:cubicBezTo>
                    <a:close/>
                    <a:moveTo>
                      <a:pt x="268" y="198"/>
                    </a:moveTo>
                    <a:cubicBezTo>
                      <a:pt x="262" y="200"/>
                      <a:pt x="262" y="200"/>
                      <a:pt x="262" y="200"/>
                    </a:cubicBezTo>
                    <a:cubicBezTo>
                      <a:pt x="255" y="191"/>
                      <a:pt x="255" y="191"/>
                      <a:pt x="255" y="191"/>
                    </a:cubicBezTo>
                    <a:cubicBezTo>
                      <a:pt x="252" y="198"/>
                      <a:pt x="252" y="198"/>
                      <a:pt x="252" y="198"/>
                    </a:cubicBezTo>
                    <a:cubicBezTo>
                      <a:pt x="260" y="206"/>
                      <a:pt x="260" y="206"/>
                      <a:pt x="260" y="206"/>
                    </a:cubicBezTo>
                    <a:lnTo>
                      <a:pt x="268" y="198"/>
                    </a:lnTo>
                    <a:close/>
                    <a:moveTo>
                      <a:pt x="350" y="220"/>
                    </a:moveTo>
                    <a:cubicBezTo>
                      <a:pt x="350" y="213"/>
                      <a:pt x="343" y="203"/>
                      <a:pt x="343" y="203"/>
                    </a:cubicBezTo>
                    <a:cubicBezTo>
                      <a:pt x="329" y="208"/>
                      <a:pt x="329" y="208"/>
                      <a:pt x="329" y="208"/>
                    </a:cubicBezTo>
                    <a:cubicBezTo>
                      <a:pt x="333" y="213"/>
                      <a:pt x="333" y="213"/>
                      <a:pt x="333" y="213"/>
                    </a:cubicBezTo>
                    <a:cubicBezTo>
                      <a:pt x="333" y="213"/>
                      <a:pt x="337" y="216"/>
                      <a:pt x="339" y="220"/>
                    </a:cubicBezTo>
                    <a:cubicBezTo>
                      <a:pt x="341" y="222"/>
                      <a:pt x="334" y="227"/>
                      <a:pt x="334" y="227"/>
                    </a:cubicBezTo>
                    <a:cubicBezTo>
                      <a:pt x="343" y="233"/>
                      <a:pt x="343" y="233"/>
                      <a:pt x="343" y="233"/>
                    </a:cubicBezTo>
                    <a:cubicBezTo>
                      <a:pt x="343" y="233"/>
                      <a:pt x="350" y="225"/>
                      <a:pt x="350" y="220"/>
                    </a:cubicBezTo>
                    <a:close/>
                    <a:moveTo>
                      <a:pt x="318" y="206"/>
                    </a:moveTo>
                    <a:cubicBezTo>
                      <a:pt x="315" y="207"/>
                      <a:pt x="315" y="207"/>
                      <a:pt x="315" y="207"/>
                    </a:cubicBezTo>
                    <a:cubicBezTo>
                      <a:pt x="317" y="213"/>
                      <a:pt x="317" y="213"/>
                      <a:pt x="317" y="213"/>
                    </a:cubicBezTo>
                    <a:cubicBezTo>
                      <a:pt x="319" y="211"/>
                      <a:pt x="319" y="211"/>
                      <a:pt x="319" y="211"/>
                    </a:cubicBezTo>
                    <a:lnTo>
                      <a:pt x="318" y="206"/>
                    </a:lnTo>
                    <a:close/>
                    <a:moveTo>
                      <a:pt x="355" y="207"/>
                    </a:moveTo>
                    <a:cubicBezTo>
                      <a:pt x="348" y="205"/>
                      <a:pt x="348" y="205"/>
                      <a:pt x="348" y="205"/>
                    </a:cubicBezTo>
                    <a:cubicBezTo>
                      <a:pt x="350" y="208"/>
                      <a:pt x="350" y="208"/>
                      <a:pt x="350" y="208"/>
                    </a:cubicBezTo>
                    <a:lnTo>
                      <a:pt x="355" y="207"/>
                    </a:lnTo>
                    <a:close/>
                    <a:moveTo>
                      <a:pt x="295" y="267"/>
                    </a:moveTo>
                    <a:cubicBezTo>
                      <a:pt x="292" y="263"/>
                      <a:pt x="292" y="263"/>
                      <a:pt x="292" y="263"/>
                    </a:cubicBezTo>
                    <a:cubicBezTo>
                      <a:pt x="294" y="262"/>
                      <a:pt x="294" y="262"/>
                      <a:pt x="294" y="262"/>
                    </a:cubicBezTo>
                    <a:cubicBezTo>
                      <a:pt x="290" y="255"/>
                      <a:pt x="290" y="255"/>
                      <a:pt x="290" y="255"/>
                    </a:cubicBezTo>
                    <a:cubicBezTo>
                      <a:pt x="286" y="255"/>
                      <a:pt x="286" y="255"/>
                      <a:pt x="286" y="255"/>
                    </a:cubicBezTo>
                    <a:cubicBezTo>
                      <a:pt x="282" y="249"/>
                      <a:pt x="282" y="249"/>
                      <a:pt x="282" y="249"/>
                    </a:cubicBezTo>
                    <a:cubicBezTo>
                      <a:pt x="276" y="257"/>
                      <a:pt x="276" y="257"/>
                      <a:pt x="276" y="257"/>
                    </a:cubicBezTo>
                    <a:cubicBezTo>
                      <a:pt x="292" y="271"/>
                      <a:pt x="292" y="271"/>
                      <a:pt x="292" y="271"/>
                    </a:cubicBezTo>
                    <a:lnTo>
                      <a:pt x="295" y="267"/>
                    </a:lnTo>
                    <a:close/>
                    <a:moveTo>
                      <a:pt x="295" y="273"/>
                    </a:moveTo>
                    <a:cubicBezTo>
                      <a:pt x="301" y="276"/>
                      <a:pt x="301" y="276"/>
                      <a:pt x="301" y="276"/>
                    </a:cubicBezTo>
                    <a:cubicBezTo>
                      <a:pt x="302" y="278"/>
                      <a:pt x="302" y="278"/>
                      <a:pt x="302" y="278"/>
                    </a:cubicBezTo>
                    <a:cubicBezTo>
                      <a:pt x="309" y="275"/>
                      <a:pt x="309" y="275"/>
                      <a:pt x="309" y="275"/>
                    </a:cubicBezTo>
                    <a:cubicBezTo>
                      <a:pt x="308" y="271"/>
                      <a:pt x="308" y="271"/>
                      <a:pt x="308" y="271"/>
                    </a:cubicBezTo>
                    <a:cubicBezTo>
                      <a:pt x="296" y="271"/>
                      <a:pt x="296" y="271"/>
                      <a:pt x="296" y="271"/>
                    </a:cubicBezTo>
                    <a:lnTo>
                      <a:pt x="295" y="273"/>
                    </a:lnTo>
                    <a:close/>
                    <a:moveTo>
                      <a:pt x="298" y="288"/>
                    </a:moveTo>
                    <a:cubicBezTo>
                      <a:pt x="293" y="282"/>
                      <a:pt x="293" y="282"/>
                      <a:pt x="293" y="282"/>
                    </a:cubicBezTo>
                    <a:cubicBezTo>
                      <a:pt x="291" y="282"/>
                      <a:pt x="291" y="282"/>
                      <a:pt x="291" y="282"/>
                    </a:cubicBezTo>
                    <a:cubicBezTo>
                      <a:pt x="291" y="290"/>
                      <a:pt x="291" y="290"/>
                      <a:pt x="291" y="290"/>
                    </a:cubicBezTo>
                    <a:lnTo>
                      <a:pt x="298" y="288"/>
                    </a:lnTo>
                    <a:close/>
                    <a:moveTo>
                      <a:pt x="284" y="273"/>
                    </a:moveTo>
                    <a:cubicBezTo>
                      <a:pt x="278" y="278"/>
                      <a:pt x="278" y="278"/>
                      <a:pt x="278" y="278"/>
                    </a:cubicBezTo>
                    <a:cubicBezTo>
                      <a:pt x="285" y="279"/>
                      <a:pt x="285" y="279"/>
                      <a:pt x="285" y="279"/>
                    </a:cubicBezTo>
                    <a:lnTo>
                      <a:pt x="284" y="273"/>
                    </a:lnTo>
                    <a:close/>
                    <a:moveTo>
                      <a:pt x="315" y="278"/>
                    </a:moveTo>
                    <a:cubicBezTo>
                      <a:pt x="311" y="283"/>
                      <a:pt x="311" y="283"/>
                      <a:pt x="311" y="283"/>
                    </a:cubicBezTo>
                    <a:cubicBezTo>
                      <a:pt x="316" y="283"/>
                      <a:pt x="316" y="283"/>
                      <a:pt x="316" y="283"/>
                    </a:cubicBezTo>
                    <a:cubicBezTo>
                      <a:pt x="322" y="278"/>
                      <a:pt x="322" y="278"/>
                      <a:pt x="322" y="278"/>
                    </a:cubicBezTo>
                    <a:lnTo>
                      <a:pt x="315" y="278"/>
                    </a:lnTo>
                    <a:close/>
                    <a:moveTo>
                      <a:pt x="322" y="310"/>
                    </a:moveTo>
                    <a:cubicBezTo>
                      <a:pt x="324" y="314"/>
                      <a:pt x="327" y="316"/>
                      <a:pt x="327" y="316"/>
                    </a:cubicBezTo>
                    <a:cubicBezTo>
                      <a:pt x="333" y="307"/>
                      <a:pt x="333" y="307"/>
                      <a:pt x="333" y="307"/>
                    </a:cubicBezTo>
                    <a:cubicBezTo>
                      <a:pt x="335" y="300"/>
                      <a:pt x="335" y="300"/>
                      <a:pt x="335" y="300"/>
                    </a:cubicBezTo>
                    <a:cubicBezTo>
                      <a:pt x="326" y="295"/>
                      <a:pt x="326" y="295"/>
                      <a:pt x="326" y="295"/>
                    </a:cubicBezTo>
                    <a:cubicBezTo>
                      <a:pt x="320" y="305"/>
                      <a:pt x="320" y="305"/>
                      <a:pt x="320" y="305"/>
                    </a:cubicBezTo>
                    <a:cubicBezTo>
                      <a:pt x="320" y="305"/>
                      <a:pt x="319" y="307"/>
                      <a:pt x="322" y="310"/>
                    </a:cubicBezTo>
                    <a:close/>
                    <a:moveTo>
                      <a:pt x="310" y="303"/>
                    </a:moveTo>
                    <a:cubicBezTo>
                      <a:pt x="310" y="303"/>
                      <a:pt x="308" y="305"/>
                      <a:pt x="308" y="307"/>
                    </a:cubicBezTo>
                    <a:cubicBezTo>
                      <a:pt x="307" y="310"/>
                      <a:pt x="310" y="316"/>
                      <a:pt x="312" y="314"/>
                    </a:cubicBezTo>
                    <a:cubicBezTo>
                      <a:pt x="316" y="310"/>
                      <a:pt x="317" y="303"/>
                      <a:pt x="317" y="303"/>
                    </a:cubicBezTo>
                    <a:lnTo>
                      <a:pt x="310" y="303"/>
                    </a:lnTo>
                    <a:close/>
                    <a:moveTo>
                      <a:pt x="306" y="309"/>
                    </a:moveTo>
                    <a:cubicBezTo>
                      <a:pt x="302" y="315"/>
                      <a:pt x="302" y="315"/>
                      <a:pt x="302" y="315"/>
                    </a:cubicBezTo>
                    <a:cubicBezTo>
                      <a:pt x="307" y="316"/>
                      <a:pt x="307" y="316"/>
                      <a:pt x="307" y="316"/>
                    </a:cubicBezTo>
                    <a:lnTo>
                      <a:pt x="306" y="309"/>
                    </a:lnTo>
                    <a:close/>
                    <a:moveTo>
                      <a:pt x="290" y="320"/>
                    </a:moveTo>
                    <a:cubicBezTo>
                      <a:pt x="290" y="320"/>
                      <a:pt x="290" y="318"/>
                      <a:pt x="288" y="316"/>
                    </a:cubicBezTo>
                    <a:cubicBezTo>
                      <a:pt x="285" y="314"/>
                      <a:pt x="283" y="316"/>
                      <a:pt x="283" y="316"/>
                    </a:cubicBezTo>
                    <a:cubicBezTo>
                      <a:pt x="288" y="323"/>
                      <a:pt x="288" y="323"/>
                      <a:pt x="288" y="323"/>
                    </a:cubicBezTo>
                    <a:lnTo>
                      <a:pt x="290" y="320"/>
                    </a:lnTo>
                    <a:close/>
                    <a:moveTo>
                      <a:pt x="271" y="311"/>
                    </a:moveTo>
                    <a:cubicBezTo>
                      <a:pt x="274" y="311"/>
                      <a:pt x="274" y="311"/>
                      <a:pt x="274" y="311"/>
                    </a:cubicBezTo>
                    <a:cubicBezTo>
                      <a:pt x="277" y="307"/>
                      <a:pt x="277" y="307"/>
                      <a:pt x="277" y="307"/>
                    </a:cubicBezTo>
                    <a:cubicBezTo>
                      <a:pt x="275" y="304"/>
                      <a:pt x="275" y="304"/>
                      <a:pt x="275" y="304"/>
                    </a:cubicBezTo>
                    <a:cubicBezTo>
                      <a:pt x="272" y="306"/>
                      <a:pt x="272" y="306"/>
                      <a:pt x="272" y="306"/>
                    </a:cubicBezTo>
                    <a:lnTo>
                      <a:pt x="271" y="311"/>
                    </a:lnTo>
                    <a:close/>
                    <a:moveTo>
                      <a:pt x="270" y="294"/>
                    </a:moveTo>
                    <a:cubicBezTo>
                      <a:pt x="271" y="290"/>
                      <a:pt x="270" y="288"/>
                      <a:pt x="270" y="288"/>
                    </a:cubicBezTo>
                    <a:cubicBezTo>
                      <a:pt x="266" y="290"/>
                      <a:pt x="266" y="290"/>
                      <a:pt x="266" y="290"/>
                    </a:cubicBezTo>
                    <a:cubicBezTo>
                      <a:pt x="266" y="296"/>
                      <a:pt x="266" y="296"/>
                      <a:pt x="266" y="296"/>
                    </a:cubicBezTo>
                    <a:cubicBezTo>
                      <a:pt x="267" y="301"/>
                      <a:pt x="267" y="301"/>
                      <a:pt x="267" y="301"/>
                    </a:cubicBezTo>
                    <a:cubicBezTo>
                      <a:pt x="267" y="301"/>
                      <a:pt x="270" y="300"/>
                      <a:pt x="270" y="294"/>
                    </a:cubicBezTo>
                    <a:close/>
                    <a:moveTo>
                      <a:pt x="260" y="275"/>
                    </a:moveTo>
                    <a:cubicBezTo>
                      <a:pt x="259" y="287"/>
                      <a:pt x="259" y="287"/>
                      <a:pt x="259" y="287"/>
                    </a:cubicBezTo>
                    <a:cubicBezTo>
                      <a:pt x="267" y="276"/>
                      <a:pt x="267" y="276"/>
                      <a:pt x="267" y="276"/>
                    </a:cubicBezTo>
                    <a:lnTo>
                      <a:pt x="260" y="275"/>
                    </a:lnTo>
                    <a:close/>
                    <a:moveTo>
                      <a:pt x="366" y="261"/>
                    </a:moveTo>
                    <a:cubicBezTo>
                      <a:pt x="367" y="258"/>
                      <a:pt x="367" y="258"/>
                      <a:pt x="367" y="258"/>
                    </a:cubicBezTo>
                    <a:cubicBezTo>
                      <a:pt x="359" y="262"/>
                      <a:pt x="359" y="262"/>
                      <a:pt x="359" y="262"/>
                    </a:cubicBezTo>
                    <a:cubicBezTo>
                      <a:pt x="359" y="262"/>
                      <a:pt x="356" y="257"/>
                      <a:pt x="352" y="262"/>
                    </a:cubicBezTo>
                    <a:cubicBezTo>
                      <a:pt x="348" y="269"/>
                      <a:pt x="351" y="274"/>
                      <a:pt x="351" y="274"/>
                    </a:cubicBezTo>
                    <a:cubicBezTo>
                      <a:pt x="358" y="269"/>
                      <a:pt x="358" y="269"/>
                      <a:pt x="358" y="269"/>
                    </a:cubicBezTo>
                    <a:cubicBezTo>
                      <a:pt x="362" y="269"/>
                      <a:pt x="362" y="269"/>
                      <a:pt x="362" y="269"/>
                    </a:cubicBezTo>
                    <a:lnTo>
                      <a:pt x="366" y="261"/>
                    </a:lnTo>
                    <a:close/>
                    <a:moveTo>
                      <a:pt x="381" y="255"/>
                    </a:moveTo>
                    <a:cubicBezTo>
                      <a:pt x="384" y="253"/>
                      <a:pt x="384" y="253"/>
                      <a:pt x="384" y="253"/>
                    </a:cubicBezTo>
                    <a:cubicBezTo>
                      <a:pt x="384" y="253"/>
                      <a:pt x="390" y="258"/>
                      <a:pt x="393" y="257"/>
                    </a:cubicBezTo>
                    <a:cubicBezTo>
                      <a:pt x="396" y="256"/>
                      <a:pt x="401" y="249"/>
                      <a:pt x="401" y="249"/>
                    </a:cubicBezTo>
                    <a:cubicBezTo>
                      <a:pt x="402" y="244"/>
                      <a:pt x="402" y="244"/>
                      <a:pt x="402" y="244"/>
                    </a:cubicBezTo>
                    <a:cubicBezTo>
                      <a:pt x="398" y="244"/>
                      <a:pt x="398" y="244"/>
                      <a:pt x="398" y="244"/>
                    </a:cubicBezTo>
                    <a:cubicBezTo>
                      <a:pt x="398" y="246"/>
                      <a:pt x="398" y="246"/>
                      <a:pt x="398" y="246"/>
                    </a:cubicBezTo>
                    <a:cubicBezTo>
                      <a:pt x="398" y="246"/>
                      <a:pt x="393" y="242"/>
                      <a:pt x="387" y="245"/>
                    </a:cubicBezTo>
                    <a:cubicBezTo>
                      <a:pt x="381" y="248"/>
                      <a:pt x="376" y="252"/>
                      <a:pt x="376" y="252"/>
                    </a:cubicBezTo>
                    <a:cubicBezTo>
                      <a:pt x="377" y="257"/>
                      <a:pt x="377" y="257"/>
                      <a:pt x="377" y="257"/>
                    </a:cubicBezTo>
                    <a:lnTo>
                      <a:pt x="381" y="255"/>
                    </a:lnTo>
                    <a:close/>
                    <a:moveTo>
                      <a:pt x="373" y="258"/>
                    </a:moveTo>
                    <a:cubicBezTo>
                      <a:pt x="370" y="263"/>
                      <a:pt x="370" y="263"/>
                      <a:pt x="370" y="263"/>
                    </a:cubicBezTo>
                    <a:cubicBezTo>
                      <a:pt x="376" y="264"/>
                      <a:pt x="376" y="264"/>
                      <a:pt x="376" y="264"/>
                    </a:cubicBezTo>
                    <a:lnTo>
                      <a:pt x="373" y="258"/>
                    </a:lnTo>
                    <a:close/>
                    <a:moveTo>
                      <a:pt x="377" y="276"/>
                    </a:moveTo>
                    <a:cubicBezTo>
                      <a:pt x="382" y="284"/>
                      <a:pt x="382" y="284"/>
                      <a:pt x="382" y="284"/>
                    </a:cubicBezTo>
                    <a:cubicBezTo>
                      <a:pt x="382" y="274"/>
                      <a:pt x="382" y="274"/>
                      <a:pt x="382" y="274"/>
                    </a:cubicBezTo>
                    <a:lnTo>
                      <a:pt x="377" y="276"/>
                    </a:lnTo>
                    <a:close/>
                    <a:moveTo>
                      <a:pt x="398" y="264"/>
                    </a:moveTo>
                    <a:cubicBezTo>
                      <a:pt x="402" y="269"/>
                      <a:pt x="402" y="269"/>
                      <a:pt x="402" y="269"/>
                    </a:cubicBezTo>
                    <a:cubicBezTo>
                      <a:pt x="405" y="267"/>
                      <a:pt x="405" y="267"/>
                      <a:pt x="405" y="267"/>
                    </a:cubicBezTo>
                    <a:lnTo>
                      <a:pt x="398" y="264"/>
                    </a:lnTo>
                    <a:close/>
                    <a:moveTo>
                      <a:pt x="387" y="278"/>
                    </a:moveTo>
                    <a:cubicBezTo>
                      <a:pt x="393" y="278"/>
                      <a:pt x="393" y="278"/>
                      <a:pt x="393" y="278"/>
                    </a:cubicBezTo>
                    <a:cubicBezTo>
                      <a:pt x="396" y="276"/>
                      <a:pt x="396" y="276"/>
                      <a:pt x="396" y="276"/>
                    </a:cubicBezTo>
                    <a:cubicBezTo>
                      <a:pt x="387" y="276"/>
                      <a:pt x="387" y="276"/>
                      <a:pt x="387" y="276"/>
                    </a:cubicBezTo>
                    <a:lnTo>
                      <a:pt x="387" y="278"/>
                    </a:lnTo>
                    <a:close/>
                    <a:moveTo>
                      <a:pt x="393" y="285"/>
                    </a:moveTo>
                    <a:cubicBezTo>
                      <a:pt x="398" y="290"/>
                      <a:pt x="398" y="290"/>
                      <a:pt x="398" y="290"/>
                    </a:cubicBezTo>
                    <a:cubicBezTo>
                      <a:pt x="402" y="289"/>
                      <a:pt x="402" y="289"/>
                      <a:pt x="402" y="289"/>
                    </a:cubicBezTo>
                    <a:cubicBezTo>
                      <a:pt x="398" y="284"/>
                      <a:pt x="398" y="284"/>
                      <a:pt x="398" y="284"/>
                    </a:cubicBezTo>
                    <a:lnTo>
                      <a:pt x="393" y="285"/>
                    </a:lnTo>
                    <a:close/>
                    <a:moveTo>
                      <a:pt x="410" y="292"/>
                    </a:moveTo>
                    <a:cubicBezTo>
                      <a:pt x="403" y="292"/>
                      <a:pt x="403" y="292"/>
                      <a:pt x="403" y="292"/>
                    </a:cubicBezTo>
                    <a:cubicBezTo>
                      <a:pt x="405" y="300"/>
                      <a:pt x="405" y="300"/>
                      <a:pt x="405" y="300"/>
                    </a:cubicBezTo>
                    <a:cubicBezTo>
                      <a:pt x="413" y="299"/>
                      <a:pt x="413" y="299"/>
                      <a:pt x="413" y="299"/>
                    </a:cubicBezTo>
                    <a:lnTo>
                      <a:pt x="410" y="292"/>
                    </a:lnTo>
                    <a:close/>
                    <a:moveTo>
                      <a:pt x="430" y="301"/>
                    </a:moveTo>
                    <a:cubicBezTo>
                      <a:pt x="421" y="296"/>
                      <a:pt x="421" y="296"/>
                      <a:pt x="421" y="296"/>
                    </a:cubicBezTo>
                    <a:cubicBezTo>
                      <a:pt x="406" y="314"/>
                      <a:pt x="406" y="314"/>
                      <a:pt x="406" y="314"/>
                    </a:cubicBezTo>
                    <a:cubicBezTo>
                      <a:pt x="409" y="317"/>
                      <a:pt x="409" y="317"/>
                      <a:pt x="409" y="317"/>
                    </a:cubicBezTo>
                    <a:cubicBezTo>
                      <a:pt x="411" y="312"/>
                      <a:pt x="411" y="312"/>
                      <a:pt x="411" y="312"/>
                    </a:cubicBezTo>
                    <a:cubicBezTo>
                      <a:pt x="418" y="311"/>
                      <a:pt x="418" y="311"/>
                      <a:pt x="418" y="311"/>
                    </a:cubicBezTo>
                    <a:cubicBezTo>
                      <a:pt x="421" y="306"/>
                      <a:pt x="421" y="306"/>
                      <a:pt x="421" y="306"/>
                    </a:cubicBezTo>
                    <a:lnTo>
                      <a:pt x="430" y="301"/>
                    </a:lnTo>
                    <a:close/>
                    <a:moveTo>
                      <a:pt x="328" y="330"/>
                    </a:moveTo>
                    <a:cubicBezTo>
                      <a:pt x="319" y="322"/>
                      <a:pt x="319" y="322"/>
                      <a:pt x="319" y="322"/>
                    </a:cubicBezTo>
                    <a:cubicBezTo>
                      <a:pt x="319" y="329"/>
                      <a:pt x="319" y="329"/>
                      <a:pt x="319" y="329"/>
                    </a:cubicBezTo>
                    <a:cubicBezTo>
                      <a:pt x="326" y="333"/>
                      <a:pt x="326" y="333"/>
                      <a:pt x="326" y="333"/>
                    </a:cubicBezTo>
                    <a:lnTo>
                      <a:pt x="328" y="330"/>
                    </a:lnTo>
                    <a:close/>
                    <a:moveTo>
                      <a:pt x="354" y="306"/>
                    </a:moveTo>
                    <a:cubicBezTo>
                      <a:pt x="344" y="321"/>
                      <a:pt x="344" y="321"/>
                      <a:pt x="344" y="321"/>
                    </a:cubicBezTo>
                    <a:cubicBezTo>
                      <a:pt x="352" y="319"/>
                      <a:pt x="352" y="319"/>
                      <a:pt x="352" y="319"/>
                    </a:cubicBezTo>
                    <a:cubicBezTo>
                      <a:pt x="355" y="311"/>
                      <a:pt x="355" y="311"/>
                      <a:pt x="355" y="311"/>
                    </a:cubicBezTo>
                    <a:cubicBezTo>
                      <a:pt x="360" y="308"/>
                      <a:pt x="360" y="308"/>
                      <a:pt x="360" y="308"/>
                    </a:cubicBezTo>
                    <a:lnTo>
                      <a:pt x="354" y="306"/>
                    </a:lnTo>
                    <a:close/>
                    <a:moveTo>
                      <a:pt x="378" y="333"/>
                    </a:moveTo>
                    <a:cubicBezTo>
                      <a:pt x="386" y="323"/>
                      <a:pt x="386" y="323"/>
                      <a:pt x="386" y="323"/>
                    </a:cubicBezTo>
                    <a:cubicBezTo>
                      <a:pt x="383" y="321"/>
                      <a:pt x="383" y="321"/>
                      <a:pt x="383" y="321"/>
                    </a:cubicBezTo>
                    <a:cubicBezTo>
                      <a:pt x="375" y="326"/>
                      <a:pt x="375" y="326"/>
                      <a:pt x="375" y="326"/>
                    </a:cubicBezTo>
                    <a:lnTo>
                      <a:pt x="378" y="333"/>
                    </a:lnTo>
                    <a:close/>
                    <a:moveTo>
                      <a:pt x="231" y="176"/>
                    </a:moveTo>
                    <a:cubicBezTo>
                      <a:pt x="233" y="170"/>
                      <a:pt x="233" y="170"/>
                      <a:pt x="233" y="170"/>
                    </a:cubicBezTo>
                    <a:cubicBezTo>
                      <a:pt x="228" y="175"/>
                      <a:pt x="228" y="175"/>
                      <a:pt x="228" y="175"/>
                    </a:cubicBezTo>
                    <a:lnTo>
                      <a:pt x="231" y="176"/>
                    </a:lnTo>
                    <a:close/>
                    <a:moveTo>
                      <a:pt x="211" y="268"/>
                    </a:moveTo>
                    <a:cubicBezTo>
                      <a:pt x="213" y="272"/>
                      <a:pt x="213" y="272"/>
                      <a:pt x="213" y="272"/>
                    </a:cubicBezTo>
                    <a:cubicBezTo>
                      <a:pt x="218" y="269"/>
                      <a:pt x="218" y="269"/>
                      <a:pt x="218" y="269"/>
                    </a:cubicBezTo>
                    <a:cubicBezTo>
                      <a:pt x="216" y="263"/>
                      <a:pt x="216" y="263"/>
                      <a:pt x="216" y="263"/>
                    </a:cubicBezTo>
                    <a:lnTo>
                      <a:pt x="211" y="268"/>
                    </a:lnTo>
                    <a:close/>
                    <a:moveTo>
                      <a:pt x="222" y="278"/>
                    </a:moveTo>
                    <a:cubicBezTo>
                      <a:pt x="213" y="278"/>
                      <a:pt x="213" y="278"/>
                      <a:pt x="213" y="278"/>
                    </a:cubicBezTo>
                    <a:cubicBezTo>
                      <a:pt x="217" y="286"/>
                      <a:pt x="217" y="286"/>
                      <a:pt x="217" y="286"/>
                    </a:cubicBezTo>
                    <a:lnTo>
                      <a:pt x="222" y="278"/>
                    </a:lnTo>
                    <a:close/>
                    <a:moveTo>
                      <a:pt x="200" y="382"/>
                    </a:moveTo>
                    <a:cubicBezTo>
                      <a:pt x="209" y="386"/>
                      <a:pt x="209" y="386"/>
                      <a:pt x="209" y="386"/>
                    </a:cubicBezTo>
                    <a:cubicBezTo>
                      <a:pt x="210" y="379"/>
                      <a:pt x="210" y="379"/>
                      <a:pt x="210" y="379"/>
                    </a:cubicBezTo>
                    <a:cubicBezTo>
                      <a:pt x="201" y="372"/>
                      <a:pt x="201" y="372"/>
                      <a:pt x="201" y="372"/>
                    </a:cubicBezTo>
                    <a:lnTo>
                      <a:pt x="200" y="382"/>
                    </a:lnTo>
                    <a:close/>
                    <a:moveTo>
                      <a:pt x="283" y="333"/>
                    </a:moveTo>
                    <a:cubicBezTo>
                      <a:pt x="276" y="332"/>
                      <a:pt x="276" y="332"/>
                      <a:pt x="276" y="332"/>
                    </a:cubicBezTo>
                    <a:cubicBezTo>
                      <a:pt x="276" y="337"/>
                      <a:pt x="276" y="337"/>
                      <a:pt x="276" y="337"/>
                    </a:cubicBezTo>
                    <a:cubicBezTo>
                      <a:pt x="273" y="334"/>
                      <a:pt x="273" y="334"/>
                      <a:pt x="273" y="334"/>
                    </a:cubicBezTo>
                    <a:cubicBezTo>
                      <a:pt x="270" y="335"/>
                      <a:pt x="270" y="335"/>
                      <a:pt x="270" y="335"/>
                    </a:cubicBezTo>
                    <a:cubicBezTo>
                      <a:pt x="269" y="345"/>
                      <a:pt x="269" y="345"/>
                      <a:pt x="269" y="345"/>
                    </a:cubicBezTo>
                    <a:cubicBezTo>
                      <a:pt x="283" y="341"/>
                      <a:pt x="283" y="341"/>
                      <a:pt x="283" y="341"/>
                    </a:cubicBezTo>
                    <a:lnTo>
                      <a:pt x="283" y="333"/>
                    </a:lnTo>
                    <a:close/>
                    <a:moveTo>
                      <a:pt x="263" y="327"/>
                    </a:moveTo>
                    <a:cubicBezTo>
                      <a:pt x="259" y="331"/>
                      <a:pt x="259" y="331"/>
                      <a:pt x="259" y="331"/>
                    </a:cubicBezTo>
                    <a:cubicBezTo>
                      <a:pt x="266" y="335"/>
                      <a:pt x="266" y="335"/>
                      <a:pt x="266" y="335"/>
                    </a:cubicBezTo>
                    <a:lnTo>
                      <a:pt x="263" y="327"/>
                    </a:lnTo>
                    <a:close/>
                    <a:moveTo>
                      <a:pt x="311" y="327"/>
                    </a:moveTo>
                    <a:cubicBezTo>
                      <a:pt x="305" y="337"/>
                      <a:pt x="305" y="337"/>
                      <a:pt x="305" y="337"/>
                    </a:cubicBezTo>
                    <a:cubicBezTo>
                      <a:pt x="316" y="332"/>
                      <a:pt x="316" y="332"/>
                      <a:pt x="316" y="332"/>
                    </a:cubicBezTo>
                    <a:lnTo>
                      <a:pt x="311" y="327"/>
                    </a:lnTo>
                    <a:close/>
                    <a:moveTo>
                      <a:pt x="337" y="350"/>
                    </a:moveTo>
                    <a:cubicBezTo>
                      <a:pt x="331" y="340"/>
                      <a:pt x="331" y="340"/>
                      <a:pt x="331" y="340"/>
                    </a:cubicBezTo>
                    <a:cubicBezTo>
                      <a:pt x="325" y="343"/>
                      <a:pt x="325" y="343"/>
                      <a:pt x="325" y="343"/>
                    </a:cubicBezTo>
                    <a:cubicBezTo>
                      <a:pt x="329" y="352"/>
                      <a:pt x="329" y="352"/>
                      <a:pt x="329" y="352"/>
                    </a:cubicBezTo>
                    <a:lnTo>
                      <a:pt x="337" y="350"/>
                    </a:lnTo>
                    <a:close/>
                    <a:moveTo>
                      <a:pt x="349" y="349"/>
                    </a:moveTo>
                    <a:cubicBezTo>
                      <a:pt x="356" y="346"/>
                      <a:pt x="356" y="346"/>
                      <a:pt x="356" y="346"/>
                    </a:cubicBezTo>
                    <a:cubicBezTo>
                      <a:pt x="351" y="341"/>
                      <a:pt x="351" y="341"/>
                      <a:pt x="351" y="341"/>
                    </a:cubicBezTo>
                    <a:lnTo>
                      <a:pt x="349" y="349"/>
                    </a:lnTo>
                    <a:close/>
                    <a:moveTo>
                      <a:pt x="304" y="339"/>
                    </a:moveTo>
                    <a:cubicBezTo>
                      <a:pt x="298" y="335"/>
                      <a:pt x="298" y="335"/>
                      <a:pt x="298" y="335"/>
                    </a:cubicBezTo>
                    <a:cubicBezTo>
                      <a:pt x="296" y="337"/>
                      <a:pt x="296" y="337"/>
                      <a:pt x="296" y="337"/>
                    </a:cubicBezTo>
                    <a:cubicBezTo>
                      <a:pt x="303" y="342"/>
                      <a:pt x="303" y="342"/>
                      <a:pt x="303" y="342"/>
                    </a:cubicBezTo>
                    <a:lnTo>
                      <a:pt x="304" y="339"/>
                    </a:lnTo>
                    <a:close/>
                    <a:moveTo>
                      <a:pt x="63" y="291"/>
                    </a:moveTo>
                    <a:cubicBezTo>
                      <a:pt x="67" y="300"/>
                      <a:pt x="67" y="300"/>
                      <a:pt x="67" y="300"/>
                    </a:cubicBezTo>
                    <a:cubicBezTo>
                      <a:pt x="80" y="306"/>
                      <a:pt x="80" y="306"/>
                      <a:pt x="80" y="306"/>
                    </a:cubicBezTo>
                    <a:cubicBezTo>
                      <a:pt x="80" y="300"/>
                      <a:pt x="80" y="300"/>
                      <a:pt x="80" y="300"/>
                    </a:cubicBezTo>
                    <a:cubicBezTo>
                      <a:pt x="86" y="296"/>
                      <a:pt x="86" y="296"/>
                      <a:pt x="86" y="296"/>
                    </a:cubicBezTo>
                    <a:cubicBezTo>
                      <a:pt x="69" y="287"/>
                      <a:pt x="69" y="287"/>
                      <a:pt x="69" y="287"/>
                    </a:cubicBezTo>
                    <a:lnTo>
                      <a:pt x="63" y="291"/>
                    </a:lnTo>
                    <a:close/>
                    <a:moveTo>
                      <a:pt x="43" y="268"/>
                    </a:moveTo>
                    <a:cubicBezTo>
                      <a:pt x="44" y="273"/>
                      <a:pt x="44" y="273"/>
                      <a:pt x="44" y="273"/>
                    </a:cubicBezTo>
                    <a:cubicBezTo>
                      <a:pt x="47" y="274"/>
                      <a:pt x="47" y="274"/>
                      <a:pt x="47" y="274"/>
                    </a:cubicBezTo>
                    <a:cubicBezTo>
                      <a:pt x="48" y="263"/>
                      <a:pt x="48" y="263"/>
                      <a:pt x="48" y="263"/>
                    </a:cubicBezTo>
                    <a:cubicBezTo>
                      <a:pt x="47" y="260"/>
                      <a:pt x="47" y="260"/>
                      <a:pt x="47" y="260"/>
                    </a:cubicBezTo>
                    <a:lnTo>
                      <a:pt x="43" y="268"/>
                    </a:lnTo>
                    <a:close/>
                    <a:moveTo>
                      <a:pt x="69" y="279"/>
                    </a:moveTo>
                    <a:cubicBezTo>
                      <a:pt x="72" y="277"/>
                      <a:pt x="71" y="272"/>
                      <a:pt x="66" y="267"/>
                    </a:cubicBezTo>
                    <a:cubicBezTo>
                      <a:pt x="62" y="261"/>
                      <a:pt x="57" y="254"/>
                      <a:pt x="57" y="254"/>
                    </a:cubicBezTo>
                    <a:cubicBezTo>
                      <a:pt x="55" y="255"/>
                      <a:pt x="55" y="255"/>
                      <a:pt x="55" y="255"/>
                    </a:cubicBezTo>
                    <a:cubicBezTo>
                      <a:pt x="55" y="260"/>
                      <a:pt x="55" y="260"/>
                      <a:pt x="55" y="260"/>
                    </a:cubicBezTo>
                    <a:cubicBezTo>
                      <a:pt x="51" y="262"/>
                      <a:pt x="51" y="262"/>
                      <a:pt x="51" y="262"/>
                    </a:cubicBezTo>
                    <a:cubicBezTo>
                      <a:pt x="51" y="262"/>
                      <a:pt x="49" y="277"/>
                      <a:pt x="55" y="277"/>
                    </a:cubicBezTo>
                    <a:cubicBezTo>
                      <a:pt x="59" y="277"/>
                      <a:pt x="64" y="276"/>
                      <a:pt x="64" y="276"/>
                    </a:cubicBezTo>
                    <a:cubicBezTo>
                      <a:pt x="64" y="276"/>
                      <a:pt x="64" y="280"/>
                      <a:pt x="69" y="279"/>
                    </a:cubicBezTo>
                    <a:close/>
                    <a:moveTo>
                      <a:pt x="67" y="263"/>
                    </a:moveTo>
                    <a:cubicBezTo>
                      <a:pt x="71" y="264"/>
                      <a:pt x="74" y="267"/>
                      <a:pt x="74" y="267"/>
                    </a:cubicBezTo>
                    <a:cubicBezTo>
                      <a:pt x="74" y="267"/>
                      <a:pt x="76" y="264"/>
                      <a:pt x="72" y="260"/>
                    </a:cubicBezTo>
                    <a:cubicBezTo>
                      <a:pt x="69" y="257"/>
                      <a:pt x="66" y="251"/>
                      <a:pt x="66" y="251"/>
                    </a:cubicBezTo>
                    <a:cubicBezTo>
                      <a:pt x="62" y="252"/>
                      <a:pt x="62" y="252"/>
                      <a:pt x="62" y="252"/>
                    </a:cubicBezTo>
                    <a:cubicBezTo>
                      <a:pt x="62" y="252"/>
                      <a:pt x="64" y="261"/>
                      <a:pt x="67" y="263"/>
                    </a:cubicBezTo>
                    <a:close/>
                    <a:moveTo>
                      <a:pt x="18" y="190"/>
                    </a:moveTo>
                    <a:cubicBezTo>
                      <a:pt x="16" y="185"/>
                      <a:pt x="18" y="183"/>
                      <a:pt x="18" y="183"/>
                    </a:cubicBezTo>
                    <a:cubicBezTo>
                      <a:pt x="12" y="179"/>
                      <a:pt x="12" y="179"/>
                      <a:pt x="12" y="179"/>
                    </a:cubicBezTo>
                    <a:cubicBezTo>
                      <a:pt x="12" y="179"/>
                      <a:pt x="16" y="180"/>
                      <a:pt x="16" y="177"/>
                    </a:cubicBezTo>
                    <a:cubicBezTo>
                      <a:pt x="16" y="173"/>
                      <a:pt x="12" y="169"/>
                      <a:pt x="6" y="173"/>
                    </a:cubicBezTo>
                    <a:cubicBezTo>
                      <a:pt x="0" y="176"/>
                      <a:pt x="0" y="181"/>
                      <a:pt x="5" y="183"/>
                    </a:cubicBezTo>
                    <a:cubicBezTo>
                      <a:pt x="8" y="185"/>
                      <a:pt x="12" y="189"/>
                      <a:pt x="12" y="189"/>
                    </a:cubicBezTo>
                    <a:cubicBezTo>
                      <a:pt x="12" y="189"/>
                      <a:pt x="10" y="193"/>
                      <a:pt x="14" y="195"/>
                    </a:cubicBezTo>
                    <a:cubicBezTo>
                      <a:pt x="29" y="199"/>
                      <a:pt x="29" y="199"/>
                      <a:pt x="29" y="199"/>
                    </a:cubicBezTo>
                    <a:cubicBezTo>
                      <a:pt x="25" y="193"/>
                      <a:pt x="25" y="193"/>
                      <a:pt x="25" y="193"/>
                    </a:cubicBezTo>
                    <a:cubicBezTo>
                      <a:pt x="25" y="193"/>
                      <a:pt x="21" y="194"/>
                      <a:pt x="18" y="190"/>
                    </a:cubicBezTo>
                    <a:close/>
                    <a:moveTo>
                      <a:pt x="392" y="415"/>
                    </a:moveTo>
                    <a:cubicBezTo>
                      <a:pt x="392" y="415"/>
                      <a:pt x="393" y="410"/>
                      <a:pt x="392" y="409"/>
                    </a:cubicBezTo>
                    <a:cubicBezTo>
                      <a:pt x="390" y="409"/>
                      <a:pt x="385" y="418"/>
                      <a:pt x="385" y="418"/>
                    </a:cubicBezTo>
                    <a:cubicBezTo>
                      <a:pt x="385" y="418"/>
                      <a:pt x="383" y="416"/>
                      <a:pt x="382" y="416"/>
                    </a:cubicBezTo>
                    <a:cubicBezTo>
                      <a:pt x="380" y="416"/>
                      <a:pt x="372" y="421"/>
                      <a:pt x="372" y="421"/>
                    </a:cubicBezTo>
                    <a:cubicBezTo>
                      <a:pt x="370" y="422"/>
                      <a:pt x="370" y="422"/>
                      <a:pt x="370" y="422"/>
                    </a:cubicBezTo>
                    <a:cubicBezTo>
                      <a:pt x="370" y="422"/>
                      <a:pt x="369" y="426"/>
                      <a:pt x="366" y="426"/>
                    </a:cubicBezTo>
                    <a:cubicBezTo>
                      <a:pt x="362" y="427"/>
                      <a:pt x="362" y="418"/>
                      <a:pt x="362" y="418"/>
                    </a:cubicBezTo>
                    <a:cubicBezTo>
                      <a:pt x="362" y="418"/>
                      <a:pt x="367" y="413"/>
                      <a:pt x="360" y="413"/>
                    </a:cubicBezTo>
                    <a:cubicBezTo>
                      <a:pt x="353" y="413"/>
                      <a:pt x="349" y="418"/>
                      <a:pt x="347" y="418"/>
                    </a:cubicBezTo>
                    <a:cubicBezTo>
                      <a:pt x="345" y="419"/>
                      <a:pt x="345" y="416"/>
                      <a:pt x="342" y="416"/>
                    </a:cubicBezTo>
                    <a:cubicBezTo>
                      <a:pt x="338" y="416"/>
                      <a:pt x="324" y="420"/>
                      <a:pt x="324" y="420"/>
                    </a:cubicBezTo>
                    <a:cubicBezTo>
                      <a:pt x="321" y="414"/>
                      <a:pt x="321" y="414"/>
                      <a:pt x="321" y="414"/>
                    </a:cubicBezTo>
                    <a:cubicBezTo>
                      <a:pt x="318" y="414"/>
                      <a:pt x="318" y="414"/>
                      <a:pt x="318" y="414"/>
                    </a:cubicBezTo>
                    <a:cubicBezTo>
                      <a:pt x="317" y="416"/>
                      <a:pt x="317" y="416"/>
                      <a:pt x="317" y="416"/>
                    </a:cubicBezTo>
                    <a:cubicBezTo>
                      <a:pt x="317" y="416"/>
                      <a:pt x="309" y="415"/>
                      <a:pt x="305" y="417"/>
                    </a:cubicBezTo>
                    <a:cubicBezTo>
                      <a:pt x="301" y="418"/>
                      <a:pt x="296" y="421"/>
                      <a:pt x="294" y="424"/>
                    </a:cubicBezTo>
                    <a:cubicBezTo>
                      <a:pt x="292" y="425"/>
                      <a:pt x="282" y="424"/>
                      <a:pt x="282" y="424"/>
                    </a:cubicBezTo>
                    <a:cubicBezTo>
                      <a:pt x="284" y="421"/>
                      <a:pt x="284" y="421"/>
                      <a:pt x="284" y="421"/>
                    </a:cubicBezTo>
                    <a:cubicBezTo>
                      <a:pt x="280" y="418"/>
                      <a:pt x="280" y="418"/>
                      <a:pt x="280" y="418"/>
                    </a:cubicBezTo>
                    <a:cubicBezTo>
                      <a:pt x="277" y="421"/>
                      <a:pt x="277" y="421"/>
                      <a:pt x="277" y="421"/>
                    </a:cubicBezTo>
                    <a:cubicBezTo>
                      <a:pt x="277" y="421"/>
                      <a:pt x="272" y="422"/>
                      <a:pt x="272" y="419"/>
                    </a:cubicBezTo>
                    <a:cubicBezTo>
                      <a:pt x="272" y="415"/>
                      <a:pt x="283" y="422"/>
                      <a:pt x="276" y="414"/>
                    </a:cubicBezTo>
                    <a:cubicBezTo>
                      <a:pt x="271" y="405"/>
                      <a:pt x="268" y="417"/>
                      <a:pt x="268" y="417"/>
                    </a:cubicBezTo>
                    <a:cubicBezTo>
                      <a:pt x="268" y="417"/>
                      <a:pt x="263" y="417"/>
                      <a:pt x="260" y="418"/>
                    </a:cubicBezTo>
                    <a:cubicBezTo>
                      <a:pt x="258" y="419"/>
                      <a:pt x="254" y="418"/>
                      <a:pt x="254" y="418"/>
                    </a:cubicBezTo>
                    <a:cubicBezTo>
                      <a:pt x="254" y="418"/>
                      <a:pt x="253" y="408"/>
                      <a:pt x="250" y="409"/>
                    </a:cubicBezTo>
                    <a:cubicBezTo>
                      <a:pt x="245" y="411"/>
                      <a:pt x="252" y="420"/>
                      <a:pt x="247" y="421"/>
                    </a:cubicBezTo>
                    <a:cubicBezTo>
                      <a:pt x="244" y="422"/>
                      <a:pt x="244" y="414"/>
                      <a:pt x="244" y="414"/>
                    </a:cubicBezTo>
                    <a:cubicBezTo>
                      <a:pt x="242" y="413"/>
                      <a:pt x="242" y="413"/>
                      <a:pt x="242" y="413"/>
                    </a:cubicBezTo>
                    <a:cubicBezTo>
                      <a:pt x="242" y="413"/>
                      <a:pt x="241" y="425"/>
                      <a:pt x="240" y="428"/>
                    </a:cubicBezTo>
                    <a:cubicBezTo>
                      <a:pt x="238" y="432"/>
                      <a:pt x="240" y="435"/>
                      <a:pt x="243" y="440"/>
                    </a:cubicBezTo>
                    <a:cubicBezTo>
                      <a:pt x="246" y="443"/>
                      <a:pt x="258" y="437"/>
                      <a:pt x="260" y="437"/>
                    </a:cubicBezTo>
                    <a:cubicBezTo>
                      <a:pt x="263" y="437"/>
                      <a:pt x="269" y="440"/>
                      <a:pt x="273" y="440"/>
                    </a:cubicBezTo>
                    <a:cubicBezTo>
                      <a:pt x="277" y="440"/>
                      <a:pt x="287" y="436"/>
                      <a:pt x="287" y="436"/>
                    </a:cubicBezTo>
                    <a:cubicBezTo>
                      <a:pt x="298" y="438"/>
                      <a:pt x="298" y="438"/>
                      <a:pt x="298" y="438"/>
                    </a:cubicBezTo>
                    <a:cubicBezTo>
                      <a:pt x="298" y="438"/>
                      <a:pt x="303" y="436"/>
                      <a:pt x="309" y="441"/>
                    </a:cubicBezTo>
                    <a:cubicBezTo>
                      <a:pt x="316" y="444"/>
                      <a:pt x="309" y="450"/>
                      <a:pt x="309" y="450"/>
                    </a:cubicBezTo>
                    <a:cubicBezTo>
                      <a:pt x="310" y="452"/>
                      <a:pt x="310" y="452"/>
                      <a:pt x="310" y="452"/>
                    </a:cubicBezTo>
                    <a:cubicBezTo>
                      <a:pt x="310" y="452"/>
                      <a:pt x="318" y="448"/>
                      <a:pt x="323" y="447"/>
                    </a:cubicBezTo>
                    <a:cubicBezTo>
                      <a:pt x="328" y="446"/>
                      <a:pt x="340" y="442"/>
                      <a:pt x="344" y="440"/>
                    </a:cubicBezTo>
                    <a:cubicBezTo>
                      <a:pt x="348" y="437"/>
                      <a:pt x="360" y="435"/>
                      <a:pt x="360" y="435"/>
                    </a:cubicBezTo>
                    <a:cubicBezTo>
                      <a:pt x="367" y="436"/>
                      <a:pt x="367" y="436"/>
                      <a:pt x="367" y="436"/>
                    </a:cubicBezTo>
                    <a:cubicBezTo>
                      <a:pt x="373" y="431"/>
                      <a:pt x="373" y="431"/>
                      <a:pt x="373" y="431"/>
                    </a:cubicBezTo>
                    <a:cubicBezTo>
                      <a:pt x="373" y="431"/>
                      <a:pt x="384" y="431"/>
                      <a:pt x="389" y="429"/>
                    </a:cubicBezTo>
                    <a:cubicBezTo>
                      <a:pt x="394" y="428"/>
                      <a:pt x="394" y="416"/>
                      <a:pt x="394" y="416"/>
                    </a:cubicBezTo>
                    <a:lnTo>
                      <a:pt x="392" y="415"/>
                    </a:lnTo>
                    <a:close/>
                    <a:moveTo>
                      <a:pt x="482" y="322"/>
                    </a:moveTo>
                    <a:cubicBezTo>
                      <a:pt x="482" y="319"/>
                      <a:pt x="480" y="317"/>
                      <a:pt x="480" y="317"/>
                    </a:cubicBezTo>
                    <a:cubicBezTo>
                      <a:pt x="480" y="317"/>
                      <a:pt x="472" y="320"/>
                      <a:pt x="469" y="323"/>
                    </a:cubicBezTo>
                    <a:cubicBezTo>
                      <a:pt x="465" y="326"/>
                      <a:pt x="463" y="332"/>
                      <a:pt x="463" y="332"/>
                    </a:cubicBezTo>
                    <a:cubicBezTo>
                      <a:pt x="463" y="332"/>
                      <a:pt x="458" y="334"/>
                      <a:pt x="458" y="335"/>
                    </a:cubicBezTo>
                    <a:cubicBezTo>
                      <a:pt x="458" y="338"/>
                      <a:pt x="458" y="338"/>
                      <a:pt x="458" y="338"/>
                    </a:cubicBezTo>
                    <a:cubicBezTo>
                      <a:pt x="458" y="338"/>
                      <a:pt x="453" y="340"/>
                      <a:pt x="455" y="342"/>
                    </a:cubicBezTo>
                    <a:cubicBezTo>
                      <a:pt x="457" y="343"/>
                      <a:pt x="459" y="346"/>
                      <a:pt x="459" y="346"/>
                    </a:cubicBezTo>
                    <a:cubicBezTo>
                      <a:pt x="459" y="352"/>
                      <a:pt x="459" y="352"/>
                      <a:pt x="459" y="352"/>
                    </a:cubicBezTo>
                    <a:cubicBezTo>
                      <a:pt x="459" y="354"/>
                      <a:pt x="462" y="358"/>
                      <a:pt x="462" y="358"/>
                    </a:cubicBezTo>
                    <a:cubicBezTo>
                      <a:pt x="465" y="358"/>
                      <a:pt x="469" y="351"/>
                      <a:pt x="470" y="349"/>
                    </a:cubicBezTo>
                    <a:cubicBezTo>
                      <a:pt x="471" y="347"/>
                      <a:pt x="474" y="343"/>
                      <a:pt x="474" y="343"/>
                    </a:cubicBezTo>
                    <a:cubicBezTo>
                      <a:pt x="478" y="343"/>
                      <a:pt x="478" y="343"/>
                      <a:pt x="478" y="343"/>
                    </a:cubicBezTo>
                    <a:cubicBezTo>
                      <a:pt x="479" y="340"/>
                      <a:pt x="479" y="340"/>
                      <a:pt x="479" y="340"/>
                    </a:cubicBezTo>
                    <a:cubicBezTo>
                      <a:pt x="479" y="340"/>
                      <a:pt x="476" y="340"/>
                      <a:pt x="476" y="338"/>
                    </a:cubicBezTo>
                    <a:cubicBezTo>
                      <a:pt x="478" y="335"/>
                      <a:pt x="480" y="333"/>
                      <a:pt x="480" y="333"/>
                    </a:cubicBezTo>
                    <a:cubicBezTo>
                      <a:pt x="480" y="333"/>
                      <a:pt x="482" y="325"/>
                      <a:pt x="482" y="322"/>
                    </a:cubicBezTo>
                    <a:close/>
                    <a:moveTo>
                      <a:pt x="448" y="337"/>
                    </a:moveTo>
                    <a:cubicBezTo>
                      <a:pt x="442" y="339"/>
                      <a:pt x="444" y="341"/>
                      <a:pt x="448" y="340"/>
                    </a:cubicBezTo>
                    <a:cubicBezTo>
                      <a:pt x="452" y="340"/>
                      <a:pt x="452" y="335"/>
                      <a:pt x="448" y="337"/>
                    </a:cubicBezTo>
                    <a:close/>
                    <a:moveTo>
                      <a:pt x="459" y="310"/>
                    </a:moveTo>
                    <a:cubicBezTo>
                      <a:pt x="457" y="308"/>
                      <a:pt x="457" y="308"/>
                      <a:pt x="457" y="308"/>
                    </a:cubicBezTo>
                    <a:cubicBezTo>
                      <a:pt x="454" y="314"/>
                      <a:pt x="454" y="314"/>
                      <a:pt x="454" y="314"/>
                    </a:cubicBezTo>
                    <a:cubicBezTo>
                      <a:pt x="460" y="317"/>
                      <a:pt x="460" y="317"/>
                      <a:pt x="460" y="317"/>
                    </a:cubicBezTo>
                    <a:lnTo>
                      <a:pt x="459" y="310"/>
                    </a:lnTo>
                    <a:close/>
                    <a:moveTo>
                      <a:pt x="432" y="325"/>
                    </a:moveTo>
                    <a:cubicBezTo>
                      <a:pt x="433" y="329"/>
                      <a:pt x="433" y="329"/>
                      <a:pt x="433" y="329"/>
                    </a:cubicBezTo>
                    <a:cubicBezTo>
                      <a:pt x="441" y="332"/>
                      <a:pt x="441" y="332"/>
                      <a:pt x="441" y="332"/>
                    </a:cubicBezTo>
                    <a:cubicBezTo>
                      <a:pt x="440" y="329"/>
                      <a:pt x="440" y="329"/>
                      <a:pt x="440" y="329"/>
                    </a:cubicBezTo>
                    <a:lnTo>
                      <a:pt x="432" y="325"/>
                    </a:lnTo>
                    <a:close/>
                    <a:moveTo>
                      <a:pt x="422" y="322"/>
                    </a:moveTo>
                    <a:cubicBezTo>
                      <a:pt x="427" y="320"/>
                      <a:pt x="426" y="316"/>
                      <a:pt x="422" y="318"/>
                    </a:cubicBezTo>
                    <a:cubicBezTo>
                      <a:pt x="417" y="320"/>
                      <a:pt x="420" y="323"/>
                      <a:pt x="422" y="322"/>
                    </a:cubicBezTo>
                    <a:close/>
                    <a:moveTo>
                      <a:pt x="435" y="364"/>
                    </a:moveTo>
                    <a:cubicBezTo>
                      <a:pt x="432" y="366"/>
                      <a:pt x="432" y="366"/>
                      <a:pt x="432" y="366"/>
                    </a:cubicBezTo>
                    <a:cubicBezTo>
                      <a:pt x="430" y="380"/>
                      <a:pt x="430" y="380"/>
                      <a:pt x="430" y="380"/>
                    </a:cubicBezTo>
                    <a:cubicBezTo>
                      <a:pt x="427" y="380"/>
                      <a:pt x="427" y="380"/>
                      <a:pt x="427" y="380"/>
                    </a:cubicBezTo>
                    <a:cubicBezTo>
                      <a:pt x="429" y="384"/>
                      <a:pt x="429" y="384"/>
                      <a:pt x="429" y="384"/>
                    </a:cubicBezTo>
                    <a:cubicBezTo>
                      <a:pt x="432" y="386"/>
                      <a:pt x="432" y="386"/>
                      <a:pt x="432" y="386"/>
                    </a:cubicBezTo>
                    <a:cubicBezTo>
                      <a:pt x="433" y="392"/>
                      <a:pt x="433" y="392"/>
                      <a:pt x="433" y="392"/>
                    </a:cubicBezTo>
                    <a:cubicBezTo>
                      <a:pt x="437" y="394"/>
                      <a:pt x="437" y="394"/>
                      <a:pt x="437" y="394"/>
                    </a:cubicBezTo>
                    <a:cubicBezTo>
                      <a:pt x="437" y="390"/>
                      <a:pt x="437" y="390"/>
                      <a:pt x="437" y="390"/>
                    </a:cubicBezTo>
                    <a:cubicBezTo>
                      <a:pt x="439" y="388"/>
                      <a:pt x="439" y="388"/>
                      <a:pt x="439" y="388"/>
                    </a:cubicBezTo>
                    <a:cubicBezTo>
                      <a:pt x="439" y="385"/>
                      <a:pt x="439" y="385"/>
                      <a:pt x="439" y="385"/>
                    </a:cubicBezTo>
                    <a:cubicBezTo>
                      <a:pt x="436" y="382"/>
                      <a:pt x="436" y="382"/>
                      <a:pt x="436" y="382"/>
                    </a:cubicBezTo>
                    <a:lnTo>
                      <a:pt x="435" y="364"/>
                    </a:lnTo>
                    <a:close/>
                    <a:moveTo>
                      <a:pt x="434" y="362"/>
                    </a:moveTo>
                    <a:cubicBezTo>
                      <a:pt x="436" y="358"/>
                      <a:pt x="435" y="353"/>
                      <a:pt x="433" y="357"/>
                    </a:cubicBezTo>
                    <a:cubicBezTo>
                      <a:pt x="431" y="363"/>
                      <a:pt x="431" y="366"/>
                      <a:pt x="434" y="362"/>
                    </a:cubicBezTo>
                    <a:close/>
                    <a:moveTo>
                      <a:pt x="420" y="398"/>
                    </a:moveTo>
                    <a:cubicBezTo>
                      <a:pt x="419" y="402"/>
                      <a:pt x="422" y="400"/>
                      <a:pt x="424" y="399"/>
                    </a:cubicBezTo>
                    <a:cubicBezTo>
                      <a:pt x="430" y="396"/>
                      <a:pt x="429" y="394"/>
                      <a:pt x="429" y="394"/>
                    </a:cubicBezTo>
                    <a:cubicBezTo>
                      <a:pt x="429" y="394"/>
                      <a:pt x="420" y="393"/>
                      <a:pt x="420" y="398"/>
                    </a:cubicBez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79" name="Great Britain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3381375" y="2557463"/>
                <a:ext cx="760412" cy="1425575"/>
              </a:xfrm>
              <a:custGeom>
                <a:avLst/>
                <a:gdLst/>
                <a:ahLst/>
                <a:cxnLst>
                  <a:cxn ang="0">
                    <a:pos x="281" y="467"/>
                  </a:cxn>
                  <a:cxn ang="0">
                    <a:pos x="290" y="431"/>
                  </a:cxn>
                  <a:cxn ang="0">
                    <a:pos x="245" y="321"/>
                  </a:cxn>
                  <a:cxn ang="0">
                    <a:pos x="210" y="295"/>
                  </a:cxn>
                  <a:cxn ang="0">
                    <a:pos x="257" y="247"/>
                  </a:cxn>
                  <a:cxn ang="0">
                    <a:pos x="197" y="186"/>
                  </a:cxn>
                  <a:cxn ang="0">
                    <a:pos x="248" y="141"/>
                  </a:cxn>
                  <a:cxn ang="0">
                    <a:pos x="191" y="133"/>
                  </a:cxn>
                  <a:cxn ang="0">
                    <a:pos x="164" y="140"/>
                  </a:cxn>
                  <a:cxn ang="0">
                    <a:pos x="143" y="161"/>
                  </a:cxn>
                  <a:cxn ang="0">
                    <a:pos x="146" y="202"/>
                  </a:cxn>
                  <a:cxn ang="0">
                    <a:pos x="111" y="230"/>
                  </a:cxn>
                  <a:cxn ang="0">
                    <a:pos x="127" y="247"/>
                  </a:cxn>
                  <a:cxn ang="0">
                    <a:pos x="131" y="260"/>
                  </a:cxn>
                  <a:cxn ang="0">
                    <a:pos x="101" y="317"/>
                  </a:cxn>
                  <a:cxn ang="0">
                    <a:pos x="142" y="276"/>
                  </a:cxn>
                  <a:cxn ang="0">
                    <a:pos x="148" y="287"/>
                  </a:cxn>
                  <a:cxn ang="0">
                    <a:pos x="127" y="344"/>
                  </a:cxn>
                  <a:cxn ang="0">
                    <a:pos x="145" y="363"/>
                  </a:cxn>
                  <a:cxn ang="0">
                    <a:pos x="188" y="366"/>
                  </a:cxn>
                  <a:cxn ang="0">
                    <a:pos x="180" y="416"/>
                  </a:cxn>
                  <a:cxn ang="0">
                    <a:pos x="186" y="472"/>
                  </a:cxn>
                  <a:cxn ang="0">
                    <a:pos x="109" y="492"/>
                  </a:cxn>
                  <a:cxn ang="0">
                    <a:pos x="102" y="536"/>
                  </a:cxn>
                  <a:cxn ang="0">
                    <a:pos x="74" y="560"/>
                  </a:cxn>
                  <a:cxn ang="0">
                    <a:pos x="109" y="569"/>
                  </a:cxn>
                  <a:cxn ang="0">
                    <a:pos x="171" y="582"/>
                  </a:cxn>
                  <a:cxn ang="0">
                    <a:pos x="55" y="640"/>
                  </a:cxn>
                  <a:cxn ang="0">
                    <a:pos x="62" y="657"/>
                  </a:cxn>
                  <a:cxn ang="0">
                    <a:pos x="122" y="645"/>
                  </a:cxn>
                  <a:cxn ang="0">
                    <a:pos x="201" y="649"/>
                  </a:cxn>
                  <a:cxn ang="0">
                    <a:pos x="310" y="653"/>
                  </a:cxn>
                  <a:cxn ang="0">
                    <a:pos x="295" y="614"/>
                  </a:cxn>
                  <a:cxn ang="0">
                    <a:pos x="319" y="598"/>
                  </a:cxn>
                  <a:cxn ang="0">
                    <a:pos x="209" y="650"/>
                  </a:cxn>
                  <a:cxn ang="0">
                    <a:pos x="121" y="471"/>
                  </a:cxn>
                  <a:cxn ang="0">
                    <a:pos x="139" y="396"/>
                  </a:cxn>
                  <a:cxn ang="0">
                    <a:pos x="138" y="302"/>
                  </a:cxn>
                  <a:cxn ang="0">
                    <a:pos x="89" y="291"/>
                  </a:cxn>
                  <a:cxn ang="0">
                    <a:pos x="109" y="281"/>
                  </a:cxn>
                  <a:cxn ang="0">
                    <a:pos x="88" y="238"/>
                  </a:cxn>
                  <a:cxn ang="0">
                    <a:pos x="112" y="235"/>
                  </a:cxn>
                  <a:cxn ang="0">
                    <a:pos x="103" y="260"/>
                  </a:cxn>
                  <a:cxn ang="0">
                    <a:pos x="117" y="217"/>
                  </a:cxn>
                  <a:cxn ang="0">
                    <a:pos x="82" y="197"/>
                  </a:cxn>
                  <a:cxn ang="0">
                    <a:pos x="88" y="177"/>
                  </a:cxn>
                  <a:cxn ang="0">
                    <a:pos x="114" y="176"/>
                  </a:cxn>
                  <a:cxn ang="0">
                    <a:pos x="127" y="203"/>
                  </a:cxn>
                  <a:cxn ang="0">
                    <a:pos x="135" y="173"/>
                  </a:cxn>
                  <a:cxn ang="0">
                    <a:pos x="81" y="165"/>
                  </a:cxn>
                  <a:cxn ang="0">
                    <a:pos x="141" y="134"/>
                  </a:cxn>
                  <a:cxn ang="0">
                    <a:pos x="104" y="132"/>
                  </a:cxn>
                  <a:cxn ang="0">
                    <a:pos x="242" y="113"/>
                  </a:cxn>
                  <a:cxn ang="0">
                    <a:pos x="256" y="107"/>
                  </a:cxn>
                  <a:cxn ang="0">
                    <a:pos x="259" y="94"/>
                  </a:cxn>
                  <a:cxn ang="0">
                    <a:pos x="310" y="82"/>
                  </a:cxn>
                  <a:cxn ang="0">
                    <a:pos x="282" y="93"/>
                  </a:cxn>
                  <a:cxn ang="0">
                    <a:pos x="339" y="23"/>
                  </a:cxn>
                  <a:cxn ang="0">
                    <a:pos x="357" y="3"/>
                  </a:cxn>
                  <a:cxn ang="0">
                    <a:pos x="49" y="396"/>
                  </a:cxn>
                  <a:cxn ang="0">
                    <a:pos x="96" y="386"/>
                  </a:cxn>
                  <a:cxn ang="0">
                    <a:pos x="34" y="332"/>
                  </a:cxn>
                  <a:cxn ang="0">
                    <a:pos x="13" y="377"/>
                  </a:cxn>
                </a:cxnLst>
                <a:rect l="0" t="0" r="r" b="b"/>
                <a:pathLst>
                  <a:path w="357" h="670">
                    <a:moveTo>
                      <a:pt x="342" y="526"/>
                    </a:moveTo>
                    <a:cubicBezTo>
                      <a:pt x="330" y="519"/>
                      <a:pt x="330" y="519"/>
                      <a:pt x="330" y="519"/>
                    </a:cubicBezTo>
                    <a:cubicBezTo>
                      <a:pt x="328" y="520"/>
                      <a:pt x="328" y="520"/>
                      <a:pt x="328" y="520"/>
                    </a:cubicBezTo>
                    <a:cubicBezTo>
                      <a:pt x="310" y="519"/>
                      <a:pt x="310" y="519"/>
                      <a:pt x="310" y="519"/>
                    </a:cubicBezTo>
                    <a:cubicBezTo>
                      <a:pt x="303" y="530"/>
                      <a:pt x="303" y="530"/>
                      <a:pt x="303" y="530"/>
                    </a:cubicBezTo>
                    <a:cubicBezTo>
                      <a:pt x="299" y="528"/>
                      <a:pt x="299" y="528"/>
                      <a:pt x="299" y="528"/>
                    </a:cubicBezTo>
                    <a:cubicBezTo>
                      <a:pt x="295" y="522"/>
                      <a:pt x="295" y="522"/>
                      <a:pt x="295" y="522"/>
                    </a:cubicBezTo>
                    <a:cubicBezTo>
                      <a:pt x="291" y="520"/>
                      <a:pt x="291" y="520"/>
                      <a:pt x="291" y="520"/>
                    </a:cubicBezTo>
                    <a:cubicBezTo>
                      <a:pt x="291" y="520"/>
                      <a:pt x="292" y="515"/>
                      <a:pt x="296" y="514"/>
                    </a:cubicBezTo>
                    <a:cubicBezTo>
                      <a:pt x="301" y="512"/>
                      <a:pt x="308" y="508"/>
                      <a:pt x="308" y="504"/>
                    </a:cubicBezTo>
                    <a:cubicBezTo>
                      <a:pt x="309" y="501"/>
                      <a:pt x="305" y="486"/>
                      <a:pt x="305" y="486"/>
                    </a:cubicBezTo>
                    <a:cubicBezTo>
                      <a:pt x="299" y="480"/>
                      <a:pt x="299" y="480"/>
                      <a:pt x="299" y="480"/>
                    </a:cubicBezTo>
                    <a:cubicBezTo>
                      <a:pt x="292" y="473"/>
                      <a:pt x="292" y="473"/>
                      <a:pt x="292" y="473"/>
                    </a:cubicBezTo>
                    <a:cubicBezTo>
                      <a:pt x="292" y="473"/>
                      <a:pt x="290" y="469"/>
                      <a:pt x="287" y="468"/>
                    </a:cubicBezTo>
                    <a:cubicBezTo>
                      <a:pt x="285" y="468"/>
                      <a:pt x="281" y="467"/>
                      <a:pt x="281" y="467"/>
                    </a:cubicBezTo>
                    <a:cubicBezTo>
                      <a:pt x="279" y="469"/>
                      <a:pt x="279" y="469"/>
                      <a:pt x="279" y="469"/>
                    </a:cubicBezTo>
                    <a:cubicBezTo>
                      <a:pt x="276" y="466"/>
                      <a:pt x="276" y="466"/>
                      <a:pt x="276" y="466"/>
                    </a:cubicBezTo>
                    <a:cubicBezTo>
                      <a:pt x="268" y="465"/>
                      <a:pt x="268" y="465"/>
                      <a:pt x="268" y="465"/>
                    </a:cubicBezTo>
                    <a:cubicBezTo>
                      <a:pt x="276" y="463"/>
                      <a:pt x="276" y="463"/>
                      <a:pt x="276" y="463"/>
                    </a:cubicBezTo>
                    <a:cubicBezTo>
                      <a:pt x="279" y="466"/>
                      <a:pt x="279" y="466"/>
                      <a:pt x="279" y="466"/>
                    </a:cubicBezTo>
                    <a:cubicBezTo>
                      <a:pt x="289" y="465"/>
                      <a:pt x="289" y="465"/>
                      <a:pt x="289" y="465"/>
                    </a:cubicBezTo>
                    <a:cubicBezTo>
                      <a:pt x="289" y="465"/>
                      <a:pt x="293" y="472"/>
                      <a:pt x="294" y="473"/>
                    </a:cubicBezTo>
                    <a:cubicBezTo>
                      <a:pt x="298" y="473"/>
                      <a:pt x="298" y="473"/>
                      <a:pt x="298" y="473"/>
                    </a:cubicBezTo>
                    <a:cubicBezTo>
                      <a:pt x="301" y="477"/>
                      <a:pt x="301" y="477"/>
                      <a:pt x="301" y="477"/>
                    </a:cubicBezTo>
                    <a:cubicBezTo>
                      <a:pt x="303" y="475"/>
                      <a:pt x="303" y="475"/>
                      <a:pt x="303" y="475"/>
                    </a:cubicBezTo>
                    <a:cubicBezTo>
                      <a:pt x="295" y="455"/>
                      <a:pt x="295" y="455"/>
                      <a:pt x="295" y="455"/>
                    </a:cubicBezTo>
                    <a:cubicBezTo>
                      <a:pt x="295" y="443"/>
                      <a:pt x="295" y="443"/>
                      <a:pt x="295" y="443"/>
                    </a:cubicBezTo>
                    <a:cubicBezTo>
                      <a:pt x="298" y="441"/>
                      <a:pt x="298" y="441"/>
                      <a:pt x="298" y="441"/>
                    </a:cubicBezTo>
                    <a:cubicBezTo>
                      <a:pt x="294" y="431"/>
                      <a:pt x="294" y="431"/>
                      <a:pt x="294" y="431"/>
                    </a:cubicBezTo>
                    <a:cubicBezTo>
                      <a:pt x="290" y="431"/>
                      <a:pt x="290" y="431"/>
                      <a:pt x="290" y="431"/>
                    </a:cubicBezTo>
                    <a:cubicBezTo>
                      <a:pt x="286" y="416"/>
                      <a:pt x="286" y="416"/>
                      <a:pt x="286" y="416"/>
                    </a:cubicBezTo>
                    <a:cubicBezTo>
                      <a:pt x="277" y="407"/>
                      <a:pt x="277" y="407"/>
                      <a:pt x="277" y="407"/>
                    </a:cubicBezTo>
                    <a:cubicBezTo>
                      <a:pt x="273" y="406"/>
                      <a:pt x="273" y="406"/>
                      <a:pt x="273" y="406"/>
                    </a:cubicBezTo>
                    <a:cubicBezTo>
                      <a:pt x="267" y="395"/>
                      <a:pt x="267" y="395"/>
                      <a:pt x="267" y="395"/>
                    </a:cubicBezTo>
                    <a:cubicBezTo>
                      <a:pt x="263" y="392"/>
                      <a:pt x="263" y="392"/>
                      <a:pt x="263" y="392"/>
                    </a:cubicBezTo>
                    <a:cubicBezTo>
                      <a:pt x="262" y="380"/>
                      <a:pt x="262" y="380"/>
                      <a:pt x="262" y="380"/>
                    </a:cubicBezTo>
                    <a:cubicBezTo>
                      <a:pt x="259" y="372"/>
                      <a:pt x="259" y="372"/>
                      <a:pt x="259" y="372"/>
                    </a:cubicBezTo>
                    <a:cubicBezTo>
                      <a:pt x="260" y="354"/>
                      <a:pt x="260" y="354"/>
                      <a:pt x="260" y="354"/>
                    </a:cubicBezTo>
                    <a:cubicBezTo>
                      <a:pt x="257" y="349"/>
                      <a:pt x="257" y="349"/>
                      <a:pt x="257" y="349"/>
                    </a:cubicBezTo>
                    <a:cubicBezTo>
                      <a:pt x="259" y="337"/>
                      <a:pt x="259" y="337"/>
                      <a:pt x="259" y="337"/>
                    </a:cubicBezTo>
                    <a:cubicBezTo>
                      <a:pt x="253" y="332"/>
                      <a:pt x="253" y="332"/>
                      <a:pt x="253" y="332"/>
                    </a:cubicBezTo>
                    <a:cubicBezTo>
                      <a:pt x="253" y="327"/>
                      <a:pt x="253" y="327"/>
                      <a:pt x="253" y="327"/>
                    </a:cubicBezTo>
                    <a:cubicBezTo>
                      <a:pt x="249" y="324"/>
                      <a:pt x="249" y="324"/>
                      <a:pt x="249" y="324"/>
                    </a:cubicBezTo>
                    <a:cubicBezTo>
                      <a:pt x="248" y="319"/>
                      <a:pt x="248" y="319"/>
                      <a:pt x="248" y="319"/>
                    </a:cubicBezTo>
                    <a:cubicBezTo>
                      <a:pt x="245" y="321"/>
                      <a:pt x="245" y="321"/>
                      <a:pt x="245" y="321"/>
                    </a:cubicBezTo>
                    <a:cubicBezTo>
                      <a:pt x="248" y="317"/>
                      <a:pt x="248" y="317"/>
                      <a:pt x="248" y="317"/>
                    </a:cubicBezTo>
                    <a:cubicBezTo>
                      <a:pt x="245" y="315"/>
                      <a:pt x="245" y="315"/>
                      <a:pt x="245" y="315"/>
                    </a:cubicBezTo>
                    <a:cubicBezTo>
                      <a:pt x="245" y="315"/>
                      <a:pt x="247" y="312"/>
                      <a:pt x="244" y="311"/>
                    </a:cubicBezTo>
                    <a:cubicBezTo>
                      <a:pt x="241" y="311"/>
                      <a:pt x="238" y="310"/>
                      <a:pt x="238" y="310"/>
                    </a:cubicBezTo>
                    <a:cubicBezTo>
                      <a:pt x="228" y="298"/>
                      <a:pt x="228" y="298"/>
                      <a:pt x="228" y="298"/>
                    </a:cubicBezTo>
                    <a:cubicBezTo>
                      <a:pt x="228" y="298"/>
                      <a:pt x="228" y="296"/>
                      <a:pt x="223" y="297"/>
                    </a:cubicBezTo>
                    <a:cubicBezTo>
                      <a:pt x="217" y="298"/>
                      <a:pt x="217" y="305"/>
                      <a:pt x="213" y="305"/>
                    </a:cubicBezTo>
                    <a:cubicBezTo>
                      <a:pt x="209" y="305"/>
                      <a:pt x="208" y="299"/>
                      <a:pt x="208" y="299"/>
                    </a:cubicBezTo>
                    <a:cubicBezTo>
                      <a:pt x="208" y="299"/>
                      <a:pt x="203" y="301"/>
                      <a:pt x="200" y="300"/>
                    </a:cubicBezTo>
                    <a:cubicBezTo>
                      <a:pt x="197" y="299"/>
                      <a:pt x="195" y="296"/>
                      <a:pt x="195" y="296"/>
                    </a:cubicBezTo>
                    <a:cubicBezTo>
                      <a:pt x="195" y="296"/>
                      <a:pt x="187" y="295"/>
                      <a:pt x="188" y="294"/>
                    </a:cubicBezTo>
                    <a:cubicBezTo>
                      <a:pt x="189" y="292"/>
                      <a:pt x="196" y="292"/>
                      <a:pt x="196" y="292"/>
                    </a:cubicBezTo>
                    <a:cubicBezTo>
                      <a:pt x="196" y="292"/>
                      <a:pt x="197" y="296"/>
                      <a:pt x="200" y="296"/>
                    </a:cubicBezTo>
                    <a:cubicBezTo>
                      <a:pt x="202" y="296"/>
                      <a:pt x="207" y="294"/>
                      <a:pt x="207" y="294"/>
                    </a:cubicBezTo>
                    <a:cubicBezTo>
                      <a:pt x="210" y="295"/>
                      <a:pt x="210" y="295"/>
                      <a:pt x="210" y="295"/>
                    </a:cubicBezTo>
                    <a:cubicBezTo>
                      <a:pt x="210" y="291"/>
                      <a:pt x="210" y="291"/>
                      <a:pt x="210" y="291"/>
                    </a:cubicBezTo>
                    <a:cubicBezTo>
                      <a:pt x="218" y="287"/>
                      <a:pt x="218" y="287"/>
                      <a:pt x="218" y="287"/>
                    </a:cubicBezTo>
                    <a:cubicBezTo>
                      <a:pt x="226" y="290"/>
                      <a:pt x="226" y="290"/>
                      <a:pt x="226" y="290"/>
                    </a:cubicBezTo>
                    <a:cubicBezTo>
                      <a:pt x="234" y="283"/>
                      <a:pt x="234" y="283"/>
                      <a:pt x="234" y="283"/>
                    </a:cubicBezTo>
                    <a:cubicBezTo>
                      <a:pt x="226" y="279"/>
                      <a:pt x="226" y="279"/>
                      <a:pt x="226" y="279"/>
                    </a:cubicBezTo>
                    <a:cubicBezTo>
                      <a:pt x="226" y="279"/>
                      <a:pt x="230" y="278"/>
                      <a:pt x="228" y="275"/>
                    </a:cubicBezTo>
                    <a:cubicBezTo>
                      <a:pt x="226" y="272"/>
                      <a:pt x="227" y="271"/>
                      <a:pt x="224" y="271"/>
                    </a:cubicBezTo>
                    <a:cubicBezTo>
                      <a:pt x="219" y="272"/>
                      <a:pt x="217" y="276"/>
                      <a:pt x="215" y="276"/>
                    </a:cubicBezTo>
                    <a:cubicBezTo>
                      <a:pt x="213" y="277"/>
                      <a:pt x="208" y="276"/>
                      <a:pt x="208" y="276"/>
                    </a:cubicBezTo>
                    <a:cubicBezTo>
                      <a:pt x="208" y="276"/>
                      <a:pt x="214" y="275"/>
                      <a:pt x="215" y="274"/>
                    </a:cubicBezTo>
                    <a:cubicBezTo>
                      <a:pt x="216" y="272"/>
                      <a:pt x="220" y="269"/>
                      <a:pt x="223" y="269"/>
                    </a:cubicBezTo>
                    <a:cubicBezTo>
                      <a:pt x="225" y="269"/>
                      <a:pt x="230" y="272"/>
                      <a:pt x="230" y="272"/>
                    </a:cubicBezTo>
                    <a:cubicBezTo>
                      <a:pt x="241" y="267"/>
                      <a:pt x="241" y="267"/>
                      <a:pt x="241" y="267"/>
                    </a:cubicBezTo>
                    <a:cubicBezTo>
                      <a:pt x="246" y="256"/>
                      <a:pt x="246" y="256"/>
                      <a:pt x="246" y="256"/>
                    </a:cubicBezTo>
                    <a:cubicBezTo>
                      <a:pt x="257" y="247"/>
                      <a:pt x="257" y="247"/>
                      <a:pt x="257" y="247"/>
                    </a:cubicBezTo>
                    <a:cubicBezTo>
                      <a:pt x="264" y="234"/>
                      <a:pt x="264" y="234"/>
                      <a:pt x="264" y="234"/>
                    </a:cubicBezTo>
                    <a:cubicBezTo>
                      <a:pt x="264" y="234"/>
                      <a:pt x="264" y="231"/>
                      <a:pt x="266" y="229"/>
                    </a:cubicBezTo>
                    <a:cubicBezTo>
                      <a:pt x="267" y="227"/>
                      <a:pt x="281" y="214"/>
                      <a:pt x="279" y="206"/>
                    </a:cubicBezTo>
                    <a:cubicBezTo>
                      <a:pt x="277" y="199"/>
                      <a:pt x="265" y="197"/>
                      <a:pt x="265" y="197"/>
                    </a:cubicBezTo>
                    <a:cubicBezTo>
                      <a:pt x="257" y="198"/>
                      <a:pt x="257" y="198"/>
                      <a:pt x="257" y="198"/>
                    </a:cubicBezTo>
                    <a:cubicBezTo>
                      <a:pt x="242" y="192"/>
                      <a:pt x="242" y="192"/>
                      <a:pt x="242" y="192"/>
                    </a:cubicBezTo>
                    <a:cubicBezTo>
                      <a:pt x="235" y="193"/>
                      <a:pt x="235" y="193"/>
                      <a:pt x="235" y="193"/>
                    </a:cubicBezTo>
                    <a:cubicBezTo>
                      <a:pt x="235" y="193"/>
                      <a:pt x="231" y="189"/>
                      <a:pt x="226" y="188"/>
                    </a:cubicBezTo>
                    <a:cubicBezTo>
                      <a:pt x="220" y="188"/>
                      <a:pt x="207" y="192"/>
                      <a:pt x="207" y="192"/>
                    </a:cubicBezTo>
                    <a:cubicBezTo>
                      <a:pt x="203" y="191"/>
                      <a:pt x="203" y="191"/>
                      <a:pt x="203" y="191"/>
                    </a:cubicBezTo>
                    <a:cubicBezTo>
                      <a:pt x="199" y="196"/>
                      <a:pt x="199" y="196"/>
                      <a:pt x="199" y="196"/>
                    </a:cubicBezTo>
                    <a:cubicBezTo>
                      <a:pt x="185" y="197"/>
                      <a:pt x="185" y="197"/>
                      <a:pt x="185" y="197"/>
                    </a:cubicBezTo>
                    <a:cubicBezTo>
                      <a:pt x="196" y="193"/>
                      <a:pt x="196" y="193"/>
                      <a:pt x="196" y="193"/>
                    </a:cubicBezTo>
                    <a:cubicBezTo>
                      <a:pt x="202" y="187"/>
                      <a:pt x="202" y="187"/>
                      <a:pt x="202" y="187"/>
                    </a:cubicBezTo>
                    <a:cubicBezTo>
                      <a:pt x="202" y="187"/>
                      <a:pt x="198" y="186"/>
                      <a:pt x="197" y="186"/>
                    </a:cubicBezTo>
                    <a:cubicBezTo>
                      <a:pt x="196" y="186"/>
                      <a:pt x="191" y="188"/>
                      <a:pt x="191" y="188"/>
                    </a:cubicBezTo>
                    <a:cubicBezTo>
                      <a:pt x="188" y="187"/>
                      <a:pt x="188" y="187"/>
                      <a:pt x="188" y="187"/>
                    </a:cubicBezTo>
                    <a:cubicBezTo>
                      <a:pt x="196" y="184"/>
                      <a:pt x="196" y="184"/>
                      <a:pt x="196" y="184"/>
                    </a:cubicBezTo>
                    <a:cubicBezTo>
                      <a:pt x="204" y="185"/>
                      <a:pt x="204" y="185"/>
                      <a:pt x="204" y="185"/>
                    </a:cubicBezTo>
                    <a:cubicBezTo>
                      <a:pt x="214" y="176"/>
                      <a:pt x="214" y="176"/>
                      <a:pt x="214" y="176"/>
                    </a:cubicBezTo>
                    <a:cubicBezTo>
                      <a:pt x="208" y="176"/>
                      <a:pt x="208" y="176"/>
                      <a:pt x="208" y="176"/>
                    </a:cubicBezTo>
                    <a:cubicBezTo>
                      <a:pt x="201" y="174"/>
                      <a:pt x="201" y="174"/>
                      <a:pt x="201" y="174"/>
                    </a:cubicBezTo>
                    <a:cubicBezTo>
                      <a:pt x="207" y="173"/>
                      <a:pt x="207" y="173"/>
                      <a:pt x="207" y="173"/>
                    </a:cubicBezTo>
                    <a:cubicBezTo>
                      <a:pt x="204" y="169"/>
                      <a:pt x="204" y="169"/>
                      <a:pt x="204" y="169"/>
                    </a:cubicBezTo>
                    <a:cubicBezTo>
                      <a:pt x="209" y="169"/>
                      <a:pt x="209" y="169"/>
                      <a:pt x="209" y="169"/>
                    </a:cubicBezTo>
                    <a:cubicBezTo>
                      <a:pt x="215" y="164"/>
                      <a:pt x="215" y="164"/>
                      <a:pt x="215" y="164"/>
                    </a:cubicBezTo>
                    <a:cubicBezTo>
                      <a:pt x="215" y="164"/>
                      <a:pt x="221" y="163"/>
                      <a:pt x="227" y="158"/>
                    </a:cubicBezTo>
                    <a:cubicBezTo>
                      <a:pt x="231" y="154"/>
                      <a:pt x="233" y="153"/>
                      <a:pt x="233" y="153"/>
                    </a:cubicBezTo>
                    <a:cubicBezTo>
                      <a:pt x="233" y="153"/>
                      <a:pt x="240" y="152"/>
                      <a:pt x="243" y="151"/>
                    </a:cubicBezTo>
                    <a:cubicBezTo>
                      <a:pt x="245" y="149"/>
                      <a:pt x="248" y="141"/>
                      <a:pt x="248" y="141"/>
                    </a:cubicBezTo>
                    <a:cubicBezTo>
                      <a:pt x="248" y="141"/>
                      <a:pt x="245" y="144"/>
                      <a:pt x="246" y="141"/>
                    </a:cubicBezTo>
                    <a:cubicBezTo>
                      <a:pt x="246" y="138"/>
                      <a:pt x="251" y="132"/>
                      <a:pt x="251" y="132"/>
                    </a:cubicBezTo>
                    <a:cubicBezTo>
                      <a:pt x="242" y="129"/>
                      <a:pt x="242" y="129"/>
                      <a:pt x="242" y="129"/>
                    </a:cubicBezTo>
                    <a:cubicBezTo>
                      <a:pt x="237" y="129"/>
                      <a:pt x="237" y="129"/>
                      <a:pt x="237" y="129"/>
                    </a:cubicBezTo>
                    <a:cubicBezTo>
                      <a:pt x="240" y="132"/>
                      <a:pt x="240" y="132"/>
                      <a:pt x="240" y="132"/>
                    </a:cubicBezTo>
                    <a:cubicBezTo>
                      <a:pt x="231" y="129"/>
                      <a:pt x="231" y="129"/>
                      <a:pt x="231" y="129"/>
                    </a:cubicBezTo>
                    <a:cubicBezTo>
                      <a:pt x="225" y="132"/>
                      <a:pt x="225" y="132"/>
                      <a:pt x="225" y="132"/>
                    </a:cubicBezTo>
                    <a:cubicBezTo>
                      <a:pt x="218" y="130"/>
                      <a:pt x="218" y="130"/>
                      <a:pt x="218" y="130"/>
                    </a:cubicBezTo>
                    <a:cubicBezTo>
                      <a:pt x="216" y="127"/>
                      <a:pt x="216" y="127"/>
                      <a:pt x="216" y="127"/>
                    </a:cubicBezTo>
                    <a:cubicBezTo>
                      <a:pt x="215" y="130"/>
                      <a:pt x="215" y="130"/>
                      <a:pt x="215" y="130"/>
                    </a:cubicBezTo>
                    <a:cubicBezTo>
                      <a:pt x="207" y="130"/>
                      <a:pt x="207" y="130"/>
                      <a:pt x="207" y="130"/>
                    </a:cubicBezTo>
                    <a:cubicBezTo>
                      <a:pt x="199" y="135"/>
                      <a:pt x="199" y="135"/>
                      <a:pt x="199" y="135"/>
                    </a:cubicBezTo>
                    <a:cubicBezTo>
                      <a:pt x="202" y="129"/>
                      <a:pt x="202" y="129"/>
                      <a:pt x="202" y="129"/>
                    </a:cubicBezTo>
                    <a:cubicBezTo>
                      <a:pt x="198" y="124"/>
                      <a:pt x="198" y="124"/>
                      <a:pt x="198" y="124"/>
                    </a:cubicBezTo>
                    <a:cubicBezTo>
                      <a:pt x="198" y="124"/>
                      <a:pt x="192" y="133"/>
                      <a:pt x="191" y="133"/>
                    </a:cubicBezTo>
                    <a:cubicBezTo>
                      <a:pt x="188" y="132"/>
                      <a:pt x="193" y="126"/>
                      <a:pt x="193" y="126"/>
                    </a:cubicBezTo>
                    <a:cubicBezTo>
                      <a:pt x="192" y="120"/>
                      <a:pt x="192" y="120"/>
                      <a:pt x="192" y="120"/>
                    </a:cubicBezTo>
                    <a:cubicBezTo>
                      <a:pt x="189" y="123"/>
                      <a:pt x="189" y="123"/>
                      <a:pt x="189" y="123"/>
                    </a:cubicBezTo>
                    <a:cubicBezTo>
                      <a:pt x="188" y="121"/>
                      <a:pt x="188" y="121"/>
                      <a:pt x="188" y="121"/>
                    </a:cubicBezTo>
                    <a:cubicBezTo>
                      <a:pt x="188" y="121"/>
                      <a:pt x="184" y="120"/>
                      <a:pt x="183" y="120"/>
                    </a:cubicBezTo>
                    <a:cubicBezTo>
                      <a:pt x="181" y="120"/>
                      <a:pt x="182" y="122"/>
                      <a:pt x="182" y="122"/>
                    </a:cubicBezTo>
                    <a:cubicBezTo>
                      <a:pt x="182" y="122"/>
                      <a:pt x="179" y="123"/>
                      <a:pt x="178" y="125"/>
                    </a:cubicBezTo>
                    <a:cubicBezTo>
                      <a:pt x="177" y="127"/>
                      <a:pt x="179" y="132"/>
                      <a:pt x="179" y="132"/>
                    </a:cubicBezTo>
                    <a:cubicBezTo>
                      <a:pt x="179" y="132"/>
                      <a:pt x="176" y="130"/>
                      <a:pt x="176" y="134"/>
                    </a:cubicBezTo>
                    <a:cubicBezTo>
                      <a:pt x="175" y="137"/>
                      <a:pt x="176" y="140"/>
                      <a:pt x="176" y="140"/>
                    </a:cubicBezTo>
                    <a:cubicBezTo>
                      <a:pt x="180" y="143"/>
                      <a:pt x="180" y="143"/>
                      <a:pt x="180" y="143"/>
                    </a:cubicBezTo>
                    <a:cubicBezTo>
                      <a:pt x="175" y="141"/>
                      <a:pt x="175" y="141"/>
                      <a:pt x="175" y="141"/>
                    </a:cubicBezTo>
                    <a:cubicBezTo>
                      <a:pt x="169" y="142"/>
                      <a:pt x="169" y="142"/>
                      <a:pt x="169" y="142"/>
                    </a:cubicBezTo>
                    <a:cubicBezTo>
                      <a:pt x="165" y="140"/>
                      <a:pt x="165" y="140"/>
                      <a:pt x="165" y="140"/>
                    </a:cubicBezTo>
                    <a:cubicBezTo>
                      <a:pt x="164" y="140"/>
                      <a:pt x="164" y="140"/>
                      <a:pt x="164" y="140"/>
                    </a:cubicBezTo>
                    <a:cubicBezTo>
                      <a:pt x="166" y="143"/>
                      <a:pt x="166" y="143"/>
                      <a:pt x="166" y="143"/>
                    </a:cubicBezTo>
                    <a:cubicBezTo>
                      <a:pt x="165" y="152"/>
                      <a:pt x="165" y="152"/>
                      <a:pt x="165" y="152"/>
                    </a:cubicBezTo>
                    <a:cubicBezTo>
                      <a:pt x="161" y="151"/>
                      <a:pt x="161" y="151"/>
                      <a:pt x="161" y="151"/>
                    </a:cubicBezTo>
                    <a:cubicBezTo>
                      <a:pt x="161" y="154"/>
                      <a:pt x="161" y="154"/>
                      <a:pt x="161" y="154"/>
                    </a:cubicBezTo>
                    <a:cubicBezTo>
                      <a:pt x="164" y="156"/>
                      <a:pt x="164" y="156"/>
                      <a:pt x="164" y="156"/>
                    </a:cubicBezTo>
                    <a:cubicBezTo>
                      <a:pt x="163" y="158"/>
                      <a:pt x="163" y="158"/>
                      <a:pt x="163" y="158"/>
                    </a:cubicBezTo>
                    <a:cubicBezTo>
                      <a:pt x="166" y="160"/>
                      <a:pt x="166" y="160"/>
                      <a:pt x="166" y="160"/>
                    </a:cubicBezTo>
                    <a:cubicBezTo>
                      <a:pt x="169" y="168"/>
                      <a:pt x="169" y="168"/>
                      <a:pt x="169" y="168"/>
                    </a:cubicBezTo>
                    <a:cubicBezTo>
                      <a:pt x="162" y="158"/>
                      <a:pt x="162" y="158"/>
                      <a:pt x="162" y="158"/>
                    </a:cubicBezTo>
                    <a:cubicBezTo>
                      <a:pt x="155" y="164"/>
                      <a:pt x="155" y="164"/>
                      <a:pt x="155" y="164"/>
                    </a:cubicBezTo>
                    <a:cubicBezTo>
                      <a:pt x="153" y="159"/>
                      <a:pt x="153" y="159"/>
                      <a:pt x="153" y="159"/>
                    </a:cubicBezTo>
                    <a:cubicBezTo>
                      <a:pt x="150" y="160"/>
                      <a:pt x="150" y="160"/>
                      <a:pt x="150" y="160"/>
                    </a:cubicBezTo>
                    <a:cubicBezTo>
                      <a:pt x="151" y="167"/>
                      <a:pt x="151" y="167"/>
                      <a:pt x="151" y="167"/>
                    </a:cubicBezTo>
                    <a:cubicBezTo>
                      <a:pt x="148" y="161"/>
                      <a:pt x="148" y="161"/>
                      <a:pt x="148" y="161"/>
                    </a:cubicBezTo>
                    <a:cubicBezTo>
                      <a:pt x="143" y="161"/>
                      <a:pt x="143" y="161"/>
                      <a:pt x="143" y="161"/>
                    </a:cubicBezTo>
                    <a:cubicBezTo>
                      <a:pt x="143" y="168"/>
                      <a:pt x="143" y="168"/>
                      <a:pt x="143" y="168"/>
                    </a:cubicBezTo>
                    <a:cubicBezTo>
                      <a:pt x="146" y="172"/>
                      <a:pt x="146" y="172"/>
                      <a:pt x="146" y="172"/>
                    </a:cubicBezTo>
                    <a:cubicBezTo>
                      <a:pt x="143" y="171"/>
                      <a:pt x="143" y="171"/>
                      <a:pt x="143" y="171"/>
                    </a:cubicBezTo>
                    <a:cubicBezTo>
                      <a:pt x="142" y="174"/>
                      <a:pt x="142" y="174"/>
                      <a:pt x="142" y="174"/>
                    </a:cubicBezTo>
                    <a:cubicBezTo>
                      <a:pt x="144" y="179"/>
                      <a:pt x="144" y="179"/>
                      <a:pt x="144" y="179"/>
                    </a:cubicBezTo>
                    <a:cubicBezTo>
                      <a:pt x="149" y="183"/>
                      <a:pt x="149" y="183"/>
                      <a:pt x="149" y="183"/>
                    </a:cubicBezTo>
                    <a:cubicBezTo>
                      <a:pt x="143" y="183"/>
                      <a:pt x="143" y="183"/>
                      <a:pt x="143" y="183"/>
                    </a:cubicBezTo>
                    <a:cubicBezTo>
                      <a:pt x="143" y="183"/>
                      <a:pt x="141" y="179"/>
                      <a:pt x="138" y="179"/>
                    </a:cubicBezTo>
                    <a:cubicBezTo>
                      <a:pt x="136" y="179"/>
                      <a:pt x="136" y="185"/>
                      <a:pt x="136" y="186"/>
                    </a:cubicBezTo>
                    <a:cubicBezTo>
                      <a:pt x="137" y="187"/>
                      <a:pt x="134" y="189"/>
                      <a:pt x="135" y="191"/>
                    </a:cubicBezTo>
                    <a:cubicBezTo>
                      <a:pt x="136" y="193"/>
                      <a:pt x="139" y="192"/>
                      <a:pt x="139" y="192"/>
                    </a:cubicBezTo>
                    <a:cubicBezTo>
                      <a:pt x="147" y="193"/>
                      <a:pt x="147" y="193"/>
                      <a:pt x="147" y="193"/>
                    </a:cubicBezTo>
                    <a:cubicBezTo>
                      <a:pt x="141" y="195"/>
                      <a:pt x="141" y="195"/>
                      <a:pt x="141" y="195"/>
                    </a:cubicBezTo>
                    <a:cubicBezTo>
                      <a:pt x="141" y="195"/>
                      <a:pt x="138" y="196"/>
                      <a:pt x="139" y="198"/>
                    </a:cubicBezTo>
                    <a:cubicBezTo>
                      <a:pt x="139" y="200"/>
                      <a:pt x="144" y="200"/>
                      <a:pt x="146" y="202"/>
                    </a:cubicBezTo>
                    <a:cubicBezTo>
                      <a:pt x="147" y="204"/>
                      <a:pt x="147" y="206"/>
                      <a:pt x="147" y="206"/>
                    </a:cubicBezTo>
                    <a:cubicBezTo>
                      <a:pt x="147" y="206"/>
                      <a:pt x="144" y="203"/>
                      <a:pt x="142" y="202"/>
                    </a:cubicBezTo>
                    <a:cubicBezTo>
                      <a:pt x="141" y="201"/>
                      <a:pt x="137" y="206"/>
                      <a:pt x="137" y="206"/>
                    </a:cubicBezTo>
                    <a:cubicBezTo>
                      <a:pt x="142" y="213"/>
                      <a:pt x="142" y="213"/>
                      <a:pt x="142" y="213"/>
                    </a:cubicBezTo>
                    <a:cubicBezTo>
                      <a:pt x="135" y="207"/>
                      <a:pt x="135" y="207"/>
                      <a:pt x="135" y="207"/>
                    </a:cubicBezTo>
                    <a:cubicBezTo>
                      <a:pt x="132" y="212"/>
                      <a:pt x="132" y="212"/>
                      <a:pt x="132" y="212"/>
                    </a:cubicBezTo>
                    <a:cubicBezTo>
                      <a:pt x="136" y="217"/>
                      <a:pt x="136" y="217"/>
                      <a:pt x="136" y="217"/>
                    </a:cubicBezTo>
                    <a:cubicBezTo>
                      <a:pt x="136" y="218"/>
                      <a:pt x="136" y="218"/>
                      <a:pt x="136" y="218"/>
                    </a:cubicBezTo>
                    <a:cubicBezTo>
                      <a:pt x="131" y="215"/>
                      <a:pt x="131" y="215"/>
                      <a:pt x="131" y="215"/>
                    </a:cubicBezTo>
                    <a:cubicBezTo>
                      <a:pt x="123" y="221"/>
                      <a:pt x="123" y="221"/>
                      <a:pt x="123" y="221"/>
                    </a:cubicBezTo>
                    <a:cubicBezTo>
                      <a:pt x="123" y="221"/>
                      <a:pt x="132" y="222"/>
                      <a:pt x="131" y="223"/>
                    </a:cubicBezTo>
                    <a:cubicBezTo>
                      <a:pt x="129" y="226"/>
                      <a:pt x="123" y="226"/>
                      <a:pt x="123" y="226"/>
                    </a:cubicBezTo>
                    <a:cubicBezTo>
                      <a:pt x="122" y="232"/>
                      <a:pt x="122" y="232"/>
                      <a:pt x="122" y="232"/>
                    </a:cubicBezTo>
                    <a:cubicBezTo>
                      <a:pt x="120" y="229"/>
                      <a:pt x="120" y="229"/>
                      <a:pt x="120" y="229"/>
                    </a:cubicBezTo>
                    <a:cubicBezTo>
                      <a:pt x="120" y="229"/>
                      <a:pt x="111" y="229"/>
                      <a:pt x="111" y="230"/>
                    </a:cubicBezTo>
                    <a:cubicBezTo>
                      <a:pt x="111" y="232"/>
                      <a:pt x="121" y="235"/>
                      <a:pt x="121" y="235"/>
                    </a:cubicBezTo>
                    <a:cubicBezTo>
                      <a:pt x="127" y="234"/>
                      <a:pt x="127" y="234"/>
                      <a:pt x="127" y="234"/>
                    </a:cubicBezTo>
                    <a:cubicBezTo>
                      <a:pt x="130" y="231"/>
                      <a:pt x="130" y="231"/>
                      <a:pt x="130" y="231"/>
                    </a:cubicBezTo>
                    <a:cubicBezTo>
                      <a:pt x="139" y="228"/>
                      <a:pt x="139" y="228"/>
                      <a:pt x="139" y="228"/>
                    </a:cubicBezTo>
                    <a:cubicBezTo>
                      <a:pt x="139" y="230"/>
                      <a:pt x="139" y="230"/>
                      <a:pt x="139" y="230"/>
                    </a:cubicBezTo>
                    <a:cubicBezTo>
                      <a:pt x="132" y="232"/>
                      <a:pt x="132" y="232"/>
                      <a:pt x="132" y="232"/>
                    </a:cubicBezTo>
                    <a:cubicBezTo>
                      <a:pt x="130" y="234"/>
                      <a:pt x="130" y="234"/>
                      <a:pt x="130" y="234"/>
                    </a:cubicBezTo>
                    <a:cubicBezTo>
                      <a:pt x="134" y="236"/>
                      <a:pt x="134" y="236"/>
                      <a:pt x="134" y="236"/>
                    </a:cubicBezTo>
                    <a:cubicBezTo>
                      <a:pt x="132" y="237"/>
                      <a:pt x="132" y="237"/>
                      <a:pt x="132" y="237"/>
                    </a:cubicBezTo>
                    <a:cubicBezTo>
                      <a:pt x="129" y="235"/>
                      <a:pt x="129" y="235"/>
                      <a:pt x="129" y="235"/>
                    </a:cubicBezTo>
                    <a:cubicBezTo>
                      <a:pt x="122" y="237"/>
                      <a:pt x="122" y="237"/>
                      <a:pt x="122" y="237"/>
                    </a:cubicBezTo>
                    <a:cubicBezTo>
                      <a:pt x="118" y="236"/>
                      <a:pt x="118" y="236"/>
                      <a:pt x="118" y="236"/>
                    </a:cubicBezTo>
                    <a:cubicBezTo>
                      <a:pt x="117" y="240"/>
                      <a:pt x="117" y="240"/>
                      <a:pt x="117" y="240"/>
                    </a:cubicBezTo>
                    <a:cubicBezTo>
                      <a:pt x="122" y="244"/>
                      <a:pt x="122" y="244"/>
                      <a:pt x="122" y="244"/>
                    </a:cubicBezTo>
                    <a:cubicBezTo>
                      <a:pt x="127" y="247"/>
                      <a:pt x="127" y="247"/>
                      <a:pt x="127" y="247"/>
                    </a:cubicBezTo>
                    <a:cubicBezTo>
                      <a:pt x="135" y="244"/>
                      <a:pt x="135" y="244"/>
                      <a:pt x="135" y="244"/>
                    </a:cubicBezTo>
                    <a:cubicBezTo>
                      <a:pt x="148" y="233"/>
                      <a:pt x="148" y="233"/>
                      <a:pt x="148" y="233"/>
                    </a:cubicBezTo>
                    <a:cubicBezTo>
                      <a:pt x="146" y="231"/>
                      <a:pt x="146" y="231"/>
                      <a:pt x="146" y="231"/>
                    </a:cubicBezTo>
                    <a:cubicBezTo>
                      <a:pt x="149" y="230"/>
                      <a:pt x="149" y="230"/>
                      <a:pt x="149" y="230"/>
                    </a:cubicBezTo>
                    <a:cubicBezTo>
                      <a:pt x="153" y="232"/>
                      <a:pt x="153" y="232"/>
                      <a:pt x="153" y="232"/>
                    </a:cubicBezTo>
                    <a:cubicBezTo>
                      <a:pt x="145" y="238"/>
                      <a:pt x="145" y="238"/>
                      <a:pt x="145" y="238"/>
                    </a:cubicBezTo>
                    <a:cubicBezTo>
                      <a:pt x="145" y="238"/>
                      <a:pt x="152" y="240"/>
                      <a:pt x="151" y="240"/>
                    </a:cubicBezTo>
                    <a:cubicBezTo>
                      <a:pt x="145" y="240"/>
                      <a:pt x="145" y="240"/>
                      <a:pt x="145" y="240"/>
                    </a:cubicBezTo>
                    <a:cubicBezTo>
                      <a:pt x="137" y="246"/>
                      <a:pt x="137" y="246"/>
                      <a:pt x="137" y="246"/>
                    </a:cubicBezTo>
                    <a:cubicBezTo>
                      <a:pt x="141" y="249"/>
                      <a:pt x="141" y="249"/>
                      <a:pt x="141" y="249"/>
                    </a:cubicBezTo>
                    <a:cubicBezTo>
                      <a:pt x="137" y="249"/>
                      <a:pt x="137" y="249"/>
                      <a:pt x="137" y="249"/>
                    </a:cubicBezTo>
                    <a:cubicBezTo>
                      <a:pt x="134" y="251"/>
                      <a:pt x="134" y="251"/>
                      <a:pt x="134" y="251"/>
                    </a:cubicBezTo>
                    <a:cubicBezTo>
                      <a:pt x="141" y="254"/>
                      <a:pt x="141" y="254"/>
                      <a:pt x="141" y="254"/>
                    </a:cubicBezTo>
                    <a:cubicBezTo>
                      <a:pt x="135" y="253"/>
                      <a:pt x="135" y="253"/>
                      <a:pt x="135" y="253"/>
                    </a:cubicBezTo>
                    <a:cubicBezTo>
                      <a:pt x="131" y="260"/>
                      <a:pt x="131" y="260"/>
                      <a:pt x="131" y="260"/>
                    </a:cubicBezTo>
                    <a:cubicBezTo>
                      <a:pt x="125" y="260"/>
                      <a:pt x="125" y="260"/>
                      <a:pt x="125" y="260"/>
                    </a:cubicBezTo>
                    <a:cubicBezTo>
                      <a:pt x="122" y="267"/>
                      <a:pt x="122" y="267"/>
                      <a:pt x="122" y="267"/>
                    </a:cubicBezTo>
                    <a:cubicBezTo>
                      <a:pt x="126" y="267"/>
                      <a:pt x="126" y="267"/>
                      <a:pt x="126" y="267"/>
                    </a:cubicBezTo>
                    <a:cubicBezTo>
                      <a:pt x="125" y="277"/>
                      <a:pt x="125" y="277"/>
                      <a:pt x="125" y="277"/>
                    </a:cubicBezTo>
                    <a:cubicBezTo>
                      <a:pt x="120" y="277"/>
                      <a:pt x="120" y="277"/>
                      <a:pt x="120" y="277"/>
                    </a:cubicBezTo>
                    <a:cubicBezTo>
                      <a:pt x="115" y="281"/>
                      <a:pt x="115" y="281"/>
                      <a:pt x="115" y="281"/>
                    </a:cubicBezTo>
                    <a:cubicBezTo>
                      <a:pt x="118" y="285"/>
                      <a:pt x="118" y="285"/>
                      <a:pt x="118" y="285"/>
                    </a:cubicBezTo>
                    <a:cubicBezTo>
                      <a:pt x="115" y="292"/>
                      <a:pt x="115" y="292"/>
                      <a:pt x="115" y="292"/>
                    </a:cubicBezTo>
                    <a:cubicBezTo>
                      <a:pt x="116" y="294"/>
                      <a:pt x="116" y="294"/>
                      <a:pt x="116" y="294"/>
                    </a:cubicBezTo>
                    <a:cubicBezTo>
                      <a:pt x="121" y="294"/>
                      <a:pt x="121" y="294"/>
                      <a:pt x="121" y="294"/>
                    </a:cubicBezTo>
                    <a:cubicBezTo>
                      <a:pt x="116" y="296"/>
                      <a:pt x="116" y="296"/>
                      <a:pt x="116" y="296"/>
                    </a:cubicBezTo>
                    <a:cubicBezTo>
                      <a:pt x="111" y="305"/>
                      <a:pt x="111" y="305"/>
                      <a:pt x="111" y="305"/>
                    </a:cubicBezTo>
                    <a:cubicBezTo>
                      <a:pt x="110" y="306"/>
                      <a:pt x="110" y="306"/>
                      <a:pt x="110" y="306"/>
                    </a:cubicBezTo>
                    <a:cubicBezTo>
                      <a:pt x="110" y="306"/>
                      <a:pt x="109" y="313"/>
                      <a:pt x="106" y="315"/>
                    </a:cubicBezTo>
                    <a:cubicBezTo>
                      <a:pt x="105" y="316"/>
                      <a:pt x="101" y="317"/>
                      <a:pt x="101" y="317"/>
                    </a:cubicBezTo>
                    <a:cubicBezTo>
                      <a:pt x="101" y="317"/>
                      <a:pt x="100" y="324"/>
                      <a:pt x="105" y="324"/>
                    </a:cubicBezTo>
                    <a:cubicBezTo>
                      <a:pt x="112" y="325"/>
                      <a:pt x="114" y="318"/>
                      <a:pt x="114" y="318"/>
                    </a:cubicBezTo>
                    <a:cubicBezTo>
                      <a:pt x="113" y="316"/>
                      <a:pt x="113" y="316"/>
                      <a:pt x="113" y="316"/>
                    </a:cubicBezTo>
                    <a:cubicBezTo>
                      <a:pt x="114" y="314"/>
                      <a:pt x="114" y="314"/>
                      <a:pt x="114" y="314"/>
                    </a:cubicBezTo>
                    <a:cubicBezTo>
                      <a:pt x="121" y="300"/>
                      <a:pt x="121" y="300"/>
                      <a:pt x="121" y="300"/>
                    </a:cubicBezTo>
                    <a:cubicBezTo>
                      <a:pt x="128" y="296"/>
                      <a:pt x="128" y="296"/>
                      <a:pt x="128" y="296"/>
                    </a:cubicBezTo>
                    <a:cubicBezTo>
                      <a:pt x="125" y="292"/>
                      <a:pt x="125" y="292"/>
                      <a:pt x="125" y="292"/>
                    </a:cubicBezTo>
                    <a:cubicBezTo>
                      <a:pt x="126" y="282"/>
                      <a:pt x="126" y="282"/>
                      <a:pt x="126" y="282"/>
                    </a:cubicBezTo>
                    <a:cubicBezTo>
                      <a:pt x="129" y="282"/>
                      <a:pt x="129" y="282"/>
                      <a:pt x="129" y="282"/>
                    </a:cubicBezTo>
                    <a:cubicBezTo>
                      <a:pt x="136" y="276"/>
                      <a:pt x="136" y="276"/>
                      <a:pt x="136" y="276"/>
                    </a:cubicBezTo>
                    <a:cubicBezTo>
                      <a:pt x="139" y="275"/>
                      <a:pt x="139" y="275"/>
                      <a:pt x="139" y="275"/>
                    </a:cubicBezTo>
                    <a:cubicBezTo>
                      <a:pt x="144" y="271"/>
                      <a:pt x="144" y="271"/>
                      <a:pt x="144" y="271"/>
                    </a:cubicBezTo>
                    <a:cubicBezTo>
                      <a:pt x="148" y="270"/>
                      <a:pt x="148" y="270"/>
                      <a:pt x="148" y="270"/>
                    </a:cubicBezTo>
                    <a:cubicBezTo>
                      <a:pt x="145" y="272"/>
                      <a:pt x="145" y="272"/>
                      <a:pt x="145" y="272"/>
                    </a:cubicBezTo>
                    <a:cubicBezTo>
                      <a:pt x="142" y="276"/>
                      <a:pt x="142" y="276"/>
                      <a:pt x="142" y="276"/>
                    </a:cubicBezTo>
                    <a:cubicBezTo>
                      <a:pt x="137" y="277"/>
                      <a:pt x="137" y="277"/>
                      <a:pt x="137" y="277"/>
                    </a:cubicBezTo>
                    <a:cubicBezTo>
                      <a:pt x="132" y="282"/>
                      <a:pt x="132" y="282"/>
                      <a:pt x="132" y="282"/>
                    </a:cubicBezTo>
                    <a:cubicBezTo>
                      <a:pt x="129" y="283"/>
                      <a:pt x="129" y="283"/>
                      <a:pt x="129" y="283"/>
                    </a:cubicBezTo>
                    <a:cubicBezTo>
                      <a:pt x="127" y="291"/>
                      <a:pt x="127" y="291"/>
                      <a:pt x="127" y="291"/>
                    </a:cubicBezTo>
                    <a:cubicBezTo>
                      <a:pt x="132" y="295"/>
                      <a:pt x="132" y="295"/>
                      <a:pt x="132" y="295"/>
                    </a:cubicBezTo>
                    <a:cubicBezTo>
                      <a:pt x="131" y="287"/>
                      <a:pt x="131" y="287"/>
                      <a:pt x="131" y="287"/>
                    </a:cubicBezTo>
                    <a:cubicBezTo>
                      <a:pt x="135" y="290"/>
                      <a:pt x="135" y="290"/>
                      <a:pt x="135" y="290"/>
                    </a:cubicBezTo>
                    <a:cubicBezTo>
                      <a:pt x="137" y="287"/>
                      <a:pt x="137" y="287"/>
                      <a:pt x="137" y="287"/>
                    </a:cubicBezTo>
                    <a:cubicBezTo>
                      <a:pt x="139" y="294"/>
                      <a:pt x="139" y="294"/>
                      <a:pt x="139" y="294"/>
                    </a:cubicBezTo>
                    <a:cubicBezTo>
                      <a:pt x="144" y="290"/>
                      <a:pt x="144" y="290"/>
                      <a:pt x="144" y="290"/>
                    </a:cubicBezTo>
                    <a:cubicBezTo>
                      <a:pt x="143" y="285"/>
                      <a:pt x="143" y="285"/>
                      <a:pt x="143" y="285"/>
                    </a:cubicBezTo>
                    <a:cubicBezTo>
                      <a:pt x="145" y="285"/>
                      <a:pt x="145" y="285"/>
                      <a:pt x="145" y="285"/>
                    </a:cubicBezTo>
                    <a:cubicBezTo>
                      <a:pt x="145" y="285"/>
                      <a:pt x="147" y="279"/>
                      <a:pt x="148" y="280"/>
                    </a:cubicBezTo>
                    <a:cubicBezTo>
                      <a:pt x="150" y="280"/>
                      <a:pt x="148" y="283"/>
                      <a:pt x="148" y="283"/>
                    </a:cubicBezTo>
                    <a:cubicBezTo>
                      <a:pt x="148" y="287"/>
                      <a:pt x="148" y="287"/>
                      <a:pt x="148" y="287"/>
                    </a:cubicBezTo>
                    <a:cubicBezTo>
                      <a:pt x="149" y="285"/>
                      <a:pt x="149" y="285"/>
                      <a:pt x="149" y="285"/>
                    </a:cubicBezTo>
                    <a:cubicBezTo>
                      <a:pt x="152" y="290"/>
                      <a:pt x="152" y="290"/>
                      <a:pt x="152" y="290"/>
                    </a:cubicBezTo>
                    <a:cubicBezTo>
                      <a:pt x="158" y="294"/>
                      <a:pt x="158" y="294"/>
                      <a:pt x="158" y="294"/>
                    </a:cubicBezTo>
                    <a:cubicBezTo>
                      <a:pt x="151" y="293"/>
                      <a:pt x="151" y="293"/>
                      <a:pt x="151" y="293"/>
                    </a:cubicBezTo>
                    <a:cubicBezTo>
                      <a:pt x="148" y="290"/>
                      <a:pt x="148" y="290"/>
                      <a:pt x="148" y="290"/>
                    </a:cubicBezTo>
                    <a:cubicBezTo>
                      <a:pt x="145" y="292"/>
                      <a:pt x="145" y="292"/>
                      <a:pt x="145" y="292"/>
                    </a:cubicBezTo>
                    <a:cubicBezTo>
                      <a:pt x="144" y="302"/>
                      <a:pt x="144" y="302"/>
                      <a:pt x="144" y="302"/>
                    </a:cubicBezTo>
                    <a:cubicBezTo>
                      <a:pt x="144" y="302"/>
                      <a:pt x="141" y="302"/>
                      <a:pt x="141" y="303"/>
                    </a:cubicBezTo>
                    <a:cubicBezTo>
                      <a:pt x="141" y="311"/>
                      <a:pt x="141" y="311"/>
                      <a:pt x="141" y="311"/>
                    </a:cubicBezTo>
                    <a:cubicBezTo>
                      <a:pt x="141" y="311"/>
                      <a:pt x="148" y="313"/>
                      <a:pt x="147" y="317"/>
                    </a:cubicBezTo>
                    <a:cubicBezTo>
                      <a:pt x="147" y="322"/>
                      <a:pt x="142" y="325"/>
                      <a:pt x="142" y="325"/>
                    </a:cubicBezTo>
                    <a:cubicBezTo>
                      <a:pt x="141" y="329"/>
                      <a:pt x="141" y="329"/>
                      <a:pt x="141" y="329"/>
                    </a:cubicBezTo>
                    <a:cubicBezTo>
                      <a:pt x="137" y="329"/>
                      <a:pt x="137" y="329"/>
                      <a:pt x="137" y="329"/>
                    </a:cubicBezTo>
                    <a:cubicBezTo>
                      <a:pt x="137" y="329"/>
                      <a:pt x="137" y="333"/>
                      <a:pt x="135" y="335"/>
                    </a:cubicBezTo>
                    <a:cubicBezTo>
                      <a:pt x="133" y="337"/>
                      <a:pt x="128" y="341"/>
                      <a:pt x="127" y="344"/>
                    </a:cubicBezTo>
                    <a:cubicBezTo>
                      <a:pt x="126" y="347"/>
                      <a:pt x="123" y="355"/>
                      <a:pt x="123" y="355"/>
                    </a:cubicBezTo>
                    <a:cubicBezTo>
                      <a:pt x="121" y="348"/>
                      <a:pt x="121" y="348"/>
                      <a:pt x="121" y="348"/>
                    </a:cubicBezTo>
                    <a:cubicBezTo>
                      <a:pt x="120" y="348"/>
                      <a:pt x="120" y="348"/>
                      <a:pt x="120" y="348"/>
                    </a:cubicBezTo>
                    <a:cubicBezTo>
                      <a:pt x="120" y="348"/>
                      <a:pt x="117" y="355"/>
                      <a:pt x="119" y="358"/>
                    </a:cubicBezTo>
                    <a:cubicBezTo>
                      <a:pt x="120" y="360"/>
                      <a:pt x="122" y="365"/>
                      <a:pt x="122" y="365"/>
                    </a:cubicBezTo>
                    <a:cubicBezTo>
                      <a:pt x="122" y="371"/>
                      <a:pt x="122" y="371"/>
                      <a:pt x="122" y="371"/>
                    </a:cubicBezTo>
                    <a:cubicBezTo>
                      <a:pt x="125" y="373"/>
                      <a:pt x="125" y="373"/>
                      <a:pt x="125" y="373"/>
                    </a:cubicBezTo>
                    <a:cubicBezTo>
                      <a:pt x="126" y="370"/>
                      <a:pt x="126" y="370"/>
                      <a:pt x="126" y="370"/>
                    </a:cubicBezTo>
                    <a:cubicBezTo>
                      <a:pt x="126" y="370"/>
                      <a:pt x="122" y="363"/>
                      <a:pt x="127" y="361"/>
                    </a:cubicBezTo>
                    <a:cubicBezTo>
                      <a:pt x="130" y="359"/>
                      <a:pt x="132" y="360"/>
                      <a:pt x="132" y="360"/>
                    </a:cubicBezTo>
                    <a:cubicBezTo>
                      <a:pt x="132" y="363"/>
                      <a:pt x="132" y="363"/>
                      <a:pt x="132" y="363"/>
                    </a:cubicBezTo>
                    <a:cubicBezTo>
                      <a:pt x="139" y="368"/>
                      <a:pt x="139" y="368"/>
                      <a:pt x="139" y="368"/>
                    </a:cubicBezTo>
                    <a:cubicBezTo>
                      <a:pt x="144" y="374"/>
                      <a:pt x="144" y="374"/>
                      <a:pt x="144" y="374"/>
                    </a:cubicBezTo>
                    <a:cubicBezTo>
                      <a:pt x="147" y="368"/>
                      <a:pt x="147" y="368"/>
                      <a:pt x="147" y="368"/>
                    </a:cubicBezTo>
                    <a:cubicBezTo>
                      <a:pt x="145" y="363"/>
                      <a:pt x="145" y="363"/>
                      <a:pt x="145" y="363"/>
                    </a:cubicBezTo>
                    <a:cubicBezTo>
                      <a:pt x="145" y="360"/>
                      <a:pt x="145" y="360"/>
                      <a:pt x="145" y="360"/>
                    </a:cubicBezTo>
                    <a:cubicBezTo>
                      <a:pt x="145" y="360"/>
                      <a:pt x="147" y="364"/>
                      <a:pt x="149" y="365"/>
                    </a:cubicBezTo>
                    <a:cubicBezTo>
                      <a:pt x="153" y="365"/>
                      <a:pt x="153" y="365"/>
                      <a:pt x="153" y="365"/>
                    </a:cubicBezTo>
                    <a:cubicBezTo>
                      <a:pt x="153" y="365"/>
                      <a:pt x="149" y="372"/>
                      <a:pt x="153" y="372"/>
                    </a:cubicBezTo>
                    <a:cubicBezTo>
                      <a:pt x="158" y="372"/>
                      <a:pt x="164" y="371"/>
                      <a:pt x="164" y="371"/>
                    </a:cubicBezTo>
                    <a:cubicBezTo>
                      <a:pt x="166" y="368"/>
                      <a:pt x="166" y="368"/>
                      <a:pt x="166" y="368"/>
                    </a:cubicBezTo>
                    <a:cubicBezTo>
                      <a:pt x="170" y="369"/>
                      <a:pt x="170" y="369"/>
                      <a:pt x="170" y="369"/>
                    </a:cubicBezTo>
                    <a:cubicBezTo>
                      <a:pt x="178" y="369"/>
                      <a:pt x="178" y="369"/>
                      <a:pt x="178" y="369"/>
                    </a:cubicBezTo>
                    <a:cubicBezTo>
                      <a:pt x="179" y="357"/>
                      <a:pt x="179" y="357"/>
                      <a:pt x="179" y="357"/>
                    </a:cubicBezTo>
                    <a:cubicBezTo>
                      <a:pt x="179" y="357"/>
                      <a:pt x="179" y="362"/>
                      <a:pt x="181" y="363"/>
                    </a:cubicBezTo>
                    <a:cubicBezTo>
                      <a:pt x="183" y="363"/>
                      <a:pt x="198" y="365"/>
                      <a:pt x="198" y="365"/>
                    </a:cubicBezTo>
                    <a:cubicBezTo>
                      <a:pt x="196" y="368"/>
                      <a:pt x="196" y="368"/>
                      <a:pt x="196" y="368"/>
                    </a:cubicBezTo>
                    <a:cubicBezTo>
                      <a:pt x="194" y="368"/>
                      <a:pt x="194" y="368"/>
                      <a:pt x="194" y="368"/>
                    </a:cubicBezTo>
                    <a:cubicBezTo>
                      <a:pt x="193" y="366"/>
                      <a:pt x="193" y="366"/>
                      <a:pt x="193" y="366"/>
                    </a:cubicBezTo>
                    <a:cubicBezTo>
                      <a:pt x="188" y="366"/>
                      <a:pt x="188" y="366"/>
                      <a:pt x="188" y="366"/>
                    </a:cubicBezTo>
                    <a:cubicBezTo>
                      <a:pt x="189" y="370"/>
                      <a:pt x="189" y="370"/>
                      <a:pt x="189" y="370"/>
                    </a:cubicBezTo>
                    <a:cubicBezTo>
                      <a:pt x="186" y="369"/>
                      <a:pt x="186" y="369"/>
                      <a:pt x="186" y="369"/>
                    </a:cubicBezTo>
                    <a:cubicBezTo>
                      <a:pt x="180" y="373"/>
                      <a:pt x="180" y="373"/>
                      <a:pt x="180" y="373"/>
                    </a:cubicBezTo>
                    <a:cubicBezTo>
                      <a:pt x="181" y="375"/>
                      <a:pt x="181" y="375"/>
                      <a:pt x="181" y="375"/>
                    </a:cubicBezTo>
                    <a:cubicBezTo>
                      <a:pt x="181" y="375"/>
                      <a:pt x="176" y="378"/>
                      <a:pt x="175" y="381"/>
                    </a:cubicBezTo>
                    <a:cubicBezTo>
                      <a:pt x="174" y="384"/>
                      <a:pt x="172" y="388"/>
                      <a:pt x="172" y="388"/>
                    </a:cubicBezTo>
                    <a:cubicBezTo>
                      <a:pt x="169" y="390"/>
                      <a:pt x="169" y="390"/>
                      <a:pt x="169" y="390"/>
                    </a:cubicBezTo>
                    <a:cubicBezTo>
                      <a:pt x="172" y="396"/>
                      <a:pt x="172" y="396"/>
                      <a:pt x="172" y="396"/>
                    </a:cubicBezTo>
                    <a:cubicBezTo>
                      <a:pt x="174" y="400"/>
                      <a:pt x="174" y="400"/>
                      <a:pt x="174" y="400"/>
                    </a:cubicBezTo>
                    <a:cubicBezTo>
                      <a:pt x="174" y="400"/>
                      <a:pt x="176" y="401"/>
                      <a:pt x="176" y="403"/>
                    </a:cubicBezTo>
                    <a:cubicBezTo>
                      <a:pt x="176" y="404"/>
                      <a:pt x="175" y="409"/>
                      <a:pt x="175" y="410"/>
                    </a:cubicBezTo>
                    <a:cubicBezTo>
                      <a:pt x="176" y="412"/>
                      <a:pt x="178" y="414"/>
                      <a:pt x="178" y="414"/>
                    </a:cubicBezTo>
                    <a:cubicBezTo>
                      <a:pt x="182" y="409"/>
                      <a:pt x="182" y="409"/>
                      <a:pt x="182" y="409"/>
                    </a:cubicBezTo>
                    <a:cubicBezTo>
                      <a:pt x="182" y="413"/>
                      <a:pt x="182" y="413"/>
                      <a:pt x="182" y="413"/>
                    </a:cubicBezTo>
                    <a:cubicBezTo>
                      <a:pt x="180" y="416"/>
                      <a:pt x="180" y="416"/>
                      <a:pt x="180" y="416"/>
                    </a:cubicBezTo>
                    <a:cubicBezTo>
                      <a:pt x="179" y="416"/>
                      <a:pt x="181" y="422"/>
                      <a:pt x="181" y="422"/>
                    </a:cubicBezTo>
                    <a:cubicBezTo>
                      <a:pt x="185" y="417"/>
                      <a:pt x="185" y="417"/>
                      <a:pt x="185" y="417"/>
                    </a:cubicBezTo>
                    <a:cubicBezTo>
                      <a:pt x="186" y="412"/>
                      <a:pt x="186" y="412"/>
                      <a:pt x="186" y="412"/>
                    </a:cubicBezTo>
                    <a:cubicBezTo>
                      <a:pt x="189" y="420"/>
                      <a:pt x="189" y="420"/>
                      <a:pt x="189" y="420"/>
                    </a:cubicBezTo>
                    <a:cubicBezTo>
                      <a:pt x="194" y="417"/>
                      <a:pt x="194" y="417"/>
                      <a:pt x="194" y="417"/>
                    </a:cubicBezTo>
                    <a:cubicBezTo>
                      <a:pt x="194" y="423"/>
                      <a:pt x="194" y="423"/>
                      <a:pt x="194" y="423"/>
                    </a:cubicBezTo>
                    <a:cubicBezTo>
                      <a:pt x="194" y="423"/>
                      <a:pt x="189" y="424"/>
                      <a:pt x="189" y="425"/>
                    </a:cubicBezTo>
                    <a:cubicBezTo>
                      <a:pt x="189" y="427"/>
                      <a:pt x="192" y="428"/>
                      <a:pt x="192" y="428"/>
                    </a:cubicBezTo>
                    <a:cubicBezTo>
                      <a:pt x="191" y="432"/>
                      <a:pt x="191" y="432"/>
                      <a:pt x="191" y="432"/>
                    </a:cubicBezTo>
                    <a:cubicBezTo>
                      <a:pt x="182" y="433"/>
                      <a:pt x="182" y="433"/>
                      <a:pt x="182" y="433"/>
                    </a:cubicBezTo>
                    <a:cubicBezTo>
                      <a:pt x="182" y="433"/>
                      <a:pt x="180" y="442"/>
                      <a:pt x="182" y="443"/>
                    </a:cubicBezTo>
                    <a:cubicBezTo>
                      <a:pt x="184" y="444"/>
                      <a:pt x="185" y="448"/>
                      <a:pt x="185" y="448"/>
                    </a:cubicBezTo>
                    <a:cubicBezTo>
                      <a:pt x="185" y="448"/>
                      <a:pt x="177" y="452"/>
                      <a:pt x="177" y="457"/>
                    </a:cubicBezTo>
                    <a:cubicBezTo>
                      <a:pt x="178" y="461"/>
                      <a:pt x="181" y="470"/>
                      <a:pt x="181" y="470"/>
                    </a:cubicBezTo>
                    <a:cubicBezTo>
                      <a:pt x="186" y="472"/>
                      <a:pt x="186" y="472"/>
                      <a:pt x="186" y="472"/>
                    </a:cubicBezTo>
                    <a:cubicBezTo>
                      <a:pt x="186" y="472"/>
                      <a:pt x="185" y="474"/>
                      <a:pt x="184" y="474"/>
                    </a:cubicBezTo>
                    <a:cubicBezTo>
                      <a:pt x="183" y="474"/>
                      <a:pt x="179" y="472"/>
                      <a:pt x="179" y="472"/>
                    </a:cubicBezTo>
                    <a:cubicBezTo>
                      <a:pt x="177" y="465"/>
                      <a:pt x="177" y="465"/>
                      <a:pt x="177" y="465"/>
                    </a:cubicBezTo>
                    <a:cubicBezTo>
                      <a:pt x="177" y="465"/>
                      <a:pt x="171" y="464"/>
                      <a:pt x="171" y="466"/>
                    </a:cubicBezTo>
                    <a:cubicBezTo>
                      <a:pt x="170" y="467"/>
                      <a:pt x="172" y="474"/>
                      <a:pt x="172" y="474"/>
                    </a:cubicBezTo>
                    <a:cubicBezTo>
                      <a:pt x="165" y="467"/>
                      <a:pt x="165" y="467"/>
                      <a:pt x="165" y="467"/>
                    </a:cubicBezTo>
                    <a:cubicBezTo>
                      <a:pt x="152" y="469"/>
                      <a:pt x="152" y="469"/>
                      <a:pt x="152" y="469"/>
                    </a:cubicBezTo>
                    <a:cubicBezTo>
                      <a:pt x="144" y="464"/>
                      <a:pt x="144" y="464"/>
                      <a:pt x="144" y="464"/>
                    </a:cubicBezTo>
                    <a:cubicBezTo>
                      <a:pt x="144" y="467"/>
                      <a:pt x="144" y="467"/>
                      <a:pt x="144" y="467"/>
                    </a:cubicBezTo>
                    <a:cubicBezTo>
                      <a:pt x="133" y="469"/>
                      <a:pt x="133" y="469"/>
                      <a:pt x="133" y="469"/>
                    </a:cubicBezTo>
                    <a:cubicBezTo>
                      <a:pt x="121" y="475"/>
                      <a:pt x="121" y="475"/>
                      <a:pt x="121" y="475"/>
                    </a:cubicBezTo>
                    <a:cubicBezTo>
                      <a:pt x="121" y="475"/>
                      <a:pt x="120" y="482"/>
                      <a:pt x="117" y="483"/>
                    </a:cubicBezTo>
                    <a:cubicBezTo>
                      <a:pt x="115" y="485"/>
                      <a:pt x="111" y="485"/>
                      <a:pt x="111" y="485"/>
                    </a:cubicBezTo>
                    <a:cubicBezTo>
                      <a:pt x="111" y="485"/>
                      <a:pt x="100" y="490"/>
                      <a:pt x="101" y="491"/>
                    </a:cubicBezTo>
                    <a:cubicBezTo>
                      <a:pt x="103" y="492"/>
                      <a:pt x="107" y="491"/>
                      <a:pt x="109" y="492"/>
                    </a:cubicBezTo>
                    <a:cubicBezTo>
                      <a:pt x="110" y="494"/>
                      <a:pt x="110" y="497"/>
                      <a:pt x="110" y="497"/>
                    </a:cubicBezTo>
                    <a:cubicBezTo>
                      <a:pt x="110" y="497"/>
                      <a:pt x="112" y="496"/>
                      <a:pt x="112" y="494"/>
                    </a:cubicBezTo>
                    <a:cubicBezTo>
                      <a:pt x="113" y="491"/>
                      <a:pt x="114" y="489"/>
                      <a:pt x="116" y="489"/>
                    </a:cubicBezTo>
                    <a:cubicBezTo>
                      <a:pt x="117" y="488"/>
                      <a:pt x="119" y="490"/>
                      <a:pt x="119" y="490"/>
                    </a:cubicBezTo>
                    <a:cubicBezTo>
                      <a:pt x="122" y="489"/>
                      <a:pt x="122" y="489"/>
                      <a:pt x="122" y="489"/>
                    </a:cubicBezTo>
                    <a:cubicBezTo>
                      <a:pt x="129" y="490"/>
                      <a:pt x="129" y="490"/>
                      <a:pt x="129" y="490"/>
                    </a:cubicBezTo>
                    <a:cubicBezTo>
                      <a:pt x="127" y="494"/>
                      <a:pt x="127" y="494"/>
                      <a:pt x="127" y="494"/>
                    </a:cubicBezTo>
                    <a:cubicBezTo>
                      <a:pt x="127" y="494"/>
                      <a:pt x="126" y="499"/>
                      <a:pt x="127" y="500"/>
                    </a:cubicBezTo>
                    <a:cubicBezTo>
                      <a:pt x="128" y="501"/>
                      <a:pt x="128" y="503"/>
                      <a:pt x="128" y="503"/>
                    </a:cubicBezTo>
                    <a:cubicBezTo>
                      <a:pt x="128" y="503"/>
                      <a:pt x="123" y="506"/>
                      <a:pt x="123" y="510"/>
                    </a:cubicBezTo>
                    <a:cubicBezTo>
                      <a:pt x="123" y="512"/>
                      <a:pt x="128" y="514"/>
                      <a:pt x="128" y="514"/>
                    </a:cubicBezTo>
                    <a:cubicBezTo>
                      <a:pt x="126" y="516"/>
                      <a:pt x="126" y="516"/>
                      <a:pt x="126" y="516"/>
                    </a:cubicBezTo>
                    <a:cubicBezTo>
                      <a:pt x="126" y="516"/>
                      <a:pt x="119" y="531"/>
                      <a:pt x="116" y="531"/>
                    </a:cubicBezTo>
                    <a:cubicBezTo>
                      <a:pt x="113" y="532"/>
                      <a:pt x="110" y="532"/>
                      <a:pt x="109" y="533"/>
                    </a:cubicBezTo>
                    <a:cubicBezTo>
                      <a:pt x="106" y="534"/>
                      <a:pt x="102" y="536"/>
                      <a:pt x="102" y="536"/>
                    </a:cubicBezTo>
                    <a:cubicBezTo>
                      <a:pt x="98" y="535"/>
                      <a:pt x="98" y="535"/>
                      <a:pt x="98" y="535"/>
                    </a:cubicBezTo>
                    <a:cubicBezTo>
                      <a:pt x="88" y="538"/>
                      <a:pt x="88" y="538"/>
                      <a:pt x="88" y="538"/>
                    </a:cubicBezTo>
                    <a:cubicBezTo>
                      <a:pt x="87" y="542"/>
                      <a:pt x="87" y="542"/>
                      <a:pt x="87" y="542"/>
                    </a:cubicBezTo>
                    <a:cubicBezTo>
                      <a:pt x="82" y="542"/>
                      <a:pt x="82" y="542"/>
                      <a:pt x="82" y="542"/>
                    </a:cubicBezTo>
                    <a:cubicBezTo>
                      <a:pt x="79" y="538"/>
                      <a:pt x="79" y="538"/>
                      <a:pt x="79" y="538"/>
                    </a:cubicBezTo>
                    <a:cubicBezTo>
                      <a:pt x="76" y="539"/>
                      <a:pt x="76" y="539"/>
                      <a:pt x="76" y="539"/>
                    </a:cubicBezTo>
                    <a:cubicBezTo>
                      <a:pt x="77" y="542"/>
                      <a:pt x="77" y="542"/>
                      <a:pt x="77" y="542"/>
                    </a:cubicBezTo>
                    <a:cubicBezTo>
                      <a:pt x="77" y="542"/>
                      <a:pt x="66" y="543"/>
                      <a:pt x="66" y="545"/>
                    </a:cubicBezTo>
                    <a:cubicBezTo>
                      <a:pt x="65" y="547"/>
                      <a:pt x="65" y="548"/>
                      <a:pt x="65" y="548"/>
                    </a:cubicBezTo>
                    <a:cubicBezTo>
                      <a:pt x="72" y="549"/>
                      <a:pt x="72" y="549"/>
                      <a:pt x="72" y="549"/>
                    </a:cubicBezTo>
                    <a:cubicBezTo>
                      <a:pt x="72" y="549"/>
                      <a:pt x="73" y="554"/>
                      <a:pt x="71" y="554"/>
                    </a:cubicBezTo>
                    <a:cubicBezTo>
                      <a:pt x="68" y="554"/>
                      <a:pt x="66" y="555"/>
                      <a:pt x="66" y="555"/>
                    </a:cubicBezTo>
                    <a:cubicBezTo>
                      <a:pt x="67" y="561"/>
                      <a:pt x="67" y="561"/>
                      <a:pt x="67" y="561"/>
                    </a:cubicBezTo>
                    <a:cubicBezTo>
                      <a:pt x="67" y="561"/>
                      <a:pt x="70" y="559"/>
                      <a:pt x="71" y="559"/>
                    </a:cubicBezTo>
                    <a:cubicBezTo>
                      <a:pt x="72" y="559"/>
                      <a:pt x="74" y="560"/>
                      <a:pt x="74" y="560"/>
                    </a:cubicBezTo>
                    <a:cubicBezTo>
                      <a:pt x="80" y="559"/>
                      <a:pt x="80" y="559"/>
                      <a:pt x="80" y="559"/>
                    </a:cubicBezTo>
                    <a:cubicBezTo>
                      <a:pt x="82" y="555"/>
                      <a:pt x="82" y="555"/>
                      <a:pt x="82" y="555"/>
                    </a:cubicBezTo>
                    <a:cubicBezTo>
                      <a:pt x="86" y="555"/>
                      <a:pt x="86" y="555"/>
                      <a:pt x="86" y="555"/>
                    </a:cubicBezTo>
                    <a:cubicBezTo>
                      <a:pt x="83" y="558"/>
                      <a:pt x="83" y="558"/>
                      <a:pt x="83" y="558"/>
                    </a:cubicBezTo>
                    <a:cubicBezTo>
                      <a:pt x="82" y="561"/>
                      <a:pt x="82" y="561"/>
                      <a:pt x="82" y="561"/>
                    </a:cubicBezTo>
                    <a:cubicBezTo>
                      <a:pt x="73" y="561"/>
                      <a:pt x="73" y="561"/>
                      <a:pt x="73" y="561"/>
                    </a:cubicBezTo>
                    <a:cubicBezTo>
                      <a:pt x="71" y="562"/>
                      <a:pt x="71" y="562"/>
                      <a:pt x="71" y="562"/>
                    </a:cubicBezTo>
                    <a:cubicBezTo>
                      <a:pt x="71" y="562"/>
                      <a:pt x="71" y="567"/>
                      <a:pt x="73" y="567"/>
                    </a:cubicBezTo>
                    <a:cubicBezTo>
                      <a:pt x="76" y="567"/>
                      <a:pt x="80" y="566"/>
                      <a:pt x="80" y="566"/>
                    </a:cubicBezTo>
                    <a:cubicBezTo>
                      <a:pt x="80" y="566"/>
                      <a:pt x="83" y="567"/>
                      <a:pt x="84" y="566"/>
                    </a:cubicBezTo>
                    <a:cubicBezTo>
                      <a:pt x="86" y="565"/>
                      <a:pt x="88" y="563"/>
                      <a:pt x="88" y="563"/>
                    </a:cubicBezTo>
                    <a:cubicBezTo>
                      <a:pt x="96" y="563"/>
                      <a:pt x="96" y="563"/>
                      <a:pt x="96" y="563"/>
                    </a:cubicBezTo>
                    <a:cubicBezTo>
                      <a:pt x="96" y="563"/>
                      <a:pt x="100" y="560"/>
                      <a:pt x="102" y="561"/>
                    </a:cubicBezTo>
                    <a:cubicBezTo>
                      <a:pt x="104" y="562"/>
                      <a:pt x="99" y="565"/>
                      <a:pt x="101" y="566"/>
                    </a:cubicBezTo>
                    <a:cubicBezTo>
                      <a:pt x="103" y="567"/>
                      <a:pt x="109" y="569"/>
                      <a:pt x="109" y="569"/>
                    </a:cubicBezTo>
                    <a:cubicBezTo>
                      <a:pt x="115" y="568"/>
                      <a:pt x="115" y="568"/>
                      <a:pt x="115" y="568"/>
                    </a:cubicBezTo>
                    <a:cubicBezTo>
                      <a:pt x="114" y="570"/>
                      <a:pt x="114" y="570"/>
                      <a:pt x="114" y="570"/>
                    </a:cubicBezTo>
                    <a:cubicBezTo>
                      <a:pt x="109" y="571"/>
                      <a:pt x="109" y="571"/>
                      <a:pt x="109" y="571"/>
                    </a:cubicBezTo>
                    <a:cubicBezTo>
                      <a:pt x="109" y="571"/>
                      <a:pt x="103" y="570"/>
                      <a:pt x="103" y="573"/>
                    </a:cubicBezTo>
                    <a:cubicBezTo>
                      <a:pt x="102" y="575"/>
                      <a:pt x="102" y="577"/>
                      <a:pt x="104" y="577"/>
                    </a:cubicBezTo>
                    <a:cubicBezTo>
                      <a:pt x="107" y="577"/>
                      <a:pt x="112" y="578"/>
                      <a:pt x="112" y="578"/>
                    </a:cubicBezTo>
                    <a:cubicBezTo>
                      <a:pt x="112" y="578"/>
                      <a:pt x="115" y="574"/>
                      <a:pt x="118" y="575"/>
                    </a:cubicBezTo>
                    <a:cubicBezTo>
                      <a:pt x="122" y="576"/>
                      <a:pt x="126" y="587"/>
                      <a:pt x="126" y="587"/>
                    </a:cubicBezTo>
                    <a:cubicBezTo>
                      <a:pt x="126" y="587"/>
                      <a:pt x="131" y="593"/>
                      <a:pt x="137" y="594"/>
                    </a:cubicBezTo>
                    <a:cubicBezTo>
                      <a:pt x="143" y="594"/>
                      <a:pt x="152" y="589"/>
                      <a:pt x="152" y="589"/>
                    </a:cubicBezTo>
                    <a:cubicBezTo>
                      <a:pt x="163" y="586"/>
                      <a:pt x="163" y="586"/>
                      <a:pt x="163" y="586"/>
                    </a:cubicBezTo>
                    <a:cubicBezTo>
                      <a:pt x="170" y="580"/>
                      <a:pt x="170" y="580"/>
                      <a:pt x="170" y="580"/>
                    </a:cubicBezTo>
                    <a:cubicBezTo>
                      <a:pt x="180" y="575"/>
                      <a:pt x="180" y="575"/>
                      <a:pt x="180" y="575"/>
                    </a:cubicBezTo>
                    <a:cubicBezTo>
                      <a:pt x="181" y="576"/>
                      <a:pt x="181" y="576"/>
                      <a:pt x="181" y="576"/>
                    </a:cubicBezTo>
                    <a:cubicBezTo>
                      <a:pt x="171" y="582"/>
                      <a:pt x="171" y="582"/>
                      <a:pt x="171" y="582"/>
                    </a:cubicBezTo>
                    <a:cubicBezTo>
                      <a:pt x="166" y="589"/>
                      <a:pt x="166" y="589"/>
                      <a:pt x="166" y="589"/>
                    </a:cubicBezTo>
                    <a:cubicBezTo>
                      <a:pt x="161" y="590"/>
                      <a:pt x="161" y="590"/>
                      <a:pt x="161" y="590"/>
                    </a:cubicBezTo>
                    <a:cubicBezTo>
                      <a:pt x="161" y="590"/>
                      <a:pt x="151" y="597"/>
                      <a:pt x="151" y="599"/>
                    </a:cubicBezTo>
                    <a:cubicBezTo>
                      <a:pt x="150" y="602"/>
                      <a:pt x="152" y="605"/>
                      <a:pt x="148" y="606"/>
                    </a:cubicBezTo>
                    <a:cubicBezTo>
                      <a:pt x="144" y="607"/>
                      <a:pt x="132" y="608"/>
                      <a:pt x="130" y="605"/>
                    </a:cubicBezTo>
                    <a:cubicBezTo>
                      <a:pt x="128" y="602"/>
                      <a:pt x="121" y="600"/>
                      <a:pt x="118" y="599"/>
                    </a:cubicBezTo>
                    <a:cubicBezTo>
                      <a:pt x="115" y="599"/>
                      <a:pt x="102" y="597"/>
                      <a:pt x="99" y="600"/>
                    </a:cubicBezTo>
                    <a:cubicBezTo>
                      <a:pt x="97" y="602"/>
                      <a:pt x="100" y="608"/>
                      <a:pt x="100" y="608"/>
                    </a:cubicBezTo>
                    <a:cubicBezTo>
                      <a:pt x="100" y="608"/>
                      <a:pt x="98" y="609"/>
                      <a:pt x="94" y="610"/>
                    </a:cubicBezTo>
                    <a:cubicBezTo>
                      <a:pt x="90" y="611"/>
                      <a:pt x="88" y="607"/>
                      <a:pt x="86" y="608"/>
                    </a:cubicBezTo>
                    <a:cubicBezTo>
                      <a:pt x="83" y="609"/>
                      <a:pt x="81" y="623"/>
                      <a:pt x="81" y="623"/>
                    </a:cubicBezTo>
                    <a:cubicBezTo>
                      <a:pt x="70" y="628"/>
                      <a:pt x="70" y="628"/>
                      <a:pt x="70" y="628"/>
                    </a:cubicBezTo>
                    <a:cubicBezTo>
                      <a:pt x="69" y="631"/>
                      <a:pt x="69" y="631"/>
                      <a:pt x="69" y="631"/>
                    </a:cubicBezTo>
                    <a:cubicBezTo>
                      <a:pt x="56" y="636"/>
                      <a:pt x="56" y="636"/>
                      <a:pt x="56" y="636"/>
                    </a:cubicBezTo>
                    <a:cubicBezTo>
                      <a:pt x="55" y="640"/>
                      <a:pt x="55" y="640"/>
                      <a:pt x="55" y="640"/>
                    </a:cubicBezTo>
                    <a:cubicBezTo>
                      <a:pt x="55" y="640"/>
                      <a:pt x="51" y="641"/>
                      <a:pt x="50" y="643"/>
                    </a:cubicBezTo>
                    <a:cubicBezTo>
                      <a:pt x="48" y="644"/>
                      <a:pt x="47" y="647"/>
                      <a:pt x="47" y="647"/>
                    </a:cubicBezTo>
                    <a:cubicBezTo>
                      <a:pt x="38" y="652"/>
                      <a:pt x="38" y="652"/>
                      <a:pt x="38" y="652"/>
                    </a:cubicBezTo>
                    <a:cubicBezTo>
                      <a:pt x="34" y="653"/>
                      <a:pt x="34" y="653"/>
                      <a:pt x="34" y="653"/>
                    </a:cubicBezTo>
                    <a:cubicBezTo>
                      <a:pt x="34" y="653"/>
                      <a:pt x="25" y="652"/>
                      <a:pt x="23" y="654"/>
                    </a:cubicBezTo>
                    <a:cubicBezTo>
                      <a:pt x="20" y="656"/>
                      <a:pt x="21" y="662"/>
                      <a:pt x="21" y="662"/>
                    </a:cubicBezTo>
                    <a:cubicBezTo>
                      <a:pt x="30" y="661"/>
                      <a:pt x="30" y="661"/>
                      <a:pt x="30" y="661"/>
                    </a:cubicBezTo>
                    <a:cubicBezTo>
                      <a:pt x="30" y="658"/>
                      <a:pt x="30" y="658"/>
                      <a:pt x="30" y="658"/>
                    </a:cubicBezTo>
                    <a:cubicBezTo>
                      <a:pt x="30" y="658"/>
                      <a:pt x="35" y="660"/>
                      <a:pt x="36" y="661"/>
                    </a:cubicBezTo>
                    <a:cubicBezTo>
                      <a:pt x="37" y="662"/>
                      <a:pt x="41" y="670"/>
                      <a:pt x="41" y="670"/>
                    </a:cubicBezTo>
                    <a:cubicBezTo>
                      <a:pt x="48" y="665"/>
                      <a:pt x="48" y="665"/>
                      <a:pt x="48" y="665"/>
                    </a:cubicBezTo>
                    <a:cubicBezTo>
                      <a:pt x="47" y="662"/>
                      <a:pt x="47" y="662"/>
                      <a:pt x="47" y="662"/>
                    </a:cubicBezTo>
                    <a:cubicBezTo>
                      <a:pt x="47" y="662"/>
                      <a:pt x="52" y="655"/>
                      <a:pt x="52" y="656"/>
                    </a:cubicBezTo>
                    <a:cubicBezTo>
                      <a:pt x="52" y="657"/>
                      <a:pt x="53" y="660"/>
                      <a:pt x="53" y="660"/>
                    </a:cubicBezTo>
                    <a:cubicBezTo>
                      <a:pt x="53" y="660"/>
                      <a:pt x="61" y="657"/>
                      <a:pt x="62" y="657"/>
                    </a:cubicBezTo>
                    <a:cubicBezTo>
                      <a:pt x="63" y="656"/>
                      <a:pt x="66" y="652"/>
                      <a:pt x="66" y="652"/>
                    </a:cubicBezTo>
                    <a:cubicBezTo>
                      <a:pt x="66" y="652"/>
                      <a:pt x="72" y="654"/>
                      <a:pt x="74" y="653"/>
                    </a:cubicBezTo>
                    <a:cubicBezTo>
                      <a:pt x="78" y="653"/>
                      <a:pt x="84" y="652"/>
                      <a:pt x="85" y="653"/>
                    </a:cubicBezTo>
                    <a:cubicBezTo>
                      <a:pt x="85" y="654"/>
                      <a:pt x="86" y="658"/>
                      <a:pt x="86" y="658"/>
                    </a:cubicBezTo>
                    <a:cubicBezTo>
                      <a:pt x="89" y="656"/>
                      <a:pt x="89" y="656"/>
                      <a:pt x="89" y="656"/>
                    </a:cubicBezTo>
                    <a:cubicBezTo>
                      <a:pt x="90" y="650"/>
                      <a:pt x="90" y="650"/>
                      <a:pt x="90" y="650"/>
                    </a:cubicBezTo>
                    <a:cubicBezTo>
                      <a:pt x="93" y="659"/>
                      <a:pt x="93" y="659"/>
                      <a:pt x="93" y="659"/>
                    </a:cubicBezTo>
                    <a:cubicBezTo>
                      <a:pt x="100" y="659"/>
                      <a:pt x="100" y="659"/>
                      <a:pt x="100" y="659"/>
                    </a:cubicBezTo>
                    <a:cubicBezTo>
                      <a:pt x="100" y="659"/>
                      <a:pt x="101" y="666"/>
                      <a:pt x="104" y="666"/>
                    </a:cubicBezTo>
                    <a:cubicBezTo>
                      <a:pt x="109" y="668"/>
                      <a:pt x="112" y="662"/>
                      <a:pt x="112" y="662"/>
                    </a:cubicBezTo>
                    <a:cubicBezTo>
                      <a:pt x="115" y="660"/>
                      <a:pt x="115" y="660"/>
                      <a:pt x="115" y="660"/>
                    </a:cubicBezTo>
                    <a:cubicBezTo>
                      <a:pt x="114" y="656"/>
                      <a:pt x="114" y="656"/>
                      <a:pt x="114" y="656"/>
                    </a:cubicBezTo>
                    <a:cubicBezTo>
                      <a:pt x="118" y="653"/>
                      <a:pt x="118" y="653"/>
                      <a:pt x="118" y="653"/>
                    </a:cubicBezTo>
                    <a:cubicBezTo>
                      <a:pt x="119" y="647"/>
                      <a:pt x="119" y="647"/>
                      <a:pt x="119" y="647"/>
                    </a:cubicBezTo>
                    <a:cubicBezTo>
                      <a:pt x="122" y="645"/>
                      <a:pt x="122" y="645"/>
                      <a:pt x="122" y="645"/>
                    </a:cubicBezTo>
                    <a:cubicBezTo>
                      <a:pt x="122" y="639"/>
                      <a:pt x="122" y="639"/>
                      <a:pt x="122" y="639"/>
                    </a:cubicBezTo>
                    <a:cubicBezTo>
                      <a:pt x="123" y="644"/>
                      <a:pt x="123" y="644"/>
                      <a:pt x="123" y="644"/>
                    </a:cubicBezTo>
                    <a:cubicBezTo>
                      <a:pt x="123" y="644"/>
                      <a:pt x="129" y="641"/>
                      <a:pt x="141" y="641"/>
                    </a:cubicBezTo>
                    <a:cubicBezTo>
                      <a:pt x="153" y="642"/>
                      <a:pt x="160" y="653"/>
                      <a:pt x="160" y="653"/>
                    </a:cubicBezTo>
                    <a:cubicBezTo>
                      <a:pt x="162" y="657"/>
                      <a:pt x="162" y="657"/>
                      <a:pt x="162" y="657"/>
                    </a:cubicBezTo>
                    <a:cubicBezTo>
                      <a:pt x="164" y="655"/>
                      <a:pt x="164" y="655"/>
                      <a:pt x="164" y="655"/>
                    </a:cubicBezTo>
                    <a:cubicBezTo>
                      <a:pt x="164" y="655"/>
                      <a:pt x="161" y="654"/>
                      <a:pt x="163" y="652"/>
                    </a:cubicBezTo>
                    <a:cubicBezTo>
                      <a:pt x="165" y="648"/>
                      <a:pt x="171" y="652"/>
                      <a:pt x="171" y="652"/>
                    </a:cubicBezTo>
                    <a:cubicBezTo>
                      <a:pt x="177" y="652"/>
                      <a:pt x="177" y="652"/>
                      <a:pt x="177" y="652"/>
                    </a:cubicBezTo>
                    <a:cubicBezTo>
                      <a:pt x="178" y="653"/>
                      <a:pt x="182" y="657"/>
                      <a:pt x="184" y="655"/>
                    </a:cubicBezTo>
                    <a:cubicBezTo>
                      <a:pt x="187" y="654"/>
                      <a:pt x="185" y="650"/>
                      <a:pt x="185" y="650"/>
                    </a:cubicBezTo>
                    <a:cubicBezTo>
                      <a:pt x="185" y="650"/>
                      <a:pt x="178" y="647"/>
                      <a:pt x="180" y="646"/>
                    </a:cubicBezTo>
                    <a:cubicBezTo>
                      <a:pt x="182" y="645"/>
                      <a:pt x="185" y="649"/>
                      <a:pt x="186" y="648"/>
                    </a:cubicBezTo>
                    <a:cubicBezTo>
                      <a:pt x="188" y="648"/>
                      <a:pt x="195" y="646"/>
                      <a:pt x="195" y="646"/>
                    </a:cubicBezTo>
                    <a:cubicBezTo>
                      <a:pt x="195" y="646"/>
                      <a:pt x="199" y="649"/>
                      <a:pt x="201" y="649"/>
                    </a:cubicBezTo>
                    <a:cubicBezTo>
                      <a:pt x="202" y="649"/>
                      <a:pt x="203" y="646"/>
                      <a:pt x="203" y="646"/>
                    </a:cubicBezTo>
                    <a:cubicBezTo>
                      <a:pt x="203" y="646"/>
                      <a:pt x="209" y="648"/>
                      <a:pt x="211" y="647"/>
                    </a:cubicBezTo>
                    <a:cubicBezTo>
                      <a:pt x="213" y="646"/>
                      <a:pt x="212" y="642"/>
                      <a:pt x="212" y="642"/>
                    </a:cubicBezTo>
                    <a:cubicBezTo>
                      <a:pt x="212" y="642"/>
                      <a:pt x="216" y="648"/>
                      <a:pt x="218" y="648"/>
                    </a:cubicBezTo>
                    <a:cubicBezTo>
                      <a:pt x="220" y="648"/>
                      <a:pt x="220" y="643"/>
                      <a:pt x="220" y="644"/>
                    </a:cubicBezTo>
                    <a:cubicBezTo>
                      <a:pt x="221" y="646"/>
                      <a:pt x="224" y="649"/>
                      <a:pt x="224" y="649"/>
                    </a:cubicBezTo>
                    <a:cubicBezTo>
                      <a:pt x="224" y="649"/>
                      <a:pt x="226" y="643"/>
                      <a:pt x="229" y="646"/>
                    </a:cubicBezTo>
                    <a:cubicBezTo>
                      <a:pt x="232" y="649"/>
                      <a:pt x="231" y="654"/>
                      <a:pt x="232" y="654"/>
                    </a:cubicBezTo>
                    <a:cubicBezTo>
                      <a:pt x="234" y="654"/>
                      <a:pt x="237" y="653"/>
                      <a:pt x="237" y="653"/>
                    </a:cubicBezTo>
                    <a:cubicBezTo>
                      <a:pt x="237" y="653"/>
                      <a:pt x="248" y="650"/>
                      <a:pt x="257" y="652"/>
                    </a:cubicBezTo>
                    <a:cubicBezTo>
                      <a:pt x="264" y="654"/>
                      <a:pt x="270" y="659"/>
                      <a:pt x="276" y="659"/>
                    </a:cubicBezTo>
                    <a:cubicBezTo>
                      <a:pt x="281" y="659"/>
                      <a:pt x="283" y="657"/>
                      <a:pt x="283" y="657"/>
                    </a:cubicBezTo>
                    <a:cubicBezTo>
                      <a:pt x="295" y="656"/>
                      <a:pt x="295" y="656"/>
                      <a:pt x="295" y="656"/>
                    </a:cubicBezTo>
                    <a:cubicBezTo>
                      <a:pt x="301" y="649"/>
                      <a:pt x="301" y="649"/>
                      <a:pt x="301" y="649"/>
                    </a:cubicBezTo>
                    <a:cubicBezTo>
                      <a:pt x="310" y="653"/>
                      <a:pt x="310" y="653"/>
                      <a:pt x="310" y="653"/>
                    </a:cubicBezTo>
                    <a:cubicBezTo>
                      <a:pt x="310" y="653"/>
                      <a:pt x="309" y="643"/>
                      <a:pt x="312" y="643"/>
                    </a:cubicBezTo>
                    <a:cubicBezTo>
                      <a:pt x="315" y="643"/>
                      <a:pt x="318" y="644"/>
                      <a:pt x="318" y="644"/>
                    </a:cubicBezTo>
                    <a:cubicBezTo>
                      <a:pt x="328" y="641"/>
                      <a:pt x="328" y="641"/>
                      <a:pt x="328" y="641"/>
                    </a:cubicBezTo>
                    <a:cubicBezTo>
                      <a:pt x="329" y="631"/>
                      <a:pt x="329" y="631"/>
                      <a:pt x="329" y="631"/>
                    </a:cubicBezTo>
                    <a:cubicBezTo>
                      <a:pt x="332" y="627"/>
                      <a:pt x="332" y="627"/>
                      <a:pt x="332" y="627"/>
                    </a:cubicBezTo>
                    <a:cubicBezTo>
                      <a:pt x="331" y="625"/>
                      <a:pt x="331" y="625"/>
                      <a:pt x="331" y="625"/>
                    </a:cubicBezTo>
                    <a:cubicBezTo>
                      <a:pt x="310" y="626"/>
                      <a:pt x="310" y="626"/>
                      <a:pt x="310" y="626"/>
                    </a:cubicBezTo>
                    <a:cubicBezTo>
                      <a:pt x="307" y="625"/>
                      <a:pt x="307" y="625"/>
                      <a:pt x="307" y="625"/>
                    </a:cubicBezTo>
                    <a:cubicBezTo>
                      <a:pt x="311" y="623"/>
                      <a:pt x="311" y="623"/>
                      <a:pt x="311" y="623"/>
                    </a:cubicBezTo>
                    <a:cubicBezTo>
                      <a:pt x="311" y="623"/>
                      <a:pt x="312" y="621"/>
                      <a:pt x="309" y="620"/>
                    </a:cubicBezTo>
                    <a:cubicBezTo>
                      <a:pt x="306" y="618"/>
                      <a:pt x="302" y="621"/>
                      <a:pt x="302" y="621"/>
                    </a:cubicBezTo>
                    <a:cubicBezTo>
                      <a:pt x="296" y="621"/>
                      <a:pt x="296" y="621"/>
                      <a:pt x="296" y="621"/>
                    </a:cubicBezTo>
                    <a:cubicBezTo>
                      <a:pt x="303" y="617"/>
                      <a:pt x="303" y="617"/>
                      <a:pt x="303" y="617"/>
                    </a:cubicBezTo>
                    <a:cubicBezTo>
                      <a:pt x="298" y="614"/>
                      <a:pt x="298" y="614"/>
                      <a:pt x="298" y="614"/>
                    </a:cubicBezTo>
                    <a:cubicBezTo>
                      <a:pt x="295" y="614"/>
                      <a:pt x="295" y="614"/>
                      <a:pt x="295" y="614"/>
                    </a:cubicBezTo>
                    <a:cubicBezTo>
                      <a:pt x="293" y="615"/>
                      <a:pt x="293" y="615"/>
                      <a:pt x="293" y="615"/>
                    </a:cubicBezTo>
                    <a:cubicBezTo>
                      <a:pt x="290" y="615"/>
                      <a:pt x="290" y="615"/>
                      <a:pt x="290" y="615"/>
                    </a:cubicBezTo>
                    <a:cubicBezTo>
                      <a:pt x="292" y="614"/>
                      <a:pt x="292" y="614"/>
                      <a:pt x="292" y="614"/>
                    </a:cubicBezTo>
                    <a:cubicBezTo>
                      <a:pt x="294" y="612"/>
                      <a:pt x="294" y="612"/>
                      <a:pt x="294" y="612"/>
                    </a:cubicBezTo>
                    <a:cubicBezTo>
                      <a:pt x="298" y="612"/>
                      <a:pt x="298" y="612"/>
                      <a:pt x="298" y="612"/>
                    </a:cubicBezTo>
                    <a:cubicBezTo>
                      <a:pt x="307" y="613"/>
                      <a:pt x="307" y="613"/>
                      <a:pt x="307" y="613"/>
                    </a:cubicBezTo>
                    <a:cubicBezTo>
                      <a:pt x="312" y="609"/>
                      <a:pt x="312" y="609"/>
                      <a:pt x="312" y="609"/>
                    </a:cubicBezTo>
                    <a:cubicBezTo>
                      <a:pt x="309" y="607"/>
                      <a:pt x="309" y="607"/>
                      <a:pt x="309" y="607"/>
                    </a:cubicBezTo>
                    <a:cubicBezTo>
                      <a:pt x="313" y="606"/>
                      <a:pt x="313" y="606"/>
                      <a:pt x="313" y="606"/>
                    </a:cubicBezTo>
                    <a:cubicBezTo>
                      <a:pt x="314" y="599"/>
                      <a:pt x="314" y="599"/>
                      <a:pt x="314" y="599"/>
                    </a:cubicBezTo>
                    <a:cubicBezTo>
                      <a:pt x="308" y="601"/>
                      <a:pt x="308" y="601"/>
                      <a:pt x="308" y="601"/>
                    </a:cubicBezTo>
                    <a:cubicBezTo>
                      <a:pt x="306" y="599"/>
                      <a:pt x="306" y="599"/>
                      <a:pt x="306" y="599"/>
                    </a:cubicBezTo>
                    <a:cubicBezTo>
                      <a:pt x="315" y="596"/>
                      <a:pt x="315" y="596"/>
                      <a:pt x="315" y="596"/>
                    </a:cubicBezTo>
                    <a:cubicBezTo>
                      <a:pt x="316" y="594"/>
                      <a:pt x="316" y="594"/>
                      <a:pt x="316" y="594"/>
                    </a:cubicBezTo>
                    <a:cubicBezTo>
                      <a:pt x="319" y="598"/>
                      <a:pt x="319" y="598"/>
                      <a:pt x="319" y="598"/>
                    </a:cubicBezTo>
                    <a:cubicBezTo>
                      <a:pt x="319" y="598"/>
                      <a:pt x="324" y="598"/>
                      <a:pt x="327" y="596"/>
                    </a:cubicBezTo>
                    <a:cubicBezTo>
                      <a:pt x="330" y="595"/>
                      <a:pt x="327" y="592"/>
                      <a:pt x="327" y="592"/>
                    </a:cubicBezTo>
                    <a:cubicBezTo>
                      <a:pt x="329" y="590"/>
                      <a:pt x="329" y="590"/>
                      <a:pt x="329" y="590"/>
                    </a:cubicBezTo>
                    <a:cubicBezTo>
                      <a:pt x="323" y="587"/>
                      <a:pt x="323" y="587"/>
                      <a:pt x="323" y="587"/>
                    </a:cubicBezTo>
                    <a:cubicBezTo>
                      <a:pt x="328" y="585"/>
                      <a:pt x="328" y="585"/>
                      <a:pt x="328" y="585"/>
                    </a:cubicBezTo>
                    <a:cubicBezTo>
                      <a:pt x="328" y="582"/>
                      <a:pt x="328" y="582"/>
                      <a:pt x="328" y="582"/>
                    </a:cubicBezTo>
                    <a:cubicBezTo>
                      <a:pt x="330" y="582"/>
                      <a:pt x="330" y="582"/>
                      <a:pt x="330" y="582"/>
                    </a:cubicBezTo>
                    <a:cubicBezTo>
                      <a:pt x="331" y="587"/>
                      <a:pt x="331" y="587"/>
                      <a:pt x="331" y="587"/>
                    </a:cubicBezTo>
                    <a:cubicBezTo>
                      <a:pt x="331" y="587"/>
                      <a:pt x="343" y="583"/>
                      <a:pt x="345" y="580"/>
                    </a:cubicBezTo>
                    <a:cubicBezTo>
                      <a:pt x="348" y="577"/>
                      <a:pt x="345" y="569"/>
                      <a:pt x="348" y="567"/>
                    </a:cubicBezTo>
                    <a:cubicBezTo>
                      <a:pt x="351" y="564"/>
                      <a:pt x="357" y="553"/>
                      <a:pt x="355" y="545"/>
                    </a:cubicBezTo>
                    <a:cubicBezTo>
                      <a:pt x="354" y="535"/>
                      <a:pt x="342" y="526"/>
                      <a:pt x="342" y="526"/>
                    </a:cubicBezTo>
                    <a:close/>
                    <a:moveTo>
                      <a:pt x="217" y="652"/>
                    </a:moveTo>
                    <a:cubicBezTo>
                      <a:pt x="217" y="652"/>
                      <a:pt x="214" y="648"/>
                      <a:pt x="212" y="648"/>
                    </a:cubicBezTo>
                    <a:cubicBezTo>
                      <a:pt x="211" y="648"/>
                      <a:pt x="209" y="650"/>
                      <a:pt x="209" y="650"/>
                    </a:cubicBezTo>
                    <a:cubicBezTo>
                      <a:pt x="200" y="652"/>
                      <a:pt x="200" y="652"/>
                      <a:pt x="200" y="652"/>
                    </a:cubicBezTo>
                    <a:cubicBezTo>
                      <a:pt x="202" y="655"/>
                      <a:pt x="202" y="655"/>
                      <a:pt x="202" y="655"/>
                    </a:cubicBezTo>
                    <a:cubicBezTo>
                      <a:pt x="205" y="655"/>
                      <a:pt x="205" y="655"/>
                      <a:pt x="205" y="655"/>
                    </a:cubicBezTo>
                    <a:cubicBezTo>
                      <a:pt x="210" y="661"/>
                      <a:pt x="210" y="661"/>
                      <a:pt x="210" y="661"/>
                    </a:cubicBezTo>
                    <a:cubicBezTo>
                      <a:pt x="216" y="660"/>
                      <a:pt x="216" y="660"/>
                      <a:pt x="216" y="660"/>
                    </a:cubicBezTo>
                    <a:cubicBezTo>
                      <a:pt x="216" y="660"/>
                      <a:pt x="217" y="658"/>
                      <a:pt x="218" y="657"/>
                    </a:cubicBezTo>
                    <a:cubicBezTo>
                      <a:pt x="220" y="657"/>
                      <a:pt x="221" y="655"/>
                      <a:pt x="221" y="655"/>
                    </a:cubicBezTo>
                    <a:cubicBezTo>
                      <a:pt x="219" y="652"/>
                      <a:pt x="219" y="652"/>
                      <a:pt x="219" y="652"/>
                    </a:cubicBezTo>
                    <a:lnTo>
                      <a:pt x="217" y="652"/>
                    </a:lnTo>
                    <a:close/>
                    <a:moveTo>
                      <a:pt x="117" y="454"/>
                    </a:moveTo>
                    <a:cubicBezTo>
                      <a:pt x="115" y="458"/>
                      <a:pt x="115" y="458"/>
                      <a:pt x="115" y="458"/>
                    </a:cubicBezTo>
                    <a:cubicBezTo>
                      <a:pt x="112" y="456"/>
                      <a:pt x="112" y="456"/>
                      <a:pt x="112" y="456"/>
                    </a:cubicBezTo>
                    <a:cubicBezTo>
                      <a:pt x="111" y="459"/>
                      <a:pt x="111" y="459"/>
                      <a:pt x="111" y="459"/>
                    </a:cubicBezTo>
                    <a:cubicBezTo>
                      <a:pt x="115" y="465"/>
                      <a:pt x="115" y="465"/>
                      <a:pt x="115" y="465"/>
                    </a:cubicBezTo>
                    <a:cubicBezTo>
                      <a:pt x="115" y="465"/>
                      <a:pt x="115" y="470"/>
                      <a:pt x="121" y="471"/>
                    </a:cubicBezTo>
                    <a:cubicBezTo>
                      <a:pt x="128" y="472"/>
                      <a:pt x="129" y="466"/>
                      <a:pt x="129" y="466"/>
                    </a:cubicBezTo>
                    <a:cubicBezTo>
                      <a:pt x="135" y="465"/>
                      <a:pt x="135" y="465"/>
                      <a:pt x="135" y="465"/>
                    </a:cubicBezTo>
                    <a:cubicBezTo>
                      <a:pt x="136" y="463"/>
                      <a:pt x="136" y="463"/>
                      <a:pt x="136" y="463"/>
                    </a:cubicBezTo>
                    <a:cubicBezTo>
                      <a:pt x="130" y="460"/>
                      <a:pt x="130" y="460"/>
                      <a:pt x="130" y="460"/>
                    </a:cubicBezTo>
                    <a:cubicBezTo>
                      <a:pt x="128" y="453"/>
                      <a:pt x="128" y="453"/>
                      <a:pt x="128" y="453"/>
                    </a:cubicBezTo>
                    <a:cubicBezTo>
                      <a:pt x="121" y="452"/>
                      <a:pt x="121" y="452"/>
                      <a:pt x="121" y="452"/>
                    </a:cubicBezTo>
                    <a:lnTo>
                      <a:pt x="117" y="454"/>
                    </a:lnTo>
                    <a:close/>
                    <a:moveTo>
                      <a:pt x="134" y="391"/>
                    </a:moveTo>
                    <a:cubicBezTo>
                      <a:pt x="128" y="400"/>
                      <a:pt x="128" y="400"/>
                      <a:pt x="128" y="400"/>
                    </a:cubicBezTo>
                    <a:cubicBezTo>
                      <a:pt x="123" y="401"/>
                      <a:pt x="123" y="401"/>
                      <a:pt x="123" y="401"/>
                    </a:cubicBezTo>
                    <a:cubicBezTo>
                      <a:pt x="123" y="401"/>
                      <a:pt x="121" y="404"/>
                      <a:pt x="123" y="406"/>
                    </a:cubicBezTo>
                    <a:cubicBezTo>
                      <a:pt x="126" y="409"/>
                      <a:pt x="128" y="410"/>
                      <a:pt x="128" y="410"/>
                    </a:cubicBezTo>
                    <a:cubicBezTo>
                      <a:pt x="132" y="408"/>
                      <a:pt x="132" y="408"/>
                      <a:pt x="132" y="408"/>
                    </a:cubicBezTo>
                    <a:cubicBezTo>
                      <a:pt x="138" y="403"/>
                      <a:pt x="142" y="400"/>
                      <a:pt x="142" y="400"/>
                    </a:cubicBezTo>
                    <a:cubicBezTo>
                      <a:pt x="139" y="396"/>
                      <a:pt x="139" y="396"/>
                      <a:pt x="139" y="396"/>
                    </a:cubicBezTo>
                    <a:cubicBezTo>
                      <a:pt x="139" y="392"/>
                      <a:pt x="139" y="392"/>
                      <a:pt x="139" y="392"/>
                    </a:cubicBezTo>
                    <a:lnTo>
                      <a:pt x="134" y="391"/>
                    </a:lnTo>
                    <a:close/>
                    <a:moveTo>
                      <a:pt x="129" y="302"/>
                    </a:moveTo>
                    <a:cubicBezTo>
                      <a:pt x="126" y="301"/>
                      <a:pt x="126" y="301"/>
                      <a:pt x="126" y="301"/>
                    </a:cubicBezTo>
                    <a:cubicBezTo>
                      <a:pt x="122" y="305"/>
                      <a:pt x="122" y="305"/>
                      <a:pt x="122" y="305"/>
                    </a:cubicBezTo>
                    <a:cubicBezTo>
                      <a:pt x="121" y="317"/>
                      <a:pt x="121" y="317"/>
                      <a:pt x="121" y="317"/>
                    </a:cubicBezTo>
                    <a:cubicBezTo>
                      <a:pt x="121" y="317"/>
                      <a:pt x="125" y="322"/>
                      <a:pt x="128" y="319"/>
                    </a:cubicBezTo>
                    <a:cubicBezTo>
                      <a:pt x="130" y="317"/>
                      <a:pt x="129" y="313"/>
                      <a:pt x="129" y="313"/>
                    </a:cubicBezTo>
                    <a:cubicBezTo>
                      <a:pt x="131" y="309"/>
                      <a:pt x="131" y="309"/>
                      <a:pt x="131" y="309"/>
                    </a:cubicBezTo>
                    <a:lnTo>
                      <a:pt x="129" y="302"/>
                    </a:lnTo>
                    <a:close/>
                    <a:moveTo>
                      <a:pt x="135" y="292"/>
                    </a:moveTo>
                    <a:cubicBezTo>
                      <a:pt x="133" y="292"/>
                      <a:pt x="133" y="292"/>
                      <a:pt x="133" y="292"/>
                    </a:cubicBezTo>
                    <a:cubicBezTo>
                      <a:pt x="134" y="301"/>
                      <a:pt x="134" y="301"/>
                      <a:pt x="134" y="301"/>
                    </a:cubicBezTo>
                    <a:cubicBezTo>
                      <a:pt x="136" y="303"/>
                      <a:pt x="136" y="303"/>
                      <a:pt x="136" y="303"/>
                    </a:cubicBezTo>
                    <a:cubicBezTo>
                      <a:pt x="138" y="302"/>
                      <a:pt x="138" y="302"/>
                      <a:pt x="138" y="302"/>
                    </a:cubicBezTo>
                    <a:cubicBezTo>
                      <a:pt x="137" y="299"/>
                      <a:pt x="137" y="299"/>
                      <a:pt x="137" y="299"/>
                    </a:cubicBezTo>
                    <a:cubicBezTo>
                      <a:pt x="138" y="297"/>
                      <a:pt x="138" y="297"/>
                      <a:pt x="138" y="297"/>
                    </a:cubicBezTo>
                    <a:lnTo>
                      <a:pt x="135" y="292"/>
                    </a:lnTo>
                    <a:close/>
                    <a:moveTo>
                      <a:pt x="99" y="286"/>
                    </a:moveTo>
                    <a:cubicBezTo>
                      <a:pt x="99" y="283"/>
                      <a:pt x="100" y="280"/>
                      <a:pt x="100" y="280"/>
                    </a:cubicBezTo>
                    <a:cubicBezTo>
                      <a:pt x="92" y="283"/>
                      <a:pt x="92" y="283"/>
                      <a:pt x="92" y="283"/>
                    </a:cubicBezTo>
                    <a:cubicBezTo>
                      <a:pt x="92" y="284"/>
                      <a:pt x="92" y="284"/>
                      <a:pt x="92" y="284"/>
                    </a:cubicBezTo>
                    <a:cubicBezTo>
                      <a:pt x="87" y="282"/>
                      <a:pt x="87" y="282"/>
                      <a:pt x="87" y="282"/>
                    </a:cubicBezTo>
                    <a:cubicBezTo>
                      <a:pt x="87" y="282"/>
                      <a:pt x="84" y="283"/>
                      <a:pt x="83" y="287"/>
                    </a:cubicBezTo>
                    <a:cubicBezTo>
                      <a:pt x="83" y="291"/>
                      <a:pt x="82" y="293"/>
                      <a:pt x="82" y="293"/>
                    </a:cubicBezTo>
                    <a:cubicBezTo>
                      <a:pt x="84" y="293"/>
                      <a:pt x="84" y="293"/>
                      <a:pt x="84" y="293"/>
                    </a:cubicBezTo>
                    <a:cubicBezTo>
                      <a:pt x="88" y="286"/>
                      <a:pt x="88" y="286"/>
                      <a:pt x="88" y="286"/>
                    </a:cubicBezTo>
                    <a:cubicBezTo>
                      <a:pt x="93" y="287"/>
                      <a:pt x="93" y="287"/>
                      <a:pt x="93" y="287"/>
                    </a:cubicBezTo>
                    <a:cubicBezTo>
                      <a:pt x="93" y="291"/>
                      <a:pt x="93" y="291"/>
                      <a:pt x="93" y="291"/>
                    </a:cubicBezTo>
                    <a:cubicBezTo>
                      <a:pt x="93" y="291"/>
                      <a:pt x="89" y="290"/>
                      <a:pt x="89" y="291"/>
                    </a:cubicBezTo>
                    <a:cubicBezTo>
                      <a:pt x="89" y="292"/>
                      <a:pt x="90" y="296"/>
                      <a:pt x="90" y="296"/>
                    </a:cubicBezTo>
                    <a:cubicBezTo>
                      <a:pt x="90" y="296"/>
                      <a:pt x="86" y="297"/>
                      <a:pt x="86" y="299"/>
                    </a:cubicBezTo>
                    <a:cubicBezTo>
                      <a:pt x="87" y="301"/>
                      <a:pt x="92" y="299"/>
                      <a:pt x="92" y="299"/>
                    </a:cubicBezTo>
                    <a:cubicBezTo>
                      <a:pt x="92" y="299"/>
                      <a:pt x="97" y="299"/>
                      <a:pt x="99" y="295"/>
                    </a:cubicBezTo>
                    <a:cubicBezTo>
                      <a:pt x="100" y="292"/>
                      <a:pt x="97" y="291"/>
                      <a:pt x="97" y="291"/>
                    </a:cubicBezTo>
                    <a:cubicBezTo>
                      <a:pt x="99" y="289"/>
                      <a:pt x="99" y="289"/>
                      <a:pt x="99" y="289"/>
                    </a:cubicBezTo>
                    <a:lnTo>
                      <a:pt x="99" y="286"/>
                    </a:lnTo>
                    <a:close/>
                    <a:moveTo>
                      <a:pt x="111" y="283"/>
                    </a:moveTo>
                    <a:cubicBezTo>
                      <a:pt x="118" y="271"/>
                      <a:pt x="118" y="271"/>
                      <a:pt x="118" y="271"/>
                    </a:cubicBezTo>
                    <a:cubicBezTo>
                      <a:pt x="115" y="272"/>
                      <a:pt x="115" y="272"/>
                      <a:pt x="115" y="272"/>
                    </a:cubicBezTo>
                    <a:cubicBezTo>
                      <a:pt x="111" y="276"/>
                      <a:pt x="111" y="276"/>
                      <a:pt x="111" y="276"/>
                    </a:cubicBezTo>
                    <a:cubicBezTo>
                      <a:pt x="107" y="276"/>
                      <a:pt x="107" y="276"/>
                      <a:pt x="107" y="276"/>
                    </a:cubicBezTo>
                    <a:cubicBezTo>
                      <a:pt x="106" y="280"/>
                      <a:pt x="106" y="280"/>
                      <a:pt x="106" y="280"/>
                    </a:cubicBezTo>
                    <a:cubicBezTo>
                      <a:pt x="110" y="280"/>
                      <a:pt x="110" y="280"/>
                      <a:pt x="110" y="280"/>
                    </a:cubicBezTo>
                    <a:cubicBezTo>
                      <a:pt x="109" y="281"/>
                      <a:pt x="109" y="281"/>
                      <a:pt x="109" y="281"/>
                    </a:cubicBezTo>
                    <a:cubicBezTo>
                      <a:pt x="102" y="283"/>
                      <a:pt x="102" y="283"/>
                      <a:pt x="102" y="283"/>
                    </a:cubicBezTo>
                    <a:cubicBezTo>
                      <a:pt x="101" y="287"/>
                      <a:pt x="101" y="287"/>
                      <a:pt x="101" y="287"/>
                    </a:cubicBezTo>
                    <a:cubicBezTo>
                      <a:pt x="102" y="291"/>
                      <a:pt x="102" y="291"/>
                      <a:pt x="102" y="291"/>
                    </a:cubicBezTo>
                    <a:lnTo>
                      <a:pt x="111" y="283"/>
                    </a:lnTo>
                    <a:close/>
                    <a:moveTo>
                      <a:pt x="103" y="269"/>
                    </a:moveTo>
                    <a:cubicBezTo>
                      <a:pt x="103" y="269"/>
                      <a:pt x="102" y="267"/>
                      <a:pt x="99" y="268"/>
                    </a:cubicBezTo>
                    <a:cubicBezTo>
                      <a:pt x="97" y="269"/>
                      <a:pt x="97" y="272"/>
                      <a:pt x="97" y="272"/>
                    </a:cubicBezTo>
                    <a:cubicBezTo>
                      <a:pt x="100" y="274"/>
                      <a:pt x="100" y="274"/>
                      <a:pt x="100" y="274"/>
                    </a:cubicBezTo>
                    <a:cubicBezTo>
                      <a:pt x="100" y="271"/>
                      <a:pt x="100" y="271"/>
                      <a:pt x="100" y="271"/>
                    </a:cubicBezTo>
                    <a:lnTo>
                      <a:pt x="103" y="269"/>
                    </a:lnTo>
                    <a:close/>
                    <a:moveTo>
                      <a:pt x="81" y="236"/>
                    </a:moveTo>
                    <a:cubicBezTo>
                      <a:pt x="79" y="242"/>
                      <a:pt x="79" y="242"/>
                      <a:pt x="79" y="242"/>
                    </a:cubicBezTo>
                    <a:cubicBezTo>
                      <a:pt x="81" y="243"/>
                      <a:pt x="81" y="243"/>
                      <a:pt x="81" y="243"/>
                    </a:cubicBezTo>
                    <a:cubicBezTo>
                      <a:pt x="85" y="239"/>
                      <a:pt x="85" y="239"/>
                      <a:pt x="85" y="239"/>
                    </a:cubicBezTo>
                    <a:cubicBezTo>
                      <a:pt x="88" y="238"/>
                      <a:pt x="88" y="238"/>
                      <a:pt x="88" y="238"/>
                    </a:cubicBezTo>
                    <a:cubicBezTo>
                      <a:pt x="89" y="236"/>
                      <a:pt x="89" y="236"/>
                      <a:pt x="89" y="236"/>
                    </a:cubicBezTo>
                    <a:cubicBezTo>
                      <a:pt x="86" y="235"/>
                      <a:pt x="86" y="235"/>
                      <a:pt x="86" y="235"/>
                    </a:cubicBezTo>
                    <a:cubicBezTo>
                      <a:pt x="84" y="237"/>
                      <a:pt x="84" y="237"/>
                      <a:pt x="84" y="237"/>
                    </a:cubicBezTo>
                    <a:lnTo>
                      <a:pt x="81" y="236"/>
                    </a:lnTo>
                    <a:close/>
                    <a:moveTo>
                      <a:pt x="99" y="230"/>
                    </a:moveTo>
                    <a:cubicBezTo>
                      <a:pt x="92" y="234"/>
                      <a:pt x="92" y="234"/>
                      <a:pt x="92" y="234"/>
                    </a:cubicBezTo>
                    <a:cubicBezTo>
                      <a:pt x="96" y="236"/>
                      <a:pt x="96" y="236"/>
                      <a:pt x="96" y="236"/>
                    </a:cubicBezTo>
                    <a:cubicBezTo>
                      <a:pt x="101" y="232"/>
                      <a:pt x="101" y="232"/>
                      <a:pt x="101" y="232"/>
                    </a:cubicBezTo>
                    <a:lnTo>
                      <a:pt x="99" y="230"/>
                    </a:lnTo>
                    <a:close/>
                    <a:moveTo>
                      <a:pt x="125" y="255"/>
                    </a:moveTo>
                    <a:cubicBezTo>
                      <a:pt x="126" y="252"/>
                      <a:pt x="126" y="252"/>
                      <a:pt x="126" y="252"/>
                    </a:cubicBezTo>
                    <a:cubicBezTo>
                      <a:pt x="121" y="247"/>
                      <a:pt x="121" y="247"/>
                      <a:pt x="121" y="247"/>
                    </a:cubicBezTo>
                    <a:cubicBezTo>
                      <a:pt x="116" y="245"/>
                      <a:pt x="116" y="245"/>
                      <a:pt x="116" y="245"/>
                    </a:cubicBezTo>
                    <a:cubicBezTo>
                      <a:pt x="115" y="240"/>
                      <a:pt x="115" y="240"/>
                      <a:pt x="115" y="240"/>
                    </a:cubicBezTo>
                    <a:cubicBezTo>
                      <a:pt x="112" y="235"/>
                      <a:pt x="112" y="235"/>
                      <a:pt x="112" y="235"/>
                    </a:cubicBezTo>
                    <a:cubicBezTo>
                      <a:pt x="110" y="235"/>
                      <a:pt x="110" y="235"/>
                      <a:pt x="110" y="235"/>
                    </a:cubicBezTo>
                    <a:cubicBezTo>
                      <a:pt x="109" y="237"/>
                      <a:pt x="109" y="237"/>
                      <a:pt x="109" y="237"/>
                    </a:cubicBezTo>
                    <a:cubicBezTo>
                      <a:pt x="106" y="236"/>
                      <a:pt x="106" y="236"/>
                      <a:pt x="106" y="236"/>
                    </a:cubicBezTo>
                    <a:cubicBezTo>
                      <a:pt x="103" y="239"/>
                      <a:pt x="103" y="239"/>
                      <a:pt x="103" y="239"/>
                    </a:cubicBezTo>
                    <a:cubicBezTo>
                      <a:pt x="110" y="245"/>
                      <a:pt x="110" y="245"/>
                      <a:pt x="110" y="245"/>
                    </a:cubicBezTo>
                    <a:cubicBezTo>
                      <a:pt x="110" y="245"/>
                      <a:pt x="114" y="244"/>
                      <a:pt x="114" y="246"/>
                    </a:cubicBezTo>
                    <a:cubicBezTo>
                      <a:pt x="115" y="248"/>
                      <a:pt x="109" y="248"/>
                      <a:pt x="109" y="248"/>
                    </a:cubicBezTo>
                    <a:cubicBezTo>
                      <a:pt x="105" y="252"/>
                      <a:pt x="105" y="252"/>
                      <a:pt x="105" y="252"/>
                    </a:cubicBezTo>
                    <a:cubicBezTo>
                      <a:pt x="105" y="252"/>
                      <a:pt x="114" y="251"/>
                      <a:pt x="114" y="252"/>
                    </a:cubicBezTo>
                    <a:cubicBezTo>
                      <a:pt x="113" y="254"/>
                      <a:pt x="103" y="254"/>
                      <a:pt x="103" y="254"/>
                    </a:cubicBezTo>
                    <a:cubicBezTo>
                      <a:pt x="102" y="255"/>
                      <a:pt x="102" y="255"/>
                      <a:pt x="102" y="255"/>
                    </a:cubicBezTo>
                    <a:cubicBezTo>
                      <a:pt x="99" y="251"/>
                      <a:pt x="99" y="251"/>
                      <a:pt x="99" y="251"/>
                    </a:cubicBezTo>
                    <a:cubicBezTo>
                      <a:pt x="96" y="252"/>
                      <a:pt x="96" y="252"/>
                      <a:pt x="96" y="252"/>
                    </a:cubicBezTo>
                    <a:cubicBezTo>
                      <a:pt x="100" y="258"/>
                      <a:pt x="100" y="258"/>
                      <a:pt x="100" y="258"/>
                    </a:cubicBezTo>
                    <a:cubicBezTo>
                      <a:pt x="103" y="260"/>
                      <a:pt x="103" y="260"/>
                      <a:pt x="103" y="260"/>
                    </a:cubicBezTo>
                    <a:cubicBezTo>
                      <a:pt x="106" y="259"/>
                      <a:pt x="106" y="259"/>
                      <a:pt x="106" y="259"/>
                    </a:cubicBezTo>
                    <a:cubicBezTo>
                      <a:pt x="107" y="259"/>
                      <a:pt x="107" y="259"/>
                      <a:pt x="107" y="259"/>
                    </a:cubicBezTo>
                    <a:cubicBezTo>
                      <a:pt x="117" y="256"/>
                      <a:pt x="117" y="256"/>
                      <a:pt x="117" y="256"/>
                    </a:cubicBezTo>
                    <a:cubicBezTo>
                      <a:pt x="117" y="259"/>
                      <a:pt x="117" y="259"/>
                      <a:pt x="117" y="259"/>
                    </a:cubicBezTo>
                    <a:cubicBezTo>
                      <a:pt x="122" y="256"/>
                      <a:pt x="122" y="256"/>
                      <a:pt x="122" y="256"/>
                    </a:cubicBezTo>
                    <a:cubicBezTo>
                      <a:pt x="122" y="256"/>
                      <a:pt x="120" y="255"/>
                      <a:pt x="120" y="254"/>
                    </a:cubicBezTo>
                    <a:cubicBezTo>
                      <a:pt x="121" y="252"/>
                      <a:pt x="125" y="255"/>
                      <a:pt x="125" y="255"/>
                    </a:cubicBezTo>
                    <a:close/>
                    <a:moveTo>
                      <a:pt x="133" y="246"/>
                    </a:moveTo>
                    <a:cubicBezTo>
                      <a:pt x="130" y="250"/>
                      <a:pt x="130" y="250"/>
                      <a:pt x="130" y="250"/>
                    </a:cubicBezTo>
                    <a:cubicBezTo>
                      <a:pt x="135" y="248"/>
                      <a:pt x="135" y="248"/>
                      <a:pt x="135" y="248"/>
                    </a:cubicBezTo>
                    <a:lnTo>
                      <a:pt x="133" y="246"/>
                    </a:lnTo>
                    <a:close/>
                    <a:moveTo>
                      <a:pt x="117" y="217"/>
                    </a:moveTo>
                    <a:cubicBezTo>
                      <a:pt x="114" y="219"/>
                      <a:pt x="114" y="219"/>
                      <a:pt x="114" y="219"/>
                    </a:cubicBezTo>
                    <a:cubicBezTo>
                      <a:pt x="116" y="221"/>
                      <a:pt x="116" y="221"/>
                      <a:pt x="116" y="221"/>
                    </a:cubicBezTo>
                    <a:lnTo>
                      <a:pt x="117" y="217"/>
                    </a:lnTo>
                    <a:close/>
                    <a:moveTo>
                      <a:pt x="114" y="211"/>
                    </a:moveTo>
                    <a:cubicBezTo>
                      <a:pt x="112" y="208"/>
                      <a:pt x="112" y="208"/>
                      <a:pt x="112" y="208"/>
                    </a:cubicBezTo>
                    <a:cubicBezTo>
                      <a:pt x="107" y="211"/>
                      <a:pt x="107" y="211"/>
                      <a:pt x="107" y="211"/>
                    </a:cubicBezTo>
                    <a:cubicBezTo>
                      <a:pt x="110" y="216"/>
                      <a:pt x="110" y="216"/>
                      <a:pt x="110" y="216"/>
                    </a:cubicBezTo>
                    <a:cubicBezTo>
                      <a:pt x="113" y="214"/>
                      <a:pt x="113" y="214"/>
                      <a:pt x="113" y="214"/>
                    </a:cubicBezTo>
                    <a:lnTo>
                      <a:pt x="114" y="211"/>
                    </a:lnTo>
                    <a:close/>
                    <a:moveTo>
                      <a:pt x="106" y="204"/>
                    </a:moveTo>
                    <a:cubicBezTo>
                      <a:pt x="102" y="204"/>
                      <a:pt x="102" y="204"/>
                      <a:pt x="102" y="204"/>
                    </a:cubicBezTo>
                    <a:cubicBezTo>
                      <a:pt x="106" y="208"/>
                      <a:pt x="106" y="208"/>
                      <a:pt x="106" y="208"/>
                    </a:cubicBezTo>
                    <a:lnTo>
                      <a:pt x="106" y="204"/>
                    </a:lnTo>
                    <a:close/>
                    <a:moveTo>
                      <a:pt x="71" y="205"/>
                    </a:moveTo>
                    <a:cubicBezTo>
                      <a:pt x="80" y="201"/>
                      <a:pt x="78" y="197"/>
                      <a:pt x="70" y="200"/>
                    </a:cubicBezTo>
                    <a:cubicBezTo>
                      <a:pt x="62" y="204"/>
                      <a:pt x="71" y="205"/>
                      <a:pt x="71" y="205"/>
                    </a:cubicBezTo>
                    <a:close/>
                    <a:moveTo>
                      <a:pt x="80" y="198"/>
                    </a:moveTo>
                    <a:cubicBezTo>
                      <a:pt x="82" y="197"/>
                      <a:pt x="82" y="197"/>
                      <a:pt x="82" y="197"/>
                    </a:cubicBezTo>
                    <a:cubicBezTo>
                      <a:pt x="79" y="193"/>
                      <a:pt x="79" y="193"/>
                      <a:pt x="79" y="193"/>
                    </a:cubicBezTo>
                    <a:cubicBezTo>
                      <a:pt x="82" y="193"/>
                      <a:pt x="82" y="193"/>
                      <a:pt x="82" y="193"/>
                    </a:cubicBezTo>
                    <a:cubicBezTo>
                      <a:pt x="82" y="189"/>
                      <a:pt x="82" y="189"/>
                      <a:pt x="82" y="189"/>
                    </a:cubicBezTo>
                    <a:cubicBezTo>
                      <a:pt x="84" y="188"/>
                      <a:pt x="84" y="188"/>
                      <a:pt x="84" y="188"/>
                    </a:cubicBezTo>
                    <a:cubicBezTo>
                      <a:pt x="84" y="188"/>
                      <a:pt x="85" y="186"/>
                      <a:pt x="84" y="183"/>
                    </a:cubicBezTo>
                    <a:cubicBezTo>
                      <a:pt x="84" y="179"/>
                      <a:pt x="81" y="179"/>
                      <a:pt x="81" y="179"/>
                    </a:cubicBezTo>
                    <a:cubicBezTo>
                      <a:pt x="79" y="185"/>
                      <a:pt x="79" y="185"/>
                      <a:pt x="79" y="185"/>
                    </a:cubicBezTo>
                    <a:cubicBezTo>
                      <a:pt x="79" y="185"/>
                      <a:pt x="77" y="182"/>
                      <a:pt x="77" y="185"/>
                    </a:cubicBezTo>
                    <a:cubicBezTo>
                      <a:pt x="76" y="188"/>
                      <a:pt x="74" y="195"/>
                      <a:pt x="76" y="196"/>
                    </a:cubicBezTo>
                    <a:cubicBezTo>
                      <a:pt x="77" y="197"/>
                      <a:pt x="80" y="198"/>
                      <a:pt x="80" y="198"/>
                    </a:cubicBezTo>
                    <a:close/>
                    <a:moveTo>
                      <a:pt x="85" y="173"/>
                    </a:moveTo>
                    <a:cubicBezTo>
                      <a:pt x="84" y="171"/>
                      <a:pt x="84" y="171"/>
                      <a:pt x="84" y="171"/>
                    </a:cubicBezTo>
                    <a:cubicBezTo>
                      <a:pt x="81" y="171"/>
                      <a:pt x="81" y="171"/>
                      <a:pt x="81" y="171"/>
                    </a:cubicBezTo>
                    <a:cubicBezTo>
                      <a:pt x="82" y="176"/>
                      <a:pt x="82" y="176"/>
                      <a:pt x="82" y="176"/>
                    </a:cubicBezTo>
                    <a:cubicBezTo>
                      <a:pt x="88" y="177"/>
                      <a:pt x="88" y="177"/>
                      <a:pt x="88" y="177"/>
                    </a:cubicBezTo>
                    <a:cubicBezTo>
                      <a:pt x="88" y="173"/>
                      <a:pt x="88" y="173"/>
                      <a:pt x="88" y="173"/>
                    </a:cubicBezTo>
                    <a:lnTo>
                      <a:pt x="85" y="173"/>
                    </a:lnTo>
                    <a:close/>
                    <a:moveTo>
                      <a:pt x="123" y="212"/>
                    </a:moveTo>
                    <a:cubicBezTo>
                      <a:pt x="127" y="212"/>
                      <a:pt x="132" y="207"/>
                      <a:pt x="132" y="207"/>
                    </a:cubicBezTo>
                    <a:cubicBezTo>
                      <a:pt x="132" y="205"/>
                      <a:pt x="132" y="205"/>
                      <a:pt x="132" y="205"/>
                    </a:cubicBezTo>
                    <a:cubicBezTo>
                      <a:pt x="132" y="205"/>
                      <a:pt x="136" y="205"/>
                      <a:pt x="136" y="203"/>
                    </a:cubicBezTo>
                    <a:cubicBezTo>
                      <a:pt x="137" y="200"/>
                      <a:pt x="131" y="199"/>
                      <a:pt x="131" y="199"/>
                    </a:cubicBezTo>
                    <a:cubicBezTo>
                      <a:pt x="125" y="193"/>
                      <a:pt x="125" y="193"/>
                      <a:pt x="125" y="193"/>
                    </a:cubicBezTo>
                    <a:cubicBezTo>
                      <a:pt x="126" y="188"/>
                      <a:pt x="126" y="188"/>
                      <a:pt x="126" y="188"/>
                    </a:cubicBezTo>
                    <a:cubicBezTo>
                      <a:pt x="123" y="187"/>
                      <a:pt x="123" y="187"/>
                      <a:pt x="123" y="187"/>
                    </a:cubicBezTo>
                    <a:cubicBezTo>
                      <a:pt x="123" y="187"/>
                      <a:pt x="128" y="183"/>
                      <a:pt x="128" y="176"/>
                    </a:cubicBezTo>
                    <a:cubicBezTo>
                      <a:pt x="128" y="170"/>
                      <a:pt x="125" y="167"/>
                      <a:pt x="125" y="167"/>
                    </a:cubicBezTo>
                    <a:cubicBezTo>
                      <a:pt x="119" y="170"/>
                      <a:pt x="119" y="170"/>
                      <a:pt x="119" y="170"/>
                    </a:cubicBezTo>
                    <a:cubicBezTo>
                      <a:pt x="119" y="179"/>
                      <a:pt x="119" y="179"/>
                      <a:pt x="119" y="179"/>
                    </a:cubicBezTo>
                    <a:cubicBezTo>
                      <a:pt x="114" y="176"/>
                      <a:pt x="114" y="176"/>
                      <a:pt x="114" y="176"/>
                    </a:cubicBezTo>
                    <a:cubicBezTo>
                      <a:pt x="112" y="170"/>
                      <a:pt x="112" y="170"/>
                      <a:pt x="112" y="170"/>
                    </a:cubicBezTo>
                    <a:cubicBezTo>
                      <a:pt x="112" y="170"/>
                      <a:pt x="110" y="170"/>
                      <a:pt x="111" y="173"/>
                    </a:cubicBezTo>
                    <a:cubicBezTo>
                      <a:pt x="111" y="176"/>
                      <a:pt x="112" y="177"/>
                      <a:pt x="112" y="177"/>
                    </a:cubicBezTo>
                    <a:cubicBezTo>
                      <a:pt x="109" y="180"/>
                      <a:pt x="109" y="180"/>
                      <a:pt x="109" y="180"/>
                    </a:cubicBezTo>
                    <a:cubicBezTo>
                      <a:pt x="106" y="174"/>
                      <a:pt x="106" y="174"/>
                      <a:pt x="106" y="174"/>
                    </a:cubicBezTo>
                    <a:cubicBezTo>
                      <a:pt x="103" y="179"/>
                      <a:pt x="103" y="179"/>
                      <a:pt x="103" y="179"/>
                    </a:cubicBezTo>
                    <a:cubicBezTo>
                      <a:pt x="107" y="187"/>
                      <a:pt x="107" y="187"/>
                      <a:pt x="107" y="187"/>
                    </a:cubicBezTo>
                    <a:cubicBezTo>
                      <a:pt x="112" y="184"/>
                      <a:pt x="112" y="184"/>
                      <a:pt x="112" y="184"/>
                    </a:cubicBezTo>
                    <a:cubicBezTo>
                      <a:pt x="115" y="190"/>
                      <a:pt x="115" y="190"/>
                      <a:pt x="115" y="190"/>
                    </a:cubicBezTo>
                    <a:cubicBezTo>
                      <a:pt x="115" y="190"/>
                      <a:pt x="112" y="188"/>
                      <a:pt x="112" y="190"/>
                    </a:cubicBezTo>
                    <a:cubicBezTo>
                      <a:pt x="112" y="191"/>
                      <a:pt x="112" y="200"/>
                      <a:pt x="114" y="201"/>
                    </a:cubicBezTo>
                    <a:cubicBezTo>
                      <a:pt x="117" y="202"/>
                      <a:pt x="118" y="199"/>
                      <a:pt x="120" y="200"/>
                    </a:cubicBezTo>
                    <a:cubicBezTo>
                      <a:pt x="121" y="201"/>
                      <a:pt x="121" y="205"/>
                      <a:pt x="121" y="205"/>
                    </a:cubicBezTo>
                    <a:cubicBezTo>
                      <a:pt x="125" y="200"/>
                      <a:pt x="125" y="200"/>
                      <a:pt x="125" y="200"/>
                    </a:cubicBezTo>
                    <a:cubicBezTo>
                      <a:pt x="127" y="203"/>
                      <a:pt x="127" y="203"/>
                      <a:pt x="127" y="203"/>
                    </a:cubicBezTo>
                    <a:cubicBezTo>
                      <a:pt x="131" y="203"/>
                      <a:pt x="131" y="203"/>
                      <a:pt x="131" y="203"/>
                    </a:cubicBezTo>
                    <a:cubicBezTo>
                      <a:pt x="131" y="203"/>
                      <a:pt x="128" y="205"/>
                      <a:pt x="126" y="206"/>
                    </a:cubicBezTo>
                    <a:cubicBezTo>
                      <a:pt x="123" y="208"/>
                      <a:pt x="121" y="211"/>
                      <a:pt x="123" y="212"/>
                    </a:cubicBezTo>
                    <a:close/>
                    <a:moveTo>
                      <a:pt x="128" y="186"/>
                    </a:moveTo>
                    <a:cubicBezTo>
                      <a:pt x="128" y="190"/>
                      <a:pt x="128" y="190"/>
                      <a:pt x="128" y="190"/>
                    </a:cubicBezTo>
                    <a:cubicBezTo>
                      <a:pt x="128" y="192"/>
                      <a:pt x="128" y="192"/>
                      <a:pt x="128" y="192"/>
                    </a:cubicBezTo>
                    <a:cubicBezTo>
                      <a:pt x="130" y="190"/>
                      <a:pt x="130" y="190"/>
                      <a:pt x="130" y="190"/>
                    </a:cubicBezTo>
                    <a:cubicBezTo>
                      <a:pt x="129" y="187"/>
                      <a:pt x="129" y="187"/>
                      <a:pt x="129" y="187"/>
                    </a:cubicBezTo>
                    <a:cubicBezTo>
                      <a:pt x="131" y="183"/>
                      <a:pt x="131" y="183"/>
                      <a:pt x="131" y="183"/>
                    </a:cubicBezTo>
                    <a:cubicBezTo>
                      <a:pt x="131" y="183"/>
                      <a:pt x="128" y="185"/>
                      <a:pt x="128" y="186"/>
                    </a:cubicBezTo>
                    <a:close/>
                    <a:moveTo>
                      <a:pt x="132" y="196"/>
                    </a:moveTo>
                    <a:cubicBezTo>
                      <a:pt x="131" y="191"/>
                      <a:pt x="131" y="191"/>
                      <a:pt x="131" y="191"/>
                    </a:cubicBezTo>
                    <a:cubicBezTo>
                      <a:pt x="129" y="193"/>
                      <a:pt x="129" y="193"/>
                      <a:pt x="129" y="193"/>
                    </a:cubicBezTo>
                    <a:lnTo>
                      <a:pt x="132" y="196"/>
                    </a:lnTo>
                    <a:close/>
                    <a:moveTo>
                      <a:pt x="135" y="173"/>
                    </a:moveTo>
                    <a:cubicBezTo>
                      <a:pt x="134" y="174"/>
                      <a:pt x="134" y="174"/>
                      <a:pt x="134" y="174"/>
                    </a:cubicBezTo>
                    <a:cubicBezTo>
                      <a:pt x="133" y="180"/>
                      <a:pt x="133" y="180"/>
                      <a:pt x="133" y="180"/>
                    </a:cubicBezTo>
                    <a:cubicBezTo>
                      <a:pt x="133" y="180"/>
                      <a:pt x="135" y="181"/>
                      <a:pt x="135" y="179"/>
                    </a:cubicBezTo>
                    <a:lnTo>
                      <a:pt x="135" y="173"/>
                    </a:lnTo>
                    <a:close/>
                    <a:moveTo>
                      <a:pt x="87" y="170"/>
                    </a:moveTo>
                    <a:cubicBezTo>
                      <a:pt x="89" y="170"/>
                      <a:pt x="93" y="172"/>
                      <a:pt x="93" y="172"/>
                    </a:cubicBezTo>
                    <a:cubicBezTo>
                      <a:pt x="93" y="166"/>
                      <a:pt x="93" y="166"/>
                      <a:pt x="93" y="166"/>
                    </a:cubicBezTo>
                    <a:cubicBezTo>
                      <a:pt x="95" y="166"/>
                      <a:pt x="95" y="166"/>
                      <a:pt x="95" y="166"/>
                    </a:cubicBezTo>
                    <a:cubicBezTo>
                      <a:pt x="96" y="165"/>
                      <a:pt x="96" y="165"/>
                      <a:pt x="96" y="165"/>
                    </a:cubicBezTo>
                    <a:cubicBezTo>
                      <a:pt x="94" y="163"/>
                      <a:pt x="94" y="163"/>
                      <a:pt x="94" y="163"/>
                    </a:cubicBezTo>
                    <a:cubicBezTo>
                      <a:pt x="97" y="158"/>
                      <a:pt x="97" y="158"/>
                      <a:pt x="97" y="158"/>
                    </a:cubicBezTo>
                    <a:cubicBezTo>
                      <a:pt x="95" y="158"/>
                      <a:pt x="95" y="158"/>
                      <a:pt x="95" y="158"/>
                    </a:cubicBezTo>
                    <a:cubicBezTo>
                      <a:pt x="90" y="161"/>
                      <a:pt x="90" y="161"/>
                      <a:pt x="90" y="161"/>
                    </a:cubicBezTo>
                    <a:cubicBezTo>
                      <a:pt x="83" y="160"/>
                      <a:pt x="83" y="160"/>
                      <a:pt x="83" y="160"/>
                    </a:cubicBezTo>
                    <a:cubicBezTo>
                      <a:pt x="81" y="165"/>
                      <a:pt x="81" y="165"/>
                      <a:pt x="81" y="165"/>
                    </a:cubicBezTo>
                    <a:cubicBezTo>
                      <a:pt x="85" y="165"/>
                      <a:pt x="85" y="165"/>
                      <a:pt x="85" y="165"/>
                    </a:cubicBezTo>
                    <a:cubicBezTo>
                      <a:pt x="85" y="165"/>
                      <a:pt x="84" y="170"/>
                      <a:pt x="87" y="170"/>
                    </a:cubicBezTo>
                    <a:close/>
                    <a:moveTo>
                      <a:pt x="111" y="155"/>
                    </a:moveTo>
                    <a:cubicBezTo>
                      <a:pt x="112" y="152"/>
                      <a:pt x="112" y="152"/>
                      <a:pt x="112" y="152"/>
                    </a:cubicBezTo>
                    <a:cubicBezTo>
                      <a:pt x="114" y="152"/>
                      <a:pt x="114" y="152"/>
                      <a:pt x="114" y="152"/>
                    </a:cubicBezTo>
                    <a:cubicBezTo>
                      <a:pt x="114" y="145"/>
                      <a:pt x="114" y="145"/>
                      <a:pt x="114" y="145"/>
                    </a:cubicBezTo>
                    <a:cubicBezTo>
                      <a:pt x="116" y="145"/>
                      <a:pt x="116" y="145"/>
                      <a:pt x="116" y="145"/>
                    </a:cubicBezTo>
                    <a:cubicBezTo>
                      <a:pt x="116" y="145"/>
                      <a:pt x="115" y="150"/>
                      <a:pt x="118" y="151"/>
                    </a:cubicBezTo>
                    <a:cubicBezTo>
                      <a:pt x="121" y="153"/>
                      <a:pt x="122" y="148"/>
                      <a:pt x="122" y="148"/>
                    </a:cubicBezTo>
                    <a:cubicBezTo>
                      <a:pt x="122" y="148"/>
                      <a:pt x="126" y="149"/>
                      <a:pt x="127" y="146"/>
                    </a:cubicBezTo>
                    <a:cubicBezTo>
                      <a:pt x="129" y="144"/>
                      <a:pt x="123" y="141"/>
                      <a:pt x="123" y="141"/>
                    </a:cubicBezTo>
                    <a:cubicBezTo>
                      <a:pt x="128" y="139"/>
                      <a:pt x="128" y="139"/>
                      <a:pt x="128" y="139"/>
                    </a:cubicBezTo>
                    <a:cubicBezTo>
                      <a:pt x="130" y="136"/>
                      <a:pt x="130" y="136"/>
                      <a:pt x="130" y="136"/>
                    </a:cubicBezTo>
                    <a:cubicBezTo>
                      <a:pt x="130" y="136"/>
                      <a:pt x="133" y="138"/>
                      <a:pt x="136" y="137"/>
                    </a:cubicBezTo>
                    <a:cubicBezTo>
                      <a:pt x="141" y="136"/>
                      <a:pt x="141" y="134"/>
                      <a:pt x="141" y="134"/>
                    </a:cubicBezTo>
                    <a:cubicBezTo>
                      <a:pt x="139" y="132"/>
                      <a:pt x="139" y="132"/>
                      <a:pt x="139" y="132"/>
                    </a:cubicBezTo>
                    <a:cubicBezTo>
                      <a:pt x="134" y="135"/>
                      <a:pt x="134" y="135"/>
                      <a:pt x="134" y="135"/>
                    </a:cubicBezTo>
                    <a:cubicBezTo>
                      <a:pt x="134" y="135"/>
                      <a:pt x="133" y="135"/>
                      <a:pt x="133" y="133"/>
                    </a:cubicBezTo>
                    <a:cubicBezTo>
                      <a:pt x="133" y="130"/>
                      <a:pt x="139" y="126"/>
                      <a:pt x="139" y="126"/>
                    </a:cubicBezTo>
                    <a:cubicBezTo>
                      <a:pt x="139" y="125"/>
                      <a:pt x="139" y="125"/>
                      <a:pt x="139" y="125"/>
                    </a:cubicBezTo>
                    <a:cubicBezTo>
                      <a:pt x="141" y="123"/>
                      <a:pt x="141" y="123"/>
                      <a:pt x="141" y="123"/>
                    </a:cubicBezTo>
                    <a:cubicBezTo>
                      <a:pt x="139" y="118"/>
                      <a:pt x="139" y="118"/>
                      <a:pt x="139" y="118"/>
                    </a:cubicBezTo>
                    <a:cubicBezTo>
                      <a:pt x="139" y="118"/>
                      <a:pt x="135" y="118"/>
                      <a:pt x="133" y="120"/>
                    </a:cubicBezTo>
                    <a:cubicBezTo>
                      <a:pt x="131" y="121"/>
                      <a:pt x="129" y="124"/>
                      <a:pt x="129" y="124"/>
                    </a:cubicBezTo>
                    <a:cubicBezTo>
                      <a:pt x="129" y="124"/>
                      <a:pt x="119" y="124"/>
                      <a:pt x="117" y="126"/>
                    </a:cubicBezTo>
                    <a:cubicBezTo>
                      <a:pt x="115" y="128"/>
                      <a:pt x="118" y="134"/>
                      <a:pt x="118" y="134"/>
                    </a:cubicBezTo>
                    <a:cubicBezTo>
                      <a:pt x="112" y="132"/>
                      <a:pt x="112" y="132"/>
                      <a:pt x="112" y="132"/>
                    </a:cubicBezTo>
                    <a:cubicBezTo>
                      <a:pt x="113" y="129"/>
                      <a:pt x="113" y="129"/>
                      <a:pt x="113" y="129"/>
                    </a:cubicBezTo>
                    <a:cubicBezTo>
                      <a:pt x="109" y="127"/>
                      <a:pt x="109" y="127"/>
                      <a:pt x="109" y="127"/>
                    </a:cubicBezTo>
                    <a:cubicBezTo>
                      <a:pt x="109" y="127"/>
                      <a:pt x="106" y="128"/>
                      <a:pt x="104" y="132"/>
                    </a:cubicBezTo>
                    <a:cubicBezTo>
                      <a:pt x="101" y="136"/>
                      <a:pt x="104" y="142"/>
                      <a:pt x="104" y="142"/>
                    </a:cubicBezTo>
                    <a:cubicBezTo>
                      <a:pt x="101" y="143"/>
                      <a:pt x="101" y="143"/>
                      <a:pt x="101" y="143"/>
                    </a:cubicBezTo>
                    <a:cubicBezTo>
                      <a:pt x="101" y="143"/>
                      <a:pt x="105" y="145"/>
                      <a:pt x="107" y="148"/>
                    </a:cubicBezTo>
                    <a:cubicBezTo>
                      <a:pt x="110" y="149"/>
                      <a:pt x="109" y="150"/>
                      <a:pt x="109" y="150"/>
                    </a:cubicBezTo>
                    <a:cubicBezTo>
                      <a:pt x="106" y="149"/>
                      <a:pt x="106" y="149"/>
                      <a:pt x="106" y="149"/>
                    </a:cubicBezTo>
                    <a:cubicBezTo>
                      <a:pt x="105" y="150"/>
                      <a:pt x="105" y="150"/>
                      <a:pt x="105" y="150"/>
                    </a:cubicBezTo>
                    <a:cubicBezTo>
                      <a:pt x="105" y="153"/>
                      <a:pt x="105" y="153"/>
                      <a:pt x="105" y="153"/>
                    </a:cubicBezTo>
                    <a:cubicBezTo>
                      <a:pt x="101" y="154"/>
                      <a:pt x="101" y="154"/>
                      <a:pt x="101" y="154"/>
                    </a:cubicBezTo>
                    <a:cubicBezTo>
                      <a:pt x="99" y="153"/>
                      <a:pt x="99" y="153"/>
                      <a:pt x="99" y="153"/>
                    </a:cubicBezTo>
                    <a:cubicBezTo>
                      <a:pt x="98" y="153"/>
                      <a:pt x="98" y="153"/>
                      <a:pt x="98" y="153"/>
                    </a:cubicBezTo>
                    <a:cubicBezTo>
                      <a:pt x="103" y="159"/>
                      <a:pt x="103" y="159"/>
                      <a:pt x="103" y="159"/>
                    </a:cubicBezTo>
                    <a:lnTo>
                      <a:pt x="111" y="155"/>
                    </a:lnTo>
                    <a:close/>
                    <a:moveTo>
                      <a:pt x="249" y="123"/>
                    </a:moveTo>
                    <a:cubicBezTo>
                      <a:pt x="249" y="123"/>
                      <a:pt x="251" y="123"/>
                      <a:pt x="248" y="114"/>
                    </a:cubicBezTo>
                    <a:cubicBezTo>
                      <a:pt x="245" y="106"/>
                      <a:pt x="242" y="113"/>
                      <a:pt x="242" y="113"/>
                    </a:cubicBezTo>
                    <a:cubicBezTo>
                      <a:pt x="244" y="122"/>
                      <a:pt x="244" y="122"/>
                      <a:pt x="244" y="122"/>
                    </a:cubicBezTo>
                    <a:lnTo>
                      <a:pt x="249" y="123"/>
                    </a:lnTo>
                    <a:close/>
                    <a:moveTo>
                      <a:pt x="253" y="121"/>
                    </a:moveTo>
                    <a:cubicBezTo>
                      <a:pt x="256" y="126"/>
                      <a:pt x="256" y="126"/>
                      <a:pt x="256" y="126"/>
                    </a:cubicBezTo>
                    <a:cubicBezTo>
                      <a:pt x="258" y="120"/>
                      <a:pt x="258" y="120"/>
                      <a:pt x="258" y="120"/>
                    </a:cubicBezTo>
                    <a:cubicBezTo>
                      <a:pt x="256" y="119"/>
                      <a:pt x="256" y="119"/>
                      <a:pt x="256" y="119"/>
                    </a:cubicBezTo>
                    <a:cubicBezTo>
                      <a:pt x="256" y="119"/>
                      <a:pt x="253" y="118"/>
                      <a:pt x="253" y="121"/>
                    </a:cubicBezTo>
                    <a:close/>
                    <a:moveTo>
                      <a:pt x="251" y="111"/>
                    </a:moveTo>
                    <a:cubicBezTo>
                      <a:pt x="257" y="111"/>
                      <a:pt x="257" y="111"/>
                      <a:pt x="257" y="111"/>
                    </a:cubicBezTo>
                    <a:cubicBezTo>
                      <a:pt x="258" y="114"/>
                      <a:pt x="258" y="114"/>
                      <a:pt x="258" y="114"/>
                    </a:cubicBezTo>
                    <a:cubicBezTo>
                      <a:pt x="262" y="117"/>
                      <a:pt x="262" y="117"/>
                      <a:pt x="262" y="117"/>
                    </a:cubicBezTo>
                    <a:cubicBezTo>
                      <a:pt x="264" y="113"/>
                      <a:pt x="264" y="113"/>
                      <a:pt x="264" y="113"/>
                    </a:cubicBezTo>
                    <a:cubicBezTo>
                      <a:pt x="262" y="111"/>
                      <a:pt x="262" y="111"/>
                      <a:pt x="262" y="111"/>
                    </a:cubicBezTo>
                    <a:cubicBezTo>
                      <a:pt x="261" y="108"/>
                      <a:pt x="261" y="108"/>
                      <a:pt x="261" y="108"/>
                    </a:cubicBezTo>
                    <a:cubicBezTo>
                      <a:pt x="256" y="107"/>
                      <a:pt x="256" y="107"/>
                      <a:pt x="256" y="107"/>
                    </a:cubicBezTo>
                    <a:cubicBezTo>
                      <a:pt x="258" y="104"/>
                      <a:pt x="258" y="104"/>
                      <a:pt x="258" y="104"/>
                    </a:cubicBezTo>
                    <a:cubicBezTo>
                      <a:pt x="258" y="104"/>
                      <a:pt x="258" y="101"/>
                      <a:pt x="253" y="98"/>
                    </a:cubicBezTo>
                    <a:cubicBezTo>
                      <a:pt x="249" y="96"/>
                      <a:pt x="249" y="94"/>
                      <a:pt x="247" y="101"/>
                    </a:cubicBezTo>
                    <a:cubicBezTo>
                      <a:pt x="244" y="106"/>
                      <a:pt x="246" y="108"/>
                      <a:pt x="251" y="111"/>
                    </a:cubicBezTo>
                    <a:close/>
                    <a:moveTo>
                      <a:pt x="260" y="105"/>
                    </a:moveTo>
                    <a:cubicBezTo>
                      <a:pt x="264" y="108"/>
                      <a:pt x="264" y="108"/>
                      <a:pt x="264" y="108"/>
                    </a:cubicBezTo>
                    <a:cubicBezTo>
                      <a:pt x="265" y="106"/>
                      <a:pt x="265" y="106"/>
                      <a:pt x="265" y="106"/>
                    </a:cubicBezTo>
                    <a:cubicBezTo>
                      <a:pt x="261" y="104"/>
                      <a:pt x="261" y="104"/>
                      <a:pt x="261" y="104"/>
                    </a:cubicBezTo>
                    <a:lnTo>
                      <a:pt x="260" y="105"/>
                    </a:lnTo>
                    <a:close/>
                    <a:moveTo>
                      <a:pt x="275" y="106"/>
                    </a:moveTo>
                    <a:cubicBezTo>
                      <a:pt x="271" y="101"/>
                      <a:pt x="271" y="101"/>
                      <a:pt x="271" y="101"/>
                    </a:cubicBezTo>
                    <a:cubicBezTo>
                      <a:pt x="270" y="107"/>
                      <a:pt x="270" y="107"/>
                      <a:pt x="270" y="107"/>
                    </a:cubicBezTo>
                    <a:lnTo>
                      <a:pt x="275" y="106"/>
                    </a:lnTo>
                    <a:close/>
                    <a:moveTo>
                      <a:pt x="263" y="97"/>
                    </a:moveTo>
                    <a:cubicBezTo>
                      <a:pt x="259" y="94"/>
                      <a:pt x="259" y="94"/>
                      <a:pt x="259" y="94"/>
                    </a:cubicBezTo>
                    <a:cubicBezTo>
                      <a:pt x="258" y="98"/>
                      <a:pt x="258" y="98"/>
                      <a:pt x="258" y="98"/>
                    </a:cubicBezTo>
                    <a:cubicBezTo>
                      <a:pt x="262" y="101"/>
                      <a:pt x="262" y="101"/>
                      <a:pt x="262" y="101"/>
                    </a:cubicBezTo>
                    <a:lnTo>
                      <a:pt x="263" y="97"/>
                    </a:lnTo>
                    <a:close/>
                    <a:moveTo>
                      <a:pt x="265" y="89"/>
                    </a:moveTo>
                    <a:cubicBezTo>
                      <a:pt x="268" y="89"/>
                      <a:pt x="268" y="89"/>
                      <a:pt x="268" y="89"/>
                    </a:cubicBezTo>
                    <a:cubicBezTo>
                      <a:pt x="268" y="85"/>
                      <a:pt x="268" y="85"/>
                      <a:pt x="268" y="85"/>
                    </a:cubicBezTo>
                    <a:cubicBezTo>
                      <a:pt x="261" y="87"/>
                      <a:pt x="261" y="87"/>
                      <a:pt x="261" y="87"/>
                    </a:cubicBezTo>
                    <a:cubicBezTo>
                      <a:pt x="266" y="94"/>
                      <a:pt x="266" y="94"/>
                      <a:pt x="266" y="94"/>
                    </a:cubicBezTo>
                    <a:lnTo>
                      <a:pt x="265" y="89"/>
                    </a:lnTo>
                    <a:close/>
                    <a:moveTo>
                      <a:pt x="282" y="87"/>
                    </a:moveTo>
                    <a:cubicBezTo>
                      <a:pt x="281" y="89"/>
                      <a:pt x="281" y="89"/>
                      <a:pt x="281" y="89"/>
                    </a:cubicBezTo>
                    <a:cubicBezTo>
                      <a:pt x="284" y="88"/>
                      <a:pt x="284" y="88"/>
                      <a:pt x="284" y="88"/>
                    </a:cubicBezTo>
                    <a:lnTo>
                      <a:pt x="282" y="87"/>
                    </a:lnTo>
                    <a:close/>
                    <a:moveTo>
                      <a:pt x="311" y="82"/>
                    </a:moveTo>
                    <a:cubicBezTo>
                      <a:pt x="310" y="82"/>
                      <a:pt x="310" y="82"/>
                      <a:pt x="310" y="82"/>
                    </a:cubicBezTo>
                    <a:cubicBezTo>
                      <a:pt x="309" y="86"/>
                      <a:pt x="309" y="86"/>
                      <a:pt x="309" y="86"/>
                    </a:cubicBezTo>
                    <a:cubicBezTo>
                      <a:pt x="311" y="85"/>
                      <a:pt x="311" y="85"/>
                      <a:pt x="311" y="85"/>
                    </a:cubicBezTo>
                    <a:lnTo>
                      <a:pt x="311" y="82"/>
                    </a:lnTo>
                    <a:close/>
                    <a:moveTo>
                      <a:pt x="268" y="102"/>
                    </a:moveTo>
                    <a:cubicBezTo>
                      <a:pt x="269" y="95"/>
                      <a:pt x="269" y="95"/>
                      <a:pt x="269" y="95"/>
                    </a:cubicBezTo>
                    <a:cubicBezTo>
                      <a:pt x="269" y="94"/>
                      <a:pt x="269" y="94"/>
                      <a:pt x="269" y="94"/>
                    </a:cubicBezTo>
                    <a:cubicBezTo>
                      <a:pt x="265" y="100"/>
                      <a:pt x="265" y="100"/>
                      <a:pt x="265" y="100"/>
                    </a:cubicBezTo>
                    <a:lnTo>
                      <a:pt x="268" y="102"/>
                    </a:lnTo>
                    <a:close/>
                    <a:moveTo>
                      <a:pt x="282" y="93"/>
                    </a:moveTo>
                    <a:cubicBezTo>
                      <a:pt x="276" y="94"/>
                      <a:pt x="276" y="94"/>
                      <a:pt x="276" y="94"/>
                    </a:cubicBezTo>
                    <a:cubicBezTo>
                      <a:pt x="278" y="93"/>
                      <a:pt x="278" y="93"/>
                      <a:pt x="278" y="93"/>
                    </a:cubicBezTo>
                    <a:cubicBezTo>
                      <a:pt x="278" y="91"/>
                      <a:pt x="278" y="91"/>
                      <a:pt x="278" y="91"/>
                    </a:cubicBezTo>
                    <a:cubicBezTo>
                      <a:pt x="269" y="97"/>
                      <a:pt x="269" y="97"/>
                      <a:pt x="269" y="97"/>
                    </a:cubicBezTo>
                    <a:cubicBezTo>
                      <a:pt x="282" y="95"/>
                      <a:pt x="282" y="95"/>
                      <a:pt x="282" y="95"/>
                    </a:cubicBezTo>
                    <a:lnTo>
                      <a:pt x="282" y="93"/>
                    </a:lnTo>
                    <a:close/>
                    <a:moveTo>
                      <a:pt x="330" y="34"/>
                    </a:moveTo>
                    <a:cubicBezTo>
                      <a:pt x="318" y="34"/>
                      <a:pt x="318" y="34"/>
                      <a:pt x="318" y="34"/>
                    </a:cubicBezTo>
                    <a:cubicBezTo>
                      <a:pt x="320" y="38"/>
                      <a:pt x="320" y="38"/>
                      <a:pt x="320" y="38"/>
                    </a:cubicBezTo>
                    <a:cubicBezTo>
                      <a:pt x="324" y="39"/>
                      <a:pt x="324" y="39"/>
                      <a:pt x="324" y="39"/>
                    </a:cubicBezTo>
                    <a:cubicBezTo>
                      <a:pt x="323" y="44"/>
                      <a:pt x="323" y="44"/>
                      <a:pt x="323" y="44"/>
                    </a:cubicBezTo>
                    <a:cubicBezTo>
                      <a:pt x="331" y="40"/>
                      <a:pt x="331" y="40"/>
                      <a:pt x="331" y="40"/>
                    </a:cubicBezTo>
                    <a:cubicBezTo>
                      <a:pt x="323" y="61"/>
                      <a:pt x="323" y="61"/>
                      <a:pt x="323" y="61"/>
                    </a:cubicBezTo>
                    <a:cubicBezTo>
                      <a:pt x="326" y="65"/>
                      <a:pt x="326" y="65"/>
                      <a:pt x="326" y="65"/>
                    </a:cubicBezTo>
                    <a:cubicBezTo>
                      <a:pt x="333" y="48"/>
                      <a:pt x="333" y="48"/>
                      <a:pt x="333" y="48"/>
                    </a:cubicBezTo>
                    <a:cubicBezTo>
                      <a:pt x="333" y="48"/>
                      <a:pt x="334" y="53"/>
                      <a:pt x="336" y="49"/>
                    </a:cubicBezTo>
                    <a:cubicBezTo>
                      <a:pt x="339" y="47"/>
                      <a:pt x="336" y="45"/>
                      <a:pt x="335" y="43"/>
                    </a:cubicBezTo>
                    <a:cubicBezTo>
                      <a:pt x="334" y="40"/>
                      <a:pt x="336" y="42"/>
                      <a:pt x="338" y="39"/>
                    </a:cubicBezTo>
                    <a:cubicBezTo>
                      <a:pt x="339" y="37"/>
                      <a:pt x="342" y="28"/>
                      <a:pt x="342" y="28"/>
                    </a:cubicBezTo>
                    <a:cubicBezTo>
                      <a:pt x="338" y="28"/>
                      <a:pt x="338" y="28"/>
                      <a:pt x="338" y="28"/>
                    </a:cubicBezTo>
                    <a:cubicBezTo>
                      <a:pt x="339" y="23"/>
                      <a:pt x="339" y="23"/>
                      <a:pt x="339" y="23"/>
                    </a:cubicBezTo>
                    <a:cubicBezTo>
                      <a:pt x="336" y="23"/>
                      <a:pt x="336" y="23"/>
                      <a:pt x="336" y="23"/>
                    </a:cubicBezTo>
                    <a:cubicBezTo>
                      <a:pt x="336" y="23"/>
                      <a:pt x="334" y="30"/>
                      <a:pt x="333" y="27"/>
                    </a:cubicBezTo>
                    <a:cubicBezTo>
                      <a:pt x="332" y="24"/>
                      <a:pt x="336" y="17"/>
                      <a:pt x="335" y="15"/>
                    </a:cubicBezTo>
                    <a:cubicBezTo>
                      <a:pt x="334" y="13"/>
                      <a:pt x="327" y="19"/>
                      <a:pt x="327" y="19"/>
                    </a:cubicBezTo>
                    <a:cubicBezTo>
                      <a:pt x="325" y="19"/>
                      <a:pt x="325" y="19"/>
                      <a:pt x="325" y="19"/>
                    </a:cubicBezTo>
                    <a:cubicBezTo>
                      <a:pt x="325" y="23"/>
                      <a:pt x="325" y="23"/>
                      <a:pt x="325" y="23"/>
                    </a:cubicBezTo>
                    <a:cubicBezTo>
                      <a:pt x="327" y="24"/>
                      <a:pt x="327" y="24"/>
                      <a:pt x="327" y="24"/>
                    </a:cubicBezTo>
                    <a:cubicBezTo>
                      <a:pt x="327" y="31"/>
                      <a:pt x="327" y="31"/>
                      <a:pt x="327" y="31"/>
                    </a:cubicBezTo>
                    <a:cubicBezTo>
                      <a:pt x="327" y="31"/>
                      <a:pt x="336" y="34"/>
                      <a:pt x="330" y="34"/>
                    </a:cubicBezTo>
                    <a:close/>
                    <a:moveTo>
                      <a:pt x="342" y="25"/>
                    </a:moveTo>
                    <a:cubicBezTo>
                      <a:pt x="345" y="25"/>
                      <a:pt x="344" y="20"/>
                      <a:pt x="345" y="17"/>
                    </a:cubicBezTo>
                    <a:cubicBezTo>
                      <a:pt x="345" y="14"/>
                      <a:pt x="348" y="11"/>
                      <a:pt x="346" y="10"/>
                    </a:cubicBezTo>
                    <a:cubicBezTo>
                      <a:pt x="344" y="8"/>
                      <a:pt x="340" y="13"/>
                      <a:pt x="340" y="16"/>
                    </a:cubicBezTo>
                    <a:cubicBezTo>
                      <a:pt x="340" y="19"/>
                      <a:pt x="339" y="24"/>
                      <a:pt x="342" y="25"/>
                    </a:cubicBezTo>
                    <a:close/>
                    <a:moveTo>
                      <a:pt x="357" y="3"/>
                    </a:moveTo>
                    <a:cubicBezTo>
                      <a:pt x="357" y="3"/>
                      <a:pt x="354" y="0"/>
                      <a:pt x="351" y="4"/>
                    </a:cubicBezTo>
                    <a:cubicBezTo>
                      <a:pt x="349" y="8"/>
                      <a:pt x="349" y="12"/>
                      <a:pt x="349" y="12"/>
                    </a:cubicBezTo>
                    <a:cubicBezTo>
                      <a:pt x="352" y="12"/>
                      <a:pt x="352" y="12"/>
                      <a:pt x="352" y="12"/>
                    </a:cubicBezTo>
                    <a:lnTo>
                      <a:pt x="357" y="3"/>
                    </a:lnTo>
                    <a:close/>
                    <a:moveTo>
                      <a:pt x="349" y="16"/>
                    </a:moveTo>
                    <a:cubicBezTo>
                      <a:pt x="348" y="19"/>
                      <a:pt x="348" y="19"/>
                      <a:pt x="348" y="19"/>
                    </a:cubicBezTo>
                    <a:cubicBezTo>
                      <a:pt x="355" y="19"/>
                      <a:pt x="355" y="19"/>
                      <a:pt x="355" y="19"/>
                    </a:cubicBezTo>
                    <a:lnTo>
                      <a:pt x="349" y="16"/>
                    </a:lnTo>
                    <a:close/>
                    <a:moveTo>
                      <a:pt x="33" y="379"/>
                    </a:moveTo>
                    <a:cubicBezTo>
                      <a:pt x="32" y="375"/>
                      <a:pt x="32" y="375"/>
                      <a:pt x="32" y="375"/>
                    </a:cubicBezTo>
                    <a:cubicBezTo>
                      <a:pt x="32" y="375"/>
                      <a:pt x="35" y="368"/>
                      <a:pt x="40" y="369"/>
                    </a:cubicBezTo>
                    <a:cubicBezTo>
                      <a:pt x="45" y="370"/>
                      <a:pt x="46" y="378"/>
                      <a:pt x="46" y="378"/>
                    </a:cubicBezTo>
                    <a:cubicBezTo>
                      <a:pt x="46" y="386"/>
                      <a:pt x="46" y="386"/>
                      <a:pt x="46" y="386"/>
                    </a:cubicBezTo>
                    <a:cubicBezTo>
                      <a:pt x="51" y="387"/>
                      <a:pt x="51" y="387"/>
                      <a:pt x="51" y="387"/>
                    </a:cubicBezTo>
                    <a:cubicBezTo>
                      <a:pt x="51" y="387"/>
                      <a:pt x="44" y="396"/>
                      <a:pt x="49" y="396"/>
                    </a:cubicBezTo>
                    <a:cubicBezTo>
                      <a:pt x="55" y="396"/>
                      <a:pt x="60" y="397"/>
                      <a:pt x="60" y="397"/>
                    </a:cubicBezTo>
                    <a:cubicBezTo>
                      <a:pt x="62" y="393"/>
                      <a:pt x="62" y="393"/>
                      <a:pt x="62" y="393"/>
                    </a:cubicBezTo>
                    <a:cubicBezTo>
                      <a:pt x="64" y="397"/>
                      <a:pt x="64" y="397"/>
                      <a:pt x="64" y="397"/>
                    </a:cubicBezTo>
                    <a:cubicBezTo>
                      <a:pt x="64" y="396"/>
                      <a:pt x="64" y="396"/>
                      <a:pt x="64" y="396"/>
                    </a:cubicBezTo>
                    <a:cubicBezTo>
                      <a:pt x="65" y="396"/>
                      <a:pt x="70" y="405"/>
                      <a:pt x="74" y="401"/>
                    </a:cubicBezTo>
                    <a:cubicBezTo>
                      <a:pt x="80" y="396"/>
                      <a:pt x="78" y="392"/>
                      <a:pt x="81" y="390"/>
                    </a:cubicBezTo>
                    <a:cubicBezTo>
                      <a:pt x="84" y="389"/>
                      <a:pt x="85" y="394"/>
                      <a:pt x="90" y="392"/>
                    </a:cubicBezTo>
                    <a:cubicBezTo>
                      <a:pt x="95" y="389"/>
                      <a:pt x="93" y="386"/>
                      <a:pt x="93" y="386"/>
                    </a:cubicBezTo>
                    <a:cubicBezTo>
                      <a:pt x="90" y="384"/>
                      <a:pt x="90" y="384"/>
                      <a:pt x="90" y="384"/>
                    </a:cubicBezTo>
                    <a:cubicBezTo>
                      <a:pt x="94" y="376"/>
                      <a:pt x="94" y="376"/>
                      <a:pt x="94" y="376"/>
                    </a:cubicBezTo>
                    <a:cubicBezTo>
                      <a:pt x="93" y="373"/>
                      <a:pt x="93" y="373"/>
                      <a:pt x="93" y="373"/>
                    </a:cubicBezTo>
                    <a:cubicBezTo>
                      <a:pt x="96" y="371"/>
                      <a:pt x="96" y="371"/>
                      <a:pt x="96" y="371"/>
                    </a:cubicBezTo>
                    <a:cubicBezTo>
                      <a:pt x="97" y="379"/>
                      <a:pt x="97" y="379"/>
                      <a:pt x="97" y="379"/>
                    </a:cubicBezTo>
                    <a:cubicBezTo>
                      <a:pt x="95" y="382"/>
                      <a:pt x="95" y="382"/>
                      <a:pt x="95" y="382"/>
                    </a:cubicBezTo>
                    <a:cubicBezTo>
                      <a:pt x="96" y="386"/>
                      <a:pt x="96" y="386"/>
                      <a:pt x="96" y="386"/>
                    </a:cubicBezTo>
                    <a:cubicBezTo>
                      <a:pt x="96" y="386"/>
                      <a:pt x="99" y="386"/>
                      <a:pt x="100" y="380"/>
                    </a:cubicBezTo>
                    <a:cubicBezTo>
                      <a:pt x="100" y="376"/>
                      <a:pt x="104" y="368"/>
                      <a:pt x="99" y="365"/>
                    </a:cubicBezTo>
                    <a:cubicBezTo>
                      <a:pt x="93" y="363"/>
                      <a:pt x="83" y="368"/>
                      <a:pt x="85" y="364"/>
                    </a:cubicBezTo>
                    <a:cubicBezTo>
                      <a:pt x="87" y="361"/>
                      <a:pt x="96" y="362"/>
                      <a:pt x="96" y="356"/>
                    </a:cubicBezTo>
                    <a:cubicBezTo>
                      <a:pt x="96" y="349"/>
                      <a:pt x="94" y="350"/>
                      <a:pt x="94" y="350"/>
                    </a:cubicBezTo>
                    <a:cubicBezTo>
                      <a:pt x="89" y="340"/>
                      <a:pt x="89" y="340"/>
                      <a:pt x="89" y="340"/>
                    </a:cubicBezTo>
                    <a:cubicBezTo>
                      <a:pt x="89" y="330"/>
                      <a:pt x="89" y="330"/>
                      <a:pt x="89" y="330"/>
                    </a:cubicBezTo>
                    <a:cubicBezTo>
                      <a:pt x="89" y="330"/>
                      <a:pt x="90" y="325"/>
                      <a:pt x="82" y="323"/>
                    </a:cubicBezTo>
                    <a:cubicBezTo>
                      <a:pt x="73" y="321"/>
                      <a:pt x="64" y="324"/>
                      <a:pt x="64" y="324"/>
                    </a:cubicBezTo>
                    <a:cubicBezTo>
                      <a:pt x="57" y="319"/>
                      <a:pt x="57" y="319"/>
                      <a:pt x="57" y="319"/>
                    </a:cubicBezTo>
                    <a:cubicBezTo>
                      <a:pt x="51" y="327"/>
                      <a:pt x="51" y="327"/>
                      <a:pt x="51" y="327"/>
                    </a:cubicBezTo>
                    <a:cubicBezTo>
                      <a:pt x="45" y="326"/>
                      <a:pt x="45" y="326"/>
                      <a:pt x="45" y="326"/>
                    </a:cubicBezTo>
                    <a:cubicBezTo>
                      <a:pt x="39" y="325"/>
                      <a:pt x="39" y="325"/>
                      <a:pt x="39" y="325"/>
                    </a:cubicBezTo>
                    <a:cubicBezTo>
                      <a:pt x="36" y="332"/>
                      <a:pt x="36" y="332"/>
                      <a:pt x="36" y="332"/>
                    </a:cubicBezTo>
                    <a:cubicBezTo>
                      <a:pt x="34" y="332"/>
                      <a:pt x="34" y="332"/>
                      <a:pt x="34" y="332"/>
                    </a:cubicBezTo>
                    <a:cubicBezTo>
                      <a:pt x="33" y="338"/>
                      <a:pt x="33" y="338"/>
                      <a:pt x="33" y="338"/>
                    </a:cubicBezTo>
                    <a:cubicBezTo>
                      <a:pt x="27" y="345"/>
                      <a:pt x="27" y="345"/>
                      <a:pt x="27" y="345"/>
                    </a:cubicBezTo>
                    <a:cubicBezTo>
                      <a:pt x="27" y="345"/>
                      <a:pt x="28" y="343"/>
                      <a:pt x="24" y="343"/>
                    </a:cubicBezTo>
                    <a:cubicBezTo>
                      <a:pt x="22" y="343"/>
                      <a:pt x="20" y="345"/>
                      <a:pt x="20" y="345"/>
                    </a:cubicBezTo>
                    <a:cubicBezTo>
                      <a:pt x="20" y="345"/>
                      <a:pt x="19" y="341"/>
                      <a:pt x="17" y="341"/>
                    </a:cubicBezTo>
                    <a:cubicBezTo>
                      <a:pt x="16" y="341"/>
                      <a:pt x="12" y="342"/>
                      <a:pt x="12" y="345"/>
                    </a:cubicBezTo>
                    <a:cubicBezTo>
                      <a:pt x="12" y="347"/>
                      <a:pt x="20" y="349"/>
                      <a:pt x="20" y="349"/>
                    </a:cubicBezTo>
                    <a:cubicBezTo>
                      <a:pt x="17" y="350"/>
                      <a:pt x="17" y="350"/>
                      <a:pt x="17" y="350"/>
                    </a:cubicBezTo>
                    <a:cubicBezTo>
                      <a:pt x="13" y="353"/>
                      <a:pt x="13" y="353"/>
                      <a:pt x="13" y="353"/>
                    </a:cubicBezTo>
                    <a:cubicBezTo>
                      <a:pt x="7" y="350"/>
                      <a:pt x="7" y="350"/>
                      <a:pt x="7" y="350"/>
                    </a:cubicBezTo>
                    <a:cubicBezTo>
                      <a:pt x="5" y="355"/>
                      <a:pt x="5" y="355"/>
                      <a:pt x="5" y="355"/>
                    </a:cubicBezTo>
                    <a:cubicBezTo>
                      <a:pt x="5" y="355"/>
                      <a:pt x="0" y="353"/>
                      <a:pt x="0" y="356"/>
                    </a:cubicBezTo>
                    <a:cubicBezTo>
                      <a:pt x="0" y="359"/>
                      <a:pt x="7" y="370"/>
                      <a:pt x="7" y="370"/>
                    </a:cubicBezTo>
                    <a:cubicBezTo>
                      <a:pt x="6" y="376"/>
                      <a:pt x="6" y="376"/>
                      <a:pt x="6" y="376"/>
                    </a:cubicBezTo>
                    <a:cubicBezTo>
                      <a:pt x="13" y="377"/>
                      <a:pt x="13" y="377"/>
                      <a:pt x="13" y="377"/>
                    </a:cubicBezTo>
                    <a:cubicBezTo>
                      <a:pt x="13" y="377"/>
                      <a:pt x="15" y="384"/>
                      <a:pt x="22" y="384"/>
                    </a:cubicBezTo>
                    <a:cubicBezTo>
                      <a:pt x="30" y="385"/>
                      <a:pt x="33" y="379"/>
                      <a:pt x="33" y="379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80" name="Germany (example: colored)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4478338" y="3413125"/>
                <a:ext cx="812800" cy="1096962"/>
              </a:xfrm>
              <a:custGeom>
                <a:avLst/>
                <a:gdLst/>
                <a:ahLst/>
                <a:cxnLst>
                  <a:cxn ang="0">
                    <a:pos x="296" y="88"/>
                  </a:cxn>
                  <a:cxn ang="0">
                    <a:pos x="316" y="94"/>
                  </a:cxn>
                  <a:cxn ang="0">
                    <a:pos x="301" y="195"/>
                  </a:cxn>
                  <a:cxn ang="0">
                    <a:pos x="291" y="184"/>
                  </a:cxn>
                  <a:cxn ang="0">
                    <a:pos x="772" y="96"/>
                  </a:cxn>
                  <a:cxn ang="0">
                    <a:pos x="777" y="96"/>
                  </a:cxn>
                  <a:cxn ang="0">
                    <a:pos x="793" y="138"/>
                  </a:cxn>
                  <a:cxn ang="0">
                    <a:pos x="821" y="130"/>
                  </a:cxn>
                  <a:cxn ang="0">
                    <a:pos x="775" y="70"/>
                  </a:cxn>
                  <a:cxn ang="0">
                    <a:pos x="783" y="91"/>
                  </a:cxn>
                  <a:cxn ang="0">
                    <a:pos x="847" y="179"/>
                  </a:cxn>
                  <a:cxn ang="0">
                    <a:pos x="834" y="171"/>
                  </a:cxn>
                  <a:cxn ang="0">
                    <a:pos x="596" y="180"/>
                  </a:cxn>
                  <a:cxn ang="0">
                    <a:pos x="550" y="109"/>
                  </a:cxn>
                  <a:cxn ang="0">
                    <a:pos x="749" y="104"/>
                  </a:cxn>
                  <a:cxn ang="0">
                    <a:pos x="146" y="231"/>
                  </a:cxn>
                  <a:cxn ang="0">
                    <a:pos x="210" y="221"/>
                  </a:cxn>
                  <a:cxn ang="0">
                    <a:pos x="972" y="618"/>
                  </a:cxn>
                  <a:cxn ang="0">
                    <a:pos x="928" y="434"/>
                  </a:cxn>
                  <a:cxn ang="0">
                    <a:pos x="853" y="221"/>
                  </a:cxn>
                  <a:cxn ang="0">
                    <a:pos x="788" y="151"/>
                  </a:cxn>
                  <a:cxn ang="0">
                    <a:pos x="689" y="130"/>
                  </a:cxn>
                  <a:cxn ang="0">
                    <a:pos x="656" y="158"/>
                  </a:cxn>
                  <a:cxn ang="0">
                    <a:pos x="575" y="200"/>
                  </a:cxn>
                  <a:cxn ang="0">
                    <a:pos x="550" y="161"/>
                  </a:cxn>
                  <a:cxn ang="0">
                    <a:pos x="464" y="130"/>
                  </a:cxn>
                  <a:cxn ang="0">
                    <a:pos x="397" y="47"/>
                  </a:cxn>
                  <a:cxn ang="0">
                    <a:pos x="348" y="94"/>
                  </a:cxn>
                  <a:cxn ang="0">
                    <a:pos x="332" y="158"/>
                  </a:cxn>
                  <a:cxn ang="0">
                    <a:pos x="384" y="221"/>
                  </a:cxn>
                  <a:cxn ang="0">
                    <a:pos x="272" y="255"/>
                  </a:cxn>
                  <a:cxn ang="0">
                    <a:pos x="174" y="231"/>
                  </a:cxn>
                  <a:cxn ang="0">
                    <a:pos x="148" y="374"/>
                  </a:cxn>
                  <a:cxn ang="0">
                    <a:pos x="102" y="532"/>
                  </a:cxn>
                  <a:cxn ang="0">
                    <a:pos x="37" y="590"/>
                  </a:cxn>
                  <a:cxn ang="0">
                    <a:pos x="24" y="709"/>
                  </a:cxn>
                  <a:cxn ang="0">
                    <a:pos x="21" y="841"/>
                  </a:cxn>
                  <a:cxn ang="0">
                    <a:pos x="76" y="992"/>
                  </a:cxn>
                  <a:cxn ang="0">
                    <a:pos x="153" y="1005"/>
                  </a:cxn>
                  <a:cxn ang="0">
                    <a:pos x="195" y="1104"/>
                  </a:cxn>
                  <a:cxn ang="0">
                    <a:pos x="213" y="1285"/>
                  </a:cxn>
                  <a:cxn ang="0">
                    <a:pos x="283" y="1249"/>
                  </a:cxn>
                  <a:cxn ang="0">
                    <a:pos x="417" y="1285"/>
                  </a:cxn>
                  <a:cxn ang="0">
                    <a:pos x="503" y="1291"/>
                  </a:cxn>
                  <a:cxn ang="0">
                    <a:pos x="599" y="1306"/>
                  </a:cxn>
                  <a:cxn ang="0">
                    <a:pos x="762" y="1267"/>
                  </a:cxn>
                  <a:cxn ang="0">
                    <a:pos x="757" y="1189"/>
                  </a:cxn>
                  <a:cxn ang="0">
                    <a:pos x="824" y="1031"/>
                  </a:cxn>
                  <a:cxn ang="0">
                    <a:pos x="720" y="880"/>
                  </a:cxn>
                  <a:cxn ang="0">
                    <a:pos x="736" y="800"/>
                  </a:cxn>
                  <a:cxn ang="0">
                    <a:pos x="902" y="712"/>
                  </a:cxn>
                  <a:cxn ang="0">
                    <a:pos x="967" y="704"/>
                  </a:cxn>
                  <a:cxn ang="0">
                    <a:pos x="138" y="234"/>
                  </a:cxn>
                  <a:cxn ang="0">
                    <a:pos x="239" y="216"/>
                  </a:cxn>
                  <a:cxn ang="0">
                    <a:pos x="278" y="68"/>
                  </a:cxn>
                  <a:cxn ang="0">
                    <a:pos x="280" y="49"/>
                  </a:cxn>
                  <a:cxn ang="0">
                    <a:pos x="291" y="26"/>
                  </a:cxn>
                  <a:cxn ang="0">
                    <a:pos x="296" y="0"/>
                  </a:cxn>
                  <a:cxn ang="0">
                    <a:pos x="265" y="229"/>
                  </a:cxn>
                  <a:cxn ang="0">
                    <a:pos x="241" y="151"/>
                  </a:cxn>
                </a:cxnLst>
                <a:rect l="0" t="0" r="r" b="b"/>
                <a:pathLst>
                  <a:path w="987" h="1337">
                    <a:moveTo>
                      <a:pt x="285" y="1267"/>
                    </a:moveTo>
                    <a:cubicBezTo>
                      <a:pt x="293" y="1267"/>
                      <a:pt x="293" y="1267"/>
                      <a:pt x="293" y="1267"/>
                    </a:cubicBezTo>
                    <a:cubicBezTo>
                      <a:pt x="293" y="1262"/>
                      <a:pt x="293" y="1262"/>
                      <a:pt x="293" y="1262"/>
                    </a:cubicBezTo>
                    <a:cubicBezTo>
                      <a:pt x="288" y="1262"/>
                      <a:pt x="288" y="1262"/>
                      <a:pt x="288" y="1262"/>
                    </a:cubicBezTo>
                    <a:cubicBezTo>
                      <a:pt x="285" y="1267"/>
                      <a:pt x="285" y="1267"/>
                      <a:pt x="285" y="1267"/>
                    </a:cubicBezTo>
                    <a:close/>
                    <a:moveTo>
                      <a:pt x="296" y="94"/>
                    </a:moveTo>
                    <a:cubicBezTo>
                      <a:pt x="298" y="91"/>
                      <a:pt x="298" y="88"/>
                      <a:pt x="296" y="88"/>
                    </a:cubicBezTo>
                    <a:cubicBezTo>
                      <a:pt x="283" y="91"/>
                      <a:pt x="301" y="96"/>
                      <a:pt x="296" y="94"/>
                    </a:cubicBezTo>
                    <a:close/>
                    <a:moveTo>
                      <a:pt x="319" y="101"/>
                    </a:moveTo>
                    <a:cubicBezTo>
                      <a:pt x="322" y="101"/>
                      <a:pt x="322" y="99"/>
                      <a:pt x="322" y="99"/>
                    </a:cubicBezTo>
                    <a:cubicBezTo>
                      <a:pt x="319" y="99"/>
                      <a:pt x="316" y="101"/>
                      <a:pt x="319" y="101"/>
                    </a:cubicBezTo>
                    <a:close/>
                    <a:moveTo>
                      <a:pt x="316" y="94"/>
                    </a:moveTo>
                    <a:cubicBezTo>
                      <a:pt x="319" y="91"/>
                      <a:pt x="322" y="91"/>
                      <a:pt x="319" y="86"/>
                    </a:cubicBezTo>
                    <a:cubicBezTo>
                      <a:pt x="314" y="83"/>
                      <a:pt x="298" y="101"/>
                      <a:pt x="316" y="94"/>
                    </a:cubicBezTo>
                    <a:close/>
                    <a:moveTo>
                      <a:pt x="314" y="68"/>
                    </a:moveTo>
                    <a:cubicBezTo>
                      <a:pt x="311" y="70"/>
                      <a:pt x="309" y="70"/>
                      <a:pt x="306" y="70"/>
                    </a:cubicBezTo>
                    <a:cubicBezTo>
                      <a:pt x="311" y="78"/>
                      <a:pt x="311" y="70"/>
                      <a:pt x="314" y="68"/>
                    </a:cubicBezTo>
                    <a:close/>
                    <a:moveTo>
                      <a:pt x="296" y="83"/>
                    </a:moveTo>
                    <a:cubicBezTo>
                      <a:pt x="296" y="81"/>
                      <a:pt x="293" y="81"/>
                      <a:pt x="293" y="83"/>
                    </a:cubicBezTo>
                    <a:cubicBezTo>
                      <a:pt x="293" y="88"/>
                      <a:pt x="296" y="83"/>
                      <a:pt x="296" y="83"/>
                    </a:cubicBezTo>
                    <a:close/>
                    <a:moveTo>
                      <a:pt x="301" y="195"/>
                    </a:moveTo>
                    <a:cubicBezTo>
                      <a:pt x="306" y="195"/>
                      <a:pt x="301" y="192"/>
                      <a:pt x="301" y="192"/>
                    </a:cubicBezTo>
                    <a:cubicBezTo>
                      <a:pt x="296" y="192"/>
                      <a:pt x="296" y="195"/>
                      <a:pt x="301" y="195"/>
                    </a:cubicBezTo>
                    <a:close/>
                    <a:moveTo>
                      <a:pt x="301" y="101"/>
                    </a:moveTo>
                    <a:cubicBezTo>
                      <a:pt x="301" y="104"/>
                      <a:pt x="306" y="101"/>
                      <a:pt x="306" y="101"/>
                    </a:cubicBezTo>
                    <a:cubicBezTo>
                      <a:pt x="306" y="96"/>
                      <a:pt x="301" y="99"/>
                      <a:pt x="301" y="101"/>
                    </a:cubicBezTo>
                    <a:close/>
                    <a:moveTo>
                      <a:pt x="296" y="187"/>
                    </a:moveTo>
                    <a:cubicBezTo>
                      <a:pt x="298" y="184"/>
                      <a:pt x="291" y="184"/>
                      <a:pt x="291" y="184"/>
                    </a:cubicBezTo>
                    <a:cubicBezTo>
                      <a:pt x="288" y="182"/>
                      <a:pt x="293" y="200"/>
                      <a:pt x="296" y="187"/>
                    </a:cubicBezTo>
                    <a:close/>
                    <a:moveTo>
                      <a:pt x="298" y="107"/>
                    </a:moveTo>
                    <a:cubicBezTo>
                      <a:pt x="298" y="107"/>
                      <a:pt x="298" y="104"/>
                      <a:pt x="296" y="101"/>
                    </a:cubicBezTo>
                    <a:cubicBezTo>
                      <a:pt x="291" y="96"/>
                      <a:pt x="293" y="109"/>
                      <a:pt x="298" y="107"/>
                    </a:cubicBezTo>
                    <a:close/>
                    <a:moveTo>
                      <a:pt x="772" y="96"/>
                    </a:moveTo>
                    <a:cubicBezTo>
                      <a:pt x="765" y="91"/>
                      <a:pt x="765" y="99"/>
                      <a:pt x="759" y="101"/>
                    </a:cubicBezTo>
                    <a:cubicBezTo>
                      <a:pt x="762" y="101"/>
                      <a:pt x="767" y="99"/>
                      <a:pt x="772" y="96"/>
                    </a:cubicBezTo>
                    <a:close/>
                    <a:moveTo>
                      <a:pt x="845" y="135"/>
                    </a:moveTo>
                    <a:cubicBezTo>
                      <a:pt x="842" y="132"/>
                      <a:pt x="842" y="132"/>
                      <a:pt x="840" y="135"/>
                    </a:cubicBezTo>
                    <a:cubicBezTo>
                      <a:pt x="840" y="140"/>
                      <a:pt x="842" y="135"/>
                      <a:pt x="845" y="135"/>
                    </a:cubicBezTo>
                    <a:close/>
                    <a:moveTo>
                      <a:pt x="759" y="75"/>
                    </a:moveTo>
                    <a:cubicBezTo>
                      <a:pt x="752" y="68"/>
                      <a:pt x="754" y="96"/>
                      <a:pt x="754" y="99"/>
                    </a:cubicBezTo>
                    <a:cubicBezTo>
                      <a:pt x="757" y="94"/>
                      <a:pt x="759" y="75"/>
                      <a:pt x="759" y="75"/>
                    </a:cubicBezTo>
                    <a:close/>
                    <a:moveTo>
                      <a:pt x="777" y="96"/>
                    </a:moveTo>
                    <a:cubicBezTo>
                      <a:pt x="777" y="99"/>
                      <a:pt x="762" y="101"/>
                      <a:pt x="765" y="104"/>
                    </a:cubicBezTo>
                    <a:cubicBezTo>
                      <a:pt x="765" y="107"/>
                      <a:pt x="775" y="101"/>
                      <a:pt x="775" y="107"/>
                    </a:cubicBezTo>
                    <a:cubicBezTo>
                      <a:pt x="775" y="112"/>
                      <a:pt x="777" y="117"/>
                      <a:pt x="767" y="117"/>
                    </a:cubicBezTo>
                    <a:cubicBezTo>
                      <a:pt x="759" y="117"/>
                      <a:pt x="759" y="125"/>
                      <a:pt x="762" y="127"/>
                    </a:cubicBezTo>
                    <a:cubicBezTo>
                      <a:pt x="765" y="130"/>
                      <a:pt x="780" y="135"/>
                      <a:pt x="783" y="135"/>
                    </a:cubicBezTo>
                    <a:cubicBezTo>
                      <a:pt x="785" y="138"/>
                      <a:pt x="783" y="138"/>
                      <a:pt x="783" y="138"/>
                    </a:cubicBezTo>
                    <a:cubicBezTo>
                      <a:pt x="785" y="140"/>
                      <a:pt x="793" y="140"/>
                      <a:pt x="793" y="138"/>
                    </a:cubicBezTo>
                    <a:cubicBezTo>
                      <a:pt x="793" y="132"/>
                      <a:pt x="788" y="138"/>
                      <a:pt x="788" y="132"/>
                    </a:cubicBezTo>
                    <a:cubicBezTo>
                      <a:pt x="788" y="127"/>
                      <a:pt x="798" y="127"/>
                      <a:pt x="793" y="122"/>
                    </a:cubicBezTo>
                    <a:cubicBezTo>
                      <a:pt x="796" y="122"/>
                      <a:pt x="816" y="117"/>
                      <a:pt x="816" y="120"/>
                    </a:cubicBezTo>
                    <a:cubicBezTo>
                      <a:pt x="816" y="120"/>
                      <a:pt x="809" y="122"/>
                      <a:pt x="809" y="125"/>
                    </a:cubicBezTo>
                    <a:cubicBezTo>
                      <a:pt x="814" y="122"/>
                      <a:pt x="816" y="122"/>
                      <a:pt x="819" y="122"/>
                    </a:cubicBezTo>
                    <a:cubicBezTo>
                      <a:pt x="814" y="127"/>
                      <a:pt x="814" y="127"/>
                      <a:pt x="814" y="127"/>
                    </a:cubicBezTo>
                    <a:cubicBezTo>
                      <a:pt x="816" y="127"/>
                      <a:pt x="821" y="130"/>
                      <a:pt x="821" y="130"/>
                    </a:cubicBezTo>
                    <a:cubicBezTo>
                      <a:pt x="821" y="127"/>
                      <a:pt x="827" y="120"/>
                      <a:pt x="827" y="120"/>
                    </a:cubicBezTo>
                    <a:cubicBezTo>
                      <a:pt x="827" y="112"/>
                      <a:pt x="806" y="107"/>
                      <a:pt x="806" y="101"/>
                    </a:cubicBezTo>
                    <a:cubicBezTo>
                      <a:pt x="803" y="91"/>
                      <a:pt x="829" y="70"/>
                      <a:pt x="798" y="81"/>
                    </a:cubicBezTo>
                    <a:cubicBezTo>
                      <a:pt x="796" y="81"/>
                      <a:pt x="788" y="75"/>
                      <a:pt x="788" y="68"/>
                    </a:cubicBezTo>
                    <a:cubicBezTo>
                      <a:pt x="788" y="65"/>
                      <a:pt x="798" y="60"/>
                      <a:pt x="788" y="60"/>
                    </a:cubicBezTo>
                    <a:cubicBezTo>
                      <a:pt x="783" y="60"/>
                      <a:pt x="757" y="78"/>
                      <a:pt x="765" y="83"/>
                    </a:cubicBezTo>
                    <a:cubicBezTo>
                      <a:pt x="767" y="86"/>
                      <a:pt x="775" y="70"/>
                      <a:pt x="775" y="70"/>
                    </a:cubicBezTo>
                    <a:cubicBezTo>
                      <a:pt x="780" y="68"/>
                      <a:pt x="775" y="83"/>
                      <a:pt x="775" y="83"/>
                    </a:cubicBezTo>
                    <a:cubicBezTo>
                      <a:pt x="780" y="83"/>
                      <a:pt x="783" y="75"/>
                      <a:pt x="785" y="75"/>
                    </a:cubicBezTo>
                    <a:cubicBezTo>
                      <a:pt x="785" y="75"/>
                      <a:pt x="798" y="88"/>
                      <a:pt x="798" y="86"/>
                    </a:cubicBezTo>
                    <a:cubicBezTo>
                      <a:pt x="798" y="109"/>
                      <a:pt x="790" y="83"/>
                      <a:pt x="788" y="83"/>
                    </a:cubicBezTo>
                    <a:cubicBezTo>
                      <a:pt x="785" y="86"/>
                      <a:pt x="788" y="88"/>
                      <a:pt x="785" y="88"/>
                    </a:cubicBezTo>
                    <a:cubicBezTo>
                      <a:pt x="785" y="88"/>
                      <a:pt x="788" y="81"/>
                      <a:pt x="785" y="81"/>
                    </a:cubicBezTo>
                    <a:cubicBezTo>
                      <a:pt x="780" y="78"/>
                      <a:pt x="780" y="88"/>
                      <a:pt x="783" y="91"/>
                    </a:cubicBezTo>
                    <a:cubicBezTo>
                      <a:pt x="780" y="88"/>
                      <a:pt x="762" y="81"/>
                      <a:pt x="762" y="88"/>
                    </a:cubicBezTo>
                    <a:cubicBezTo>
                      <a:pt x="762" y="94"/>
                      <a:pt x="775" y="91"/>
                      <a:pt x="777" y="96"/>
                    </a:cubicBezTo>
                    <a:close/>
                    <a:moveTo>
                      <a:pt x="834" y="171"/>
                    </a:moveTo>
                    <a:cubicBezTo>
                      <a:pt x="837" y="174"/>
                      <a:pt x="840" y="174"/>
                      <a:pt x="840" y="177"/>
                    </a:cubicBezTo>
                    <a:cubicBezTo>
                      <a:pt x="842" y="169"/>
                      <a:pt x="860" y="171"/>
                      <a:pt x="858" y="187"/>
                    </a:cubicBezTo>
                    <a:cubicBezTo>
                      <a:pt x="850" y="184"/>
                      <a:pt x="853" y="187"/>
                      <a:pt x="847" y="187"/>
                    </a:cubicBezTo>
                    <a:cubicBezTo>
                      <a:pt x="847" y="179"/>
                      <a:pt x="847" y="179"/>
                      <a:pt x="847" y="179"/>
                    </a:cubicBezTo>
                    <a:cubicBezTo>
                      <a:pt x="842" y="187"/>
                      <a:pt x="850" y="195"/>
                      <a:pt x="837" y="203"/>
                    </a:cubicBezTo>
                    <a:cubicBezTo>
                      <a:pt x="847" y="203"/>
                      <a:pt x="847" y="203"/>
                      <a:pt x="847" y="203"/>
                    </a:cubicBezTo>
                    <a:cubicBezTo>
                      <a:pt x="850" y="203"/>
                      <a:pt x="878" y="192"/>
                      <a:pt x="881" y="203"/>
                    </a:cubicBezTo>
                    <a:cubicBezTo>
                      <a:pt x="878" y="192"/>
                      <a:pt x="873" y="179"/>
                      <a:pt x="863" y="174"/>
                    </a:cubicBezTo>
                    <a:cubicBezTo>
                      <a:pt x="850" y="171"/>
                      <a:pt x="840" y="151"/>
                      <a:pt x="829" y="148"/>
                    </a:cubicBezTo>
                    <a:cubicBezTo>
                      <a:pt x="829" y="148"/>
                      <a:pt x="832" y="169"/>
                      <a:pt x="830" y="173"/>
                    </a:cubicBezTo>
                    <a:cubicBezTo>
                      <a:pt x="831" y="173"/>
                      <a:pt x="834" y="176"/>
                      <a:pt x="834" y="171"/>
                    </a:cubicBezTo>
                    <a:close/>
                    <a:moveTo>
                      <a:pt x="829" y="174"/>
                    </a:moveTo>
                    <a:cubicBezTo>
                      <a:pt x="829" y="174"/>
                      <a:pt x="830" y="174"/>
                      <a:pt x="830" y="173"/>
                    </a:cubicBezTo>
                    <a:cubicBezTo>
                      <a:pt x="829" y="173"/>
                      <a:pt x="829" y="174"/>
                      <a:pt x="829" y="174"/>
                    </a:cubicBezTo>
                    <a:close/>
                    <a:moveTo>
                      <a:pt x="585" y="188"/>
                    </a:moveTo>
                    <a:cubicBezTo>
                      <a:pt x="588" y="193"/>
                      <a:pt x="590" y="188"/>
                      <a:pt x="593" y="188"/>
                    </a:cubicBezTo>
                    <a:cubicBezTo>
                      <a:pt x="590" y="190"/>
                      <a:pt x="590" y="190"/>
                      <a:pt x="593" y="190"/>
                    </a:cubicBezTo>
                    <a:cubicBezTo>
                      <a:pt x="593" y="190"/>
                      <a:pt x="598" y="180"/>
                      <a:pt x="596" y="180"/>
                    </a:cubicBezTo>
                    <a:cubicBezTo>
                      <a:pt x="596" y="180"/>
                      <a:pt x="580" y="185"/>
                      <a:pt x="585" y="188"/>
                    </a:cubicBezTo>
                    <a:close/>
                    <a:moveTo>
                      <a:pt x="322" y="70"/>
                    </a:moveTo>
                    <a:cubicBezTo>
                      <a:pt x="316" y="78"/>
                      <a:pt x="322" y="75"/>
                      <a:pt x="322" y="75"/>
                    </a:cubicBezTo>
                    <a:cubicBezTo>
                      <a:pt x="322" y="75"/>
                      <a:pt x="327" y="65"/>
                      <a:pt x="322" y="70"/>
                    </a:cubicBezTo>
                    <a:close/>
                    <a:moveTo>
                      <a:pt x="560" y="109"/>
                    </a:moveTo>
                    <a:cubicBezTo>
                      <a:pt x="568" y="117"/>
                      <a:pt x="573" y="120"/>
                      <a:pt x="581" y="120"/>
                    </a:cubicBezTo>
                    <a:cubicBezTo>
                      <a:pt x="581" y="101"/>
                      <a:pt x="547" y="86"/>
                      <a:pt x="550" y="109"/>
                    </a:cubicBezTo>
                    <a:cubicBezTo>
                      <a:pt x="552" y="112"/>
                      <a:pt x="555" y="112"/>
                      <a:pt x="560" y="109"/>
                    </a:cubicBezTo>
                    <a:close/>
                    <a:moveTo>
                      <a:pt x="301" y="86"/>
                    </a:moveTo>
                    <a:cubicBezTo>
                      <a:pt x="301" y="86"/>
                      <a:pt x="311" y="88"/>
                      <a:pt x="306" y="83"/>
                    </a:cubicBezTo>
                    <a:cubicBezTo>
                      <a:pt x="306" y="83"/>
                      <a:pt x="301" y="83"/>
                      <a:pt x="301" y="81"/>
                    </a:cubicBezTo>
                    <a:cubicBezTo>
                      <a:pt x="296" y="83"/>
                      <a:pt x="298" y="86"/>
                      <a:pt x="301" y="86"/>
                    </a:cubicBezTo>
                    <a:close/>
                    <a:moveTo>
                      <a:pt x="757" y="101"/>
                    </a:moveTo>
                    <a:cubicBezTo>
                      <a:pt x="749" y="104"/>
                      <a:pt x="749" y="104"/>
                      <a:pt x="749" y="104"/>
                    </a:cubicBezTo>
                    <a:cubicBezTo>
                      <a:pt x="749" y="104"/>
                      <a:pt x="754" y="107"/>
                      <a:pt x="757" y="101"/>
                    </a:cubicBezTo>
                    <a:close/>
                    <a:moveTo>
                      <a:pt x="190" y="221"/>
                    </a:moveTo>
                    <a:cubicBezTo>
                      <a:pt x="187" y="221"/>
                      <a:pt x="190" y="226"/>
                      <a:pt x="190" y="226"/>
                    </a:cubicBezTo>
                    <a:cubicBezTo>
                      <a:pt x="192" y="226"/>
                      <a:pt x="195" y="223"/>
                      <a:pt x="190" y="221"/>
                    </a:cubicBezTo>
                    <a:close/>
                    <a:moveTo>
                      <a:pt x="158" y="229"/>
                    </a:moveTo>
                    <a:cubicBezTo>
                      <a:pt x="156" y="223"/>
                      <a:pt x="143" y="231"/>
                      <a:pt x="138" y="231"/>
                    </a:cubicBezTo>
                    <a:cubicBezTo>
                      <a:pt x="146" y="231"/>
                      <a:pt x="146" y="231"/>
                      <a:pt x="146" y="231"/>
                    </a:cubicBezTo>
                    <a:cubicBezTo>
                      <a:pt x="148" y="231"/>
                      <a:pt x="153" y="231"/>
                      <a:pt x="158" y="229"/>
                    </a:cubicBezTo>
                    <a:close/>
                    <a:moveTo>
                      <a:pt x="174" y="226"/>
                    </a:moveTo>
                    <a:cubicBezTo>
                      <a:pt x="179" y="226"/>
                      <a:pt x="184" y="229"/>
                      <a:pt x="184" y="223"/>
                    </a:cubicBezTo>
                    <a:cubicBezTo>
                      <a:pt x="184" y="216"/>
                      <a:pt x="158" y="226"/>
                      <a:pt x="161" y="229"/>
                    </a:cubicBezTo>
                    <a:cubicBezTo>
                      <a:pt x="164" y="229"/>
                      <a:pt x="171" y="226"/>
                      <a:pt x="174" y="226"/>
                    </a:cubicBezTo>
                    <a:close/>
                    <a:moveTo>
                      <a:pt x="197" y="226"/>
                    </a:moveTo>
                    <a:cubicBezTo>
                      <a:pt x="200" y="226"/>
                      <a:pt x="208" y="221"/>
                      <a:pt x="210" y="221"/>
                    </a:cubicBezTo>
                    <a:cubicBezTo>
                      <a:pt x="210" y="218"/>
                      <a:pt x="208" y="216"/>
                      <a:pt x="200" y="218"/>
                    </a:cubicBezTo>
                    <a:cubicBezTo>
                      <a:pt x="202" y="218"/>
                      <a:pt x="190" y="226"/>
                      <a:pt x="197" y="226"/>
                    </a:cubicBezTo>
                    <a:close/>
                    <a:moveTo>
                      <a:pt x="234" y="218"/>
                    </a:moveTo>
                    <a:cubicBezTo>
                      <a:pt x="236" y="216"/>
                      <a:pt x="223" y="216"/>
                      <a:pt x="223" y="216"/>
                    </a:cubicBezTo>
                    <a:cubicBezTo>
                      <a:pt x="223" y="216"/>
                      <a:pt x="213" y="216"/>
                      <a:pt x="215" y="221"/>
                    </a:cubicBezTo>
                    <a:cubicBezTo>
                      <a:pt x="221" y="223"/>
                      <a:pt x="228" y="218"/>
                      <a:pt x="234" y="218"/>
                    </a:cubicBezTo>
                    <a:close/>
                    <a:moveTo>
                      <a:pt x="972" y="618"/>
                    </a:moveTo>
                    <a:cubicBezTo>
                      <a:pt x="972" y="600"/>
                      <a:pt x="959" y="603"/>
                      <a:pt x="948" y="597"/>
                    </a:cubicBezTo>
                    <a:cubicBezTo>
                      <a:pt x="938" y="592"/>
                      <a:pt x="954" y="582"/>
                      <a:pt x="948" y="577"/>
                    </a:cubicBezTo>
                    <a:cubicBezTo>
                      <a:pt x="943" y="561"/>
                      <a:pt x="923" y="551"/>
                      <a:pt x="933" y="538"/>
                    </a:cubicBezTo>
                    <a:cubicBezTo>
                      <a:pt x="938" y="530"/>
                      <a:pt x="951" y="504"/>
                      <a:pt x="935" y="501"/>
                    </a:cubicBezTo>
                    <a:cubicBezTo>
                      <a:pt x="933" y="501"/>
                      <a:pt x="943" y="475"/>
                      <a:pt x="933" y="473"/>
                    </a:cubicBezTo>
                    <a:cubicBezTo>
                      <a:pt x="923" y="467"/>
                      <a:pt x="923" y="465"/>
                      <a:pt x="920" y="455"/>
                    </a:cubicBezTo>
                    <a:cubicBezTo>
                      <a:pt x="917" y="439"/>
                      <a:pt x="928" y="444"/>
                      <a:pt x="928" y="434"/>
                    </a:cubicBezTo>
                    <a:cubicBezTo>
                      <a:pt x="928" y="416"/>
                      <a:pt x="894" y="379"/>
                      <a:pt x="871" y="377"/>
                    </a:cubicBezTo>
                    <a:cubicBezTo>
                      <a:pt x="873" y="371"/>
                      <a:pt x="873" y="356"/>
                      <a:pt x="876" y="353"/>
                    </a:cubicBezTo>
                    <a:cubicBezTo>
                      <a:pt x="881" y="345"/>
                      <a:pt x="891" y="345"/>
                      <a:pt x="894" y="335"/>
                    </a:cubicBezTo>
                    <a:cubicBezTo>
                      <a:pt x="899" y="317"/>
                      <a:pt x="904" y="301"/>
                      <a:pt x="894" y="286"/>
                    </a:cubicBezTo>
                    <a:cubicBezTo>
                      <a:pt x="884" y="268"/>
                      <a:pt x="891" y="239"/>
                      <a:pt x="873" y="229"/>
                    </a:cubicBezTo>
                    <a:cubicBezTo>
                      <a:pt x="873" y="226"/>
                      <a:pt x="881" y="223"/>
                      <a:pt x="878" y="221"/>
                    </a:cubicBezTo>
                    <a:cubicBezTo>
                      <a:pt x="876" y="218"/>
                      <a:pt x="863" y="223"/>
                      <a:pt x="853" y="221"/>
                    </a:cubicBezTo>
                    <a:cubicBezTo>
                      <a:pt x="850" y="221"/>
                      <a:pt x="842" y="216"/>
                      <a:pt x="840" y="213"/>
                    </a:cubicBezTo>
                    <a:cubicBezTo>
                      <a:pt x="837" y="210"/>
                      <a:pt x="829" y="208"/>
                      <a:pt x="834" y="200"/>
                    </a:cubicBezTo>
                    <a:cubicBezTo>
                      <a:pt x="845" y="190"/>
                      <a:pt x="834" y="195"/>
                      <a:pt x="834" y="184"/>
                    </a:cubicBezTo>
                    <a:cubicBezTo>
                      <a:pt x="834" y="174"/>
                      <a:pt x="824" y="182"/>
                      <a:pt x="827" y="166"/>
                    </a:cubicBezTo>
                    <a:cubicBezTo>
                      <a:pt x="829" y="161"/>
                      <a:pt x="821" y="161"/>
                      <a:pt x="821" y="153"/>
                    </a:cubicBezTo>
                    <a:cubicBezTo>
                      <a:pt x="821" y="148"/>
                      <a:pt x="796" y="166"/>
                      <a:pt x="796" y="166"/>
                    </a:cubicBezTo>
                    <a:cubicBezTo>
                      <a:pt x="796" y="166"/>
                      <a:pt x="788" y="153"/>
                      <a:pt x="788" y="151"/>
                    </a:cubicBezTo>
                    <a:cubicBezTo>
                      <a:pt x="788" y="151"/>
                      <a:pt x="759" y="138"/>
                      <a:pt x="757" y="132"/>
                    </a:cubicBezTo>
                    <a:cubicBezTo>
                      <a:pt x="757" y="127"/>
                      <a:pt x="749" y="109"/>
                      <a:pt x="749" y="107"/>
                    </a:cubicBezTo>
                    <a:cubicBezTo>
                      <a:pt x="746" y="112"/>
                      <a:pt x="736" y="112"/>
                      <a:pt x="736" y="120"/>
                    </a:cubicBezTo>
                    <a:cubicBezTo>
                      <a:pt x="739" y="130"/>
                      <a:pt x="723" y="120"/>
                      <a:pt x="726" y="120"/>
                    </a:cubicBezTo>
                    <a:cubicBezTo>
                      <a:pt x="720" y="122"/>
                      <a:pt x="713" y="117"/>
                      <a:pt x="708" y="125"/>
                    </a:cubicBezTo>
                    <a:cubicBezTo>
                      <a:pt x="697" y="120"/>
                      <a:pt x="692" y="143"/>
                      <a:pt x="695" y="143"/>
                    </a:cubicBezTo>
                    <a:cubicBezTo>
                      <a:pt x="676" y="143"/>
                      <a:pt x="695" y="130"/>
                      <a:pt x="689" y="130"/>
                    </a:cubicBezTo>
                    <a:cubicBezTo>
                      <a:pt x="687" y="127"/>
                      <a:pt x="702" y="120"/>
                      <a:pt x="708" y="120"/>
                    </a:cubicBezTo>
                    <a:cubicBezTo>
                      <a:pt x="705" y="120"/>
                      <a:pt x="718" y="112"/>
                      <a:pt x="718" y="112"/>
                    </a:cubicBezTo>
                    <a:cubicBezTo>
                      <a:pt x="726" y="112"/>
                      <a:pt x="741" y="117"/>
                      <a:pt x="744" y="107"/>
                    </a:cubicBezTo>
                    <a:cubicBezTo>
                      <a:pt x="741" y="112"/>
                      <a:pt x="726" y="109"/>
                      <a:pt x="715" y="107"/>
                    </a:cubicBezTo>
                    <a:cubicBezTo>
                      <a:pt x="708" y="107"/>
                      <a:pt x="697" y="96"/>
                      <a:pt x="697" y="112"/>
                    </a:cubicBezTo>
                    <a:cubicBezTo>
                      <a:pt x="697" y="120"/>
                      <a:pt x="682" y="122"/>
                      <a:pt x="676" y="127"/>
                    </a:cubicBezTo>
                    <a:cubicBezTo>
                      <a:pt x="669" y="140"/>
                      <a:pt x="664" y="158"/>
                      <a:pt x="656" y="158"/>
                    </a:cubicBezTo>
                    <a:cubicBezTo>
                      <a:pt x="648" y="158"/>
                      <a:pt x="640" y="164"/>
                      <a:pt x="632" y="164"/>
                    </a:cubicBezTo>
                    <a:cubicBezTo>
                      <a:pt x="625" y="164"/>
                      <a:pt x="622" y="158"/>
                      <a:pt x="617" y="161"/>
                    </a:cubicBezTo>
                    <a:cubicBezTo>
                      <a:pt x="614" y="161"/>
                      <a:pt x="594" y="177"/>
                      <a:pt x="596" y="179"/>
                    </a:cubicBezTo>
                    <a:cubicBezTo>
                      <a:pt x="604" y="182"/>
                      <a:pt x="607" y="171"/>
                      <a:pt x="612" y="171"/>
                    </a:cubicBezTo>
                    <a:cubicBezTo>
                      <a:pt x="609" y="171"/>
                      <a:pt x="596" y="190"/>
                      <a:pt x="596" y="192"/>
                    </a:cubicBezTo>
                    <a:cubicBezTo>
                      <a:pt x="594" y="208"/>
                      <a:pt x="594" y="200"/>
                      <a:pt x="586" y="200"/>
                    </a:cubicBezTo>
                    <a:cubicBezTo>
                      <a:pt x="575" y="200"/>
                      <a:pt x="575" y="200"/>
                      <a:pt x="575" y="200"/>
                    </a:cubicBezTo>
                    <a:cubicBezTo>
                      <a:pt x="578" y="200"/>
                      <a:pt x="570" y="187"/>
                      <a:pt x="568" y="184"/>
                    </a:cubicBezTo>
                    <a:cubicBezTo>
                      <a:pt x="565" y="184"/>
                      <a:pt x="550" y="184"/>
                      <a:pt x="547" y="187"/>
                    </a:cubicBezTo>
                    <a:cubicBezTo>
                      <a:pt x="537" y="195"/>
                      <a:pt x="531" y="192"/>
                      <a:pt x="547" y="203"/>
                    </a:cubicBezTo>
                    <a:cubicBezTo>
                      <a:pt x="534" y="195"/>
                      <a:pt x="521" y="221"/>
                      <a:pt x="511" y="221"/>
                    </a:cubicBezTo>
                    <a:cubicBezTo>
                      <a:pt x="506" y="221"/>
                      <a:pt x="534" y="200"/>
                      <a:pt x="534" y="200"/>
                    </a:cubicBezTo>
                    <a:cubicBezTo>
                      <a:pt x="534" y="187"/>
                      <a:pt x="531" y="190"/>
                      <a:pt x="524" y="179"/>
                    </a:cubicBezTo>
                    <a:cubicBezTo>
                      <a:pt x="524" y="179"/>
                      <a:pt x="547" y="161"/>
                      <a:pt x="550" y="161"/>
                    </a:cubicBezTo>
                    <a:cubicBezTo>
                      <a:pt x="563" y="153"/>
                      <a:pt x="555" y="148"/>
                      <a:pt x="555" y="140"/>
                    </a:cubicBezTo>
                    <a:cubicBezTo>
                      <a:pt x="555" y="122"/>
                      <a:pt x="560" y="132"/>
                      <a:pt x="563" y="122"/>
                    </a:cubicBezTo>
                    <a:cubicBezTo>
                      <a:pt x="565" y="117"/>
                      <a:pt x="550" y="125"/>
                      <a:pt x="547" y="125"/>
                    </a:cubicBezTo>
                    <a:cubicBezTo>
                      <a:pt x="547" y="125"/>
                      <a:pt x="542" y="120"/>
                      <a:pt x="531" y="130"/>
                    </a:cubicBezTo>
                    <a:cubicBezTo>
                      <a:pt x="521" y="138"/>
                      <a:pt x="521" y="130"/>
                      <a:pt x="508" y="125"/>
                    </a:cubicBezTo>
                    <a:cubicBezTo>
                      <a:pt x="503" y="120"/>
                      <a:pt x="493" y="117"/>
                      <a:pt x="485" y="112"/>
                    </a:cubicBezTo>
                    <a:cubicBezTo>
                      <a:pt x="469" y="107"/>
                      <a:pt x="474" y="130"/>
                      <a:pt x="464" y="130"/>
                    </a:cubicBezTo>
                    <a:cubicBezTo>
                      <a:pt x="467" y="109"/>
                      <a:pt x="467" y="109"/>
                      <a:pt x="467" y="109"/>
                    </a:cubicBezTo>
                    <a:cubicBezTo>
                      <a:pt x="467" y="99"/>
                      <a:pt x="443" y="109"/>
                      <a:pt x="438" y="107"/>
                    </a:cubicBezTo>
                    <a:cubicBezTo>
                      <a:pt x="446" y="109"/>
                      <a:pt x="459" y="78"/>
                      <a:pt x="449" y="68"/>
                    </a:cubicBezTo>
                    <a:cubicBezTo>
                      <a:pt x="456" y="75"/>
                      <a:pt x="449" y="57"/>
                      <a:pt x="449" y="57"/>
                    </a:cubicBezTo>
                    <a:cubicBezTo>
                      <a:pt x="449" y="44"/>
                      <a:pt x="441" y="55"/>
                      <a:pt x="438" y="55"/>
                    </a:cubicBezTo>
                    <a:cubicBezTo>
                      <a:pt x="428" y="57"/>
                      <a:pt x="415" y="39"/>
                      <a:pt x="410" y="39"/>
                    </a:cubicBezTo>
                    <a:cubicBezTo>
                      <a:pt x="410" y="36"/>
                      <a:pt x="397" y="47"/>
                      <a:pt x="397" y="47"/>
                    </a:cubicBezTo>
                    <a:cubicBezTo>
                      <a:pt x="394" y="31"/>
                      <a:pt x="392" y="42"/>
                      <a:pt x="384" y="47"/>
                    </a:cubicBezTo>
                    <a:cubicBezTo>
                      <a:pt x="373" y="49"/>
                      <a:pt x="376" y="36"/>
                      <a:pt x="371" y="36"/>
                    </a:cubicBezTo>
                    <a:cubicBezTo>
                      <a:pt x="355" y="31"/>
                      <a:pt x="342" y="26"/>
                      <a:pt x="327" y="29"/>
                    </a:cubicBezTo>
                    <a:cubicBezTo>
                      <a:pt x="319" y="29"/>
                      <a:pt x="319" y="21"/>
                      <a:pt x="314" y="31"/>
                    </a:cubicBezTo>
                    <a:cubicBezTo>
                      <a:pt x="311" y="39"/>
                      <a:pt x="324" y="55"/>
                      <a:pt x="322" y="57"/>
                    </a:cubicBezTo>
                    <a:cubicBezTo>
                      <a:pt x="322" y="55"/>
                      <a:pt x="332" y="83"/>
                      <a:pt x="332" y="83"/>
                    </a:cubicBezTo>
                    <a:cubicBezTo>
                      <a:pt x="332" y="83"/>
                      <a:pt x="350" y="88"/>
                      <a:pt x="348" y="94"/>
                    </a:cubicBezTo>
                    <a:cubicBezTo>
                      <a:pt x="342" y="99"/>
                      <a:pt x="329" y="91"/>
                      <a:pt x="329" y="101"/>
                    </a:cubicBezTo>
                    <a:cubicBezTo>
                      <a:pt x="332" y="112"/>
                      <a:pt x="348" y="99"/>
                      <a:pt x="348" y="99"/>
                    </a:cubicBezTo>
                    <a:cubicBezTo>
                      <a:pt x="348" y="99"/>
                      <a:pt x="342" y="109"/>
                      <a:pt x="337" y="117"/>
                    </a:cubicBezTo>
                    <a:cubicBezTo>
                      <a:pt x="337" y="117"/>
                      <a:pt x="309" y="112"/>
                      <a:pt x="314" y="120"/>
                    </a:cubicBezTo>
                    <a:cubicBezTo>
                      <a:pt x="316" y="120"/>
                      <a:pt x="316" y="122"/>
                      <a:pt x="316" y="122"/>
                    </a:cubicBezTo>
                    <a:cubicBezTo>
                      <a:pt x="283" y="135"/>
                      <a:pt x="342" y="143"/>
                      <a:pt x="342" y="132"/>
                    </a:cubicBezTo>
                    <a:cubicBezTo>
                      <a:pt x="342" y="143"/>
                      <a:pt x="324" y="140"/>
                      <a:pt x="332" y="158"/>
                    </a:cubicBezTo>
                    <a:cubicBezTo>
                      <a:pt x="332" y="161"/>
                      <a:pt x="340" y="164"/>
                      <a:pt x="342" y="169"/>
                    </a:cubicBezTo>
                    <a:cubicBezTo>
                      <a:pt x="353" y="182"/>
                      <a:pt x="337" y="174"/>
                      <a:pt x="332" y="179"/>
                    </a:cubicBezTo>
                    <a:cubicBezTo>
                      <a:pt x="329" y="182"/>
                      <a:pt x="335" y="187"/>
                      <a:pt x="337" y="190"/>
                    </a:cubicBezTo>
                    <a:cubicBezTo>
                      <a:pt x="340" y="210"/>
                      <a:pt x="358" y="200"/>
                      <a:pt x="371" y="203"/>
                    </a:cubicBezTo>
                    <a:cubicBezTo>
                      <a:pt x="381" y="205"/>
                      <a:pt x="386" y="213"/>
                      <a:pt x="392" y="223"/>
                    </a:cubicBezTo>
                    <a:cubicBezTo>
                      <a:pt x="397" y="234"/>
                      <a:pt x="412" y="265"/>
                      <a:pt x="428" y="262"/>
                    </a:cubicBezTo>
                    <a:cubicBezTo>
                      <a:pt x="405" y="265"/>
                      <a:pt x="392" y="242"/>
                      <a:pt x="384" y="221"/>
                    </a:cubicBezTo>
                    <a:cubicBezTo>
                      <a:pt x="376" y="192"/>
                      <a:pt x="350" y="221"/>
                      <a:pt x="332" y="213"/>
                    </a:cubicBezTo>
                    <a:cubicBezTo>
                      <a:pt x="309" y="203"/>
                      <a:pt x="314" y="200"/>
                      <a:pt x="298" y="226"/>
                    </a:cubicBezTo>
                    <a:cubicBezTo>
                      <a:pt x="291" y="242"/>
                      <a:pt x="311" y="255"/>
                      <a:pt x="306" y="262"/>
                    </a:cubicBezTo>
                    <a:cubicBezTo>
                      <a:pt x="306" y="265"/>
                      <a:pt x="293" y="286"/>
                      <a:pt x="296" y="286"/>
                    </a:cubicBezTo>
                    <a:cubicBezTo>
                      <a:pt x="291" y="286"/>
                      <a:pt x="296" y="268"/>
                      <a:pt x="296" y="268"/>
                    </a:cubicBezTo>
                    <a:cubicBezTo>
                      <a:pt x="298" y="257"/>
                      <a:pt x="296" y="260"/>
                      <a:pt x="285" y="257"/>
                    </a:cubicBezTo>
                    <a:cubicBezTo>
                      <a:pt x="280" y="255"/>
                      <a:pt x="278" y="239"/>
                      <a:pt x="272" y="255"/>
                    </a:cubicBezTo>
                    <a:cubicBezTo>
                      <a:pt x="267" y="265"/>
                      <a:pt x="272" y="262"/>
                      <a:pt x="278" y="262"/>
                    </a:cubicBezTo>
                    <a:cubicBezTo>
                      <a:pt x="280" y="262"/>
                      <a:pt x="275" y="281"/>
                      <a:pt x="275" y="281"/>
                    </a:cubicBezTo>
                    <a:cubicBezTo>
                      <a:pt x="270" y="291"/>
                      <a:pt x="265" y="275"/>
                      <a:pt x="257" y="273"/>
                    </a:cubicBezTo>
                    <a:cubicBezTo>
                      <a:pt x="254" y="273"/>
                      <a:pt x="244" y="270"/>
                      <a:pt x="257" y="265"/>
                    </a:cubicBezTo>
                    <a:cubicBezTo>
                      <a:pt x="272" y="257"/>
                      <a:pt x="247" y="229"/>
                      <a:pt x="239" y="229"/>
                    </a:cubicBezTo>
                    <a:cubicBezTo>
                      <a:pt x="226" y="226"/>
                      <a:pt x="210" y="234"/>
                      <a:pt x="197" y="234"/>
                    </a:cubicBezTo>
                    <a:cubicBezTo>
                      <a:pt x="192" y="234"/>
                      <a:pt x="184" y="231"/>
                      <a:pt x="174" y="231"/>
                    </a:cubicBezTo>
                    <a:cubicBezTo>
                      <a:pt x="164" y="231"/>
                      <a:pt x="151" y="249"/>
                      <a:pt x="156" y="257"/>
                    </a:cubicBezTo>
                    <a:cubicBezTo>
                      <a:pt x="153" y="257"/>
                      <a:pt x="156" y="260"/>
                      <a:pt x="153" y="262"/>
                    </a:cubicBezTo>
                    <a:cubicBezTo>
                      <a:pt x="148" y="257"/>
                      <a:pt x="151" y="260"/>
                      <a:pt x="146" y="257"/>
                    </a:cubicBezTo>
                    <a:cubicBezTo>
                      <a:pt x="148" y="268"/>
                      <a:pt x="146" y="281"/>
                      <a:pt x="143" y="291"/>
                    </a:cubicBezTo>
                    <a:cubicBezTo>
                      <a:pt x="169" y="294"/>
                      <a:pt x="161" y="296"/>
                      <a:pt x="164" y="314"/>
                    </a:cubicBezTo>
                    <a:cubicBezTo>
                      <a:pt x="164" y="322"/>
                      <a:pt x="158" y="335"/>
                      <a:pt x="158" y="343"/>
                    </a:cubicBezTo>
                    <a:cubicBezTo>
                      <a:pt x="161" y="353"/>
                      <a:pt x="153" y="366"/>
                      <a:pt x="148" y="374"/>
                    </a:cubicBezTo>
                    <a:cubicBezTo>
                      <a:pt x="140" y="384"/>
                      <a:pt x="148" y="405"/>
                      <a:pt x="135" y="410"/>
                    </a:cubicBezTo>
                    <a:cubicBezTo>
                      <a:pt x="127" y="413"/>
                      <a:pt x="96" y="395"/>
                      <a:pt x="109" y="418"/>
                    </a:cubicBezTo>
                    <a:cubicBezTo>
                      <a:pt x="86" y="429"/>
                      <a:pt x="122" y="455"/>
                      <a:pt x="130" y="436"/>
                    </a:cubicBezTo>
                    <a:cubicBezTo>
                      <a:pt x="146" y="452"/>
                      <a:pt x="127" y="467"/>
                      <a:pt x="140" y="475"/>
                    </a:cubicBezTo>
                    <a:cubicBezTo>
                      <a:pt x="135" y="478"/>
                      <a:pt x="117" y="496"/>
                      <a:pt x="117" y="496"/>
                    </a:cubicBezTo>
                    <a:cubicBezTo>
                      <a:pt x="107" y="496"/>
                      <a:pt x="102" y="501"/>
                      <a:pt x="96" y="509"/>
                    </a:cubicBezTo>
                    <a:cubicBezTo>
                      <a:pt x="117" y="509"/>
                      <a:pt x="107" y="535"/>
                      <a:pt x="102" y="532"/>
                    </a:cubicBezTo>
                    <a:cubicBezTo>
                      <a:pt x="89" y="522"/>
                      <a:pt x="78" y="540"/>
                      <a:pt x="68" y="538"/>
                    </a:cubicBezTo>
                    <a:cubicBezTo>
                      <a:pt x="68" y="543"/>
                      <a:pt x="68" y="543"/>
                      <a:pt x="68" y="543"/>
                    </a:cubicBezTo>
                    <a:cubicBezTo>
                      <a:pt x="60" y="538"/>
                      <a:pt x="45" y="532"/>
                      <a:pt x="34" y="532"/>
                    </a:cubicBezTo>
                    <a:cubicBezTo>
                      <a:pt x="37" y="535"/>
                      <a:pt x="37" y="540"/>
                      <a:pt x="39" y="543"/>
                    </a:cubicBezTo>
                    <a:cubicBezTo>
                      <a:pt x="32" y="538"/>
                      <a:pt x="26" y="540"/>
                      <a:pt x="19" y="540"/>
                    </a:cubicBezTo>
                    <a:cubicBezTo>
                      <a:pt x="19" y="540"/>
                      <a:pt x="26" y="566"/>
                      <a:pt x="26" y="561"/>
                    </a:cubicBezTo>
                    <a:cubicBezTo>
                      <a:pt x="26" y="571"/>
                      <a:pt x="32" y="582"/>
                      <a:pt x="37" y="590"/>
                    </a:cubicBezTo>
                    <a:cubicBezTo>
                      <a:pt x="42" y="597"/>
                      <a:pt x="42" y="610"/>
                      <a:pt x="42" y="621"/>
                    </a:cubicBezTo>
                    <a:cubicBezTo>
                      <a:pt x="42" y="634"/>
                      <a:pt x="21" y="636"/>
                      <a:pt x="26" y="657"/>
                    </a:cubicBezTo>
                    <a:cubicBezTo>
                      <a:pt x="34" y="655"/>
                      <a:pt x="34" y="655"/>
                      <a:pt x="34" y="655"/>
                    </a:cubicBezTo>
                    <a:cubicBezTo>
                      <a:pt x="32" y="667"/>
                      <a:pt x="16" y="665"/>
                      <a:pt x="13" y="678"/>
                    </a:cubicBezTo>
                    <a:cubicBezTo>
                      <a:pt x="11" y="675"/>
                      <a:pt x="11" y="673"/>
                      <a:pt x="8" y="670"/>
                    </a:cubicBezTo>
                    <a:cubicBezTo>
                      <a:pt x="0" y="673"/>
                      <a:pt x="0" y="680"/>
                      <a:pt x="3" y="686"/>
                    </a:cubicBezTo>
                    <a:cubicBezTo>
                      <a:pt x="21" y="680"/>
                      <a:pt x="21" y="699"/>
                      <a:pt x="24" y="709"/>
                    </a:cubicBezTo>
                    <a:cubicBezTo>
                      <a:pt x="19" y="709"/>
                      <a:pt x="16" y="712"/>
                      <a:pt x="11" y="717"/>
                    </a:cubicBezTo>
                    <a:cubicBezTo>
                      <a:pt x="13" y="727"/>
                      <a:pt x="29" y="748"/>
                      <a:pt x="39" y="751"/>
                    </a:cubicBezTo>
                    <a:cubicBezTo>
                      <a:pt x="37" y="753"/>
                      <a:pt x="29" y="758"/>
                      <a:pt x="29" y="761"/>
                    </a:cubicBezTo>
                    <a:cubicBezTo>
                      <a:pt x="29" y="777"/>
                      <a:pt x="39" y="766"/>
                      <a:pt x="45" y="774"/>
                    </a:cubicBezTo>
                    <a:cubicBezTo>
                      <a:pt x="47" y="777"/>
                      <a:pt x="55" y="797"/>
                      <a:pt x="52" y="802"/>
                    </a:cubicBezTo>
                    <a:cubicBezTo>
                      <a:pt x="47" y="805"/>
                      <a:pt x="34" y="808"/>
                      <a:pt x="29" y="815"/>
                    </a:cubicBezTo>
                    <a:cubicBezTo>
                      <a:pt x="24" y="821"/>
                      <a:pt x="21" y="834"/>
                      <a:pt x="21" y="841"/>
                    </a:cubicBezTo>
                    <a:cubicBezTo>
                      <a:pt x="21" y="860"/>
                      <a:pt x="32" y="886"/>
                      <a:pt x="45" y="883"/>
                    </a:cubicBezTo>
                    <a:cubicBezTo>
                      <a:pt x="47" y="896"/>
                      <a:pt x="63" y="886"/>
                      <a:pt x="60" y="906"/>
                    </a:cubicBezTo>
                    <a:cubicBezTo>
                      <a:pt x="57" y="909"/>
                      <a:pt x="45" y="922"/>
                      <a:pt x="42" y="925"/>
                    </a:cubicBezTo>
                    <a:cubicBezTo>
                      <a:pt x="37" y="927"/>
                      <a:pt x="39" y="935"/>
                      <a:pt x="39" y="940"/>
                    </a:cubicBezTo>
                    <a:cubicBezTo>
                      <a:pt x="37" y="953"/>
                      <a:pt x="47" y="945"/>
                      <a:pt x="60" y="956"/>
                    </a:cubicBezTo>
                    <a:cubicBezTo>
                      <a:pt x="63" y="958"/>
                      <a:pt x="63" y="966"/>
                      <a:pt x="57" y="969"/>
                    </a:cubicBezTo>
                    <a:cubicBezTo>
                      <a:pt x="60" y="966"/>
                      <a:pt x="76" y="995"/>
                      <a:pt x="76" y="992"/>
                    </a:cubicBezTo>
                    <a:cubicBezTo>
                      <a:pt x="78" y="997"/>
                      <a:pt x="73" y="1000"/>
                      <a:pt x="81" y="1002"/>
                    </a:cubicBezTo>
                    <a:cubicBezTo>
                      <a:pt x="89" y="1002"/>
                      <a:pt x="94" y="1002"/>
                      <a:pt x="89" y="995"/>
                    </a:cubicBezTo>
                    <a:cubicBezTo>
                      <a:pt x="96" y="995"/>
                      <a:pt x="109" y="997"/>
                      <a:pt x="109" y="1002"/>
                    </a:cubicBezTo>
                    <a:cubicBezTo>
                      <a:pt x="112" y="1021"/>
                      <a:pt x="114" y="1005"/>
                      <a:pt x="120" y="1005"/>
                    </a:cubicBezTo>
                    <a:cubicBezTo>
                      <a:pt x="120" y="1005"/>
                      <a:pt x="135" y="1013"/>
                      <a:pt x="140" y="1013"/>
                    </a:cubicBezTo>
                    <a:cubicBezTo>
                      <a:pt x="143" y="1013"/>
                      <a:pt x="143" y="1010"/>
                      <a:pt x="151" y="1008"/>
                    </a:cubicBezTo>
                    <a:cubicBezTo>
                      <a:pt x="151" y="1008"/>
                      <a:pt x="146" y="1005"/>
                      <a:pt x="153" y="1005"/>
                    </a:cubicBezTo>
                    <a:cubicBezTo>
                      <a:pt x="156" y="1005"/>
                      <a:pt x="158" y="1008"/>
                      <a:pt x="161" y="1008"/>
                    </a:cubicBezTo>
                    <a:cubicBezTo>
                      <a:pt x="156" y="1008"/>
                      <a:pt x="166" y="1021"/>
                      <a:pt x="169" y="1021"/>
                    </a:cubicBezTo>
                    <a:cubicBezTo>
                      <a:pt x="174" y="1023"/>
                      <a:pt x="200" y="1036"/>
                      <a:pt x="202" y="1031"/>
                    </a:cubicBezTo>
                    <a:cubicBezTo>
                      <a:pt x="210" y="1023"/>
                      <a:pt x="234" y="1041"/>
                      <a:pt x="241" y="1044"/>
                    </a:cubicBezTo>
                    <a:cubicBezTo>
                      <a:pt x="231" y="1049"/>
                      <a:pt x="234" y="1065"/>
                      <a:pt x="228" y="1073"/>
                    </a:cubicBezTo>
                    <a:cubicBezTo>
                      <a:pt x="223" y="1078"/>
                      <a:pt x="210" y="1075"/>
                      <a:pt x="208" y="1086"/>
                    </a:cubicBezTo>
                    <a:cubicBezTo>
                      <a:pt x="195" y="1104"/>
                      <a:pt x="195" y="1104"/>
                      <a:pt x="195" y="1104"/>
                    </a:cubicBezTo>
                    <a:cubicBezTo>
                      <a:pt x="182" y="1143"/>
                      <a:pt x="182" y="1143"/>
                      <a:pt x="182" y="1143"/>
                    </a:cubicBezTo>
                    <a:cubicBezTo>
                      <a:pt x="184" y="1150"/>
                      <a:pt x="179" y="1161"/>
                      <a:pt x="171" y="1169"/>
                    </a:cubicBezTo>
                    <a:cubicBezTo>
                      <a:pt x="166" y="1176"/>
                      <a:pt x="166" y="1208"/>
                      <a:pt x="164" y="1213"/>
                    </a:cubicBezTo>
                    <a:cubicBezTo>
                      <a:pt x="156" y="1234"/>
                      <a:pt x="151" y="1262"/>
                      <a:pt x="161" y="1278"/>
                    </a:cubicBezTo>
                    <a:cubicBezTo>
                      <a:pt x="164" y="1278"/>
                      <a:pt x="169" y="1280"/>
                      <a:pt x="171" y="1280"/>
                    </a:cubicBezTo>
                    <a:cubicBezTo>
                      <a:pt x="169" y="1280"/>
                      <a:pt x="166" y="1280"/>
                      <a:pt x="166" y="1283"/>
                    </a:cubicBezTo>
                    <a:cubicBezTo>
                      <a:pt x="174" y="1291"/>
                      <a:pt x="187" y="1275"/>
                      <a:pt x="213" y="1285"/>
                    </a:cubicBezTo>
                    <a:cubicBezTo>
                      <a:pt x="223" y="1291"/>
                      <a:pt x="228" y="1275"/>
                      <a:pt x="241" y="1278"/>
                    </a:cubicBezTo>
                    <a:cubicBezTo>
                      <a:pt x="249" y="1278"/>
                      <a:pt x="252" y="1288"/>
                      <a:pt x="267" y="1283"/>
                    </a:cubicBezTo>
                    <a:cubicBezTo>
                      <a:pt x="267" y="1275"/>
                      <a:pt x="272" y="1273"/>
                      <a:pt x="275" y="1280"/>
                    </a:cubicBezTo>
                    <a:cubicBezTo>
                      <a:pt x="293" y="1267"/>
                      <a:pt x="270" y="1273"/>
                      <a:pt x="267" y="1270"/>
                    </a:cubicBezTo>
                    <a:cubicBezTo>
                      <a:pt x="262" y="1267"/>
                      <a:pt x="257" y="1273"/>
                      <a:pt x="257" y="1265"/>
                    </a:cubicBezTo>
                    <a:cubicBezTo>
                      <a:pt x="254" y="1254"/>
                      <a:pt x="270" y="1249"/>
                      <a:pt x="275" y="1247"/>
                    </a:cubicBezTo>
                    <a:cubicBezTo>
                      <a:pt x="275" y="1247"/>
                      <a:pt x="280" y="1244"/>
                      <a:pt x="283" y="1249"/>
                    </a:cubicBezTo>
                    <a:cubicBezTo>
                      <a:pt x="291" y="1244"/>
                      <a:pt x="293" y="1257"/>
                      <a:pt x="298" y="1267"/>
                    </a:cubicBezTo>
                    <a:cubicBezTo>
                      <a:pt x="301" y="1265"/>
                      <a:pt x="301" y="1257"/>
                      <a:pt x="301" y="1254"/>
                    </a:cubicBezTo>
                    <a:cubicBezTo>
                      <a:pt x="306" y="1262"/>
                      <a:pt x="309" y="1270"/>
                      <a:pt x="314" y="1273"/>
                    </a:cubicBezTo>
                    <a:cubicBezTo>
                      <a:pt x="316" y="1273"/>
                      <a:pt x="327" y="1265"/>
                      <a:pt x="335" y="1267"/>
                    </a:cubicBezTo>
                    <a:cubicBezTo>
                      <a:pt x="342" y="1270"/>
                      <a:pt x="353" y="1273"/>
                      <a:pt x="360" y="1275"/>
                    </a:cubicBezTo>
                    <a:cubicBezTo>
                      <a:pt x="379" y="1280"/>
                      <a:pt x="381" y="1291"/>
                      <a:pt x="402" y="1293"/>
                    </a:cubicBezTo>
                    <a:cubicBezTo>
                      <a:pt x="412" y="1293"/>
                      <a:pt x="407" y="1280"/>
                      <a:pt x="417" y="1285"/>
                    </a:cubicBezTo>
                    <a:cubicBezTo>
                      <a:pt x="420" y="1285"/>
                      <a:pt x="433" y="1296"/>
                      <a:pt x="441" y="1304"/>
                    </a:cubicBezTo>
                    <a:cubicBezTo>
                      <a:pt x="449" y="1311"/>
                      <a:pt x="446" y="1311"/>
                      <a:pt x="451" y="1324"/>
                    </a:cubicBezTo>
                    <a:cubicBezTo>
                      <a:pt x="451" y="1322"/>
                      <a:pt x="459" y="1317"/>
                      <a:pt x="461" y="1319"/>
                    </a:cubicBezTo>
                    <a:cubicBezTo>
                      <a:pt x="469" y="1322"/>
                      <a:pt x="459" y="1335"/>
                      <a:pt x="459" y="1337"/>
                    </a:cubicBezTo>
                    <a:cubicBezTo>
                      <a:pt x="469" y="1335"/>
                      <a:pt x="493" y="1324"/>
                      <a:pt x="495" y="1311"/>
                    </a:cubicBezTo>
                    <a:cubicBezTo>
                      <a:pt x="495" y="1299"/>
                      <a:pt x="485" y="1291"/>
                      <a:pt x="495" y="1286"/>
                    </a:cubicBezTo>
                    <a:cubicBezTo>
                      <a:pt x="493" y="1288"/>
                      <a:pt x="498" y="1303"/>
                      <a:pt x="503" y="1291"/>
                    </a:cubicBezTo>
                    <a:cubicBezTo>
                      <a:pt x="508" y="1285"/>
                      <a:pt x="542" y="1293"/>
                      <a:pt x="539" y="1293"/>
                    </a:cubicBezTo>
                    <a:cubicBezTo>
                      <a:pt x="544" y="1296"/>
                      <a:pt x="542" y="1298"/>
                      <a:pt x="539" y="1304"/>
                    </a:cubicBezTo>
                    <a:cubicBezTo>
                      <a:pt x="544" y="1306"/>
                      <a:pt x="550" y="1311"/>
                      <a:pt x="550" y="1319"/>
                    </a:cubicBezTo>
                    <a:cubicBezTo>
                      <a:pt x="563" y="1319"/>
                      <a:pt x="573" y="1317"/>
                      <a:pt x="581" y="1311"/>
                    </a:cubicBezTo>
                    <a:cubicBezTo>
                      <a:pt x="578" y="1319"/>
                      <a:pt x="578" y="1319"/>
                      <a:pt x="578" y="1319"/>
                    </a:cubicBezTo>
                    <a:cubicBezTo>
                      <a:pt x="588" y="1317"/>
                      <a:pt x="591" y="1306"/>
                      <a:pt x="604" y="1311"/>
                    </a:cubicBezTo>
                    <a:cubicBezTo>
                      <a:pt x="604" y="1309"/>
                      <a:pt x="599" y="1306"/>
                      <a:pt x="599" y="1306"/>
                    </a:cubicBezTo>
                    <a:cubicBezTo>
                      <a:pt x="604" y="1298"/>
                      <a:pt x="619" y="1288"/>
                      <a:pt x="625" y="1285"/>
                    </a:cubicBezTo>
                    <a:cubicBezTo>
                      <a:pt x="635" y="1283"/>
                      <a:pt x="648" y="1283"/>
                      <a:pt x="656" y="1280"/>
                    </a:cubicBezTo>
                    <a:cubicBezTo>
                      <a:pt x="661" y="1280"/>
                      <a:pt x="689" y="1283"/>
                      <a:pt x="692" y="1280"/>
                    </a:cubicBezTo>
                    <a:cubicBezTo>
                      <a:pt x="700" y="1273"/>
                      <a:pt x="679" y="1267"/>
                      <a:pt x="697" y="1254"/>
                    </a:cubicBezTo>
                    <a:cubicBezTo>
                      <a:pt x="697" y="1270"/>
                      <a:pt x="697" y="1270"/>
                      <a:pt x="697" y="1270"/>
                    </a:cubicBezTo>
                    <a:cubicBezTo>
                      <a:pt x="710" y="1265"/>
                      <a:pt x="718" y="1270"/>
                      <a:pt x="731" y="1278"/>
                    </a:cubicBezTo>
                    <a:cubicBezTo>
                      <a:pt x="741" y="1285"/>
                      <a:pt x="744" y="1257"/>
                      <a:pt x="762" y="1267"/>
                    </a:cubicBezTo>
                    <a:cubicBezTo>
                      <a:pt x="759" y="1270"/>
                      <a:pt x="757" y="1285"/>
                      <a:pt x="759" y="1288"/>
                    </a:cubicBezTo>
                    <a:cubicBezTo>
                      <a:pt x="762" y="1293"/>
                      <a:pt x="785" y="1304"/>
                      <a:pt x="790" y="1298"/>
                    </a:cubicBezTo>
                    <a:cubicBezTo>
                      <a:pt x="793" y="1293"/>
                      <a:pt x="796" y="1273"/>
                      <a:pt x="796" y="1270"/>
                    </a:cubicBezTo>
                    <a:cubicBezTo>
                      <a:pt x="790" y="1262"/>
                      <a:pt x="788" y="1257"/>
                      <a:pt x="775" y="1262"/>
                    </a:cubicBezTo>
                    <a:cubicBezTo>
                      <a:pt x="777" y="1244"/>
                      <a:pt x="790" y="1241"/>
                      <a:pt x="780" y="1226"/>
                    </a:cubicBezTo>
                    <a:cubicBezTo>
                      <a:pt x="775" y="1215"/>
                      <a:pt x="767" y="1215"/>
                      <a:pt x="765" y="1208"/>
                    </a:cubicBezTo>
                    <a:cubicBezTo>
                      <a:pt x="762" y="1202"/>
                      <a:pt x="746" y="1195"/>
                      <a:pt x="757" y="1189"/>
                    </a:cubicBezTo>
                    <a:cubicBezTo>
                      <a:pt x="767" y="1187"/>
                      <a:pt x="780" y="1166"/>
                      <a:pt x="785" y="1163"/>
                    </a:cubicBezTo>
                    <a:cubicBezTo>
                      <a:pt x="793" y="1161"/>
                      <a:pt x="801" y="1158"/>
                      <a:pt x="809" y="1158"/>
                    </a:cubicBezTo>
                    <a:cubicBezTo>
                      <a:pt x="827" y="1158"/>
                      <a:pt x="834" y="1125"/>
                      <a:pt x="829" y="1114"/>
                    </a:cubicBezTo>
                    <a:cubicBezTo>
                      <a:pt x="840" y="1109"/>
                      <a:pt x="847" y="1109"/>
                      <a:pt x="863" y="1119"/>
                    </a:cubicBezTo>
                    <a:cubicBezTo>
                      <a:pt x="868" y="1112"/>
                      <a:pt x="873" y="1099"/>
                      <a:pt x="873" y="1086"/>
                    </a:cubicBezTo>
                    <a:cubicBezTo>
                      <a:pt x="871" y="1070"/>
                      <a:pt x="858" y="1060"/>
                      <a:pt x="850" y="1047"/>
                    </a:cubicBezTo>
                    <a:cubicBezTo>
                      <a:pt x="842" y="1034"/>
                      <a:pt x="827" y="1052"/>
                      <a:pt x="824" y="1031"/>
                    </a:cubicBezTo>
                    <a:cubicBezTo>
                      <a:pt x="824" y="1021"/>
                      <a:pt x="809" y="1018"/>
                      <a:pt x="801" y="1018"/>
                    </a:cubicBezTo>
                    <a:cubicBezTo>
                      <a:pt x="798" y="1018"/>
                      <a:pt x="775" y="984"/>
                      <a:pt x="757" y="982"/>
                    </a:cubicBezTo>
                    <a:cubicBezTo>
                      <a:pt x="746" y="979"/>
                      <a:pt x="733" y="956"/>
                      <a:pt x="731" y="948"/>
                    </a:cubicBezTo>
                    <a:cubicBezTo>
                      <a:pt x="726" y="940"/>
                      <a:pt x="726" y="930"/>
                      <a:pt x="720" y="922"/>
                    </a:cubicBezTo>
                    <a:cubicBezTo>
                      <a:pt x="718" y="919"/>
                      <a:pt x="708" y="919"/>
                      <a:pt x="708" y="909"/>
                    </a:cubicBezTo>
                    <a:cubicBezTo>
                      <a:pt x="715" y="899"/>
                      <a:pt x="715" y="899"/>
                      <a:pt x="715" y="899"/>
                    </a:cubicBezTo>
                    <a:cubicBezTo>
                      <a:pt x="718" y="899"/>
                      <a:pt x="720" y="886"/>
                      <a:pt x="720" y="880"/>
                    </a:cubicBezTo>
                    <a:cubicBezTo>
                      <a:pt x="718" y="880"/>
                      <a:pt x="715" y="878"/>
                      <a:pt x="713" y="878"/>
                    </a:cubicBezTo>
                    <a:cubicBezTo>
                      <a:pt x="718" y="867"/>
                      <a:pt x="695" y="862"/>
                      <a:pt x="689" y="854"/>
                    </a:cubicBezTo>
                    <a:cubicBezTo>
                      <a:pt x="682" y="844"/>
                      <a:pt x="671" y="828"/>
                      <a:pt x="671" y="815"/>
                    </a:cubicBezTo>
                    <a:cubicBezTo>
                      <a:pt x="676" y="815"/>
                      <a:pt x="676" y="815"/>
                      <a:pt x="676" y="815"/>
                    </a:cubicBezTo>
                    <a:cubicBezTo>
                      <a:pt x="679" y="821"/>
                      <a:pt x="695" y="841"/>
                      <a:pt x="697" y="841"/>
                    </a:cubicBezTo>
                    <a:cubicBezTo>
                      <a:pt x="700" y="839"/>
                      <a:pt x="708" y="815"/>
                      <a:pt x="713" y="808"/>
                    </a:cubicBezTo>
                    <a:cubicBezTo>
                      <a:pt x="718" y="805"/>
                      <a:pt x="720" y="792"/>
                      <a:pt x="736" y="800"/>
                    </a:cubicBezTo>
                    <a:cubicBezTo>
                      <a:pt x="736" y="800"/>
                      <a:pt x="746" y="795"/>
                      <a:pt x="749" y="795"/>
                    </a:cubicBezTo>
                    <a:cubicBezTo>
                      <a:pt x="757" y="790"/>
                      <a:pt x="775" y="805"/>
                      <a:pt x="777" y="782"/>
                    </a:cubicBezTo>
                    <a:cubicBezTo>
                      <a:pt x="783" y="784"/>
                      <a:pt x="788" y="782"/>
                      <a:pt x="793" y="777"/>
                    </a:cubicBezTo>
                    <a:cubicBezTo>
                      <a:pt x="801" y="764"/>
                      <a:pt x="809" y="758"/>
                      <a:pt x="809" y="758"/>
                    </a:cubicBezTo>
                    <a:cubicBezTo>
                      <a:pt x="821" y="771"/>
                      <a:pt x="827" y="745"/>
                      <a:pt x="837" y="740"/>
                    </a:cubicBezTo>
                    <a:cubicBezTo>
                      <a:pt x="842" y="738"/>
                      <a:pt x="863" y="727"/>
                      <a:pt x="871" y="727"/>
                    </a:cubicBezTo>
                    <a:cubicBezTo>
                      <a:pt x="878" y="727"/>
                      <a:pt x="889" y="717"/>
                      <a:pt x="902" y="712"/>
                    </a:cubicBezTo>
                    <a:cubicBezTo>
                      <a:pt x="910" y="706"/>
                      <a:pt x="917" y="712"/>
                      <a:pt x="917" y="701"/>
                    </a:cubicBezTo>
                    <a:cubicBezTo>
                      <a:pt x="917" y="699"/>
                      <a:pt x="904" y="693"/>
                      <a:pt x="902" y="693"/>
                    </a:cubicBezTo>
                    <a:cubicBezTo>
                      <a:pt x="902" y="691"/>
                      <a:pt x="904" y="683"/>
                      <a:pt x="907" y="680"/>
                    </a:cubicBezTo>
                    <a:cubicBezTo>
                      <a:pt x="915" y="686"/>
                      <a:pt x="948" y="683"/>
                      <a:pt x="933" y="704"/>
                    </a:cubicBezTo>
                    <a:cubicBezTo>
                      <a:pt x="935" y="704"/>
                      <a:pt x="943" y="704"/>
                      <a:pt x="946" y="701"/>
                    </a:cubicBezTo>
                    <a:cubicBezTo>
                      <a:pt x="933" y="717"/>
                      <a:pt x="948" y="712"/>
                      <a:pt x="956" y="717"/>
                    </a:cubicBezTo>
                    <a:cubicBezTo>
                      <a:pt x="964" y="722"/>
                      <a:pt x="964" y="706"/>
                      <a:pt x="967" y="704"/>
                    </a:cubicBezTo>
                    <a:cubicBezTo>
                      <a:pt x="974" y="699"/>
                      <a:pt x="979" y="670"/>
                      <a:pt x="979" y="660"/>
                    </a:cubicBezTo>
                    <a:cubicBezTo>
                      <a:pt x="987" y="642"/>
                      <a:pt x="972" y="634"/>
                      <a:pt x="972" y="618"/>
                    </a:cubicBezTo>
                    <a:close/>
                    <a:moveTo>
                      <a:pt x="322" y="174"/>
                    </a:moveTo>
                    <a:cubicBezTo>
                      <a:pt x="322" y="169"/>
                      <a:pt x="322" y="169"/>
                      <a:pt x="322" y="169"/>
                    </a:cubicBezTo>
                    <a:cubicBezTo>
                      <a:pt x="322" y="169"/>
                      <a:pt x="319" y="166"/>
                      <a:pt x="319" y="171"/>
                    </a:cubicBezTo>
                    <a:cubicBezTo>
                      <a:pt x="319" y="177"/>
                      <a:pt x="322" y="174"/>
                      <a:pt x="322" y="174"/>
                    </a:cubicBezTo>
                    <a:close/>
                    <a:moveTo>
                      <a:pt x="138" y="234"/>
                    </a:moveTo>
                    <a:cubicBezTo>
                      <a:pt x="135" y="231"/>
                      <a:pt x="130" y="234"/>
                      <a:pt x="135" y="239"/>
                    </a:cubicBezTo>
                    <a:cubicBezTo>
                      <a:pt x="138" y="242"/>
                      <a:pt x="138" y="234"/>
                      <a:pt x="138" y="234"/>
                    </a:cubicBezTo>
                    <a:close/>
                    <a:moveTo>
                      <a:pt x="329" y="86"/>
                    </a:moveTo>
                    <a:cubicBezTo>
                      <a:pt x="329" y="88"/>
                      <a:pt x="324" y="86"/>
                      <a:pt x="329" y="88"/>
                    </a:cubicBezTo>
                    <a:cubicBezTo>
                      <a:pt x="335" y="88"/>
                      <a:pt x="335" y="88"/>
                      <a:pt x="329" y="86"/>
                    </a:cubicBezTo>
                    <a:close/>
                    <a:moveTo>
                      <a:pt x="247" y="218"/>
                    </a:moveTo>
                    <a:cubicBezTo>
                      <a:pt x="252" y="213"/>
                      <a:pt x="228" y="216"/>
                      <a:pt x="239" y="216"/>
                    </a:cubicBezTo>
                    <a:cubicBezTo>
                      <a:pt x="241" y="218"/>
                      <a:pt x="244" y="218"/>
                      <a:pt x="247" y="218"/>
                    </a:cubicBezTo>
                    <a:close/>
                    <a:moveTo>
                      <a:pt x="244" y="148"/>
                    </a:moveTo>
                    <a:cubicBezTo>
                      <a:pt x="247" y="148"/>
                      <a:pt x="247" y="145"/>
                      <a:pt x="244" y="145"/>
                    </a:cubicBezTo>
                    <a:cubicBezTo>
                      <a:pt x="244" y="145"/>
                      <a:pt x="241" y="148"/>
                      <a:pt x="244" y="148"/>
                    </a:cubicBezTo>
                    <a:close/>
                    <a:moveTo>
                      <a:pt x="288" y="78"/>
                    </a:moveTo>
                    <a:cubicBezTo>
                      <a:pt x="288" y="75"/>
                      <a:pt x="283" y="57"/>
                      <a:pt x="285" y="57"/>
                    </a:cubicBezTo>
                    <a:cubicBezTo>
                      <a:pt x="283" y="57"/>
                      <a:pt x="280" y="65"/>
                      <a:pt x="278" y="68"/>
                    </a:cubicBezTo>
                    <a:cubicBezTo>
                      <a:pt x="278" y="68"/>
                      <a:pt x="285" y="83"/>
                      <a:pt x="288" y="78"/>
                    </a:cubicBezTo>
                    <a:close/>
                    <a:moveTo>
                      <a:pt x="288" y="213"/>
                    </a:moveTo>
                    <a:cubicBezTo>
                      <a:pt x="291" y="210"/>
                      <a:pt x="288" y="208"/>
                      <a:pt x="288" y="208"/>
                    </a:cubicBezTo>
                    <a:cubicBezTo>
                      <a:pt x="283" y="208"/>
                      <a:pt x="283" y="213"/>
                      <a:pt x="288" y="213"/>
                    </a:cubicBezTo>
                    <a:close/>
                    <a:moveTo>
                      <a:pt x="280" y="55"/>
                    </a:moveTo>
                    <a:cubicBezTo>
                      <a:pt x="280" y="52"/>
                      <a:pt x="280" y="52"/>
                      <a:pt x="280" y="52"/>
                    </a:cubicBezTo>
                    <a:cubicBezTo>
                      <a:pt x="280" y="49"/>
                      <a:pt x="280" y="49"/>
                      <a:pt x="280" y="49"/>
                    </a:cubicBezTo>
                    <a:cubicBezTo>
                      <a:pt x="280" y="42"/>
                      <a:pt x="280" y="42"/>
                      <a:pt x="280" y="42"/>
                    </a:cubicBezTo>
                    <a:cubicBezTo>
                      <a:pt x="280" y="42"/>
                      <a:pt x="280" y="36"/>
                      <a:pt x="283" y="36"/>
                    </a:cubicBezTo>
                    <a:cubicBezTo>
                      <a:pt x="283" y="31"/>
                      <a:pt x="283" y="31"/>
                      <a:pt x="283" y="31"/>
                    </a:cubicBezTo>
                    <a:cubicBezTo>
                      <a:pt x="285" y="31"/>
                      <a:pt x="285" y="29"/>
                      <a:pt x="285" y="29"/>
                    </a:cubicBezTo>
                    <a:cubicBezTo>
                      <a:pt x="285" y="31"/>
                      <a:pt x="285" y="36"/>
                      <a:pt x="288" y="36"/>
                    </a:cubicBezTo>
                    <a:cubicBezTo>
                      <a:pt x="291" y="36"/>
                      <a:pt x="296" y="36"/>
                      <a:pt x="298" y="31"/>
                    </a:cubicBezTo>
                    <a:cubicBezTo>
                      <a:pt x="298" y="29"/>
                      <a:pt x="293" y="29"/>
                      <a:pt x="291" y="26"/>
                    </a:cubicBezTo>
                    <a:cubicBezTo>
                      <a:pt x="288" y="26"/>
                      <a:pt x="288" y="21"/>
                      <a:pt x="288" y="21"/>
                    </a:cubicBezTo>
                    <a:cubicBezTo>
                      <a:pt x="288" y="16"/>
                      <a:pt x="288" y="16"/>
                      <a:pt x="288" y="16"/>
                    </a:cubicBezTo>
                    <a:cubicBezTo>
                      <a:pt x="288" y="16"/>
                      <a:pt x="288" y="13"/>
                      <a:pt x="291" y="10"/>
                    </a:cubicBezTo>
                    <a:cubicBezTo>
                      <a:pt x="291" y="10"/>
                      <a:pt x="293" y="8"/>
                      <a:pt x="296" y="8"/>
                    </a:cubicBezTo>
                    <a:cubicBezTo>
                      <a:pt x="296" y="5"/>
                      <a:pt x="293" y="3"/>
                      <a:pt x="293" y="3"/>
                    </a:cubicBezTo>
                    <a:cubicBezTo>
                      <a:pt x="298" y="3"/>
                      <a:pt x="298" y="3"/>
                      <a:pt x="298" y="3"/>
                    </a:cubicBezTo>
                    <a:cubicBezTo>
                      <a:pt x="298" y="3"/>
                      <a:pt x="298" y="0"/>
                      <a:pt x="296" y="0"/>
                    </a:cubicBezTo>
                    <a:cubicBezTo>
                      <a:pt x="291" y="0"/>
                      <a:pt x="291" y="3"/>
                      <a:pt x="291" y="3"/>
                    </a:cubicBezTo>
                    <a:cubicBezTo>
                      <a:pt x="288" y="5"/>
                      <a:pt x="285" y="13"/>
                      <a:pt x="283" y="18"/>
                    </a:cubicBezTo>
                    <a:cubicBezTo>
                      <a:pt x="280" y="23"/>
                      <a:pt x="278" y="36"/>
                      <a:pt x="278" y="36"/>
                    </a:cubicBezTo>
                    <a:cubicBezTo>
                      <a:pt x="278" y="44"/>
                      <a:pt x="278" y="44"/>
                      <a:pt x="278" y="44"/>
                    </a:cubicBezTo>
                    <a:cubicBezTo>
                      <a:pt x="278" y="52"/>
                      <a:pt x="278" y="52"/>
                      <a:pt x="278" y="52"/>
                    </a:cubicBezTo>
                    <a:cubicBezTo>
                      <a:pt x="278" y="55"/>
                      <a:pt x="280" y="55"/>
                      <a:pt x="280" y="55"/>
                    </a:cubicBezTo>
                    <a:close/>
                    <a:moveTo>
                      <a:pt x="265" y="229"/>
                    </a:moveTo>
                    <a:cubicBezTo>
                      <a:pt x="267" y="229"/>
                      <a:pt x="275" y="223"/>
                      <a:pt x="267" y="223"/>
                    </a:cubicBezTo>
                    <a:cubicBezTo>
                      <a:pt x="267" y="223"/>
                      <a:pt x="257" y="229"/>
                      <a:pt x="265" y="229"/>
                    </a:cubicBezTo>
                    <a:close/>
                    <a:moveTo>
                      <a:pt x="252" y="223"/>
                    </a:moveTo>
                    <a:cubicBezTo>
                      <a:pt x="254" y="223"/>
                      <a:pt x="254" y="221"/>
                      <a:pt x="252" y="221"/>
                    </a:cubicBezTo>
                    <a:cubicBezTo>
                      <a:pt x="252" y="221"/>
                      <a:pt x="249" y="223"/>
                      <a:pt x="252" y="223"/>
                    </a:cubicBezTo>
                    <a:close/>
                    <a:moveTo>
                      <a:pt x="241" y="143"/>
                    </a:moveTo>
                    <a:cubicBezTo>
                      <a:pt x="239" y="145"/>
                      <a:pt x="239" y="148"/>
                      <a:pt x="241" y="151"/>
                    </a:cubicBezTo>
                    <a:lnTo>
                      <a:pt x="241" y="143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90" name="France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3451225" y="3937000"/>
                <a:ext cx="1335087" cy="1387475"/>
              </a:xfrm>
              <a:custGeom>
                <a:avLst/>
                <a:gdLst/>
                <a:ahLst/>
                <a:cxnLst>
                  <a:cxn ang="0">
                    <a:pos x="540" y="142"/>
                  </a:cxn>
                  <a:cxn ang="0">
                    <a:pos x="511" y="136"/>
                  </a:cxn>
                  <a:cxn ang="0">
                    <a:pos x="481" y="122"/>
                  </a:cxn>
                  <a:cxn ang="0">
                    <a:pos x="450" y="105"/>
                  </a:cxn>
                  <a:cxn ang="0">
                    <a:pos x="432" y="71"/>
                  </a:cxn>
                  <a:cxn ang="0">
                    <a:pos x="405" y="74"/>
                  </a:cxn>
                  <a:cxn ang="0">
                    <a:pos x="378" y="42"/>
                  </a:cxn>
                  <a:cxn ang="0">
                    <a:pos x="355" y="28"/>
                  </a:cxn>
                  <a:cxn ang="0">
                    <a:pos x="345" y="8"/>
                  </a:cxn>
                  <a:cxn ang="0">
                    <a:pos x="295" y="48"/>
                  </a:cxn>
                  <a:cxn ang="0">
                    <a:pos x="236" y="78"/>
                  </a:cxn>
                  <a:cxn ang="0">
                    <a:pos x="211" y="105"/>
                  </a:cxn>
                  <a:cxn ang="0">
                    <a:pos x="167" y="79"/>
                  </a:cxn>
                  <a:cxn ang="0">
                    <a:pos x="144" y="74"/>
                  </a:cxn>
                  <a:cxn ang="0">
                    <a:pos x="149" y="114"/>
                  </a:cxn>
                  <a:cxn ang="0">
                    <a:pos x="130" y="130"/>
                  </a:cxn>
                  <a:cxn ang="0">
                    <a:pos x="112" y="127"/>
                  </a:cxn>
                  <a:cxn ang="0">
                    <a:pos x="50" y="114"/>
                  </a:cxn>
                  <a:cxn ang="0">
                    <a:pos x="4" y="130"/>
                  </a:cxn>
                  <a:cxn ang="0">
                    <a:pos x="8" y="138"/>
                  </a:cxn>
                  <a:cxn ang="0">
                    <a:pos x="1" y="153"/>
                  </a:cxn>
                  <a:cxn ang="0">
                    <a:pos x="35" y="169"/>
                  </a:cxn>
                  <a:cxn ang="0">
                    <a:pos x="66" y="181"/>
                  </a:cxn>
                  <a:cxn ang="0">
                    <a:pos x="73" y="194"/>
                  </a:cxn>
                  <a:cxn ang="0">
                    <a:pos x="97" y="220"/>
                  </a:cxn>
                  <a:cxn ang="0">
                    <a:pos x="97" y="226"/>
                  </a:cxn>
                  <a:cxn ang="0">
                    <a:pos x="109" y="273"/>
                  </a:cxn>
                  <a:cxn ang="0">
                    <a:pos x="138" y="306"/>
                  </a:cxn>
                  <a:cxn ang="0">
                    <a:pos x="151" y="375"/>
                  </a:cxn>
                  <a:cxn ang="0">
                    <a:pos x="129" y="338"/>
                  </a:cxn>
                  <a:cxn ang="0">
                    <a:pos x="113" y="406"/>
                  </a:cxn>
                  <a:cxn ang="0">
                    <a:pos x="83" y="479"/>
                  </a:cxn>
                  <a:cxn ang="0">
                    <a:pos x="94" y="501"/>
                  </a:cxn>
                  <a:cxn ang="0">
                    <a:pos x="125" y="515"/>
                  </a:cxn>
                  <a:cxn ang="0">
                    <a:pos x="167" y="530"/>
                  </a:cxn>
                  <a:cxn ang="0">
                    <a:pos x="207" y="532"/>
                  </a:cxn>
                  <a:cxn ang="0">
                    <a:pos x="237" y="545"/>
                  </a:cxn>
                  <a:cxn ang="0">
                    <a:pos x="254" y="567"/>
                  </a:cxn>
                  <a:cxn ang="0">
                    <a:pos x="309" y="567"/>
                  </a:cxn>
                  <a:cxn ang="0">
                    <a:pos x="307" y="530"/>
                  </a:cxn>
                  <a:cxn ang="0">
                    <a:pos x="332" y="506"/>
                  </a:cxn>
                  <a:cxn ang="0">
                    <a:pos x="355" y="498"/>
                  </a:cxn>
                  <a:cxn ang="0">
                    <a:pos x="406" y="517"/>
                  </a:cxn>
                  <a:cxn ang="0">
                    <a:pos x="448" y="534"/>
                  </a:cxn>
                  <a:cxn ang="0">
                    <a:pos x="469" y="533"/>
                  </a:cxn>
                  <a:cxn ang="0">
                    <a:pos x="497" y="509"/>
                  </a:cxn>
                  <a:cxn ang="0">
                    <a:pos x="528" y="496"/>
                  </a:cxn>
                  <a:cxn ang="0">
                    <a:pos x="502" y="437"/>
                  </a:cxn>
                  <a:cxn ang="0">
                    <a:pos x="494" y="403"/>
                  </a:cxn>
                  <a:cxn ang="0">
                    <a:pos x="499" y="362"/>
                  </a:cxn>
                  <a:cxn ang="0">
                    <a:pos x="502" y="325"/>
                  </a:cxn>
                  <a:cxn ang="0">
                    <a:pos x="464" y="336"/>
                  </a:cxn>
                  <a:cxn ang="0">
                    <a:pos x="488" y="284"/>
                  </a:cxn>
                  <a:cxn ang="0">
                    <a:pos x="536" y="252"/>
                  </a:cxn>
                  <a:cxn ang="0">
                    <a:pos x="557" y="179"/>
                  </a:cxn>
                  <a:cxn ang="0">
                    <a:pos x="619" y="558"/>
                  </a:cxn>
                  <a:cxn ang="0">
                    <a:pos x="583" y="572"/>
                  </a:cxn>
                  <a:cxn ang="0">
                    <a:pos x="573" y="596"/>
                  </a:cxn>
                  <a:cxn ang="0">
                    <a:pos x="577" y="627"/>
                  </a:cxn>
                  <a:cxn ang="0">
                    <a:pos x="597" y="646"/>
                  </a:cxn>
                  <a:cxn ang="0">
                    <a:pos x="621" y="571"/>
                  </a:cxn>
                  <a:cxn ang="0">
                    <a:pos x="126" y="100"/>
                  </a:cxn>
                  <a:cxn ang="0">
                    <a:pos x="113" y="75"/>
                  </a:cxn>
                </a:cxnLst>
                <a:rect l="0" t="0" r="r" b="b"/>
                <a:pathLst>
                  <a:path w="626" h="652">
                    <a:moveTo>
                      <a:pt x="575" y="156"/>
                    </a:moveTo>
                    <a:cubicBezTo>
                      <a:pt x="572" y="155"/>
                      <a:pt x="563" y="148"/>
                      <a:pt x="560" y="151"/>
                    </a:cubicBezTo>
                    <a:cubicBezTo>
                      <a:pt x="559" y="153"/>
                      <a:pt x="549" y="148"/>
                      <a:pt x="547" y="147"/>
                    </a:cubicBezTo>
                    <a:cubicBezTo>
                      <a:pt x="546" y="147"/>
                      <a:pt x="542" y="142"/>
                      <a:pt x="544" y="142"/>
                    </a:cubicBezTo>
                    <a:cubicBezTo>
                      <a:pt x="543" y="142"/>
                      <a:pt x="542" y="141"/>
                      <a:pt x="541" y="141"/>
                    </a:cubicBezTo>
                    <a:cubicBezTo>
                      <a:pt x="538" y="141"/>
                      <a:pt x="540" y="142"/>
                      <a:pt x="540" y="142"/>
                    </a:cubicBezTo>
                    <a:cubicBezTo>
                      <a:pt x="537" y="143"/>
                      <a:pt x="537" y="144"/>
                      <a:pt x="536" y="144"/>
                    </a:cubicBezTo>
                    <a:cubicBezTo>
                      <a:pt x="534" y="144"/>
                      <a:pt x="528" y="141"/>
                      <a:pt x="528" y="141"/>
                    </a:cubicBezTo>
                    <a:cubicBezTo>
                      <a:pt x="526" y="141"/>
                      <a:pt x="525" y="147"/>
                      <a:pt x="524" y="140"/>
                    </a:cubicBezTo>
                    <a:cubicBezTo>
                      <a:pt x="524" y="138"/>
                      <a:pt x="519" y="137"/>
                      <a:pt x="516" y="137"/>
                    </a:cubicBezTo>
                    <a:cubicBezTo>
                      <a:pt x="518" y="140"/>
                      <a:pt x="516" y="140"/>
                      <a:pt x="513" y="140"/>
                    </a:cubicBezTo>
                    <a:cubicBezTo>
                      <a:pt x="510" y="139"/>
                      <a:pt x="512" y="138"/>
                      <a:pt x="511" y="136"/>
                    </a:cubicBezTo>
                    <a:cubicBezTo>
                      <a:pt x="511" y="137"/>
                      <a:pt x="505" y="126"/>
                      <a:pt x="504" y="127"/>
                    </a:cubicBezTo>
                    <a:cubicBezTo>
                      <a:pt x="506" y="126"/>
                      <a:pt x="506" y="123"/>
                      <a:pt x="505" y="122"/>
                    </a:cubicBezTo>
                    <a:cubicBezTo>
                      <a:pt x="503" y="120"/>
                      <a:pt x="500" y="120"/>
                      <a:pt x="498" y="119"/>
                    </a:cubicBezTo>
                    <a:cubicBezTo>
                      <a:pt x="496" y="120"/>
                      <a:pt x="495" y="120"/>
                      <a:pt x="494" y="120"/>
                    </a:cubicBezTo>
                    <a:cubicBezTo>
                      <a:pt x="492" y="120"/>
                      <a:pt x="492" y="118"/>
                      <a:pt x="489" y="118"/>
                    </a:cubicBezTo>
                    <a:cubicBezTo>
                      <a:pt x="486" y="117"/>
                      <a:pt x="488" y="122"/>
                      <a:pt x="481" y="122"/>
                    </a:cubicBezTo>
                    <a:cubicBezTo>
                      <a:pt x="476" y="123"/>
                      <a:pt x="476" y="117"/>
                      <a:pt x="476" y="117"/>
                    </a:cubicBezTo>
                    <a:cubicBezTo>
                      <a:pt x="471" y="115"/>
                      <a:pt x="471" y="115"/>
                      <a:pt x="471" y="115"/>
                    </a:cubicBezTo>
                    <a:cubicBezTo>
                      <a:pt x="472" y="115"/>
                      <a:pt x="472" y="115"/>
                      <a:pt x="472" y="115"/>
                    </a:cubicBezTo>
                    <a:cubicBezTo>
                      <a:pt x="457" y="116"/>
                      <a:pt x="457" y="116"/>
                      <a:pt x="457" y="116"/>
                    </a:cubicBezTo>
                    <a:cubicBezTo>
                      <a:pt x="450" y="107"/>
                      <a:pt x="450" y="107"/>
                      <a:pt x="450" y="107"/>
                    </a:cubicBezTo>
                    <a:cubicBezTo>
                      <a:pt x="450" y="105"/>
                      <a:pt x="450" y="105"/>
                      <a:pt x="450" y="105"/>
                    </a:cubicBezTo>
                    <a:cubicBezTo>
                      <a:pt x="438" y="95"/>
                      <a:pt x="438" y="95"/>
                      <a:pt x="438" y="95"/>
                    </a:cubicBezTo>
                    <a:cubicBezTo>
                      <a:pt x="431" y="95"/>
                      <a:pt x="431" y="95"/>
                      <a:pt x="431" y="95"/>
                    </a:cubicBezTo>
                    <a:cubicBezTo>
                      <a:pt x="429" y="93"/>
                      <a:pt x="429" y="93"/>
                      <a:pt x="429" y="93"/>
                    </a:cubicBezTo>
                    <a:cubicBezTo>
                      <a:pt x="429" y="93"/>
                      <a:pt x="432" y="88"/>
                      <a:pt x="431" y="86"/>
                    </a:cubicBezTo>
                    <a:cubicBezTo>
                      <a:pt x="431" y="83"/>
                      <a:pt x="429" y="83"/>
                      <a:pt x="429" y="83"/>
                    </a:cubicBezTo>
                    <a:cubicBezTo>
                      <a:pt x="429" y="83"/>
                      <a:pt x="436" y="74"/>
                      <a:pt x="432" y="71"/>
                    </a:cubicBezTo>
                    <a:cubicBezTo>
                      <a:pt x="429" y="68"/>
                      <a:pt x="423" y="81"/>
                      <a:pt x="423" y="81"/>
                    </a:cubicBezTo>
                    <a:cubicBezTo>
                      <a:pt x="420" y="83"/>
                      <a:pt x="420" y="83"/>
                      <a:pt x="420" y="83"/>
                    </a:cubicBezTo>
                    <a:cubicBezTo>
                      <a:pt x="416" y="86"/>
                      <a:pt x="416" y="86"/>
                      <a:pt x="416" y="86"/>
                    </a:cubicBezTo>
                    <a:cubicBezTo>
                      <a:pt x="413" y="83"/>
                      <a:pt x="413" y="83"/>
                      <a:pt x="413" y="83"/>
                    </a:cubicBezTo>
                    <a:cubicBezTo>
                      <a:pt x="413" y="83"/>
                      <a:pt x="408" y="85"/>
                      <a:pt x="403" y="83"/>
                    </a:cubicBezTo>
                    <a:cubicBezTo>
                      <a:pt x="396" y="80"/>
                      <a:pt x="405" y="74"/>
                      <a:pt x="405" y="74"/>
                    </a:cubicBezTo>
                    <a:cubicBezTo>
                      <a:pt x="401" y="70"/>
                      <a:pt x="401" y="70"/>
                      <a:pt x="401" y="70"/>
                    </a:cubicBezTo>
                    <a:cubicBezTo>
                      <a:pt x="401" y="70"/>
                      <a:pt x="404" y="67"/>
                      <a:pt x="404" y="61"/>
                    </a:cubicBezTo>
                    <a:cubicBezTo>
                      <a:pt x="404" y="57"/>
                      <a:pt x="396" y="56"/>
                      <a:pt x="392" y="55"/>
                    </a:cubicBezTo>
                    <a:cubicBezTo>
                      <a:pt x="387" y="54"/>
                      <a:pt x="387" y="59"/>
                      <a:pt x="383" y="59"/>
                    </a:cubicBezTo>
                    <a:cubicBezTo>
                      <a:pt x="381" y="60"/>
                      <a:pt x="384" y="47"/>
                      <a:pt x="384" y="47"/>
                    </a:cubicBezTo>
                    <a:cubicBezTo>
                      <a:pt x="378" y="42"/>
                      <a:pt x="378" y="42"/>
                      <a:pt x="378" y="42"/>
                    </a:cubicBezTo>
                    <a:cubicBezTo>
                      <a:pt x="371" y="45"/>
                      <a:pt x="371" y="45"/>
                      <a:pt x="371" y="45"/>
                    </a:cubicBezTo>
                    <a:cubicBezTo>
                      <a:pt x="368" y="42"/>
                      <a:pt x="368" y="42"/>
                      <a:pt x="368" y="42"/>
                    </a:cubicBezTo>
                    <a:cubicBezTo>
                      <a:pt x="368" y="31"/>
                      <a:pt x="368" y="31"/>
                      <a:pt x="368" y="31"/>
                    </a:cubicBezTo>
                    <a:cubicBezTo>
                      <a:pt x="365" y="24"/>
                      <a:pt x="365" y="24"/>
                      <a:pt x="365" y="24"/>
                    </a:cubicBezTo>
                    <a:cubicBezTo>
                      <a:pt x="358" y="24"/>
                      <a:pt x="358" y="24"/>
                      <a:pt x="358" y="24"/>
                    </a:cubicBezTo>
                    <a:cubicBezTo>
                      <a:pt x="356" y="24"/>
                      <a:pt x="355" y="28"/>
                      <a:pt x="355" y="28"/>
                    </a:cubicBezTo>
                    <a:cubicBezTo>
                      <a:pt x="351" y="27"/>
                      <a:pt x="351" y="27"/>
                      <a:pt x="351" y="27"/>
                    </a:cubicBezTo>
                    <a:cubicBezTo>
                      <a:pt x="351" y="27"/>
                      <a:pt x="349" y="21"/>
                      <a:pt x="346" y="20"/>
                    </a:cubicBezTo>
                    <a:cubicBezTo>
                      <a:pt x="344" y="18"/>
                      <a:pt x="343" y="20"/>
                      <a:pt x="343" y="20"/>
                    </a:cubicBezTo>
                    <a:cubicBezTo>
                      <a:pt x="344" y="13"/>
                      <a:pt x="344" y="13"/>
                      <a:pt x="344" y="13"/>
                    </a:cubicBezTo>
                    <a:cubicBezTo>
                      <a:pt x="345" y="12"/>
                      <a:pt x="345" y="12"/>
                      <a:pt x="345" y="12"/>
                    </a:cubicBezTo>
                    <a:cubicBezTo>
                      <a:pt x="345" y="8"/>
                      <a:pt x="345" y="8"/>
                      <a:pt x="345" y="8"/>
                    </a:cubicBezTo>
                    <a:cubicBezTo>
                      <a:pt x="344" y="8"/>
                      <a:pt x="344" y="8"/>
                      <a:pt x="344" y="8"/>
                    </a:cubicBezTo>
                    <a:cubicBezTo>
                      <a:pt x="344" y="1"/>
                      <a:pt x="344" y="1"/>
                      <a:pt x="344" y="1"/>
                    </a:cubicBezTo>
                    <a:cubicBezTo>
                      <a:pt x="334" y="0"/>
                      <a:pt x="334" y="0"/>
                      <a:pt x="334" y="0"/>
                    </a:cubicBezTo>
                    <a:cubicBezTo>
                      <a:pt x="334" y="0"/>
                      <a:pt x="328" y="5"/>
                      <a:pt x="324" y="5"/>
                    </a:cubicBezTo>
                    <a:cubicBezTo>
                      <a:pt x="318" y="5"/>
                      <a:pt x="306" y="0"/>
                      <a:pt x="302" y="12"/>
                    </a:cubicBezTo>
                    <a:cubicBezTo>
                      <a:pt x="298" y="24"/>
                      <a:pt x="295" y="48"/>
                      <a:pt x="295" y="48"/>
                    </a:cubicBezTo>
                    <a:cubicBezTo>
                      <a:pt x="300" y="54"/>
                      <a:pt x="300" y="54"/>
                      <a:pt x="300" y="54"/>
                    </a:cubicBezTo>
                    <a:cubicBezTo>
                      <a:pt x="300" y="56"/>
                      <a:pt x="300" y="56"/>
                      <a:pt x="300" y="56"/>
                    </a:cubicBezTo>
                    <a:cubicBezTo>
                      <a:pt x="294" y="53"/>
                      <a:pt x="294" y="53"/>
                      <a:pt x="294" y="53"/>
                    </a:cubicBezTo>
                    <a:cubicBezTo>
                      <a:pt x="294" y="53"/>
                      <a:pt x="290" y="65"/>
                      <a:pt x="277" y="69"/>
                    </a:cubicBezTo>
                    <a:cubicBezTo>
                      <a:pt x="264" y="72"/>
                      <a:pt x="252" y="70"/>
                      <a:pt x="252" y="70"/>
                    </a:cubicBezTo>
                    <a:cubicBezTo>
                      <a:pt x="252" y="70"/>
                      <a:pt x="238" y="78"/>
                      <a:pt x="236" y="78"/>
                    </a:cubicBezTo>
                    <a:cubicBezTo>
                      <a:pt x="231" y="78"/>
                      <a:pt x="231" y="78"/>
                      <a:pt x="231" y="78"/>
                    </a:cubicBezTo>
                    <a:cubicBezTo>
                      <a:pt x="231" y="78"/>
                      <a:pt x="221" y="87"/>
                      <a:pt x="225" y="91"/>
                    </a:cubicBezTo>
                    <a:cubicBezTo>
                      <a:pt x="229" y="95"/>
                      <a:pt x="237" y="97"/>
                      <a:pt x="237" y="97"/>
                    </a:cubicBezTo>
                    <a:cubicBezTo>
                      <a:pt x="235" y="99"/>
                      <a:pt x="235" y="99"/>
                      <a:pt x="235" y="99"/>
                    </a:cubicBezTo>
                    <a:cubicBezTo>
                      <a:pt x="231" y="97"/>
                      <a:pt x="231" y="97"/>
                      <a:pt x="231" y="97"/>
                    </a:cubicBezTo>
                    <a:cubicBezTo>
                      <a:pt x="211" y="105"/>
                      <a:pt x="211" y="105"/>
                      <a:pt x="211" y="105"/>
                    </a:cubicBezTo>
                    <a:cubicBezTo>
                      <a:pt x="199" y="99"/>
                      <a:pt x="199" y="99"/>
                      <a:pt x="199" y="99"/>
                    </a:cubicBezTo>
                    <a:cubicBezTo>
                      <a:pt x="195" y="100"/>
                      <a:pt x="195" y="100"/>
                      <a:pt x="195" y="100"/>
                    </a:cubicBezTo>
                    <a:cubicBezTo>
                      <a:pt x="195" y="100"/>
                      <a:pt x="185" y="94"/>
                      <a:pt x="180" y="93"/>
                    </a:cubicBezTo>
                    <a:cubicBezTo>
                      <a:pt x="175" y="92"/>
                      <a:pt x="170" y="94"/>
                      <a:pt x="170" y="94"/>
                    </a:cubicBezTo>
                    <a:cubicBezTo>
                      <a:pt x="170" y="94"/>
                      <a:pt x="169" y="92"/>
                      <a:pt x="168" y="88"/>
                    </a:cubicBezTo>
                    <a:cubicBezTo>
                      <a:pt x="166" y="84"/>
                      <a:pt x="163" y="80"/>
                      <a:pt x="167" y="79"/>
                    </a:cubicBezTo>
                    <a:cubicBezTo>
                      <a:pt x="172" y="78"/>
                      <a:pt x="170" y="76"/>
                      <a:pt x="170" y="76"/>
                    </a:cubicBezTo>
                    <a:cubicBezTo>
                      <a:pt x="170" y="76"/>
                      <a:pt x="168" y="67"/>
                      <a:pt x="163" y="69"/>
                    </a:cubicBezTo>
                    <a:cubicBezTo>
                      <a:pt x="156" y="71"/>
                      <a:pt x="153" y="72"/>
                      <a:pt x="149" y="70"/>
                    </a:cubicBezTo>
                    <a:cubicBezTo>
                      <a:pt x="145" y="68"/>
                      <a:pt x="143" y="63"/>
                      <a:pt x="143" y="63"/>
                    </a:cubicBezTo>
                    <a:cubicBezTo>
                      <a:pt x="143" y="63"/>
                      <a:pt x="142" y="65"/>
                      <a:pt x="141" y="67"/>
                    </a:cubicBezTo>
                    <a:cubicBezTo>
                      <a:pt x="139" y="67"/>
                      <a:pt x="145" y="73"/>
                      <a:pt x="144" y="74"/>
                    </a:cubicBezTo>
                    <a:cubicBezTo>
                      <a:pt x="143" y="75"/>
                      <a:pt x="141" y="78"/>
                      <a:pt x="141" y="78"/>
                    </a:cubicBezTo>
                    <a:cubicBezTo>
                      <a:pt x="141" y="78"/>
                      <a:pt x="144" y="88"/>
                      <a:pt x="146" y="90"/>
                    </a:cubicBezTo>
                    <a:cubicBezTo>
                      <a:pt x="148" y="92"/>
                      <a:pt x="148" y="97"/>
                      <a:pt x="148" y="97"/>
                    </a:cubicBezTo>
                    <a:cubicBezTo>
                      <a:pt x="148" y="97"/>
                      <a:pt x="151" y="97"/>
                      <a:pt x="151" y="100"/>
                    </a:cubicBezTo>
                    <a:cubicBezTo>
                      <a:pt x="151" y="102"/>
                      <a:pt x="146" y="106"/>
                      <a:pt x="146" y="106"/>
                    </a:cubicBezTo>
                    <a:cubicBezTo>
                      <a:pt x="146" y="106"/>
                      <a:pt x="149" y="111"/>
                      <a:pt x="149" y="114"/>
                    </a:cubicBezTo>
                    <a:cubicBezTo>
                      <a:pt x="149" y="116"/>
                      <a:pt x="144" y="122"/>
                      <a:pt x="146" y="126"/>
                    </a:cubicBezTo>
                    <a:cubicBezTo>
                      <a:pt x="148" y="131"/>
                      <a:pt x="153" y="136"/>
                      <a:pt x="153" y="136"/>
                    </a:cubicBezTo>
                    <a:cubicBezTo>
                      <a:pt x="153" y="136"/>
                      <a:pt x="151" y="138"/>
                      <a:pt x="150" y="138"/>
                    </a:cubicBezTo>
                    <a:cubicBezTo>
                      <a:pt x="148" y="138"/>
                      <a:pt x="146" y="136"/>
                      <a:pt x="142" y="136"/>
                    </a:cubicBezTo>
                    <a:cubicBezTo>
                      <a:pt x="137" y="137"/>
                      <a:pt x="132" y="139"/>
                      <a:pt x="134" y="135"/>
                    </a:cubicBezTo>
                    <a:cubicBezTo>
                      <a:pt x="135" y="132"/>
                      <a:pt x="134" y="130"/>
                      <a:pt x="130" y="130"/>
                    </a:cubicBezTo>
                    <a:cubicBezTo>
                      <a:pt x="127" y="130"/>
                      <a:pt x="127" y="133"/>
                      <a:pt x="127" y="133"/>
                    </a:cubicBezTo>
                    <a:cubicBezTo>
                      <a:pt x="128" y="139"/>
                      <a:pt x="128" y="139"/>
                      <a:pt x="128" y="139"/>
                    </a:cubicBezTo>
                    <a:cubicBezTo>
                      <a:pt x="126" y="139"/>
                      <a:pt x="126" y="139"/>
                      <a:pt x="126" y="139"/>
                    </a:cubicBezTo>
                    <a:cubicBezTo>
                      <a:pt x="123" y="133"/>
                      <a:pt x="123" y="133"/>
                      <a:pt x="123" y="133"/>
                    </a:cubicBezTo>
                    <a:cubicBezTo>
                      <a:pt x="123" y="133"/>
                      <a:pt x="118" y="138"/>
                      <a:pt x="116" y="135"/>
                    </a:cubicBezTo>
                    <a:cubicBezTo>
                      <a:pt x="115" y="132"/>
                      <a:pt x="115" y="127"/>
                      <a:pt x="112" y="127"/>
                    </a:cubicBezTo>
                    <a:cubicBezTo>
                      <a:pt x="109" y="128"/>
                      <a:pt x="96" y="136"/>
                      <a:pt x="96" y="136"/>
                    </a:cubicBezTo>
                    <a:cubicBezTo>
                      <a:pt x="96" y="136"/>
                      <a:pt x="90" y="122"/>
                      <a:pt x="88" y="120"/>
                    </a:cubicBezTo>
                    <a:cubicBezTo>
                      <a:pt x="86" y="117"/>
                      <a:pt x="81" y="109"/>
                      <a:pt x="81" y="109"/>
                    </a:cubicBezTo>
                    <a:cubicBezTo>
                      <a:pt x="63" y="108"/>
                      <a:pt x="63" y="108"/>
                      <a:pt x="63" y="108"/>
                    </a:cubicBezTo>
                    <a:cubicBezTo>
                      <a:pt x="60" y="117"/>
                      <a:pt x="60" y="117"/>
                      <a:pt x="60" y="117"/>
                    </a:cubicBezTo>
                    <a:cubicBezTo>
                      <a:pt x="50" y="114"/>
                      <a:pt x="50" y="114"/>
                      <a:pt x="50" y="114"/>
                    </a:cubicBezTo>
                    <a:cubicBezTo>
                      <a:pt x="50" y="114"/>
                      <a:pt x="50" y="117"/>
                      <a:pt x="49" y="117"/>
                    </a:cubicBezTo>
                    <a:cubicBezTo>
                      <a:pt x="47" y="117"/>
                      <a:pt x="40" y="116"/>
                      <a:pt x="40" y="116"/>
                    </a:cubicBezTo>
                    <a:cubicBezTo>
                      <a:pt x="40" y="111"/>
                      <a:pt x="40" y="111"/>
                      <a:pt x="40" y="111"/>
                    </a:cubicBezTo>
                    <a:cubicBezTo>
                      <a:pt x="40" y="111"/>
                      <a:pt x="32" y="110"/>
                      <a:pt x="21" y="114"/>
                    </a:cubicBezTo>
                    <a:cubicBezTo>
                      <a:pt x="10" y="116"/>
                      <a:pt x="5" y="120"/>
                      <a:pt x="5" y="120"/>
                    </a:cubicBezTo>
                    <a:cubicBezTo>
                      <a:pt x="5" y="120"/>
                      <a:pt x="3" y="128"/>
                      <a:pt x="4" y="130"/>
                    </a:cubicBezTo>
                    <a:cubicBezTo>
                      <a:pt x="5" y="132"/>
                      <a:pt x="17" y="130"/>
                      <a:pt x="17" y="130"/>
                    </a:cubicBezTo>
                    <a:cubicBezTo>
                      <a:pt x="19" y="134"/>
                      <a:pt x="19" y="134"/>
                      <a:pt x="19" y="134"/>
                    </a:cubicBezTo>
                    <a:cubicBezTo>
                      <a:pt x="27" y="137"/>
                      <a:pt x="27" y="137"/>
                      <a:pt x="27" y="137"/>
                    </a:cubicBezTo>
                    <a:cubicBezTo>
                      <a:pt x="25" y="140"/>
                      <a:pt x="25" y="140"/>
                      <a:pt x="25" y="140"/>
                    </a:cubicBezTo>
                    <a:cubicBezTo>
                      <a:pt x="11" y="135"/>
                      <a:pt x="11" y="135"/>
                      <a:pt x="11" y="135"/>
                    </a:cubicBezTo>
                    <a:cubicBezTo>
                      <a:pt x="8" y="138"/>
                      <a:pt x="8" y="138"/>
                      <a:pt x="8" y="138"/>
                    </a:cubicBezTo>
                    <a:cubicBezTo>
                      <a:pt x="11" y="139"/>
                      <a:pt x="11" y="139"/>
                      <a:pt x="11" y="139"/>
                    </a:cubicBezTo>
                    <a:cubicBezTo>
                      <a:pt x="10" y="142"/>
                      <a:pt x="10" y="142"/>
                      <a:pt x="10" y="142"/>
                    </a:cubicBezTo>
                    <a:cubicBezTo>
                      <a:pt x="10" y="142"/>
                      <a:pt x="16" y="140"/>
                      <a:pt x="19" y="142"/>
                    </a:cubicBezTo>
                    <a:cubicBezTo>
                      <a:pt x="21" y="146"/>
                      <a:pt x="24" y="149"/>
                      <a:pt x="20" y="149"/>
                    </a:cubicBezTo>
                    <a:cubicBezTo>
                      <a:pt x="0" y="149"/>
                      <a:pt x="0" y="149"/>
                      <a:pt x="0" y="149"/>
                    </a:cubicBezTo>
                    <a:cubicBezTo>
                      <a:pt x="1" y="153"/>
                      <a:pt x="1" y="153"/>
                      <a:pt x="1" y="153"/>
                    </a:cubicBezTo>
                    <a:cubicBezTo>
                      <a:pt x="1" y="153"/>
                      <a:pt x="12" y="152"/>
                      <a:pt x="13" y="157"/>
                    </a:cubicBezTo>
                    <a:cubicBezTo>
                      <a:pt x="15" y="164"/>
                      <a:pt x="15" y="168"/>
                      <a:pt x="15" y="168"/>
                    </a:cubicBezTo>
                    <a:cubicBezTo>
                      <a:pt x="20" y="170"/>
                      <a:pt x="20" y="170"/>
                      <a:pt x="20" y="170"/>
                    </a:cubicBezTo>
                    <a:cubicBezTo>
                      <a:pt x="20" y="170"/>
                      <a:pt x="25" y="157"/>
                      <a:pt x="27" y="160"/>
                    </a:cubicBezTo>
                    <a:cubicBezTo>
                      <a:pt x="28" y="165"/>
                      <a:pt x="27" y="167"/>
                      <a:pt x="27" y="167"/>
                    </a:cubicBezTo>
                    <a:cubicBezTo>
                      <a:pt x="35" y="169"/>
                      <a:pt x="35" y="169"/>
                      <a:pt x="35" y="169"/>
                    </a:cubicBezTo>
                    <a:cubicBezTo>
                      <a:pt x="35" y="174"/>
                      <a:pt x="35" y="174"/>
                      <a:pt x="35" y="174"/>
                    </a:cubicBezTo>
                    <a:cubicBezTo>
                      <a:pt x="54" y="184"/>
                      <a:pt x="54" y="184"/>
                      <a:pt x="54" y="184"/>
                    </a:cubicBezTo>
                    <a:cubicBezTo>
                      <a:pt x="60" y="181"/>
                      <a:pt x="60" y="181"/>
                      <a:pt x="60" y="181"/>
                    </a:cubicBezTo>
                    <a:cubicBezTo>
                      <a:pt x="57" y="184"/>
                      <a:pt x="57" y="184"/>
                      <a:pt x="57" y="184"/>
                    </a:cubicBezTo>
                    <a:cubicBezTo>
                      <a:pt x="60" y="187"/>
                      <a:pt x="60" y="187"/>
                      <a:pt x="60" y="187"/>
                    </a:cubicBezTo>
                    <a:cubicBezTo>
                      <a:pt x="60" y="187"/>
                      <a:pt x="66" y="180"/>
                      <a:pt x="66" y="181"/>
                    </a:cubicBezTo>
                    <a:cubicBezTo>
                      <a:pt x="65" y="182"/>
                      <a:pt x="68" y="183"/>
                      <a:pt x="67" y="183"/>
                    </a:cubicBezTo>
                    <a:cubicBezTo>
                      <a:pt x="66" y="184"/>
                      <a:pt x="62" y="188"/>
                      <a:pt x="62" y="188"/>
                    </a:cubicBezTo>
                    <a:cubicBezTo>
                      <a:pt x="62" y="188"/>
                      <a:pt x="62" y="193"/>
                      <a:pt x="64" y="193"/>
                    </a:cubicBezTo>
                    <a:cubicBezTo>
                      <a:pt x="67" y="193"/>
                      <a:pt x="71" y="194"/>
                      <a:pt x="71" y="194"/>
                    </a:cubicBezTo>
                    <a:cubicBezTo>
                      <a:pt x="72" y="189"/>
                      <a:pt x="72" y="189"/>
                      <a:pt x="72" y="189"/>
                    </a:cubicBezTo>
                    <a:cubicBezTo>
                      <a:pt x="73" y="194"/>
                      <a:pt x="73" y="194"/>
                      <a:pt x="73" y="194"/>
                    </a:cubicBezTo>
                    <a:cubicBezTo>
                      <a:pt x="73" y="194"/>
                      <a:pt x="78" y="189"/>
                      <a:pt x="81" y="193"/>
                    </a:cubicBezTo>
                    <a:cubicBezTo>
                      <a:pt x="83" y="195"/>
                      <a:pt x="74" y="197"/>
                      <a:pt x="74" y="197"/>
                    </a:cubicBezTo>
                    <a:cubicBezTo>
                      <a:pt x="74" y="200"/>
                      <a:pt x="74" y="200"/>
                      <a:pt x="74" y="200"/>
                    </a:cubicBezTo>
                    <a:cubicBezTo>
                      <a:pt x="92" y="201"/>
                      <a:pt x="92" y="201"/>
                      <a:pt x="92" y="201"/>
                    </a:cubicBezTo>
                    <a:cubicBezTo>
                      <a:pt x="92" y="201"/>
                      <a:pt x="83" y="213"/>
                      <a:pt x="86" y="216"/>
                    </a:cubicBezTo>
                    <a:cubicBezTo>
                      <a:pt x="88" y="219"/>
                      <a:pt x="97" y="220"/>
                      <a:pt x="97" y="220"/>
                    </a:cubicBezTo>
                    <a:cubicBezTo>
                      <a:pt x="97" y="220"/>
                      <a:pt x="104" y="216"/>
                      <a:pt x="110" y="218"/>
                    </a:cubicBezTo>
                    <a:cubicBezTo>
                      <a:pt x="114" y="219"/>
                      <a:pt x="118" y="225"/>
                      <a:pt x="118" y="225"/>
                    </a:cubicBezTo>
                    <a:cubicBezTo>
                      <a:pt x="118" y="225"/>
                      <a:pt x="111" y="220"/>
                      <a:pt x="106" y="220"/>
                    </a:cubicBezTo>
                    <a:cubicBezTo>
                      <a:pt x="103" y="221"/>
                      <a:pt x="100" y="222"/>
                      <a:pt x="100" y="222"/>
                    </a:cubicBezTo>
                    <a:cubicBezTo>
                      <a:pt x="102" y="225"/>
                      <a:pt x="102" y="225"/>
                      <a:pt x="102" y="225"/>
                    </a:cubicBezTo>
                    <a:cubicBezTo>
                      <a:pt x="97" y="226"/>
                      <a:pt x="97" y="226"/>
                      <a:pt x="97" y="226"/>
                    </a:cubicBezTo>
                    <a:cubicBezTo>
                      <a:pt x="98" y="230"/>
                      <a:pt x="98" y="230"/>
                      <a:pt x="98" y="230"/>
                    </a:cubicBezTo>
                    <a:cubicBezTo>
                      <a:pt x="98" y="230"/>
                      <a:pt x="110" y="234"/>
                      <a:pt x="106" y="237"/>
                    </a:cubicBezTo>
                    <a:cubicBezTo>
                      <a:pt x="102" y="241"/>
                      <a:pt x="97" y="246"/>
                      <a:pt x="97" y="246"/>
                    </a:cubicBezTo>
                    <a:cubicBezTo>
                      <a:pt x="97" y="251"/>
                      <a:pt x="97" y="251"/>
                      <a:pt x="97" y="251"/>
                    </a:cubicBezTo>
                    <a:cubicBezTo>
                      <a:pt x="97" y="251"/>
                      <a:pt x="108" y="261"/>
                      <a:pt x="108" y="266"/>
                    </a:cubicBezTo>
                    <a:cubicBezTo>
                      <a:pt x="109" y="270"/>
                      <a:pt x="109" y="273"/>
                      <a:pt x="109" y="273"/>
                    </a:cubicBezTo>
                    <a:cubicBezTo>
                      <a:pt x="122" y="284"/>
                      <a:pt x="122" y="284"/>
                      <a:pt x="122" y="284"/>
                    </a:cubicBezTo>
                    <a:cubicBezTo>
                      <a:pt x="134" y="291"/>
                      <a:pt x="134" y="291"/>
                      <a:pt x="134" y="291"/>
                    </a:cubicBezTo>
                    <a:cubicBezTo>
                      <a:pt x="138" y="288"/>
                      <a:pt x="138" y="288"/>
                      <a:pt x="138" y="288"/>
                    </a:cubicBezTo>
                    <a:cubicBezTo>
                      <a:pt x="138" y="288"/>
                      <a:pt x="142" y="290"/>
                      <a:pt x="141" y="290"/>
                    </a:cubicBezTo>
                    <a:cubicBezTo>
                      <a:pt x="139" y="290"/>
                      <a:pt x="135" y="292"/>
                      <a:pt x="134" y="295"/>
                    </a:cubicBezTo>
                    <a:cubicBezTo>
                      <a:pt x="133" y="297"/>
                      <a:pt x="138" y="306"/>
                      <a:pt x="138" y="306"/>
                    </a:cubicBezTo>
                    <a:cubicBezTo>
                      <a:pt x="138" y="306"/>
                      <a:pt x="141" y="314"/>
                      <a:pt x="135" y="317"/>
                    </a:cubicBezTo>
                    <a:cubicBezTo>
                      <a:pt x="131" y="320"/>
                      <a:pt x="126" y="323"/>
                      <a:pt x="126" y="323"/>
                    </a:cubicBezTo>
                    <a:cubicBezTo>
                      <a:pt x="126" y="328"/>
                      <a:pt x="126" y="328"/>
                      <a:pt x="126" y="328"/>
                    </a:cubicBezTo>
                    <a:cubicBezTo>
                      <a:pt x="126" y="328"/>
                      <a:pt x="135" y="331"/>
                      <a:pt x="139" y="339"/>
                    </a:cubicBezTo>
                    <a:cubicBezTo>
                      <a:pt x="144" y="346"/>
                      <a:pt x="148" y="356"/>
                      <a:pt x="148" y="356"/>
                    </a:cubicBezTo>
                    <a:cubicBezTo>
                      <a:pt x="151" y="375"/>
                      <a:pt x="151" y="375"/>
                      <a:pt x="151" y="375"/>
                    </a:cubicBezTo>
                    <a:cubicBezTo>
                      <a:pt x="150" y="376"/>
                      <a:pt x="150" y="376"/>
                      <a:pt x="150" y="376"/>
                    </a:cubicBezTo>
                    <a:cubicBezTo>
                      <a:pt x="147" y="372"/>
                      <a:pt x="147" y="372"/>
                      <a:pt x="147" y="372"/>
                    </a:cubicBezTo>
                    <a:cubicBezTo>
                      <a:pt x="145" y="357"/>
                      <a:pt x="145" y="357"/>
                      <a:pt x="145" y="357"/>
                    </a:cubicBezTo>
                    <a:cubicBezTo>
                      <a:pt x="135" y="344"/>
                      <a:pt x="135" y="344"/>
                      <a:pt x="135" y="344"/>
                    </a:cubicBezTo>
                    <a:cubicBezTo>
                      <a:pt x="134" y="338"/>
                      <a:pt x="134" y="338"/>
                      <a:pt x="134" y="338"/>
                    </a:cubicBezTo>
                    <a:cubicBezTo>
                      <a:pt x="129" y="338"/>
                      <a:pt x="129" y="338"/>
                      <a:pt x="129" y="338"/>
                    </a:cubicBezTo>
                    <a:cubicBezTo>
                      <a:pt x="129" y="338"/>
                      <a:pt x="127" y="349"/>
                      <a:pt x="127" y="352"/>
                    </a:cubicBezTo>
                    <a:cubicBezTo>
                      <a:pt x="127" y="354"/>
                      <a:pt x="116" y="395"/>
                      <a:pt x="116" y="395"/>
                    </a:cubicBezTo>
                    <a:cubicBezTo>
                      <a:pt x="116" y="395"/>
                      <a:pt x="121" y="387"/>
                      <a:pt x="123" y="388"/>
                    </a:cubicBezTo>
                    <a:cubicBezTo>
                      <a:pt x="126" y="389"/>
                      <a:pt x="128" y="394"/>
                      <a:pt x="128" y="394"/>
                    </a:cubicBezTo>
                    <a:cubicBezTo>
                      <a:pt x="122" y="394"/>
                      <a:pt x="122" y="394"/>
                      <a:pt x="122" y="394"/>
                    </a:cubicBezTo>
                    <a:cubicBezTo>
                      <a:pt x="122" y="394"/>
                      <a:pt x="115" y="400"/>
                      <a:pt x="113" y="406"/>
                    </a:cubicBezTo>
                    <a:cubicBezTo>
                      <a:pt x="112" y="411"/>
                      <a:pt x="105" y="437"/>
                      <a:pt x="103" y="438"/>
                    </a:cubicBezTo>
                    <a:cubicBezTo>
                      <a:pt x="102" y="439"/>
                      <a:pt x="96" y="461"/>
                      <a:pt x="96" y="461"/>
                    </a:cubicBezTo>
                    <a:cubicBezTo>
                      <a:pt x="85" y="472"/>
                      <a:pt x="85" y="472"/>
                      <a:pt x="85" y="472"/>
                    </a:cubicBezTo>
                    <a:cubicBezTo>
                      <a:pt x="85" y="472"/>
                      <a:pt x="78" y="473"/>
                      <a:pt x="77" y="474"/>
                    </a:cubicBezTo>
                    <a:cubicBezTo>
                      <a:pt x="76" y="474"/>
                      <a:pt x="79" y="479"/>
                      <a:pt x="79" y="479"/>
                    </a:cubicBezTo>
                    <a:cubicBezTo>
                      <a:pt x="83" y="479"/>
                      <a:pt x="83" y="479"/>
                      <a:pt x="83" y="479"/>
                    </a:cubicBezTo>
                    <a:cubicBezTo>
                      <a:pt x="83" y="479"/>
                      <a:pt x="82" y="482"/>
                      <a:pt x="84" y="483"/>
                    </a:cubicBezTo>
                    <a:cubicBezTo>
                      <a:pt x="86" y="484"/>
                      <a:pt x="89" y="482"/>
                      <a:pt x="89" y="482"/>
                    </a:cubicBezTo>
                    <a:cubicBezTo>
                      <a:pt x="95" y="484"/>
                      <a:pt x="95" y="484"/>
                      <a:pt x="95" y="484"/>
                    </a:cubicBezTo>
                    <a:cubicBezTo>
                      <a:pt x="95" y="484"/>
                      <a:pt x="96" y="493"/>
                      <a:pt x="93" y="493"/>
                    </a:cubicBezTo>
                    <a:cubicBezTo>
                      <a:pt x="89" y="494"/>
                      <a:pt x="86" y="495"/>
                      <a:pt x="88" y="497"/>
                    </a:cubicBezTo>
                    <a:cubicBezTo>
                      <a:pt x="90" y="500"/>
                      <a:pt x="94" y="501"/>
                      <a:pt x="94" y="501"/>
                    </a:cubicBezTo>
                    <a:cubicBezTo>
                      <a:pt x="99" y="495"/>
                      <a:pt x="99" y="495"/>
                      <a:pt x="99" y="495"/>
                    </a:cubicBezTo>
                    <a:cubicBezTo>
                      <a:pt x="99" y="499"/>
                      <a:pt x="99" y="499"/>
                      <a:pt x="99" y="499"/>
                    </a:cubicBezTo>
                    <a:cubicBezTo>
                      <a:pt x="116" y="510"/>
                      <a:pt x="116" y="510"/>
                      <a:pt x="116" y="510"/>
                    </a:cubicBezTo>
                    <a:cubicBezTo>
                      <a:pt x="125" y="508"/>
                      <a:pt x="125" y="508"/>
                      <a:pt x="125" y="508"/>
                    </a:cubicBezTo>
                    <a:cubicBezTo>
                      <a:pt x="127" y="509"/>
                      <a:pt x="127" y="509"/>
                      <a:pt x="127" y="509"/>
                    </a:cubicBezTo>
                    <a:cubicBezTo>
                      <a:pt x="125" y="515"/>
                      <a:pt x="125" y="515"/>
                      <a:pt x="125" y="515"/>
                    </a:cubicBezTo>
                    <a:cubicBezTo>
                      <a:pt x="131" y="524"/>
                      <a:pt x="131" y="524"/>
                      <a:pt x="131" y="524"/>
                    </a:cubicBezTo>
                    <a:cubicBezTo>
                      <a:pt x="135" y="520"/>
                      <a:pt x="135" y="520"/>
                      <a:pt x="135" y="520"/>
                    </a:cubicBezTo>
                    <a:cubicBezTo>
                      <a:pt x="136" y="521"/>
                      <a:pt x="136" y="521"/>
                      <a:pt x="136" y="521"/>
                    </a:cubicBezTo>
                    <a:cubicBezTo>
                      <a:pt x="144" y="520"/>
                      <a:pt x="144" y="520"/>
                      <a:pt x="144" y="520"/>
                    </a:cubicBezTo>
                    <a:cubicBezTo>
                      <a:pt x="154" y="532"/>
                      <a:pt x="154" y="532"/>
                      <a:pt x="154" y="532"/>
                    </a:cubicBezTo>
                    <a:cubicBezTo>
                      <a:pt x="154" y="532"/>
                      <a:pt x="165" y="528"/>
                      <a:pt x="167" y="530"/>
                    </a:cubicBezTo>
                    <a:cubicBezTo>
                      <a:pt x="170" y="532"/>
                      <a:pt x="170" y="535"/>
                      <a:pt x="171" y="535"/>
                    </a:cubicBezTo>
                    <a:cubicBezTo>
                      <a:pt x="174" y="535"/>
                      <a:pt x="175" y="531"/>
                      <a:pt x="175" y="531"/>
                    </a:cubicBezTo>
                    <a:cubicBezTo>
                      <a:pt x="175" y="531"/>
                      <a:pt x="181" y="540"/>
                      <a:pt x="186" y="536"/>
                    </a:cubicBezTo>
                    <a:cubicBezTo>
                      <a:pt x="191" y="534"/>
                      <a:pt x="185" y="527"/>
                      <a:pt x="191" y="527"/>
                    </a:cubicBezTo>
                    <a:cubicBezTo>
                      <a:pt x="196" y="527"/>
                      <a:pt x="200" y="531"/>
                      <a:pt x="200" y="531"/>
                    </a:cubicBezTo>
                    <a:cubicBezTo>
                      <a:pt x="200" y="531"/>
                      <a:pt x="205" y="530"/>
                      <a:pt x="207" y="532"/>
                    </a:cubicBezTo>
                    <a:cubicBezTo>
                      <a:pt x="208" y="533"/>
                      <a:pt x="213" y="540"/>
                      <a:pt x="213" y="540"/>
                    </a:cubicBezTo>
                    <a:cubicBezTo>
                      <a:pt x="213" y="540"/>
                      <a:pt x="220" y="537"/>
                      <a:pt x="223" y="538"/>
                    </a:cubicBezTo>
                    <a:cubicBezTo>
                      <a:pt x="226" y="541"/>
                      <a:pt x="227" y="545"/>
                      <a:pt x="227" y="545"/>
                    </a:cubicBezTo>
                    <a:cubicBezTo>
                      <a:pt x="231" y="543"/>
                      <a:pt x="231" y="543"/>
                      <a:pt x="231" y="543"/>
                    </a:cubicBezTo>
                    <a:cubicBezTo>
                      <a:pt x="235" y="546"/>
                      <a:pt x="235" y="546"/>
                      <a:pt x="235" y="546"/>
                    </a:cubicBezTo>
                    <a:cubicBezTo>
                      <a:pt x="237" y="545"/>
                      <a:pt x="237" y="545"/>
                      <a:pt x="237" y="545"/>
                    </a:cubicBezTo>
                    <a:cubicBezTo>
                      <a:pt x="242" y="548"/>
                      <a:pt x="242" y="548"/>
                      <a:pt x="242" y="548"/>
                    </a:cubicBezTo>
                    <a:cubicBezTo>
                      <a:pt x="238" y="554"/>
                      <a:pt x="238" y="554"/>
                      <a:pt x="238" y="554"/>
                    </a:cubicBezTo>
                    <a:cubicBezTo>
                      <a:pt x="245" y="559"/>
                      <a:pt x="245" y="559"/>
                      <a:pt x="245" y="559"/>
                    </a:cubicBezTo>
                    <a:cubicBezTo>
                      <a:pt x="245" y="559"/>
                      <a:pt x="251" y="554"/>
                      <a:pt x="251" y="556"/>
                    </a:cubicBezTo>
                    <a:cubicBezTo>
                      <a:pt x="251" y="557"/>
                      <a:pt x="249" y="563"/>
                      <a:pt x="249" y="563"/>
                    </a:cubicBezTo>
                    <a:cubicBezTo>
                      <a:pt x="249" y="563"/>
                      <a:pt x="250" y="567"/>
                      <a:pt x="254" y="567"/>
                    </a:cubicBezTo>
                    <a:cubicBezTo>
                      <a:pt x="259" y="567"/>
                      <a:pt x="266" y="560"/>
                      <a:pt x="270" y="564"/>
                    </a:cubicBezTo>
                    <a:cubicBezTo>
                      <a:pt x="274" y="568"/>
                      <a:pt x="277" y="571"/>
                      <a:pt x="277" y="571"/>
                    </a:cubicBezTo>
                    <a:cubicBezTo>
                      <a:pt x="282" y="571"/>
                      <a:pt x="282" y="571"/>
                      <a:pt x="282" y="571"/>
                    </a:cubicBezTo>
                    <a:cubicBezTo>
                      <a:pt x="284" y="571"/>
                      <a:pt x="287" y="561"/>
                      <a:pt x="295" y="562"/>
                    </a:cubicBezTo>
                    <a:cubicBezTo>
                      <a:pt x="301" y="564"/>
                      <a:pt x="302" y="567"/>
                      <a:pt x="302" y="567"/>
                    </a:cubicBezTo>
                    <a:cubicBezTo>
                      <a:pt x="309" y="567"/>
                      <a:pt x="309" y="567"/>
                      <a:pt x="309" y="567"/>
                    </a:cubicBezTo>
                    <a:cubicBezTo>
                      <a:pt x="309" y="567"/>
                      <a:pt x="308" y="562"/>
                      <a:pt x="307" y="561"/>
                    </a:cubicBezTo>
                    <a:cubicBezTo>
                      <a:pt x="305" y="560"/>
                      <a:pt x="305" y="552"/>
                      <a:pt x="306" y="549"/>
                    </a:cubicBezTo>
                    <a:cubicBezTo>
                      <a:pt x="307" y="546"/>
                      <a:pt x="306" y="541"/>
                      <a:pt x="306" y="541"/>
                    </a:cubicBezTo>
                    <a:cubicBezTo>
                      <a:pt x="301" y="542"/>
                      <a:pt x="301" y="542"/>
                      <a:pt x="301" y="542"/>
                    </a:cubicBezTo>
                    <a:cubicBezTo>
                      <a:pt x="301" y="542"/>
                      <a:pt x="301" y="537"/>
                      <a:pt x="303" y="536"/>
                    </a:cubicBezTo>
                    <a:cubicBezTo>
                      <a:pt x="306" y="536"/>
                      <a:pt x="307" y="531"/>
                      <a:pt x="307" y="530"/>
                    </a:cubicBezTo>
                    <a:cubicBezTo>
                      <a:pt x="307" y="529"/>
                      <a:pt x="301" y="526"/>
                      <a:pt x="303" y="525"/>
                    </a:cubicBezTo>
                    <a:cubicBezTo>
                      <a:pt x="306" y="522"/>
                      <a:pt x="307" y="525"/>
                      <a:pt x="307" y="525"/>
                    </a:cubicBezTo>
                    <a:cubicBezTo>
                      <a:pt x="311" y="525"/>
                      <a:pt x="311" y="525"/>
                      <a:pt x="311" y="525"/>
                    </a:cubicBezTo>
                    <a:cubicBezTo>
                      <a:pt x="311" y="525"/>
                      <a:pt x="312" y="518"/>
                      <a:pt x="318" y="515"/>
                    </a:cubicBezTo>
                    <a:cubicBezTo>
                      <a:pt x="325" y="512"/>
                      <a:pt x="326" y="516"/>
                      <a:pt x="330" y="514"/>
                    </a:cubicBezTo>
                    <a:cubicBezTo>
                      <a:pt x="334" y="512"/>
                      <a:pt x="332" y="506"/>
                      <a:pt x="332" y="506"/>
                    </a:cubicBezTo>
                    <a:cubicBezTo>
                      <a:pt x="332" y="506"/>
                      <a:pt x="339" y="499"/>
                      <a:pt x="339" y="502"/>
                    </a:cubicBezTo>
                    <a:cubicBezTo>
                      <a:pt x="340" y="504"/>
                      <a:pt x="335" y="508"/>
                      <a:pt x="335" y="508"/>
                    </a:cubicBezTo>
                    <a:cubicBezTo>
                      <a:pt x="340" y="509"/>
                      <a:pt x="340" y="509"/>
                      <a:pt x="340" y="509"/>
                    </a:cubicBezTo>
                    <a:cubicBezTo>
                      <a:pt x="343" y="505"/>
                      <a:pt x="343" y="505"/>
                      <a:pt x="343" y="505"/>
                    </a:cubicBezTo>
                    <a:cubicBezTo>
                      <a:pt x="343" y="502"/>
                      <a:pt x="343" y="502"/>
                      <a:pt x="343" y="502"/>
                    </a:cubicBezTo>
                    <a:cubicBezTo>
                      <a:pt x="343" y="502"/>
                      <a:pt x="349" y="498"/>
                      <a:pt x="355" y="498"/>
                    </a:cubicBezTo>
                    <a:cubicBezTo>
                      <a:pt x="360" y="498"/>
                      <a:pt x="363" y="503"/>
                      <a:pt x="363" y="503"/>
                    </a:cubicBezTo>
                    <a:cubicBezTo>
                      <a:pt x="363" y="503"/>
                      <a:pt x="382" y="508"/>
                      <a:pt x="382" y="509"/>
                    </a:cubicBezTo>
                    <a:cubicBezTo>
                      <a:pt x="382" y="510"/>
                      <a:pt x="383" y="515"/>
                      <a:pt x="383" y="515"/>
                    </a:cubicBezTo>
                    <a:cubicBezTo>
                      <a:pt x="396" y="516"/>
                      <a:pt x="396" y="516"/>
                      <a:pt x="396" y="516"/>
                    </a:cubicBezTo>
                    <a:cubicBezTo>
                      <a:pt x="396" y="516"/>
                      <a:pt x="396" y="506"/>
                      <a:pt x="397" y="508"/>
                    </a:cubicBezTo>
                    <a:cubicBezTo>
                      <a:pt x="398" y="509"/>
                      <a:pt x="406" y="517"/>
                      <a:pt x="406" y="517"/>
                    </a:cubicBezTo>
                    <a:cubicBezTo>
                      <a:pt x="418" y="516"/>
                      <a:pt x="418" y="516"/>
                      <a:pt x="418" y="516"/>
                    </a:cubicBezTo>
                    <a:cubicBezTo>
                      <a:pt x="418" y="516"/>
                      <a:pt x="422" y="518"/>
                      <a:pt x="422" y="519"/>
                    </a:cubicBezTo>
                    <a:cubicBezTo>
                      <a:pt x="422" y="520"/>
                      <a:pt x="418" y="526"/>
                      <a:pt x="421" y="527"/>
                    </a:cubicBezTo>
                    <a:cubicBezTo>
                      <a:pt x="423" y="528"/>
                      <a:pt x="430" y="528"/>
                      <a:pt x="432" y="529"/>
                    </a:cubicBezTo>
                    <a:cubicBezTo>
                      <a:pt x="433" y="530"/>
                      <a:pt x="438" y="538"/>
                      <a:pt x="441" y="538"/>
                    </a:cubicBezTo>
                    <a:cubicBezTo>
                      <a:pt x="445" y="537"/>
                      <a:pt x="448" y="534"/>
                      <a:pt x="448" y="534"/>
                    </a:cubicBezTo>
                    <a:cubicBezTo>
                      <a:pt x="454" y="536"/>
                      <a:pt x="454" y="536"/>
                      <a:pt x="454" y="536"/>
                    </a:cubicBezTo>
                    <a:cubicBezTo>
                      <a:pt x="456" y="542"/>
                      <a:pt x="456" y="542"/>
                      <a:pt x="456" y="542"/>
                    </a:cubicBezTo>
                    <a:cubicBezTo>
                      <a:pt x="459" y="540"/>
                      <a:pt x="459" y="540"/>
                      <a:pt x="459" y="540"/>
                    </a:cubicBezTo>
                    <a:cubicBezTo>
                      <a:pt x="461" y="534"/>
                      <a:pt x="461" y="534"/>
                      <a:pt x="461" y="534"/>
                    </a:cubicBezTo>
                    <a:cubicBezTo>
                      <a:pt x="467" y="536"/>
                      <a:pt x="467" y="536"/>
                      <a:pt x="467" y="536"/>
                    </a:cubicBezTo>
                    <a:cubicBezTo>
                      <a:pt x="469" y="533"/>
                      <a:pt x="469" y="533"/>
                      <a:pt x="469" y="533"/>
                    </a:cubicBezTo>
                    <a:cubicBezTo>
                      <a:pt x="477" y="532"/>
                      <a:pt x="477" y="532"/>
                      <a:pt x="477" y="532"/>
                    </a:cubicBezTo>
                    <a:cubicBezTo>
                      <a:pt x="482" y="533"/>
                      <a:pt x="482" y="533"/>
                      <a:pt x="482" y="533"/>
                    </a:cubicBezTo>
                    <a:cubicBezTo>
                      <a:pt x="482" y="529"/>
                      <a:pt x="482" y="529"/>
                      <a:pt x="482" y="529"/>
                    </a:cubicBezTo>
                    <a:cubicBezTo>
                      <a:pt x="482" y="529"/>
                      <a:pt x="479" y="520"/>
                      <a:pt x="483" y="519"/>
                    </a:cubicBezTo>
                    <a:cubicBezTo>
                      <a:pt x="488" y="517"/>
                      <a:pt x="491" y="519"/>
                      <a:pt x="493" y="518"/>
                    </a:cubicBezTo>
                    <a:cubicBezTo>
                      <a:pt x="495" y="517"/>
                      <a:pt x="493" y="508"/>
                      <a:pt x="497" y="509"/>
                    </a:cubicBezTo>
                    <a:cubicBezTo>
                      <a:pt x="500" y="509"/>
                      <a:pt x="505" y="513"/>
                      <a:pt x="507" y="509"/>
                    </a:cubicBezTo>
                    <a:cubicBezTo>
                      <a:pt x="509" y="504"/>
                      <a:pt x="503" y="501"/>
                      <a:pt x="512" y="501"/>
                    </a:cubicBezTo>
                    <a:cubicBezTo>
                      <a:pt x="521" y="501"/>
                      <a:pt x="520" y="499"/>
                      <a:pt x="520" y="499"/>
                    </a:cubicBezTo>
                    <a:cubicBezTo>
                      <a:pt x="520" y="499"/>
                      <a:pt x="516" y="495"/>
                      <a:pt x="520" y="495"/>
                    </a:cubicBezTo>
                    <a:cubicBezTo>
                      <a:pt x="522" y="494"/>
                      <a:pt x="525" y="497"/>
                      <a:pt x="525" y="497"/>
                    </a:cubicBezTo>
                    <a:cubicBezTo>
                      <a:pt x="528" y="496"/>
                      <a:pt x="528" y="496"/>
                      <a:pt x="528" y="496"/>
                    </a:cubicBezTo>
                    <a:cubicBezTo>
                      <a:pt x="524" y="487"/>
                      <a:pt x="524" y="487"/>
                      <a:pt x="524" y="487"/>
                    </a:cubicBezTo>
                    <a:cubicBezTo>
                      <a:pt x="524" y="487"/>
                      <a:pt x="531" y="486"/>
                      <a:pt x="535" y="478"/>
                    </a:cubicBezTo>
                    <a:cubicBezTo>
                      <a:pt x="537" y="470"/>
                      <a:pt x="535" y="468"/>
                      <a:pt x="534" y="468"/>
                    </a:cubicBezTo>
                    <a:cubicBezTo>
                      <a:pt x="531" y="468"/>
                      <a:pt x="523" y="472"/>
                      <a:pt x="518" y="470"/>
                    </a:cubicBezTo>
                    <a:cubicBezTo>
                      <a:pt x="511" y="468"/>
                      <a:pt x="506" y="465"/>
                      <a:pt x="502" y="456"/>
                    </a:cubicBezTo>
                    <a:cubicBezTo>
                      <a:pt x="496" y="448"/>
                      <a:pt x="499" y="439"/>
                      <a:pt x="502" y="437"/>
                    </a:cubicBezTo>
                    <a:cubicBezTo>
                      <a:pt x="505" y="436"/>
                      <a:pt x="506" y="433"/>
                      <a:pt x="506" y="433"/>
                    </a:cubicBezTo>
                    <a:cubicBezTo>
                      <a:pt x="505" y="421"/>
                      <a:pt x="505" y="421"/>
                      <a:pt x="505" y="421"/>
                    </a:cubicBezTo>
                    <a:cubicBezTo>
                      <a:pt x="505" y="421"/>
                      <a:pt x="498" y="425"/>
                      <a:pt x="496" y="419"/>
                    </a:cubicBezTo>
                    <a:cubicBezTo>
                      <a:pt x="493" y="411"/>
                      <a:pt x="493" y="410"/>
                      <a:pt x="493" y="410"/>
                    </a:cubicBezTo>
                    <a:cubicBezTo>
                      <a:pt x="493" y="410"/>
                      <a:pt x="488" y="416"/>
                      <a:pt x="489" y="409"/>
                    </a:cubicBezTo>
                    <a:cubicBezTo>
                      <a:pt x="489" y="404"/>
                      <a:pt x="494" y="403"/>
                      <a:pt x="494" y="403"/>
                    </a:cubicBezTo>
                    <a:cubicBezTo>
                      <a:pt x="498" y="404"/>
                      <a:pt x="498" y="404"/>
                      <a:pt x="498" y="404"/>
                    </a:cubicBezTo>
                    <a:cubicBezTo>
                      <a:pt x="498" y="404"/>
                      <a:pt x="511" y="401"/>
                      <a:pt x="512" y="394"/>
                    </a:cubicBezTo>
                    <a:cubicBezTo>
                      <a:pt x="514" y="387"/>
                      <a:pt x="514" y="386"/>
                      <a:pt x="512" y="384"/>
                    </a:cubicBezTo>
                    <a:cubicBezTo>
                      <a:pt x="509" y="382"/>
                      <a:pt x="507" y="384"/>
                      <a:pt x="507" y="382"/>
                    </a:cubicBezTo>
                    <a:cubicBezTo>
                      <a:pt x="507" y="370"/>
                      <a:pt x="507" y="370"/>
                      <a:pt x="507" y="370"/>
                    </a:cubicBezTo>
                    <a:cubicBezTo>
                      <a:pt x="507" y="370"/>
                      <a:pt x="496" y="369"/>
                      <a:pt x="499" y="362"/>
                    </a:cubicBezTo>
                    <a:cubicBezTo>
                      <a:pt x="503" y="356"/>
                      <a:pt x="511" y="359"/>
                      <a:pt x="511" y="353"/>
                    </a:cubicBezTo>
                    <a:cubicBezTo>
                      <a:pt x="511" y="345"/>
                      <a:pt x="505" y="343"/>
                      <a:pt x="505" y="343"/>
                    </a:cubicBezTo>
                    <a:cubicBezTo>
                      <a:pt x="504" y="340"/>
                      <a:pt x="504" y="340"/>
                      <a:pt x="504" y="340"/>
                    </a:cubicBezTo>
                    <a:cubicBezTo>
                      <a:pt x="500" y="340"/>
                      <a:pt x="500" y="340"/>
                      <a:pt x="500" y="340"/>
                    </a:cubicBezTo>
                    <a:cubicBezTo>
                      <a:pt x="500" y="340"/>
                      <a:pt x="503" y="336"/>
                      <a:pt x="504" y="331"/>
                    </a:cubicBezTo>
                    <a:cubicBezTo>
                      <a:pt x="505" y="327"/>
                      <a:pt x="502" y="325"/>
                      <a:pt x="502" y="325"/>
                    </a:cubicBezTo>
                    <a:cubicBezTo>
                      <a:pt x="503" y="320"/>
                      <a:pt x="503" y="320"/>
                      <a:pt x="503" y="320"/>
                    </a:cubicBezTo>
                    <a:cubicBezTo>
                      <a:pt x="503" y="320"/>
                      <a:pt x="497" y="315"/>
                      <a:pt x="489" y="316"/>
                    </a:cubicBezTo>
                    <a:cubicBezTo>
                      <a:pt x="480" y="317"/>
                      <a:pt x="475" y="323"/>
                      <a:pt x="475" y="326"/>
                    </a:cubicBezTo>
                    <a:cubicBezTo>
                      <a:pt x="475" y="328"/>
                      <a:pt x="477" y="329"/>
                      <a:pt x="477" y="329"/>
                    </a:cubicBezTo>
                    <a:cubicBezTo>
                      <a:pt x="471" y="336"/>
                      <a:pt x="471" y="336"/>
                      <a:pt x="471" y="336"/>
                    </a:cubicBezTo>
                    <a:cubicBezTo>
                      <a:pt x="464" y="336"/>
                      <a:pt x="464" y="336"/>
                      <a:pt x="464" y="336"/>
                    </a:cubicBezTo>
                    <a:cubicBezTo>
                      <a:pt x="463" y="330"/>
                      <a:pt x="463" y="330"/>
                      <a:pt x="463" y="330"/>
                    </a:cubicBezTo>
                    <a:cubicBezTo>
                      <a:pt x="467" y="330"/>
                      <a:pt x="467" y="330"/>
                      <a:pt x="467" y="330"/>
                    </a:cubicBezTo>
                    <a:cubicBezTo>
                      <a:pt x="472" y="323"/>
                      <a:pt x="472" y="323"/>
                      <a:pt x="472" y="323"/>
                    </a:cubicBezTo>
                    <a:cubicBezTo>
                      <a:pt x="472" y="323"/>
                      <a:pt x="465" y="320"/>
                      <a:pt x="470" y="312"/>
                    </a:cubicBezTo>
                    <a:cubicBezTo>
                      <a:pt x="474" y="306"/>
                      <a:pt x="485" y="303"/>
                      <a:pt x="487" y="297"/>
                    </a:cubicBezTo>
                    <a:cubicBezTo>
                      <a:pt x="489" y="291"/>
                      <a:pt x="486" y="285"/>
                      <a:pt x="488" y="284"/>
                    </a:cubicBezTo>
                    <a:cubicBezTo>
                      <a:pt x="491" y="282"/>
                      <a:pt x="495" y="283"/>
                      <a:pt x="498" y="280"/>
                    </a:cubicBezTo>
                    <a:cubicBezTo>
                      <a:pt x="502" y="277"/>
                      <a:pt x="514" y="261"/>
                      <a:pt x="514" y="261"/>
                    </a:cubicBezTo>
                    <a:cubicBezTo>
                      <a:pt x="509" y="260"/>
                      <a:pt x="509" y="260"/>
                      <a:pt x="509" y="260"/>
                    </a:cubicBezTo>
                    <a:cubicBezTo>
                      <a:pt x="509" y="260"/>
                      <a:pt x="511" y="248"/>
                      <a:pt x="515" y="249"/>
                    </a:cubicBezTo>
                    <a:cubicBezTo>
                      <a:pt x="521" y="249"/>
                      <a:pt x="520" y="256"/>
                      <a:pt x="524" y="257"/>
                    </a:cubicBezTo>
                    <a:cubicBezTo>
                      <a:pt x="528" y="257"/>
                      <a:pt x="536" y="252"/>
                      <a:pt x="536" y="252"/>
                    </a:cubicBezTo>
                    <a:cubicBezTo>
                      <a:pt x="536" y="249"/>
                      <a:pt x="536" y="249"/>
                      <a:pt x="536" y="249"/>
                    </a:cubicBezTo>
                    <a:cubicBezTo>
                      <a:pt x="543" y="244"/>
                      <a:pt x="543" y="244"/>
                      <a:pt x="543" y="244"/>
                    </a:cubicBezTo>
                    <a:cubicBezTo>
                      <a:pt x="540" y="237"/>
                      <a:pt x="542" y="228"/>
                      <a:pt x="545" y="221"/>
                    </a:cubicBezTo>
                    <a:cubicBezTo>
                      <a:pt x="546" y="219"/>
                      <a:pt x="546" y="207"/>
                      <a:pt x="548" y="204"/>
                    </a:cubicBezTo>
                    <a:cubicBezTo>
                      <a:pt x="551" y="201"/>
                      <a:pt x="553" y="197"/>
                      <a:pt x="552" y="194"/>
                    </a:cubicBezTo>
                    <a:cubicBezTo>
                      <a:pt x="557" y="179"/>
                      <a:pt x="557" y="179"/>
                      <a:pt x="557" y="179"/>
                    </a:cubicBezTo>
                    <a:cubicBezTo>
                      <a:pt x="562" y="172"/>
                      <a:pt x="562" y="172"/>
                      <a:pt x="562" y="172"/>
                    </a:cubicBezTo>
                    <a:cubicBezTo>
                      <a:pt x="563" y="168"/>
                      <a:pt x="568" y="169"/>
                      <a:pt x="570" y="167"/>
                    </a:cubicBezTo>
                    <a:cubicBezTo>
                      <a:pt x="572" y="164"/>
                      <a:pt x="571" y="158"/>
                      <a:pt x="575" y="156"/>
                    </a:cubicBezTo>
                    <a:close/>
                    <a:moveTo>
                      <a:pt x="621" y="571"/>
                    </a:moveTo>
                    <a:cubicBezTo>
                      <a:pt x="617" y="569"/>
                      <a:pt x="617" y="569"/>
                      <a:pt x="617" y="569"/>
                    </a:cubicBezTo>
                    <a:cubicBezTo>
                      <a:pt x="617" y="569"/>
                      <a:pt x="618" y="561"/>
                      <a:pt x="619" y="558"/>
                    </a:cubicBezTo>
                    <a:cubicBezTo>
                      <a:pt x="620" y="553"/>
                      <a:pt x="618" y="545"/>
                      <a:pt x="618" y="545"/>
                    </a:cubicBezTo>
                    <a:cubicBezTo>
                      <a:pt x="612" y="544"/>
                      <a:pt x="612" y="544"/>
                      <a:pt x="612" y="544"/>
                    </a:cubicBezTo>
                    <a:cubicBezTo>
                      <a:pt x="612" y="544"/>
                      <a:pt x="614" y="565"/>
                      <a:pt x="610" y="565"/>
                    </a:cubicBezTo>
                    <a:cubicBezTo>
                      <a:pt x="606" y="566"/>
                      <a:pt x="606" y="563"/>
                      <a:pt x="601" y="563"/>
                    </a:cubicBezTo>
                    <a:cubicBezTo>
                      <a:pt x="595" y="563"/>
                      <a:pt x="596" y="568"/>
                      <a:pt x="596" y="568"/>
                    </a:cubicBezTo>
                    <a:cubicBezTo>
                      <a:pt x="596" y="568"/>
                      <a:pt x="588" y="569"/>
                      <a:pt x="583" y="572"/>
                    </a:cubicBezTo>
                    <a:cubicBezTo>
                      <a:pt x="577" y="575"/>
                      <a:pt x="578" y="579"/>
                      <a:pt x="578" y="579"/>
                    </a:cubicBezTo>
                    <a:cubicBezTo>
                      <a:pt x="577" y="583"/>
                      <a:pt x="577" y="583"/>
                      <a:pt x="577" y="583"/>
                    </a:cubicBezTo>
                    <a:cubicBezTo>
                      <a:pt x="573" y="585"/>
                      <a:pt x="573" y="585"/>
                      <a:pt x="573" y="585"/>
                    </a:cubicBezTo>
                    <a:cubicBezTo>
                      <a:pt x="573" y="590"/>
                      <a:pt x="573" y="590"/>
                      <a:pt x="573" y="590"/>
                    </a:cubicBezTo>
                    <a:cubicBezTo>
                      <a:pt x="577" y="592"/>
                      <a:pt x="577" y="592"/>
                      <a:pt x="577" y="592"/>
                    </a:cubicBezTo>
                    <a:cubicBezTo>
                      <a:pt x="573" y="596"/>
                      <a:pt x="573" y="596"/>
                      <a:pt x="573" y="596"/>
                    </a:cubicBezTo>
                    <a:cubicBezTo>
                      <a:pt x="574" y="601"/>
                      <a:pt x="574" y="601"/>
                      <a:pt x="574" y="601"/>
                    </a:cubicBezTo>
                    <a:cubicBezTo>
                      <a:pt x="574" y="601"/>
                      <a:pt x="576" y="604"/>
                      <a:pt x="578" y="604"/>
                    </a:cubicBezTo>
                    <a:cubicBezTo>
                      <a:pt x="581" y="605"/>
                      <a:pt x="578" y="609"/>
                      <a:pt x="578" y="609"/>
                    </a:cubicBezTo>
                    <a:cubicBezTo>
                      <a:pt x="574" y="616"/>
                      <a:pt x="574" y="616"/>
                      <a:pt x="574" y="616"/>
                    </a:cubicBezTo>
                    <a:cubicBezTo>
                      <a:pt x="574" y="616"/>
                      <a:pt x="584" y="615"/>
                      <a:pt x="584" y="619"/>
                    </a:cubicBezTo>
                    <a:cubicBezTo>
                      <a:pt x="585" y="622"/>
                      <a:pt x="577" y="627"/>
                      <a:pt x="577" y="627"/>
                    </a:cubicBezTo>
                    <a:cubicBezTo>
                      <a:pt x="577" y="629"/>
                      <a:pt x="577" y="629"/>
                      <a:pt x="577" y="629"/>
                    </a:cubicBezTo>
                    <a:cubicBezTo>
                      <a:pt x="577" y="629"/>
                      <a:pt x="584" y="627"/>
                      <a:pt x="586" y="628"/>
                    </a:cubicBezTo>
                    <a:cubicBezTo>
                      <a:pt x="588" y="630"/>
                      <a:pt x="590" y="632"/>
                      <a:pt x="590" y="632"/>
                    </a:cubicBezTo>
                    <a:cubicBezTo>
                      <a:pt x="583" y="636"/>
                      <a:pt x="583" y="636"/>
                      <a:pt x="583" y="636"/>
                    </a:cubicBezTo>
                    <a:cubicBezTo>
                      <a:pt x="585" y="643"/>
                      <a:pt x="585" y="643"/>
                      <a:pt x="585" y="643"/>
                    </a:cubicBezTo>
                    <a:cubicBezTo>
                      <a:pt x="585" y="643"/>
                      <a:pt x="594" y="646"/>
                      <a:pt x="597" y="646"/>
                    </a:cubicBezTo>
                    <a:cubicBezTo>
                      <a:pt x="601" y="647"/>
                      <a:pt x="598" y="652"/>
                      <a:pt x="598" y="652"/>
                    </a:cubicBezTo>
                    <a:cubicBezTo>
                      <a:pt x="603" y="651"/>
                      <a:pt x="603" y="651"/>
                      <a:pt x="603" y="651"/>
                    </a:cubicBezTo>
                    <a:cubicBezTo>
                      <a:pt x="603" y="651"/>
                      <a:pt x="609" y="636"/>
                      <a:pt x="611" y="631"/>
                    </a:cubicBezTo>
                    <a:cubicBezTo>
                      <a:pt x="612" y="626"/>
                      <a:pt x="614" y="615"/>
                      <a:pt x="614" y="614"/>
                    </a:cubicBezTo>
                    <a:cubicBezTo>
                      <a:pt x="614" y="612"/>
                      <a:pt x="622" y="607"/>
                      <a:pt x="624" y="600"/>
                    </a:cubicBezTo>
                    <a:cubicBezTo>
                      <a:pt x="626" y="595"/>
                      <a:pt x="621" y="571"/>
                      <a:pt x="621" y="571"/>
                    </a:cubicBezTo>
                    <a:close/>
                    <a:moveTo>
                      <a:pt x="56" y="207"/>
                    </a:moveTo>
                    <a:cubicBezTo>
                      <a:pt x="56" y="212"/>
                      <a:pt x="56" y="212"/>
                      <a:pt x="56" y="212"/>
                    </a:cubicBezTo>
                    <a:cubicBezTo>
                      <a:pt x="61" y="215"/>
                      <a:pt x="64" y="213"/>
                      <a:pt x="64" y="213"/>
                    </a:cubicBezTo>
                    <a:cubicBezTo>
                      <a:pt x="57" y="204"/>
                      <a:pt x="57" y="204"/>
                      <a:pt x="57" y="204"/>
                    </a:cubicBezTo>
                    <a:lnTo>
                      <a:pt x="56" y="207"/>
                    </a:lnTo>
                    <a:close/>
                    <a:moveTo>
                      <a:pt x="126" y="100"/>
                    </a:moveTo>
                    <a:cubicBezTo>
                      <a:pt x="130" y="103"/>
                      <a:pt x="135" y="100"/>
                      <a:pt x="129" y="94"/>
                    </a:cubicBezTo>
                    <a:cubicBezTo>
                      <a:pt x="122" y="90"/>
                      <a:pt x="120" y="93"/>
                      <a:pt x="120" y="93"/>
                    </a:cubicBezTo>
                    <a:cubicBezTo>
                      <a:pt x="121" y="99"/>
                      <a:pt x="121" y="99"/>
                      <a:pt x="121" y="99"/>
                    </a:cubicBezTo>
                    <a:lnTo>
                      <a:pt x="126" y="100"/>
                    </a:lnTo>
                    <a:close/>
                    <a:moveTo>
                      <a:pt x="112" y="79"/>
                    </a:moveTo>
                    <a:cubicBezTo>
                      <a:pt x="116" y="79"/>
                      <a:pt x="121" y="74"/>
                      <a:pt x="113" y="75"/>
                    </a:cubicBezTo>
                    <a:cubicBezTo>
                      <a:pt x="104" y="76"/>
                      <a:pt x="112" y="79"/>
                      <a:pt x="112" y="79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93" name="Finland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5473700" y="1279525"/>
                <a:ext cx="814387" cy="1435100"/>
              </a:xfrm>
              <a:custGeom>
                <a:avLst/>
                <a:gdLst/>
                <a:ahLst/>
                <a:cxnLst>
                  <a:cxn ang="0">
                    <a:pos x="318" y="380"/>
                  </a:cxn>
                  <a:cxn ang="0">
                    <a:pos x="302" y="312"/>
                  </a:cxn>
                  <a:cxn ang="0">
                    <a:pos x="283" y="281"/>
                  </a:cxn>
                  <a:cxn ang="0">
                    <a:pos x="264" y="225"/>
                  </a:cxn>
                  <a:cxn ang="0">
                    <a:pos x="205" y="113"/>
                  </a:cxn>
                  <a:cxn ang="0">
                    <a:pos x="202" y="27"/>
                  </a:cxn>
                  <a:cxn ang="0">
                    <a:pos x="124" y="29"/>
                  </a:cxn>
                  <a:cxn ang="0">
                    <a:pos x="105" y="103"/>
                  </a:cxn>
                  <a:cxn ang="0">
                    <a:pos x="51" y="107"/>
                  </a:cxn>
                  <a:cxn ang="0">
                    <a:pos x="2" y="90"/>
                  </a:cxn>
                  <a:cxn ang="0">
                    <a:pos x="23" y="108"/>
                  </a:cxn>
                  <a:cxn ang="0">
                    <a:pos x="63" y="131"/>
                  </a:cxn>
                  <a:cxn ang="0">
                    <a:pos x="86" y="186"/>
                  </a:cxn>
                  <a:cxn ang="0">
                    <a:pos x="106" y="229"/>
                  </a:cxn>
                  <a:cxn ang="0">
                    <a:pos x="116" y="275"/>
                  </a:cxn>
                  <a:cxn ang="0">
                    <a:pos x="147" y="294"/>
                  </a:cxn>
                  <a:cxn ang="0">
                    <a:pos x="163" y="331"/>
                  </a:cxn>
                  <a:cxn ang="0">
                    <a:pos x="147" y="355"/>
                  </a:cxn>
                  <a:cxn ang="0">
                    <a:pos x="131" y="401"/>
                  </a:cxn>
                  <a:cxn ang="0">
                    <a:pos x="108" y="414"/>
                  </a:cxn>
                  <a:cxn ang="0">
                    <a:pos x="111" y="430"/>
                  </a:cxn>
                  <a:cxn ang="0">
                    <a:pos x="96" y="438"/>
                  </a:cxn>
                  <a:cxn ang="0">
                    <a:pos x="80" y="462"/>
                  </a:cxn>
                  <a:cxn ang="0">
                    <a:pos x="77" y="486"/>
                  </a:cxn>
                  <a:cxn ang="0">
                    <a:pos x="80" y="523"/>
                  </a:cxn>
                  <a:cxn ang="0">
                    <a:pos x="91" y="559"/>
                  </a:cxn>
                  <a:cxn ang="0">
                    <a:pos x="93" y="572"/>
                  </a:cxn>
                  <a:cxn ang="0">
                    <a:pos x="95" y="598"/>
                  </a:cxn>
                  <a:cxn ang="0">
                    <a:pos x="95" y="613"/>
                  </a:cxn>
                  <a:cxn ang="0">
                    <a:pos x="104" y="635"/>
                  </a:cxn>
                  <a:cxn ang="0">
                    <a:pos x="118" y="635"/>
                  </a:cxn>
                  <a:cxn ang="0">
                    <a:pos x="144" y="645"/>
                  </a:cxn>
                  <a:cxn ang="0">
                    <a:pos x="157" y="656"/>
                  </a:cxn>
                  <a:cxn ang="0">
                    <a:pos x="161" y="666"/>
                  </a:cxn>
                  <a:cxn ang="0">
                    <a:pos x="189" y="654"/>
                  </a:cxn>
                  <a:cxn ang="0">
                    <a:pos x="206" y="645"/>
                  </a:cxn>
                  <a:cxn ang="0">
                    <a:pos x="248" y="626"/>
                  </a:cxn>
                  <a:cxn ang="0">
                    <a:pos x="260" y="617"/>
                  </a:cxn>
                  <a:cxn ang="0">
                    <a:pos x="293" y="603"/>
                  </a:cxn>
                  <a:cxn ang="0">
                    <a:pos x="328" y="554"/>
                  </a:cxn>
                  <a:cxn ang="0">
                    <a:pos x="382" y="418"/>
                  </a:cxn>
                  <a:cxn ang="0">
                    <a:pos x="60" y="653"/>
                  </a:cxn>
                  <a:cxn ang="0">
                    <a:pos x="45" y="651"/>
                  </a:cxn>
                  <a:cxn ang="0">
                    <a:pos x="50" y="670"/>
                  </a:cxn>
                  <a:cxn ang="0">
                    <a:pos x="39" y="658"/>
                  </a:cxn>
                  <a:cxn ang="0">
                    <a:pos x="55" y="670"/>
                  </a:cxn>
                  <a:cxn ang="0">
                    <a:pos x="107" y="657"/>
                  </a:cxn>
                  <a:cxn ang="0">
                    <a:pos x="113" y="654"/>
                  </a:cxn>
                  <a:cxn ang="0">
                    <a:pos x="148" y="643"/>
                  </a:cxn>
                  <a:cxn ang="0">
                    <a:pos x="136" y="655"/>
                  </a:cxn>
                  <a:cxn ang="0">
                    <a:pos x="147" y="649"/>
                  </a:cxn>
                  <a:cxn ang="0">
                    <a:pos x="112" y="643"/>
                  </a:cxn>
                  <a:cxn ang="0">
                    <a:pos x="99" y="634"/>
                  </a:cxn>
                  <a:cxn ang="0">
                    <a:pos x="94" y="628"/>
                  </a:cxn>
                  <a:cxn ang="0">
                    <a:pos x="175" y="667"/>
                  </a:cxn>
                  <a:cxn ang="0">
                    <a:pos x="62" y="461"/>
                  </a:cxn>
                  <a:cxn ang="0">
                    <a:pos x="72" y="456"/>
                  </a:cxn>
                  <a:cxn ang="0">
                    <a:pos x="157" y="329"/>
                  </a:cxn>
                  <a:cxn ang="0">
                    <a:pos x="153" y="336"/>
                  </a:cxn>
                  <a:cxn ang="0">
                    <a:pos x="243" y="631"/>
                  </a:cxn>
                  <a:cxn ang="0">
                    <a:pos x="265" y="614"/>
                  </a:cxn>
                </a:cxnLst>
                <a:rect l="0" t="0" r="r" b="b"/>
                <a:pathLst>
                  <a:path w="382" h="674">
                    <a:moveTo>
                      <a:pt x="382" y="418"/>
                    </a:moveTo>
                    <a:cubicBezTo>
                      <a:pt x="381" y="412"/>
                      <a:pt x="369" y="412"/>
                      <a:pt x="369" y="412"/>
                    </a:cubicBezTo>
                    <a:cubicBezTo>
                      <a:pt x="366" y="404"/>
                      <a:pt x="366" y="404"/>
                      <a:pt x="366" y="404"/>
                    </a:cubicBezTo>
                    <a:cubicBezTo>
                      <a:pt x="350" y="396"/>
                      <a:pt x="350" y="396"/>
                      <a:pt x="350" y="396"/>
                    </a:cubicBezTo>
                    <a:cubicBezTo>
                      <a:pt x="339" y="394"/>
                      <a:pt x="339" y="394"/>
                      <a:pt x="339" y="394"/>
                    </a:cubicBezTo>
                    <a:cubicBezTo>
                      <a:pt x="318" y="380"/>
                      <a:pt x="318" y="380"/>
                      <a:pt x="318" y="380"/>
                    </a:cubicBezTo>
                    <a:cubicBezTo>
                      <a:pt x="327" y="374"/>
                      <a:pt x="327" y="374"/>
                      <a:pt x="327" y="374"/>
                    </a:cubicBezTo>
                    <a:cubicBezTo>
                      <a:pt x="326" y="370"/>
                      <a:pt x="326" y="370"/>
                      <a:pt x="326" y="370"/>
                    </a:cubicBezTo>
                    <a:cubicBezTo>
                      <a:pt x="326" y="370"/>
                      <a:pt x="331" y="355"/>
                      <a:pt x="327" y="346"/>
                    </a:cubicBezTo>
                    <a:cubicBezTo>
                      <a:pt x="323" y="338"/>
                      <a:pt x="313" y="344"/>
                      <a:pt x="308" y="335"/>
                    </a:cubicBezTo>
                    <a:cubicBezTo>
                      <a:pt x="301" y="326"/>
                      <a:pt x="307" y="320"/>
                      <a:pt x="307" y="320"/>
                    </a:cubicBezTo>
                    <a:cubicBezTo>
                      <a:pt x="302" y="312"/>
                      <a:pt x="302" y="312"/>
                      <a:pt x="302" y="312"/>
                    </a:cubicBezTo>
                    <a:cubicBezTo>
                      <a:pt x="292" y="317"/>
                      <a:pt x="292" y="317"/>
                      <a:pt x="292" y="317"/>
                    </a:cubicBezTo>
                    <a:cubicBezTo>
                      <a:pt x="285" y="301"/>
                      <a:pt x="285" y="301"/>
                      <a:pt x="285" y="301"/>
                    </a:cubicBezTo>
                    <a:cubicBezTo>
                      <a:pt x="292" y="296"/>
                      <a:pt x="292" y="296"/>
                      <a:pt x="292" y="296"/>
                    </a:cubicBezTo>
                    <a:cubicBezTo>
                      <a:pt x="291" y="291"/>
                      <a:pt x="291" y="291"/>
                      <a:pt x="291" y="291"/>
                    </a:cubicBezTo>
                    <a:cubicBezTo>
                      <a:pt x="280" y="293"/>
                      <a:pt x="280" y="293"/>
                      <a:pt x="280" y="293"/>
                    </a:cubicBezTo>
                    <a:cubicBezTo>
                      <a:pt x="283" y="281"/>
                      <a:pt x="283" y="281"/>
                      <a:pt x="283" y="281"/>
                    </a:cubicBezTo>
                    <a:cubicBezTo>
                      <a:pt x="280" y="272"/>
                      <a:pt x="280" y="272"/>
                      <a:pt x="280" y="272"/>
                    </a:cubicBezTo>
                    <a:cubicBezTo>
                      <a:pt x="284" y="267"/>
                      <a:pt x="284" y="267"/>
                      <a:pt x="284" y="267"/>
                    </a:cubicBezTo>
                    <a:cubicBezTo>
                      <a:pt x="277" y="265"/>
                      <a:pt x="277" y="265"/>
                      <a:pt x="277" y="265"/>
                    </a:cubicBezTo>
                    <a:cubicBezTo>
                      <a:pt x="288" y="259"/>
                      <a:pt x="288" y="259"/>
                      <a:pt x="288" y="259"/>
                    </a:cubicBezTo>
                    <a:cubicBezTo>
                      <a:pt x="288" y="259"/>
                      <a:pt x="286" y="249"/>
                      <a:pt x="281" y="240"/>
                    </a:cubicBezTo>
                    <a:cubicBezTo>
                      <a:pt x="277" y="232"/>
                      <a:pt x="264" y="225"/>
                      <a:pt x="264" y="225"/>
                    </a:cubicBezTo>
                    <a:cubicBezTo>
                      <a:pt x="261" y="223"/>
                      <a:pt x="262" y="214"/>
                      <a:pt x="254" y="208"/>
                    </a:cubicBezTo>
                    <a:cubicBezTo>
                      <a:pt x="248" y="204"/>
                      <a:pt x="237" y="187"/>
                      <a:pt x="237" y="187"/>
                    </a:cubicBezTo>
                    <a:cubicBezTo>
                      <a:pt x="237" y="187"/>
                      <a:pt x="252" y="152"/>
                      <a:pt x="251" y="142"/>
                    </a:cubicBezTo>
                    <a:cubicBezTo>
                      <a:pt x="250" y="133"/>
                      <a:pt x="238" y="133"/>
                      <a:pt x="238" y="133"/>
                    </a:cubicBezTo>
                    <a:cubicBezTo>
                      <a:pt x="226" y="117"/>
                      <a:pt x="226" y="117"/>
                      <a:pt x="226" y="117"/>
                    </a:cubicBezTo>
                    <a:cubicBezTo>
                      <a:pt x="205" y="113"/>
                      <a:pt x="205" y="113"/>
                      <a:pt x="205" y="113"/>
                    </a:cubicBezTo>
                    <a:cubicBezTo>
                      <a:pt x="196" y="90"/>
                      <a:pt x="196" y="90"/>
                      <a:pt x="196" y="90"/>
                    </a:cubicBezTo>
                    <a:cubicBezTo>
                      <a:pt x="199" y="70"/>
                      <a:pt x="199" y="70"/>
                      <a:pt x="199" y="70"/>
                    </a:cubicBezTo>
                    <a:cubicBezTo>
                      <a:pt x="188" y="68"/>
                      <a:pt x="188" y="68"/>
                      <a:pt x="188" y="68"/>
                    </a:cubicBezTo>
                    <a:cubicBezTo>
                      <a:pt x="197" y="57"/>
                      <a:pt x="197" y="57"/>
                      <a:pt x="197" y="57"/>
                    </a:cubicBezTo>
                    <a:cubicBezTo>
                      <a:pt x="197" y="57"/>
                      <a:pt x="194" y="52"/>
                      <a:pt x="194" y="46"/>
                    </a:cubicBezTo>
                    <a:cubicBezTo>
                      <a:pt x="194" y="41"/>
                      <a:pt x="202" y="27"/>
                      <a:pt x="202" y="27"/>
                    </a:cubicBezTo>
                    <a:cubicBezTo>
                      <a:pt x="195" y="16"/>
                      <a:pt x="195" y="16"/>
                      <a:pt x="195" y="16"/>
                    </a:cubicBezTo>
                    <a:cubicBezTo>
                      <a:pt x="172" y="13"/>
                      <a:pt x="172" y="13"/>
                      <a:pt x="172" y="13"/>
                    </a:cubicBezTo>
                    <a:cubicBezTo>
                      <a:pt x="172" y="13"/>
                      <a:pt x="163" y="0"/>
                      <a:pt x="157" y="1"/>
                    </a:cubicBezTo>
                    <a:cubicBezTo>
                      <a:pt x="151" y="2"/>
                      <a:pt x="142" y="14"/>
                      <a:pt x="142" y="14"/>
                    </a:cubicBezTo>
                    <a:cubicBezTo>
                      <a:pt x="142" y="14"/>
                      <a:pt x="135" y="12"/>
                      <a:pt x="129" y="15"/>
                    </a:cubicBezTo>
                    <a:cubicBezTo>
                      <a:pt x="123" y="17"/>
                      <a:pt x="124" y="29"/>
                      <a:pt x="124" y="29"/>
                    </a:cubicBezTo>
                    <a:cubicBezTo>
                      <a:pt x="121" y="33"/>
                      <a:pt x="121" y="33"/>
                      <a:pt x="121" y="33"/>
                    </a:cubicBezTo>
                    <a:cubicBezTo>
                      <a:pt x="119" y="66"/>
                      <a:pt x="119" y="66"/>
                      <a:pt x="119" y="66"/>
                    </a:cubicBezTo>
                    <a:cubicBezTo>
                      <a:pt x="119" y="66"/>
                      <a:pt x="121" y="75"/>
                      <a:pt x="122" y="80"/>
                    </a:cubicBezTo>
                    <a:cubicBezTo>
                      <a:pt x="122" y="86"/>
                      <a:pt x="119" y="90"/>
                      <a:pt x="117" y="93"/>
                    </a:cubicBezTo>
                    <a:cubicBezTo>
                      <a:pt x="114" y="97"/>
                      <a:pt x="112" y="110"/>
                      <a:pt x="112" y="110"/>
                    </a:cubicBezTo>
                    <a:cubicBezTo>
                      <a:pt x="105" y="103"/>
                      <a:pt x="105" y="103"/>
                      <a:pt x="105" y="103"/>
                    </a:cubicBezTo>
                    <a:cubicBezTo>
                      <a:pt x="93" y="102"/>
                      <a:pt x="93" y="102"/>
                      <a:pt x="93" y="102"/>
                    </a:cubicBezTo>
                    <a:cubicBezTo>
                      <a:pt x="93" y="102"/>
                      <a:pt x="91" y="97"/>
                      <a:pt x="86" y="97"/>
                    </a:cubicBezTo>
                    <a:cubicBezTo>
                      <a:pt x="80" y="97"/>
                      <a:pt x="78" y="105"/>
                      <a:pt x="78" y="105"/>
                    </a:cubicBezTo>
                    <a:cubicBezTo>
                      <a:pt x="69" y="111"/>
                      <a:pt x="69" y="111"/>
                      <a:pt x="69" y="111"/>
                    </a:cubicBezTo>
                    <a:cubicBezTo>
                      <a:pt x="62" y="107"/>
                      <a:pt x="62" y="107"/>
                      <a:pt x="62" y="107"/>
                    </a:cubicBezTo>
                    <a:cubicBezTo>
                      <a:pt x="51" y="107"/>
                      <a:pt x="51" y="107"/>
                      <a:pt x="51" y="107"/>
                    </a:cubicBezTo>
                    <a:cubicBezTo>
                      <a:pt x="46" y="108"/>
                      <a:pt x="46" y="108"/>
                      <a:pt x="46" y="108"/>
                    </a:cubicBezTo>
                    <a:cubicBezTo>
                      <a:pt x="46" y="108"/>
                      <a:pt x="44" y="99"/>
                      <a:pt x="37" y="93"/>
                    </a:cubicBezTo>
                    <a:cubicBezTo>
                      <a:pt x="32" y="88"/>
                      <a:pt x="25" y="78"/>
                      <a:pt x="25" y="78"/>
                    </a:cubicBezTo>
                    <a:cubicBezTo>
                      <a:pt x="25" y="78"/>
                      <a:pt x="16" y="75"/>
                      <a:pt x="12" y="80"/>
                    </a:cubicBezTo>
                    <a:cubicBezTo>
                      <a:pt x="6" y="84"/>
                      <a:pt x="14" y="91"/>
                      <a:pt x="13" y="93"/>
                    </a:cubicBezTo>
                    <a:cubicBezTo>
                      <a:pt x="11" y="95"/>
                      <a:pt x="2" y="90"/>
                      <a:pt x="2" y="90"/>
                    </a:cubicBezTo>
                    <a:cubicBezTo>
                      <a:pt x="0" y="95"/>
                      <a:pt x="0" y="95"/>
                      <a:pt x="0" y="95"/>
                    </a:cubicBezTo>
                    <a:cubicBezTo>
                      <a:pt x="5" y="95"/>
                      <a:pt x="5" y="95"/>
                      <a:pt x="5" y="95"/>
                    </a:cubicBezTo>
                    <a:cubicBezTo>
                      <a:pt x="8" y="98"/>
                      <a:pt x="8" y="98"/>
                      <a:pt x="8" y="98"/>
                    </a:cubicBezTo>
                    <a:cubicBezTo>
                      <a:pt x="9" y="104"/>
                      <a:pt x="9" y="104"/>
                      <a:pt x="9" y="104"/>
                    </a:cubicBezTo>
                    <a:cubicBezTo>
                      <a:pt x="19" y="108"/>
                      <a:pt x="19" y="108"/>
                      <a:pt x="19" y="108"/>
                    </a:cubicBezTo>
                    <a:cubicBezTo>
                      <a:pt x="23" y="108"/>
                      <a:pt x="23" y="108"/>
                      <a:pt x="23" y="108"/>
                    </a:cubicBezTo>
                    <a:cubicBezTo>
                      <a:pt x="25" y="115"/>
                      <a:pt x="25" y="115"/>
                      <a:pt x="25" y="115"/>
                    </a:cubicBezTo>
                    <a:cubicBezTo>
                      <a:pt x="30" y="117"/>
                      <a:pt x="30" y="117"/>
                      <a:pt x="30" y="117"/>
                    </a:cubicBezTo>
                    <a:cubicBezTo>
                      <a:pt x="32" y="120"/>
                      <a:pt x="32" y="120"/>
                      <a:pt x="32" y="120"/>
                    </a:cubicBezTo>
                    <a:cubicBezTo>
                      <a:pt x="36" y="120"/>
                      <a:pt x="36" y="120"/>
                      <a:pt x="36" y="120"/>
                    </a:cubicBezTo>
                    <a:cubicBezTo>
                      <a:pt x="40" y="124"/>
                      <a:pt x="40" y="124"/>
                      <a:pt x="40" y="124"/>
                    </a:cubicBezTo>
                    <a:cubicBezTo>
                      <a:pt x="40" y="124"/>
                      <a:pt x="53" y="126"/>
                      <a:pt x="63" y="131"/>
                    </a:cubicBezTo>
                    <a:cubicBezTo>
                      <a:pt x="72" y="136"/>
                      <a:pt x="73" y="146"/>
                      <a:pt x="73" y="146"/>
                    </a:cubicBezTo>
                    <a:cubicBezTo>
                      <a:pt x="77" y="143"/>
                      <a:pt x="77" y="143"/>
                      <a:pt x="77" y="143"/>
                    </a:cubicBezTo>
                    <a:cubicBezTo>
                      <a:pt x="77" y="143"/>
                      <a:pt x="86" y="152"/>
                      <a:pt x="88" y="155"/>
                    </a:cubicBezTo>
                    <a:cubicBezTo>
                      <a:pt x="90" y="158"/>
                      <a:pt x="85" y="158"/>
                      <a:pt x="84" y="162"/>
                    </a:cubicBezTo>
                    <a:cubicBezTo>
                      <a:pt x="83" y="167"/>
                      <a:pt x="85" y="170"/>
                      <a:pt x="86" y="174"/>
                    </a:cubicBezTo>
                    <a:cubicBezTo>
                      <a:pt x="88" y="180"/>
                      <a:pt x="86" y="186"/>
                      <a:pt x="86" y="186"/>
                    </a:cubicBezTo>
                    <a:cubicBezTo>
                      <a:pt x="97" y="188"/>
                      <a:pt x="97" y="188"/>
                      <a:pt x="97" y="188"/>
                    </a:cubicBezTo>
                    <a:cubicBezTo>
                      <a:pt x="98" y="194"/>
                      <a:pt x="98" y="194"/>
                      <a:pt x="98" y="194"/>
                    </a:cubicBezTo>
                    <a:cubicBezTo>
                      <a:pt x="95" y="197"/>
                      <a:pt x="95" y="197"/>
                      <a:pt x="95" y="197"/>
                    </a:cubicBezTo>
                    <a:cubicBezTo>
                      <a:pt x="95" y="197"/>
                      <a:pt x="94" y="199"/>
                      <a:pt x="94" y="204"/>
                    </a:cubicBezTo>
                    <a:cubicBezTo>
                      <a:pt x="94" y="210"/>
                      <a:pt x="103" y="215"/>
                      <a:pt x="105" y="218"/>
                    </a:cubicBezTo>
                    <a:cubicBezTo>
                      <a:pt x="107" y="222"/>
                      <a:pt x="106" y="229"/>
                      <a:pt x="106" y="229"/>
                    </a:cubicBezTo>
                    <a:cubicBezTo>
                      <a:pt x="106" y="229"/>
                      <a:pt x="108" y="233"/>
                      <a:pt x="110" y="237"/>
                    </a:cubicBezTo>
                    <a:cubicBezTo>
                      <a:pt x="111" y="240"/>
                      <a:pt x="106" y="243"/>
                      <a:pt x="103" y="248"/>
                    </a:cubicBezTo>
                    <a:cubicBezTo>
                      <a:pt x="101" y="252"/>
                      <a:pt x="106" y="253"/>
                      <a:pt x="106" y="253"/>
                    </a:cubicBezTo>
                    <a:cubicBezTo>
                      <a:pt x="106" y="253"/>
                      <a:pt x="106" y="254"/>
                      <a:pt x="105" y="260"/>
                    </a:cubicBezTo>
                    <a:cubicBezTo>
                      <a:pt x="105" y="264"/>
                      <a:pt x="112" y="265"/>
                      <a:pt x="114" y="266"/>
                    </a:cubicBezTo>
                    <a:cubicBezTo>
                      <a:pt x="116" y="268"/>
                      <a:pt x="115" y="271"/>
                      <a:pt x="116" y="275"/>
                    </a:cubicBezTo>
                    <a:cubicBezTo>
                      <a:pt x="117" y="279"/>
                      <a:pt x="122" y="281"/>
                      <a:pt x="122" y="281"/>
                    </a:cubicBezTo>
                    <a:cubicBezTo>
                      <a:pt x="123" y="288"/>
                      <a:pt x="123" y="288"/>
                      <a:pt x="123" y="288"/>
                    </a:cubicBezTo>
                    <a:cubicBezTo>
                      <a:pt x="128" y="286"/>
                      <a:pt x="128" y="286"/>
                      <a:pt x="128" y="286"/>
                    </a:cubicBezTo>
                    <a:cubicBezTo>
                      <a:pt x="139" y="293"/>
                      <a:pt x="139" y="293"/>
                      <a:pt x="139" y="293"/>
                    </a:cubicBezTo>
                    <a:cubicBezTo>
                      <a:pt x="139" y="295"/>
                      <a:pt x="139" y="295"/>
                      <a:pt x="139" y="295"/>
                    </a:cubicBezTo>
                    <a:cubicBezTo>
                      <a:pt x="147" y="294"/>
                      <a:pt x="147" y="294"/>
                      <a:pt x="147" y="294"/>
                    </a:cubicBezTo>
                    <a:cubicBezTo>
                      <a:pt x="154" y="297"/>
                      <a:pt x="154" y="297"/>
                      <a:pt x="154" y="297"/>
                    </a:cubicBezTo>
                    <a:cubicBezTo>
                      <a:pt x="154" y="297"/>
                      <a:pt x="159" y="301"/>
                      <a:pt x="162" y="308"/>
                    </a:cubicBezTo>
                    <a:cubicBezTo>
                      <a:pt x="166" y="314"/>
                      <a:pt x="162" y="324"/>
                      <a:pt x="162" y="324"/>
                    </a:cubicBezTo>
                    <a:cubicBezTo>
                      <a:pt x="166" y="325"/>
                      <a:pt x="166" y="325"/>
                      <a:pt x="166" y="325"/>
                    </a:cubicBezTo>
                    <a:cubicBezTo>
                      <a:pt x="169" y="334"/>
                      <a:pt x="169" y="334"/>
                      <a:pt x="169" y="334"/>
                    </a:cubicBezTo>
                    <a:cubicBezTo>
                      <a:pt x="163" y="331"/>
                      <a:pt x="163" y="331"/>
                      <a:pt x="163" y="331"/>
                    </a:cubicBezTo>
                    <a:cubicBezTo>
                      <a:pt x="162" y="334"/>
                      <a:pt x="162" y="334"/>
                      <a:pt x="162" y="334"/>
                    </a:cubicBezTo>
                    <a:cubicBezTo>
                      <a:pt x="170" y="339"/>
                      <a:pt x="170" y="339"/>
                      <a:pt x="170" y="339"/>
                    </a:cubicBezTo>
                    <a:cubicBezTo>
                      <a:pt x="167" y="342"/>
                      <a:pt x="167" y="342"/>
                      <a:pt x="167" y="342"/>
                    </a:cubicBezTo>
                    <a:cubicBezTo>
                      <a:pt x="167" y="342"/>
                      <a:pt x="160" y="340"/>
                      <a:pt x="154" y="341"/>
                    </a:cubicBezTo>
                    <a:cubicBezTo>
                      <a:pt x="150" y="342"/>
                      <a:pt x="147" y="346"/>
                      <a:pt x="147" y="346"/>
                    </a:cubicBezTo>
                    <a:cubicBezTo>
                      <a:pt x="147" y="355"/>
                      <a:pt x="147" y="355"/>
                      <a:pt x="147" y="355"/>
                    </a:cubicBezTo>
                    <a:cubicBezTo>
                      <a:pt x="145" y="357"/>
                      <a:pt x="145" y="357"/>
                      <a:pt x="145" y="357"/>
                    </a:cubicBezTo>
                    <a:cubicBezTo>
                      <a:pt x="145" y="366"/>
                      <a:pt x="145" y="366"/>
                      <a:pt x="145" y="366"/>
                    </a:cubicBezTo>
                    <a:cubicBezTo>
                      <a:pt x="142" y="367"/>
                      <a:pt x="142" y="367"/>
                      <a:pt x="142" y="367"/>
                    </a:cubicBezTo>
                    <a:cubicBezTo>
                      <a:pt x="137" y="376"/>
                      <a:pt x="137" y="376"/>
                      <a:pt x="137" y="376"/>
                    </a:cubicBezTo>
                    <a:cubicBezTo>
                      <a:pt x="129" y="395"/>
                      <a:pt x="129" y="395"/>
                      <a:pt x="129" y="395"/>
                    </a:cubicBezTo>
                    <a:cubicBezTo>
                      <a:pt x="131" y="401"/>
                      <a:pt x="131" y="401"/>
                      <a:pt x="131" y="401"/>
                    </a:cubicBezTo>
                    <a:cubicBezTo>
                      <a:pt x="123" y="399"/>
                      <a:pt x="123" y="399"/>
                      <a:pt x="123" y="399"/>
                    </a:cubicBezTo>
                    <a:cubicBezTo>
                      <a:pt x="124" y="409"/>
                      <a:pt x="124" y="409"/>
                      <a:pt x="124" y="409"/>
                    </a:cubicBezTo>
                    <a:cubicBezTo>
                      <a:pt x="117" y="413"/>
                      <a:pt x="117" y="413"/>
                      <a:pt x="117" y="413"/>
                    </a:cubicBezTo>
                    <a:cubicBezTo>
                      <a:pt x="114" y="418"/>
                      <a:pt x="114" y="418"/>
                      <a:pt x="114" y="418"/>
                    </a:cubicBezTo>
                    <a:cubicBezTo>
                      <a:pt x="112" y="413"/>
                      <a:pt x="112" y="413"/>
                      <a:pt x="112" y="413"/>
                    </a:cubicBezTo>
                    <a:cubicBezTo>
                      <a:pt x="108" y="414"/>
                      <a:pt x="108" y="414"/>
                      <a:pt x="108" y="414"/>
                    </a:cubicBezTo>
                    <a:cubicBezTo>
                      <a:pt x="108" y="417"/>
                      <a:pt x="108" y="417"/>
                      <a:pt x="108" y="417"/>
                    </a:cubicBezTo>
                    <a:cubicBezTo>
                      <a:pt x="106" y="418"/>
                      <a:pt x="106" y="418"/>
                      <a:pt x="106" y="418"/>
                    </a:cubicBezTo>
                    <a:cubicBezTo>
                      <a:pt x="105" y="421"/>
                      <a:pt x="105" y="421"/>
                      <a:pt x="105" y="421"/>
                    </a:cubicBezTo>
                    <a:cubicBezTo>
                      <a:pt x="111" y="421"/>
                      <a:pt x="111" y="421"/>
                      <a:pt x="111" y="421"/>
                    </a:cubicBezTo>
                    <a:cubicBezTo>
                      <a:pt x="113" y="422"/>
                      <a:pt x="113" y="422"/>
                      <a:pt x="113" y="422"/>
                    </a:cubicBezTo>
                    <a:cubicBezTo>
                      <a:pt x="111" y="430"/>
                      <a:pt x="111" y="430"/>
                      <a:pt x="111" y="430"/>
                    </a:cubicBezTo>
                    <a:cubicBezTo>
                      <a:pt x="111" y="430"/>
                      <a:pt x="107" y="426"/>
                      <a:pt x="104" y="428"/>
                    </a:cubicBezTo>
                    <a:cubicBezTo>
                      <a:pt x="100" y="430"/>
                      <a:pt x="102" y="436"/>
                      <a:pt x="102" y="436"/>
                    </a:cubicBezTo>
                    <a:cubicBezTo>
                      <a:pt x="102" y="439"/>
                      <a:pt x="102" y="439"/>
                      <a:pt x="102" y="439"/>
                    </a:cubicBezTo>
                    <a:cubicBezTo>
                      <a:pt x="101" y="441"/>
                      <a:pt x="100" y="442"/>
                      <a:pt x="100" y="442"/>
                    </a:cubicBezTo>
                    <a:cubicBezTo>
                      <a:pt x="97" y="437"/>
                      <a:pt x="97" y="437"/>
                      <a:pt x="97" y="437"/>
                    </a:cubicBezTo>
                    <a:cubicBezTo>
                      <a:pt x="96" y="438"/>
                      <a:pt x="96" y="438"/>
                      <a:pt x="96" y="438"/>
                    </a:cubicBezTo>
                    <a:cubicBezTo>
                      <a:pt x="98" y="444"/>
                      <a:pt x="98" y="444"/>
                      <a:pt x="98" y="444"/>
                    </a:cubicBezTo>
                    <a:cubicBezTo>
                      <a:pt x="95" y="444"/>
                      <a:pt x="95" y="444"/>
                      <a:pt x="95" y="444"/>
                    </a:cubicBezTo>
                    <a:cubicBezTo>
                      <a:pt x="95" y="444"/>
                      <a:pt x="99" y="455"/>
                      <a:pt x="98" y="457"/>
                    </a:cubicBezTo>
                    <a:cubicBezTo>
                      <a:pt x="97" y="460"/>
                      <a:pt x="91" y="458"/>
                      <a:pt x="89" y="458"/>
                    </a:cubicBezTo>
                    <a:cubicBezTo>
                      <a:pt x="82" y="458"/>
                      <a:pt x="82" y="458"/>
                      <a:pt x="82" y="458"/>
                    </a:cubicBezTo>
                    <a:cubicBezTo>
                      <a:pt x="82" y="458"/>
                      <a:pt x="82" y="462"/>
                      <a:pt x="80" y="462"/>
                    </a:cubicBezTo>
                    <a:cubicBezTo>
                      <a:pt x="79" y="462"/>
                      <a:pt x="77" y="459"/>
                      <a:pt x="77" y="459"/>
                    </a:cubicBezTo>
                    <a:cubicBezTo>
                      <a:pt x="75" y="467"/>
                      <a:pt x="75" y="467"/>
                      <a:pt x="75" y="467"/>
                    </a:cubicBezTo>
                    <a:cubicBezTo>
                      <a:pt x="83" y="475"/>
                      <a:pt x="83" y="475"/>
                      <a:pt x="83" y="475"/>
                    </a:cubicBezTo>
                    <a:cubicBezTo>
                      <a:pt x="77" y="474"/>
                      <a:pt x="77" y="474"/>
                      <a:pt x="77" y="474"/>
                    </a:cubicBezTo>
                    <a:cubicBezTo>
                      <a:pt x="75" y="482"/>
                      <a:pt x="75" y="482"/>
                      <a:pt x="75" y="482"/>
                    </a:cubicBezTo>
                    <a:cubicBezTo>
                      <a:pt x="75" y="482"/>
                      <a:pt x="77" y="484"/>
                      <a:pt x="77" y="486"/>
                    </a:cubicBezTo>
                    <a:cubicBezTo>
                      <a:pt x="77" y="487"/>
                      <a:pt x="72" y="487"/>
                      <a:pt x="72" y="487"/>
                    </a:cubicBezTo>
                    <a:cubicBezTo>
                      <a:pt x="69" y="492"/>
                      <a:pt x="69" y="492"/>
                      <a:pt x="69" y="492"/>
                    </a:cubicBezTo>
                    <a:cubicBezTo>
                      <a:pt x="68" y="504"/>
                      <a:pt x="68" y="504"/>
                      <a:pt x="68" y="504"/>
                    </a:cubicBezTo>
                    <a:cubicBezTo>
                      <a:pt x="72" y="504"/>
                      <a:pt x="72" y="504"/>
                      <a:pt x="72" y="504"/>
                    </a:cubicBezTo>
                    <a:cubicBezTo>
                      <a:pt x="72" y="504"/>
                      <a:pt x="69" y="508"/>
                      <a:pt x="70" y="513"/>
                    </a:cubicBezTo>
                    <a:cubicBezTo>
                      <a:pt x="70" y="517"/>
                      <a:pt x="78" y="519"/>
                      <a:pt x="80" y="523"/>
                    </a:cubicBezTo>
                    <a:cubicBezTo>
                      <a:pt x="83" y="528"/>
                      <a:pt x="80" y="534"/>
                      <a:pt x="80" y="534"/>
                    </a:cubicBezTo>
                    <a:cubicBezTo>
                      <a:pt x="80" y="543"/>
                      <a:pt x="80" y="543"/>
                      <a:pt x="80" y="543"/>
                    </a:cubicBezTo>
                    <a:cubicBezTo>
                      <a:pt x="83" y="546"/>
                      <a:pt x="83" y="546"/>
                      <a:pt x="83" y="546"/>
                    </a:cubicBezTo>
                    <a:cubicBezTo>
                      <a:pt x="86" y="544"/>
                      <a:pt x="86" y="544"/>
                      <a:pt x="86" y="544"/>
                    </a:cubicBezTo>
                    <a:cubicBezTo>
                      <a:pt x="86" y="544"/>
                      <a:pt x="86" y="550"/>
                      <a:pt x="87" y="552"/>
                    </a:cubicBezTo>
                    <a:cubicBezTo>
                      <a:pt x="88" y="555"/>
                      <a:pt x="91" y="559"/>
                      <a:pt x="91" y="559"/>
                    </a:cubicBezTo>
                    <a:cubicBezTo>
                      <a:pt x="90" y="561"/>
                      <a:pt x="90" y="561"/>
                      <a:pt x="90" y="561"/>
                    </a:cubicBezTo>
                    <a:cubicBezTo>
                      <a:pt x="94" y="562"/>
                      <a:pt x="94" y="562"/>
                      <a:pt x="94" y="562"/>
                    </a:cubicBezTo>
                    <a:cubicBezTo>
                      <a:pt x="95" y="567"/>
                      <a:pt x="95" y="567"/>
                      <a:pt x="95" y="567"/>
                    </a:cubicBezTo>
                    <a:cubicBezTo>
                      <a:pt x="90" y="566"/>
                      <a:pt x="90" y="566"/>
                      <a:pt x="90" y="566"/>
                    </a:cubicBezTo>
                    <a:cubicBezTo>
                      <a:pt x="90" y="569"/>
                      <a:pt x="90" y="569"/>
                      <a:pt x="90" y="569"/>
                    </a:cubicBezTo>
                    <a:cubicBezTo>
                      <a:pt x="93" y="572"/>
                      <a:pt x="93" y="572"/>
                      <a:pt x="93" y="572"/>
                    </a:cubicBezTo>
                    <a:cubicBezTo>
                      <a:pt x="89" y="572"/>
                      <a:pt x="89" y="572"/>
                      <a:pt x="89" y="572"/>
                    </a:cubicBezTo>
                    <a:cubicBezTo>
                      <a:pt x="93" y="577"/>
                      <a:pt x="93" y="577"/>
                      <a:pt x="93" y="577"/>
                    </a:cubicBezTo>
                    <a:cubicBezTo>
                      <a:pt x="90" y="578"/>
                      <a:pt x="90" y="578"/>
                      <a:pt x="90" y="578"/>
                    </a:cubicBezTo>
                    <a:cubicBezTo>
                      <a:pt x="95" y="584"/>
                      <a:pt x="95" y="584"/>
                      <a:pt x="95" y="584"/>
                    </a:cubicBezTo>
                    <a:cubicBezTo>
                      <a:pt x="95" y="584"/>
                      <a:pt x="96" y="588"/>
                      <a:pt x="94" y="591"/>
                    </a:cubicBezTo>
                    <a:cubicBezTo>
                      <a:pt x="91" y="593"/>
                      <a:pt x="95" y="598"/>
                      <a:pt x="95" y="598"/>
                    </a:cubicBezTo>
                    <a:cubicBezTo>
                      <a:pt x="95" y="598"/>
                      <a:pt x="90" y="599"/>
                      <a:pt x="90" y="603"/>
                    </a:cubicBezTo>
                    <a:cubicBezTo>
                      <a:pt x="91" y="607"/>
                      <a:pt x="94" y="610"/>
                      <a:pt x="94" y="610"/>
                    </a:cubicBezTo>
                    <a:cubicBezTo>
                      <a:pt x="91" y="610"/>
                      <a:pt x="91" y="610"/>
                      <a:pt x="91" y="610"/>
                    </a:cubicBezTo>
                    <a:cubicBezTo>
                      <a:pt x="88" y="607"/>
                      <a:pt x="88" y="607"/>
                      <a:pt x="88" y="607"/>
                    </a:cubicBezTo>
                    <a:cubicBezTo>
                      <a:pt x="87" y="613"/>
                      <a:pt x="87" y="613"/>
                      <a:pt x="87" y="613"/>
                    </a:cubicBezTo>
                    <a:cubicBezTo>
                      <a:pt x="95" y="613"/>
                      <a:pt x="95" y="613"/>
                      <a:pt x="95" y="613"/>
                    </a:cubicBezTo>
                    <a:cubicBezTo>
                      <a:pt x="93" y="614"/>
                      <a:pt x="93" y="614"/>
                      <a:pt x="93" y="614"/>
                    </a:cubicBezTo>
                    <a:cubicBezTo>
                      <a:pt x="94" y="619"/>
                      <a:pt x="94" y="619"/>
                      <a:pt x="94" y="619"/>
                    </a:cubicBezTo>
                    <a:cubicBezTo>
                      <a:pt x="97" y="622"/>
                      <a:pt x="97" y="622"/>
                      <a:pt x="97" y="622"/>
                    </a:cubicBezTo>
                    <a:cubicBezTo>
                      <a:pt x="97" y="622"/>
                      <a:pt x="95" y="624"/>
                      <a:pt x="97" y="628"/>
                    </a:cubicBezTo>
                    <a:cubicBezTo>
                      <a:pt x="99" y="632"/>
                      <a:pt x="101" y="632"/>
                      <a:pt x="101" y="632"/>
                    </a:cubicBezTo>
                    <a:cubicBezTo>
                      <a:pt x="104" y="635"/>
                      <a:pt x="104" y="635"/>
                      <a:pt x="104" y="635"/>
                    </a:cubicBezTo>
                    <a:cubicBezTo>
                      <a:pt x="104" y="630"/>
                      <a:pt x="104" y="630"/>
                      <a:pt x="104" y="630"/>
                    </a:cubicBezTo>
                    <a:cubicBezTo>
                      <a:pt x="110" y="626"/>
                      <a:pt x="110" y="626"/>
                      <a:pt x="110" y="626"/>
                    </a:cubicBezTo>
                    <a:cubicBezTo>
                      <a:pt x="110" y="635"/>
                      <a:pt x="110" y="635"/>
                      <a:pt x="110" y="635"/>
                    </a:cubicBezTo>
                    <a:cubicBezTo>
                      <a:pt x="112" y="635"/>
                      <a:pt x="112" y="635"/>
                      <a:pt x="112" y="635"/>
                    </a:cubicBezTo>
                    <a:cubicBezTo>
                      <a:pt x="113" y="631"/>
                      <a:pt x="113" y="631"/>
                      <a:pt x="113" y="631"/>
                    </a:cubicBezTo>
                    <a:cubicBezTo>
                      <a:pt x="118" y="635"/>
                      <a:pt x="118" y="635"/>
                      <a:pt x="118" y="635"/>
                    </a:cubicBezTo>
                    <a:cubicBezTo>
                      <a:pt x="124" y="635"/>
                      <a:pt x="124" y="635"/>
                      <a:pt x="124" y="635"/>
                    </a:cubicBezTo>
                    <a:cubicBezTo>
                      <a:pt x="131" y="638"/>
                      <a:pt x="131" y="638"/>
                      <a:pt x="131" y="638"/>
                    </a:cubicBezTo>
                    <a:cubicBezTo>
                      <a:pt x="137" y="638"/>
                      <a:pt x="137" y="638"/>
                      <a:pt x="137" y="638"/>
                    </a:cubicBezTo>
                    <a:cubicBezTo>
                      <a:pt x="135" y="646"/>
                      <a:pt x="135" y="646"/>
                      <a:pt x="135" y="646"/>
                    </a:cubicBezTo>
                    <a:cubicBezTo>
                      <a:pt x="137" y="648"/>
                      <a:pt x="137" y="648"/>
                      <a:pt x="137" y="648"/>
                    </a:cubicBezTo>
                    <a:cubicBezTo>
                      <a:pt x="144" y="645"/>
                      <a:pt x="144" y="645"/>
                      <a:pt x="144" y="645"/>
                    </a:cubicBezTo>
                    <a:cubicBezTo>
                      <a:pt x="151" y="639"/>
                      <a:pt x="151" y="639"/>
                      <a:pt x="151" y="639"/>
                    </a:cubicBezTo>
                    <a:cubicBezTo>
                      <a:pt x="152" y="640"/>
                      <a:pt x="152" y="640"/>
                      <a:pt x="152" y="640"/>
                    </a:cubicBezTo>
                    <a:cubicBezTo>
                      <a:pt x="149" y="649"/>
                      <a:pt x="149" y="649"/>
                      <a:pt x="149" y="649"/>
                    </a:cubicBezTo>
                    <a:cubicBezTo>
                      <a:pt x="154" y="653"/>
                      <a:pt x="154" y="653"/>
                      <a:pt x="154" y="653"/>
                    </a:cubicBezTo>
                    <a:cubicBezTo>
                      <a:pt x="153" y="657"/>
                      <a:pt x="153" y="657"/>
                      <a:pt x="153" y="657"/>
                    </a:cubicBezTo>
                    <a:cubicBezTo>
                      <a:pt x="157" y="656"/>
                      <a:pt x="157" y="656"/>
                      <a:pt x="157" y="656"/>
                    </a:cubicBezTo>
                    <a:cubicBezTo>
                      <a:pt x="157" y="658"/>
                      <a:pt x="157" y="658"/>
                      <a:pt x="157" y="658"/>
                    </a:cubicBezTo>
                    <a:cubicBezTo>
                      <a:pt x="150" y="664"/>
                      <a:pt x="150" y="664"/>
                      <a:pt x="150" y="664"/>
                    </a:cubicBezTo>
                    <a:cubicBezTo>
                      <a:pt x="151" y="666"/>
                      <a:pt x="151" y="666"/>
                      <a:pt x="151" y="666"/>
                    </a:cubicBezTo>
                    <a:cubicBezTo>
                      <a:pt x="156" y="666"/>
                      <a:pt x="156" y="666"/>
                      <a:pt x="156" y="666"/>
                    </a:cubicBezTo>
                    <a:cubicBezTo>
                      <a:pt x="159" y="662"/>
                      <a:pt x="159" y="662"/>
                      <a:pt x="159" y="662"/>
                    </a:cubicBezTo>
                    <a:cubicBezTo>
                      <a:pt x="159" y="662"/>
                      <a:pt x="161" y="664"/>
                      <a:pt x="161" y="666"/>
                    </a:cubicBezTo>
                    <a:cubicBezTo>
                      <a:pt x="162" y="669"/>
                      <a:pt x="152" y="674"/>
                      <a:pt x="152" y="674"/>
                    </a:cubicBezTo>
                    <a:cubicBezTo>
                      <a:pt x="163" y="671"/>
                      <a:pt x="163" y="671"/>
                      <a:pt x="163" y="671"/>
                    </a:cubicBezTo>
                    <a:cubicBezTo>
                      <a:pt x="171" y="655"/>
                      <a:pt x="171" y="655"/>
                      <a:pt x="171" y="655"/>
                    </a:cubicBezTo>
                    <a:cubicBezTo>
                      <a:pt x="169" y="663"/>
                      <a:pt x="169" y="663"/>
                      <a:pt x="169" y="663"/>
                    </a:cubicBezTo>
                    <a:cubicBezTo>
                      <a:pt x="181" y="660"/>
                      <a:pt x="181" y="660"/>
                      <a:pt x="181" y="660"/>
                    </a:cubicBezTo>
                    <a:cubicBezTo>
                      <a:pt x="189" y="654"/>
                      <a:pt x="189" y="654"/>
                      <a:pt x="189" y="654"/>
                    </a:cubicBezTo>
                    <a:cubicBezTo>
                      <a:pt x="192" y="654"/>
                      <a:pt x="192" y="654"/>
                      <a:pt x="192" y="654"/>
                    </a:cubicBezTo>
                    <a:cubicBezTo>
                      <a:pt x="198" y="649"/>
                      <a:pt x="198" y="649"/>
                      <a:pt x="198" y="649"/>
                    </a:cubicBezTo>
                    <a:cubicBezTo>
                      <a:pt x="201" y="650"/>
                      <a:pt x="201" y="650"/>
                      <a:pt x="201" y="650"/>
                    </a:cubicBezTo>
                    <a:cubicBezTo>
                      <a:pt x="203" y="655"/>
                      <a:pt x="203" y="655"/>
                      <a:pt x="203" y="655"/>
                    </a:cubicBezTo>
                    <a:cubicBezTo>
                      <a:pt x="206" y="653"/>
                      <a:pt x="206" y="653"/>
                      <a:pt x="206" y="653"/>
                    </a:cubicBezTo>
                    <a:cubicBezTo>
                      <a:pt x="206" y="645"/>
                      <a:pt x="206" y="645"/>
                      <a:pt x="206" y="645"/>
                    </a:cubicBezTo>
                    <a:cubicBezTo>
                      <a:pt x="221" y="638"/>
                      <a:pt x="221" y="638"/>
                      <a:pt x="221" y="638"/>
                    </a:cubicBezTo>
                    <a:cubicBezTo>
                      <a:pt x="222" y="635"/>
                      <a:pt x="222" y="635"/>
                      <a:pt x="222" y="635"/>
                    </a:cubicBezTo>
                    <a:cubicBezTo>
                      <a:pt x="235" y="629"/>
                      <a:pt x="235" y="629"/>
                      <a:pt x="235" y="629"/>
                    </a:cubicBezTo>
                    <a:cubicBezTo>
                      <a:pt x="235" y="622"/>
                      <a:pt x="235" y="622"/>
                      <a:pt x="235" y="622"/>
                    </a:cubicBezTo>
                    <a:cubicBezTo>
                      <a:pt x="235" y="622"/>
                      <a:pt x="237" y="628"/>
                      <a:pt x="241" y="628"/>
                    </a:cubicBezTo>
                    <a:cubicBezTo>
                      <a:pt x="244" y="628"/>
                      <a:pt x="248" y="626"/>
                      <a:pt x="248" y="626"/>
                    </a:cubicBezTo>
                    <a:cubicBezTo>
                      <a:pt x="245" y="624"/>
                      <a:pt x="245" y="624"/>
                      <a:pt x="245" y="624"/>
                    </a:cubicBezTo>
                    <a:cubicBezTo>
                      <a:pt x="246" y="620"/>
                      <a:pt x="246" y="620"/>
                      <a:pt x="246" y="620"/>
                    </a:cubicBezTo>
                    <a:cubicBezTo>
                      <a:pt x="251" y="624"/>
                      <a:pt x="251" y="624"/>
                      <a:pt x="251" y="624"/>
                    </a:cubicBezTo>
                    <a:cubicBezTo>
                      <a:pt x="251" y="622"/>
                      <a:pt x="251" y="622"/>
                      <a:pt x="251" y="622"/>
                    </a:cubicBezTo>
                    <a:cubicBezTo>
                      <a:pt x="245" y="613"/>
                      <a:pt x="245" y="613"/>
                      <a:pt x="245" y="613"/>
                    </a:cubicBezTo>
                    <a:cubicBezTo>
                      <a:pt x="245" y="613"/>
                      <a:pt x="254" y="619"/>
                      <a:pt x="260" y="617"/>
                    </a:cubicBezTo>
                    <a:cubicBezTo>
                      <a:pt x="264" y="614"/>
                      <a:pt x="262" y="611"/>
                      <a:pt x="262" y="611"/>
                    </a:cubicBezTo>
                    <a:cubicBezTo>
                      <a:pt x="268" y="610"/>
                      <a:pt x="268" y="610"/>
                      <a:pt x="268" y="610"/>
                    </a:cubicBezTo>
                    <a:cubicBezTo>
                      <a:pt x="273" y="608"/>
                      <a:pt x="273" y="608"/>
                      <a:pt x="273" y="608"/>
                    </a:cubicBezTo>
                    <a:cubicBezTo>
                      <a:pt x="279" y="608"/>
                      <a:pt x="279" y="608"/>
                      <a:pt x="279" y="608"/>
                    </a:cubicBezTo>
                    <a:cubicBezTo>
                      <a:pt x="283" y="602"/>
                      <a:pt x="283" y="602"/>
                      <a:pt x="283" y="602"/>
                    </a:cubicBezTo>
                    <a:cubicBezTo>
                      <a:pt x="293" y="603"/>
                      <a:pt x="293" y="603"/>
                      <a:pt x="293" y="603"/>
                    </a:cubicBezTo>
                    <a:cubicBezTo>
                      <a:pt x="304" y="598"/>
                      <a:pt x="304" y="598"/>
                      <a:pt x="304" y="598"/>
                    </a:cubicBezTo>
                    <a:cubicBezTo>
                      <a:pt x="304" y="597"/>
                      <a:pt x="304" y="597"/>
                      <a:pt x="304" y="597"/>
                    </a:cubicBezTo>
                    <a:cubicBezTo>
                      <a:pt x="312" y="581"/>
                      <a:pt x="312" y="581"/>
                      <a:pt x="312" y="581"/>
                    </a:cubicBezTo>
                    <a:cubicBezTo>
                      <a:pt x="323" y="566"/>
                      <a:pt x="323" y="566"/>
                      <a:pt x="323" y="566"/>
                    </a:cubicBezTo>
                    <a:cubicBezTo>
                      <a:pt x="327" y="563"/>
                      <a:pt x="327" y="563"/>
                      <a:pt x="327" y="563"/>
                    </a:cubicBezTo>
                    <a:cubicBezTo>
                      <a:pt x="328" y="554"/>
                      <a:pt x="328" y="554"/>
                      <a:pt x="328" y="554"/>
                    </a:cubicBezTo>
                    <a:cubicBezTo>
                      <a:pt x="341" y="540"/>
                      <a:pt x="341" y="540"/>
                      <a:pt x="341" y="540"/>
                    </a:cubicBezTo>
                    <a:cubicBezTo>
                      <a:pt x="341" y="540"/>
                      <a:pt x="346" y="527"/>
                      <a:pt x="349" y="521"/>
                    </a:cubicBezTo>
                    <a:cubicBezTo>
                      <a:pt x="352" y="516"/>
                      <a:pt x="360" y="496"/>
                      <a:pt x="363" y="485"/>
                    </a:cubicBezTo>
                    <a:cubicBezTo>
                      <a:pt x="366" y="473"/>
                      <a:pt x="375" y="460"/>
                      <a:pt x="375" y="460"/>
                    </a:cubicBezTo>
                    <a:cubicBezTo>
                      <a:pt x="375" y="460"/>
                      <a:pt x="377" y="456"/>
                      <a:pt x="378" y="452"/>
                    </a:cubicBezTo>
                    <a:cubicBezTo>
                      <a:pt x="380" y="448"/>
                      <a:pt x="382" y="424"/>
                      <a:pt x="382" y="418"/>
                    </a:cubicBezTo>
                    <a:close/>
                    <a:moveTo>
                      <a:pt x="52" y="662"/>
                    </a:moveTo>
                    <a:cubicBezTo>
                      <a:pt x="52" y="658"/>
                      <a:pt x="52" y="658"/>
                      <a:pt x="52" y="658"/>
                    </a:cubicBezTo>
                    <a:cubicBezTo>
                      <a:pt x="54" y="657"/>
                      <a:pt x="54" y="657"/>
                      <a:pt x="54" y="657"/>
                    </a:cubicBezTo>
                    <a:cubicBezTo>
                      <a:pt x="54" y="657"/>
                      <a:pt x="54" y="659"/>
                      <a:pt x="55" y="661"/>
                    </a:cubicBezTo>
                    <a:cubicBezTo>
                      <a:pt x="56" y="662"/>
                      <a:pt x="61" y="660"/>
                      <a:pt x="61" y="660"/>
                    </a:cubicBezTo>
                    <a:cubicBezTo>
                      <a:pt x="60" y="653"/>
                      <a:pt x="60" y="653"/>
                      <a:pt x="60" y="653"/>
                    </a:cubicBezTo>
                    <a:cubicBezTo>
                      <a:pt x="55" y="653"/>
                      <a:pt x="55" y="653"/>
                      <a:pt x="55" y="653"/>
                    </a:cubicBezTo>
                    <a:cubicBezTo>
                      <a:pt x="55" y="650"/>
                      <a:pt x="55" y="650"/>
                      <a:pt x="55" y="650"/>
                    </a:cubicBezTo>
                    <a:cubicBezTo>
                      <a:pt x="51" y="651"/>
                      <a:pt x="51" y="651"/>
                      <a:pt x="51" y="651"/>
                    </a:cubicBezTo>
                    <a:cubicBezTo>
                      <a:pt x="51" y="651"/>
                      <a:pt x="50" y="649"/>
                      <a:pt x="50" y="647"/>
                    </a:cubicBezTo>
                    <a:cubicBezTo>
                      <a:pt x="50" y="646"/>
                      <a:pt x="47" y="644"/>
                      <a:pt x="45" y="648"/>
                    </a:cubicBezTo>
                    <a:cubicBezTo>
                      <a:pt x="45" y="651"/>
                      <a:pt x="45" y="651"/>
                      <a:pt x="45" y="651"/>
                    </a:cubicBezTo>
                    <a:cubicBezTo>
                      <a:pt x="48" y="657"/>
                      <a:pt x="48" y="657"/>
                      <a:pt x="48" y="657"/>
                    </a:cubicBezTo>
                    <a:cubicBezTo>
                      <a:pt x="45" y="659"/>
                      <a:pt x="45" y="659"/>
                      <a:pt x="45" y="659"/>
                    </a:cubicBezTo>
                    <a:cubicBezTo>
                      <a:pt x="44" y="655"/>
                      <a:pt x="44" y="655"/>
                      <a:pt x="44" y="655"/>
                    </a:cubicBezTo>
                    <a:cubicBezTo>
                      <a:pt x="41" y="658"/>
                      <a:pt x="41" y="658"/>
                      <a:pt x="41" y="658"/>
                    </a:cubicBezTo>
                    <a:cubicBezTo>
                      <a:pt x="46" y="669"/>
                      <a:pt x="46" y="669"/>
                      <a:pt x="46" y="669"/>
                    </a:cubicBezTo>
                    <a:cubicBezTo>
                      <a:pt x="50" y="670"/>
                      <a:pt x="50" y="670"/>
                      <a:pt x="50" y="670"/>
                    </a:cubicBezTo>
                    <a:cubicBezTo>
                      <a:pt x="54" y="666"/>
                      <a:pt x="54" y="666"/>
                      <a:pt x="54" y="666"/>
                    </a:cubicBezTo>
                    <a:cubicBezTo>
                      <a:pt x="54" y="662"/>
                      <a:pt x="54" y="662"/>
                      <a:pt x="54" y="662"/>
                    </a:cubicBezTo>
                    <a:lnTo>
                      <a:pt x="52" y="662"/>
                    </a:lnTo>
                    <a:close/>
                    <a:moveTo>
                      <a:pt x="37" y="666"/>
                    </a:moveTo>
                    <a:cubicBezTo>
                      <a:pt x="41" y="664"/>
                      <a:pt x="41" y="664"/>
                      <a:pt x="41" y="664"/>
                    </a:cubicBezTo>
                    <a:cubicBezTo>
                      <a:pt x="39" y="658"/>
                      <a:pt x="39" y="658"/>
                      <a:pt x="39" y="658"/>
                    </a:cubicBezTo>
                    <a:lnTo>
                      <a:pt x="37" y="666"/>
                    </a:lnTo>
                    <a:close/>
                    <a:moveTo>
                      <a:pt x="55" y="670"/>
                    </a:moveTo>
                    <a:cubicBezTo>
                      <a:pt x="61" y="674"/>
                      <a:pt x="61" y="674"/>
                      <a:pt x="61" y="674"/>
                    </a:cubicBezTo>
                    <a:cubicBezTo>
                      <a:pt x="63" y="671"/>
                      <a:pt x="63" y="671"/>
                      <a:pt x="63" y="671"/>
                    </a:cubicBezTo>
                    <a:cubicBezTo>
                      <a:pt x="56" y="667"/>
                      <a:pt x="56" y="667"/>
                      <a:pt x="56" y="667"/>
                    </a:cubicBezTo>
                    <a:lnTo>
                      <a:pt x="55" y="670"/>
                    </a:lnTo>
                    <a:close/>
                    <a:moveTo>
                      <a:pt x="63" y="663"/>
                    </a:moveTo>
                    <a:cubicBezTo>
                      <a:pt x="61" y="664"/>
                      <a:pt x="61" y="667"/>
                      <a:pt x="64" y="667"/>
                    </a:cubicBezTo>
                    <a:cubicBezTo>
                      <a:pt x="66" y="666"/>
                      <a:pt x="66" y="662"/>
                      <a:pt x="63" y="663"/>
                    </a:cubicBezTo>
                    <a:close/>
                    <a:moveTo>
                      <a:pt x="107" y="657"/>
                    </a:moveTo>
                    <a:cubicBezTo>
                      <a:pt x="104" y="657"/>
                      <a:pt x="100" y="662"/>
                      <a:pt x="106" y="661"/>
                    </a:cubicBezTo>
                    <a:cubicBezTo>
                      <a:pt x="106" y="661"/>
                      <a:pt x="111" y="657"/>
                      <a:pt x="107" y="657"/>
                    </a:cubicBezTo>
                    <a:close/>
                    <a:moveTo>
                      <a:pt x="113" y="654"/>
                    </a:moveTo>
                    <a:cubicBezTo>
                      <a:pt x="111" y="655"/>
                      <a:pt x="112" y="657"/>
                      <a:pt x="112" y="657"/>
                    </a:cubicBezTo>
                    <a:cubicBezTo>
                      <a:pt x="110" y="659"/>
                      <a:pt x="110" y="659"/>
                      <a:pt x="110" y="659"/>
                    </a:cubicBezTo>
                    <a:cubicBezTo>
                      <a:pt x="111" y="660"/>
                      <a:pt x="111" y="660"/>
                      <a:pt x="111" y="660"/>
                    </a:cubicBezTo>
                    <a:cubicBezTo>
                      <a:pt x="117" y="655"/>
                      <a:pt x="117" y="655"/>
                      <a:pt x="117" y="655"/>
                    </a:cubicBezTo>
                    <a:cubicBezTo>
                      <a:pt x="117" y="655"/>
                      <a:pt x="115" y="653"/>
                      <a:pt x="113" y="654"/>
                    </a:cubicBezTo>
                    <a:close/>
                    <a:moveTo>
                      <a:pt x="119" y="654"/>
                    </a:moveTo>
                    <a:cubicBezTo>
                      <a:pt x="120" y="657"/>
                      <a:pt x="120" y="657"/>
                      <a:pt x="120" y="657"/>
                    </a:cubicBezTo>
                    <a:cubicBezTo>
                      <a:pt x="122" y="656"/>
                      <a:pt x="122" y="656"/>
                      <a:pt x="122" y="656"/>
                    </a:cubicBezTo>
                    <a:cubicBezTo>
                      <a:pt x="122" y="654"/>
                      <a:pt x="122" y="654"/>
                      <a:pt x="122" y="654"/>
                    </a:cubicBezTo>
                    <a:lnTo>
                      <a:pt x="119" y="654"/>
                    </a:lnTo>
                    <a:close/>
                    <a:moveTo>
                      <a:pt x="148" y="643"/>
                    </a:moveTo>
                    <a:cubicBezTo>
                      <a:pt x="146" y="647"/>
                      <a:pt x="146" y="647"/>
                      <a:pt x="146" y="647"/>
                    </a:cubicBezTo>
                    <a:cubicBezTo>
                      <a:pt x="142" y="648"/>
                      <a:pt x="142" y="648"/>
                      <a:pt x="142" y="648"/>
                    </a:cubicBezTo>
                    <a:cubicBezTo>
                      <a:pt x="139" y="650"/>
                      <a:pt x="139" y="650"/>
                      <a:pt x="139" y="650"/>
                    </a:cubicBezTo>
                    <a:cubicBezTo>
                      <a:pt x="134" y="651"/>
                      <a:pt x="134" y="651"/>
                      <a:pt x="134" y="651"/>
                    </a:cubicBezTo>
                    <a:cubicBezTo>
                      <a:pt x="133" y="655"/>
                      <a:pt x="133" y="655"/>
                      <a:pt x="133" y="655"/>
                    </a:cubicBezTo>
                    <a:cubicBezTo>
                      <a:pt x="136" y="655"/>
                      <a:pt x="136" y="655"/>
                      <a:pt x="136" y="655"/>
                    </a:cubicBezTo>
                    <a:cubicBezTo>
                      <a:pt x="133" y="659"/>
                      <a:pt x="133" y="659"/>
                      <a:pt x="133" y="659"/>
                    </a:cubicBezTo>
                    <a:cubicBezTo>
                      <a:pt x="133" y="664"/>
                      <a:pt x="133" y="664"/>
                      <a:pt x="133" y="664"/>
                    </a:cubicBezTo>
                    <a:cubicBezTo>
                      <a:pt x="139" y="661"/>
                      <a:pt x="139" y="661"/>
                      <a:pt x="139" y="661"/>
                    </a:cubicBezTo>
                    <a:cubicBezTo>
                      <a:pt x="145" y="661"/>
                      <a:pt x="145" y="661"/>
                      <a:pt x="145" y="661"/>
                    </a:cubicBezTo>
                    <a:cubicBezTo>
                      <a:pt x="149" y="654"/>
                      <a:pt x="149" y="654"/>
                      <a:pt x="149" y="654"/>
                    </a:cubicBezTo>
                    <a:cubicBezTo>
                      <a:pt x="147" y="649"/>
                      <a:pt x="147" y="649"/>
                      <a:pt x="147" y="649"/>
                    </a:cubicBezTo>
                    <a:cubicBezTo>
                      <a:pt x="149" y="644"/>
                      <a:pt x="149" y="644"/>
                      <a:pt x="149" y="644"/>
                    </a:cubicBezTo>
                    <a:lnTo>
                      <a:pt x="148" y="643"/>
                    </a:lnTo>
                    <a:close/>
                    <a:moveTo>
                      <a:pt x="111" y="639"/>
                    </a:moveTo>
                    <a:cubicBezTo>
                      <a:pt x="112" y="640"/>
                      <a:pt x="112" y="640"/>
                      <a:pt x="112" y="640"/>
                    </a:cubicBezTo>
                    <a:cubicBezTo>
                      <a:pt x="110" y="643"/>
                      <a:pt x="110" y="643"/>
                      <a:pt x="110" y="643"/>
                    </a:cubicBezTo>
                    <a:cubicBezTo>
                      <a:pt x="112" y="643"/>
                      <a:pt x="112" y="643"/>
                      <a:pt x="112" y="643"/>
                    </a:cubicBezTo>
                    <a:cubicBezTo>
                      <a:pt x="114" y="642"/>
                      <a:pt x="114" y="642"/>
                      <a:pt x="114" y="642"/>
                    </a:cubicBezTo>
                    <a:cubicBezTo>
                      <a:pt x="117" y="644"/>
                      <a:pt x="117" y="644"/>
                      <a:pt x="117" y="644"/>
                    </a:cubicBezTo>
                    <a:cubicBezTo>
                      <a:pt x="118" y="641"/>
                      <a:pt x="118" y="641"/>
                      <a:pt x="118" y="641"/>
                    </a:cubicBezTo>
                    <a:cubicBezTo>
                      <a:pt x="113" y="638"/>
                      <a:pt x="113" y="638"/>
                      <a:pt x="113" y="638"/>
                    </a:cubicBezTo>
                    <a:lnTo>
                      <a:pt x="111" y="639"/>
                    </a:lnTo>
                    <a:close/>
                    <a:moveTo>
                      <a:pt x="99" y="634"/>
                    </a:moveTo>
                    <a:cubicBezTo>
                      <a:pt x="95" y="631"/>
                      <a:pt x="94" y="630"/>
                      <a:pt x="95" y="632"/>
                    </a:cubicBezTo>
                    <a:cubicBezTo>
                      <a:pt x="97" y="637"/>
                      <a:pt x="97" y="637"/>
                      <a:pt x="97" y="637"/>
                    </a:cubicBezTo>
                    <a:cubicBezTo>
                      <a:pt x="102" y="637"/>
                      <a:pt x="102" y="637"/>
                      <a:pt x="99" y="634"/>
                    </a:cubicBezTo>
                    <a:close/>
                    <a:moveTo>
                      <a:pt x="90" y="628"/>
                    </a:moveTo>
                    <a:cubicBezTo>
                      <a:pt x="93" y="631"/>
                      <a:pt x="93" y="631"/>
                      <a:pt x="93" y="631"/>
                    </a:cubicBezTo>
                    <a:cubicBezTo>
                      <a:pt x="94" y="628"/>
                      <a:pt x="94" y="628"/>
                      <a:pt x="94" y="628"/>
                    </a:cubicBezTo>
                    <a:cubicBezTo>
                      <a:pt x="91" y="627"/>
                      <a:pt x="91" y="627"/>
                      <a:pt x="91" y="627"/>
                    </a:cubicBezTo>
                    <a:lnTo>
                      <a:pt x="90" y="628"/>
                    </a:lnTo>
                    <a:close/>
                    <a:moveTo>
                      <a:pt x="175" y="667"/>
                    </a:moveTo>
                    <a:cubicBezTo>
                      <a:pt x="175" y="664"/>
                      <a:pt x="175" y="664"/>
                      <a:pt x="175" y="664"/>
                    </a:cubicBezTo>
                    <a:cubicBezTo>
                      <a:pt x="170" y="666"/>
                      <a:pt x="170" y="666"/>
                      <a:pt x="170" y="666"/>
                    </a:cubicBezTo>
                    <a:lnTo>
                      <a:pt x="175" y="667"/>
                    </a:lnTo>
                    <a:close/>
                    <a:moveTo>
                      <a:pt x="74" y="466"/>
                    </a:moveTo>
                    <a:cubicBezTo>
                      <a:pt x="72" y="462"/>
                      <a:pt x="72" y="462"/>
                      <a:pt x="72" y="462"/>
                    </a:cubicBezTo>
                    <a:cubicBezTo>
                      <a:pt x="72" y="462"/>
                      <a:pt x="69" y="464"/>
                      <a:pt x="68" y="464"/>
                    </a:cubicBezTo>
                    <a:cubicBezTo>
                      <a:pt x="66" y="464"/>
                      <a:pt x="67" y="461"/>
                      <a:pt x="67" y="461"/>
                    </a:cubicBezTo>
                    <a:cubicBezTo>
                      <a:pt x="66" y="459"/>
                      <a:pt x="66" y="459"/>
                      <a:pt x="66" y="459"/>
                    </a:cubicBezTo>
                    <a:cubicBezTo>
                      <a:pt x="62" y="461"/>
                      <a:pt x="62" y="461"/>
                      <a:pt x="62" y="461"/>
                    </a:cubicBezTo>
                    <a:cubicBezTo>
                      <a:pt x="66" y="468"/>
                      <a:pt x="66" y="468"/>
                      <a:pt x="66" y="468"/>
                    </a:cubicBezTo>
                    <a:cubicBezTo>
                      <a:pt x="71" y="469"/>
                      <a:pt x="74" y="466"/>
                      <a:pt x="74" y="466"/>
                    </a:cubicBezTo>
                    <a:close/>
                    <a:moveTo>
                      <a:pt x="72" y="456"/>
                    </a:moveTo>
                    <a:cubicBezTo>
                      <a:pt x="67" y="457"/>
                      <a:pt x="67" y="457"/>
                      <a:pt x="67" y="457"/>
                    </a:cubicBezTo>
                    <a:cubicBezTo>
                      <a:pt x="70" y="460"/>
                      <a:pt x="70" y="460"/>
                      <a:pt x="70" y="460"/>
                    </a:cubicBezTo>
                    <a:lnTo>
                      <a:pt x="72" y="456"/>
                    </a:lnTo>
                    <a:close/>
                    <a:moveTo>
                      <a:pt x="93" y="452"/>
                    </a:moveTo>
                    <a:cubicBezTo>
                      <a:pt x="90" y="456"/>
                      <a:pt x="90" y="456"/>
                      <a:pt x="90" y="456"/>
                    </a:cubicBezTo>
                    <a:cubicBezTo>
                      <a:pt x="94" y="456"/>
                      <a:pt x="94" y="456"/>
                      <a:pt x="94" y="456"/>
                    </a:cubicBezTo>
                    <a:cubicBezTo>
                      <a:pt x="97" y="454"/>
                      <a:pt x="97" y="454"/>
                      <a:pt x="97" y="454"/>
                    </a:cubicBezTo>
                    <a:lnTo>
                      <a:pt x="93" y="452"/>
                    </a:lnTo>
                    <a:close/>
                    <a:moveTo>
                      <a:pt x="157" y="329"/>
                    </a:moveTo>
                    <a:cubicBezTo>
                      <a:pt x="153" y="331"/>
                      <a:pt x="153" y="331"/>
                      <a:pt x="153" y="331"/>
                    </a:cubicBezTo>
                    <a:cubicBezTo>
                      <a:pt x="152" y="328"/>
                      <a:pt x="152" y="328"/>
                      <a:pt x="152" y="328"/>
                    </a:cubicBezTo>
                    <a:cubicBezTo>
                      <a:pt x="145" y="331"/>
                      <a:pt x="145" y="331"/>
                      <a:pt x="145" y="331"/>
                    </a:cubicBezTo>
                    <a:cubicBezTo>
                      <a:pt x="145" y="335"/>
                      <a:pt x="145" y="335"/>
                      <a:pt x="145" y="335"/>
                    </a:cubicBezTo>
                    <a:cubicBezTo>
                      <a:pt x="145" y="336"/>
                      <a:pt x="147" y="338"/>
                      <a:pt x="147" y="338"/>
                    </a:cubicBezTo>
                    <a:cubicBezTo>
                      <a:pt x="153" y="336"/>
                      <a:pt x="153" y="336"/>
                      <a:pt x="153" y="336"/>
                    </a:cubicBezTo>
                    <a:cubicBezTo>
                      <a:pt x="152" y="332"/>
                      <a:pt x="152" y="332"/>
                      <a:pt x="152" y="332"/>
                    </a:cubicBezTo>
                    <a:cubicBezTo>
                      <a:pt x="157" y="331"/>
                      <a:pt x="157" y="331"/>
                      <a:pt x="157" y="331"/>
                    </a:cubicBezTo>
                    <a:lnTo>
                      <a:pt x="157" y="329"/>
                    </a:lnTo>
                    <a:close/>
                    <a:moveTo>
                      <a:pt x="244" y="634"/>
                    </a:moveTo>
                    <a:cubicBezTo>
                      <a:pt x="247" y="630"/>
                      <a:pt x="247" y="630"/>
                      <a:pt x="247" y="630"/>
                    </a:cubicBezTo>
                    <a:cubicBezTo>
                      <a:pt x="243" y="631"/>
                      <a:pt x="243" y="631"/>
                      <a:pt x="243" y="631"/>
                    </a:cubicBezTo>
                    <a:lnTo>
                      <a:pt x="244" y="634"/>
                    </a:lnTo>
                    <a:close/>
                    <a:moveTo>
                      <a:pt x="260" y="618"/>
                    </a:moveTo>
                    <a:cubicBezTo>
                      <a:pt x="265" y="619"/>
                      <a:pt x="265" y="619"/>
                      <a:pt x="265" y="619"/>
                    </a:cubicBezTo>
                    <a:cubicBezTo>
                      <a:pt x="263" y="616"/>
                      <a:pt x="263" y="616"/>
                      <a:pt x="263" y="616"/>
                    </a:cubicBezTo>
                    <a:lnTo>
                      <a:pt x="260" y="618"/>
                    </a:lnTo>
                    <a:close/>
                    <a:moveTo>
                      <a:pt x="265" y="614"/>
                    </a:moveTo>
                    <a:cubicBezTo>
                      <a:pt x="267" y="617"/>
                      <a:pt x="267" y="617"/>
                      <a:pt x="267" y="617"/>
                    </a:cubicBezTo>
                    <a:cubicBezTo>
                      <a:pt x="271" y="615"/>
                      <a:pt x="271" y="615"/>
                      <a:pt x="271" y="615"/>
                    </a:cubicBezTo>
                    <a:cubicBezTo>
                      <a:pt x="270" y="613"/>
                      <a:pt x="270" y="613"/>
                      <a:pt x="270" y="613"/>
                    </a:cubicBezTo>
                    <a:lnTo>
                      <a:pt x="265" y="614"/>
                    </a:ln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95" name="Faroe Islands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3732213" y="2273300"/>
                <a:ext cx="109537" cy="131762"/>
              </a:xfrm>
              <a:custGeom>
                <a:avLst/>
                <a:gdLst/>
                <a:ahLst/>
                <a:cxnLst>
                  <a:cxn ang="0">
                    <a:pos x="7" y="13"/>
                  </a:cxn>
                  <a:cxn ang="0">
                    <a:pos x="0" y="11"/>
                  </a:cxn>
                  <a:cxn ang="0">
                    <a:pos x="32" y="30"/>
                  </a:cxn>
                  <a:cxn ang="0">
                    <a:pos x="29" y="30"/>
                  </a:cxn>
                  <a:cxn ang="0">
                    <a:pos x="21" y="22"/>
                  </a:cxn>
                  <a:cxn ang="0">
                    <a:pos x="21" y="26"/>
                  </a:cxn>
                  <a:cxn ang="0">
                    <a:pos x="19" y="40"/>
                  </a:cxn>
                  <a:cxn ang="0">
                    <a:pos x="21" y="37"/>
                  </a:cxn>
                  <a:cxn ang="0">
                    <a:pos x="20" y="30"/>
                  </a:cxn>
                  <a:cxn ang="0">
                    <a:pos x="23" y="34"/>
                  </a:cxn>
                  <a:cxn ang="0">
                    <a:pos x="28" y="36"/>
                  </a:cxn>
                  <a:cxn ang="0">
                    <a:pos x="20" y="30"/>
                  </a:cxn>
                  <a:cxn ang="0">
                    <a:pos x="19" y="16"/>
                  </a:cxn>
                  <a:cxn ang="0">
                    <a:pos x="14" y="13"/>
                  </a:cxn>
                  <a:cxn ang="0">
                    <a:pos x="10" y="11"/>
                  </a:cxn>
                  <a:cxn ang="0">
                    <a:pos x="11" y="17"/>
                  </a:cxn>
                  <a:cxn ang="0">
                    <a:pos x="27" y="21"/>
                  </a:cxn>
                  <a:cxn ang="0">
                    <a:pos x="23" y="11"/>
                  </a:cxn>
                  <a:cxn ang="0">
                    <a:pos x="19" y="6"/>
                  </a:cxn>
                  <a:cxn ang="0">
                    <a:pos x="22" y="16"/>
                  </a:cxn>
                  <a:cxn ang="0">
                    <a:pos x="27" y="30"/>
                  </a:cxn>
                  <a:cxn ang="0">
                    <a:pos x="27" y="21"/>
                  </a:cxn>
                  <a:cxn ang="0">
                    <a:pos x="28" y="15"/>
                  </a:cxn>
                  <a:cxn ang="0">
                    <a:pos x="30" y="16"/>
                  </a:cxn>
                  <a:cxn ang="0">
                    <a:pos x="34" y="14"/>
                  </a:cxn>
                  <a:cxn ang="0">
                    <a:pos x="32" y="9"/>
                  </a:cxn>
                  <a:cxn ang="0">
                    <a:pos x="28" y="6"/>
                  </a:cxn>
                  <a:cxn ang="0">
                    <a:pos x="29" y="2"/>
                  </a:cxn>
                  <a:cxn ang="0">
                    <a:pos x="24" y="10"/>
                  </a:cxn>
                  <a:cxn ang="0">
                    <a:pos x="31" y="14"/>
                  </a:cxn>
                  <a:cxn ang="0">
                    <a:pos x="30" y="20"/>
                  </a:cxn>
                  <a:cxn ang="0">
                    <a:pos x="35" y="18"/>
                  </a:cxn>
                  <a:cxn ang="0">
                    <a:pos x="31" y="14"/>
                  </a:cxn>
                  <a:cxn ang="0">
                    <a:pos x="38" y="10"/>
                  </a:cxn>
                  <a:cxn ang="0">
                    <a:pos x="37" y="14"/>
                  </a:cxn>
                  <a:cxn ang="0">
                    <a:pos x="42" y="13"/>
                  </a:cxn>
                  <a:cxn ang="0">
                    <a:pos x="38" y="5"/>
                  </a:cxn>
                  <a:cxn ang="0">
                    <a:pos x="44" y="9"/>
                  </a:cxn>
                  <a:cxn ang="0">
                    <a:pos x="42" y="1"/>
                  </a:cxn>
                  <a:cxn ang="0">
                    <a:pos x="38" y="1"/>
                  </a:cxn>
                  <a:cxn ang="0">
                    <a:pos x="36" y="8"/>
                  </a:cxn>
                  <a:cxn ang="0">
                    <a:pos x="38" y="1"/>
                  </a:cxn>
                  <a:cxn ang="0">
                    <a:pos x="32" y="2"/>
                  </a:cxn>
                  <a:cxn ang="0">
                    <a:pos x="34" y="2"/>
                  </a:cxn>
                  <a:cxn ang="0">
                    <a:pos x="45" y="14"/>
                  </a:cxn>
                  <a:cxn ang="0">
                    <a:pos x="47" y="11"/>
                  </a:cxn>
                  <a:cxn ang="0">
                    <a:pos x="48" y="9"/>
                  </a:cxn>
                  <a:cxn ang="0">
                    <a:pos x="48" y="5"/>
                  </a:cxn>
                  <a:cxn ang="0">
                    <a:pos x="48" y="5"/>
                  </a:cxn>
                  <a:cxn ang="0">
                    <a:pos x="16" y="49"/>
                  </a:cxn>
                  <a:cxn ang="0">
                    <a:pos x="14" y="45"/>
                  </a:cxn>
                  <a:cxn ang="0">
                    <a:pos x="13" y="55"/>
                  </a:cxn>
                  <a:cxn ang="0">
                    <a:pos x="18" y="62"/>
                  </a:cxn>
                  <a:cxn ang="0">
                    <a:pos x="17" y="57"/>
                  </a:cxn>
                  <a:cxn ang="0">
                    <a:pos x="19" y="53"/>
                  </a:cxn>
                </a:cxnLst>
                <a:rect l="0" t="0" r="r" b="b"/>
                <a:pathLst>
                  <a:path w="51" h="62">
                    <a:moveTo>
                      <a:pt x="0" y="11"/>
                    </a:moveTo>
                    <a:cubicBezTo>
                      <a:pt x="7" y="13"/>
                      <a:pt x="7" y="13"/>
                      <a:pt x="7" y="13"/>
                    </a:cubicBezTo>
                    <a:cubicBezTo>
                      <a:pt x="6" y="10"/>
                      <a:pt x="6" y="10"/>
                      <a:pt x="6" y="10"/>
                    </a:cubicBezTo>
                    <a:lnTo>
                      <a:pt x="0" y="11"/>
                    </a:lnTo>
                    <a:close/>
                    <a:moveTo>
                      <a:pt x="29" y="30"/>
                    </a:moveTo>
                    <a:cubicBezTo>
                      <a:pt x="32" y="30"/>
                      <a:pt x="32" y="30"/>
                      <a:pt x="32" y="30"/>
                    </a:cubicBezTo>
                    <a:cubicBezTo>
                      <a:pt x="30" y="24"/>
                      <a:pt x="30" y="24"/>
                      <a:pt x="30" y="24"/>
                    </a:cubicBezTo>
                    <a:lnTo>
                      <a:pt x="29" y="30"/>
                    </a:lnTo>
                    <a:close/>
                    <a:moveTo>
                      <a:pt x="22" y="27"/>
                    </a:moveTo>
                    <a:cubicBezTo>
                      <a:pt x="21" y="22"/>
                      <a:pt x="21" y="22"/>
                      <a:pt x="21" y="22"/>
                    </a:cubicBezTo>
                    <a:cubicBezTo>
                      <a:pt x="19" y="23"/>
                      <a:pt x="19" y="23"/>
                      <a:pt x="19" y="23"/>
                    </a:cubicBezTo>
                    <a:cubicBezTo>
                      <a:pt x="21" y="26"/>
                      <a:pt x="21" y="26"/>
                      <a:pt x="21" y="26"/>
                    </a:cubicBezTo>
                    <a:lnTo>
                      <a:pt x="22" y="27"/>
                    </a:lnTo>
                    <a:close/>
                    <a:moveTo>
                      <a:pt x="19" y="40"/>
                    </a:moveTo>
                    <a:cubicBezTo>
                      <a:pt x="21" y="39"/>
                      <a:pt x="21" y="39"/>
                      <a:pt x="21" y="39"/>
                    </a:cubicBezTo>
                    <a:cubicBezTo>
                      <a:pt x="21" y="37"/>
                      <a:pt x="21" y="37"/>
                      <a:pt x="21" y="37"/>
                    </a:cubicBezTo>
                    <a:lnTo>
                      <a:pt x="19" y="40"/>
                    </a:lnTo>
                    <a:close/>
                    <a:moveTo>
                      <a:pt x="20" y="30"/>
                    </a:moveTo>
                    <a:cubicBezTo>
                      <a:pt x="20" y="34"/>
                      <a:pt x="20" y="34"/>
                      <a:pt x="20" y="34"/>
                    </a:cubicBezTo>
                    <a:cubicBezTo>
                      <a:pt x="23" y="34"/>
                      <a:pt x="23" y="34"/>
                      <a:pt x="23" y="34"/>
                    </a:cubicBezTo>
                    <a:cubicBezTo>
                      <a:pt x="24" y="40"/>
                      <a:pt x="24" y="40"/>
                      <a:pt x="24" y="40"/>
                    </a:cubicBezTo>
                    <a:cubicBezTo>
                      <a:pt x="28" y="36"/>
                      <a:pt x="28" y="36"/>
                      <a:pt x="28" y="36"/>
                    </a:cubicBezTo>
                    <a:cubicBezTo>
                      <a:pt x="28" y="36"/>
                      <a:pt x="27" y="34"/>
                      <a:pt x="24" y="32"/>
                    </a:cubicBezTo>
                    <a:cubicBezTo>
                      <a:pt x="23" y="31"/>
                      <a:pt x="20" y="30"/>
                      <a:pt x="20" y="30"/>
                    </a:cubicBezTo>
                    <a:close/>
                    <a:moveTo>
                      <a:pt x="15" y="20"/>
                    </a:moveTo>
                    <a:cubicBezTo>
                      <a:pt x="18" y="19"/>
                      <a:pt x="19" y="16"/>
                      <a:pt x="19" y="16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4" y="13"/>
                      <a:pt x="14" y="13"/>
                      <a:pt x="14" y="13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10" y="11"/>
                      <a:pt x="10" y="11"/>
                      <a:pt x="10" y="11"/>
                    </a:cubicBezTo>
                    <a:cubicBezTo>
                      <a:pt x="10" y="11"/>
                      <a:pt x="12" y="13"/>
                      <a:pt x="11" y="14"/>
                    </a:cubicBezTo>
                    <a:cubicBezTo>
                      <a:pt x="11" y="17"/>
                      <a:pt x="11" y="17"/>
                      <a:pt x="11" y="17"/>
                    </a:cubicBezTo>
                    <a:cubicBezTo>
                      <a:pt x="11" y="17"/>
                      <a:pt x="12" y="20"/>
                      <a:pt x="15" y="20"/>
                    </a:cubicBezTo>
                    <a:close/>
                    <a:moveTo>
                      <a:pt x="27" y="21"/>
                    </a:moveTo>
                    <a:cubicBezTo>
                      <a:pt x="27" y="21"/>
                      <a:pt x="28" y="19"/>
                      <a:pt x="27" y="18"/>
                    </a:cubicBezTo>
                    <a:cubicBezTo>
                      <a:pt x="26" y="17"/>
                      <a:pt x="23" y="11"/>
                      <a:pt x="23" y="11"/>
                    </a:cubicBezTo>
                    <a:cubicBezTo>
                      <a:pt x="23" y="11"/>
                      <a:pt x="23" y="3"/>
                      <a:pt x="21" y="3"/>
                    </a:cubicBezTo>
                    <a:cubicBezTo>
                      <a:pt x="20" y="3"/>
                      <a:pt x="19" y="6"/>
                      <a:pt x="19" y="6"/>
                    </a:cubicBezTo>
                    <a:cubicBezTo>
                      <a:pt x="18" y="10"/>
                      <a:pt x="18" y="10"/>
                      <a:pt x="18" y="10"/>
                    </a:cubicBezTo>
                    <a:cubicBezTo>
                      <a:pt x="19" y="14"/>
                      <a:pt x="22" y="13"/>
                      <a:pt x="22" y="16"/>
                    </a:cubicBezTo>
                    <a:cubicBezTo>
                      <a:pt x="22" y="19"/>
                      <a:pt x="23" y="25"/>
                      <a:pt x="24" y="26"/>
                    </a:cubicBezTo>
                    <a:cubicBezTo>
                      <a:pt x="26" y="26"/>
                      <a:pt x="27" y="30"/>
                      <a:pt x="27" y="30"/>
                    </a:cubicBezTo>
                    <a:cubicBezTo>
                      <a:pt x="27" y="30"/>
                      <a:pt x="29" y="26"/>
                      <a:pt x="29" y="24"/>
                    </a:cubicBezTo>
                    <a:cubicBezTo>
                      <a:pt x="28" y="22"/>
                      <a:pt x="27" y="21"/>
                      <a:pt x="27" y="21"/>
                    </a:cubicBezTo>
                    <a:close/>
                    <a:moveTo>
                      <a:pt x="28" y="13"/>
                    </a:moveTo>
                    <a:cubicBezTo>
                      <a:pt x="28" y="15"/>
                      <a:pt x="28" y="15"/>
                      <a:pt x="28" y="15"/>
                    </a:cubicBezTo>
                    <a:cubicBezTo>
                      <a:pt x="30" y="18"/>
                      <a:pt x="30" y="18"/>
                      <a:pt x="30" y="18"/>
                    </a:cubicBezTo>
                    <a:cubicBezTo>
                      <a:pt x="30" y="16"/>
                      <a:pt x="30" y="16"/>
                      <a:pt x="30" y="16"/>
                    </a:cubicBezTo>
                    <a:cubicBezTo>
                      <a:pt x="30" y="14"/>
                      <a:pt x="30" y="14"/>
                      <a:pt x="30" y="14"/>
                    </a:cubicBezTo>
                    <a:cubicBezTo>
                      <a:pt x="34" y="14"/>
                      <a:pt x="34" y="14"/>
                      <a:pt x="34" y="14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32" y="9"/>
                      <a:pt x="32" y="9"/>
                      <a:pt x="32" y="9"/>
                    </a:cubicBezTo>
                    <a:cubicBezTo>
                      <a:pt x="30" y="6"/>
                      <a:pt x="30" y="6"/>
                      <a:pt x="30" y="6"/>
                    </a:cubicBezTo>
                    <a:cubicBezTo>
                      <a:pt x="28" y="6"/>
                      <a:pt x="28" y="6"/>
                      <a:pt x="28" y="6"/>
                    </a:cubicBezTo>
                    <a:cubicBezTo>
                      <a:pt x="29" y="4"/>
                      <a:pt x="29" y="4"/>
                      <a:pt x="29" y="4"/>
                    </a:cubicBezTo>
                    <a:cubicBezTo>
                      <a:pt x="29" y="2"/>
                      <a:pt x="29" y="2"/>
                      <a:pt x="29" y="2"/>
                    </a:cubicBezTo>
                    <a:cubicBezTo>
                      <a:pt x="24" y="2"/>
                      <a:pt x="24" y="2"/>
                      <a:pt x="24" y="2"/>
                    </a:cubicBezTo>
                    <a:cubicBezTo>
                      <a:pt x="24" y="10"/>
                      <a:pt x="24" y="10"/>
                      <a:pt x="24" y="10"/>
                    </a:cubicBezTo>
                    <a:lnTo>
                      <a:pt x="28" y="13"/>
                    </a:lnTo>
                    <a:close/>
                    <a:moveTo>
                      <a:pt x="31" y="14"/>
                    </a:moveTo>
                    <a:cubicBezTo>
                      <a:pt x="32" y="17"/>
                      <a:pt x="32" y="17"/>
                      <a:pt x="32" y="17"/>
                    </a:cubicBezTo>
                    <a:cubicBezTo>
                      <a:pt x="30" y="20"/>
                      <a:pt x="30" y="20"/>
                      <a:pt x="30" y="20"/>
                    </a:cubicBezTo>
                    <a:cubicBezTo>
                      <a:pt x="32" y="21"/>
                      <a:pt x="32" y="21"/>
                      <a:pt x="32" y="21"/>
                    </a:cubicBezTo>
                    <a:cubicBezTo>
                      <a:pt x="35" y="18"/>
                      <a:pt x="35" y="18"/>
                      <a:pt x="35" y="18"/>
                    </a:cubicBezTo>
                    <a:cubicBezTo>
                      <a:pt x="33" y="15"/>
                      <a:pt x="33" y="15"/>
                      <a:pt x="33" y="15"/>
                    </a:cubicBezTo>
                    <a:lnTo>
                      <a:pt x="31" y="14"/>
                    </a:lnTo>
                    <a:close/>
                    <a:moveTo>
                      <a:pt x="38" y="5"/>
                    </a:moveTo>
                    <a:cubicBezTo>
                      <a:pt x="38" y="10"/>
                      <a:pt x="38" y="10"/>
                      <a:pt x="38" y="10"/>
                    </a:cubicBezTo>
                    <a:cubicBezTo>
                      <a:pt x="37" y="11"/>
                      <a:pt x="37" y="11"/>
                      <a:pt x="37" y="11"/>
                    </a:cubicBezTo>
                    <a:cubicBezTo>
                      <a:pt x="37" y="14"/>
                      <a:pt x="37" y="14"/>
                      <a:pt x="37" y="14"/>
                    </a:cubicBezTo>
                    <a:cubicBezTo>
                      <a:pt x="40" y="16"/>
                      <a:pt x="40" y="16"/>
                      <a:pt x="40" y="16"/>
                    </a:cubicBezTo>
                    <a:cubicBezTo>
                      <a:pt x="42" y="13"/>
                      <a:pt x="42" y="13"/>
                      <a:pt x="42" y="13"/>
                    </a:cubicBezTo>
                    <a:cubicBezTo>
                      <a:pt x="39" y="5"/>
                      <a:pt x="39" y="5"/>
                      <a:pt x="39" y="5"/>
                    </a:cubicBezTo>
                    <a:lnTo>
                      <a:pt x="38" y="5"/>
                    </a:lnTo>
                    <a:close/>
                    <a:moveTo>
                      <a:pt x="43" y="8"/>
                    </a:moveTo>
                    <a:cubicBezTo>
                      <a:pt x="44" y="9"/>
                      <a:pt x="44" y="9"/>
                      <a:pt x="44" y="9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42" y="1"/>
                      <a:pt x="42" y="1"/>
                      <a:pt x="42" y="1"/>
                    </a:cubicBezTo>
                    <a:lnTo>
                      <a:pt x="43" y="8"/>
                    </a:lnTo>
                    <a:close/>
                    <a:moveTo>
                      <a:pt x="38" y="1"/>
                    </a:moveTo>
                    <a:cubicBezTo>
                      <a:pt x="36" y="2"/>
                      <a:pt x="36" y="2"/>
                      <a:pt x="36" y="2"/>
                    </a:cubicBezTo>
                    <a:cubicBezTo>
                      <a:pt x="36" y="8"/>
                      <a:pt x="36" y="8"/>
                      <a:pt x="36" y="8"/>
                    </a:cubicBezTo>
                    <a:cubicBezTo>
                      <a:pt x="37" y="8"/>
                      <a:pt x="37" y="8"/>
                      <a:pt x="37" y="8"/>
                    </a:cubicBezTo>
                    <a:lnTo>
                      <a:pt x="38" y="1"/>
                    </a:lnTo>
                    <a:close/>
                    <a:moveTo>
                      <a:pt x="34" y="2"/>
                    </a:moveTo>
                    <a:cubicBezTo>
                      <a:pt x="32" y="2"/>
                      <a:pt x="32" y="2"/>
                      <a:pt x="32" y="2"/>
                    </a:cubicBezTo>
                    <a:cubicBezTo>
                      <a:pt x="34" y="9"/>
                      <a:pt x="34" y="9"/>
                      <a:pt x="34" y="9"/>
                    </a:cubicBezTo>
                    <a:lnTo>
                      <a:pt x="34" y="2"/>
                    </a:lnTo>
                    <a:close/>
                    <a:moveTo>
                      <a:pt x="45" y="11"/>
                    </a:moveTo>
                    <a:cubicBezTo>
                      <a:pt x="45" y="14"/>
                      <a:pt x="45" y="14"/>
                      <a:pt x="45" y="14"/>
                    </a:cubicBezTo>
                    <a:cubicBezTo>
                      <a:pt x="47" y="15"/>
                      <a:pt x="47" y="15"/>
                      <a:pt x="47" y="15"/>
                    </a:cubicBezTo>
                    <a:cubicBezTo>
                      <a:pt x="47" y="11"/>
                      <a:pt x="47" y="11"/>
                      <a:pt x="47" y="11"/>
                    </a:cubicBezTo>
                    <a:cubicBezTo>
                      <a:pt x="49" y="10"/>
                      <a:pt x="49" y="10"/>
                      <a:pt x="49" y="10"/>
                    </a:cubicBezTo>
                    <a:cubicBezTo>
                      <a:pt x="48" y="9"/>
                      <a:pt x="48" y="9"/>
                      <a:pt x="48" y="9"/>
                    </a:cubicBezTo>
                    <a:lnTo>
                      <a:pt x="45" y="11"/>
                    </a:lnTo>
                    <a:close/>
                    <a:moveTo>
                      <a:pt x="48" y="5"/>
                    </a:moveTo>
                    <a:cubicBezTo>
                      <a:pt x="45" y="6"/>
                      <a:pt x="48" y="7"/>
                      <a:pt x="48" y="7"/>
                    </a:cubicBezTo>
                    <a:cubicBezTo>
                      <a:pt x="50" y="7"/>
                      <a:pt x="51" y="4"/>
                      <a:pt x="48" y="5"/>
                    </a:cubicBezTo>
                    <a:close/>
                    <a:moveTo>
                      <a:pt x="20" y="51"/>
                    </a:moveTo>
                    <a:cubicBezTo>
                      <a:pt x="18" y="50"/>
                      <a:pt x="16" y="50"/>
                      <a:pt x="16" y="49"/>
                    </a:cubicBezTo>
                    <a:cubicBezTo>
                      <a:pt x="16" y="48"/>
                      <a:pt x="17" y="47"/>
                      <a:pt x="17" y="46"/>
                    </a:cubicBezTo>
                    <a:cubicBezTo>
                      <a:pt x="17" y="45"/>
                      <a:pt x="15" y="42"/>
                      <a:pt x="14" y="45"/>
                    </a:cubicBezTo>
                    <a:cubicBezTo>
                      <a:pt x="13" y="47"/>
                      <a:pt x="14" y="53"/>
                      <a:pt x="14" y="53"/>
                    </a:cubicBezTo>
                    <a:cubicBezTo>
                      <a:pt x="13" y="55"/>
                      <a:pt x="13" y="55"/>
                      <a:pt x="13" y="55"/>
                    </a:cubicBezTo>
                    <a:cubicBezTo>
                      <a:pt x="17" y="62"/>
                      <a:pt x="17" y="62"/>
                      <a:pt x="17" y="62"/>
                    </a:cubicBezTo>
                    <a:cubicBezTo>
                      <a:pt x="18" y="62"/>
                      <a:pt x="18" y="62"/>
                      <a:pt x="18" y="62"/>
                    </a:cubicBezTo>
                    <a:cubicBezTo>
                      <a:pt x="19" y="58"/>
                      <a:pt x="19" y="58"/>
                      <a:pt x="19" y="58"/>
                    </a:cubicBezTo>
                    <a:cubicBezTo>
                      <a:pt x="17" y="57"/>
                      <a:pt x="17" y="57"/>
                      <a:pt x="17" y="57"/>
                    </a:cubicBezTo>
                    <a:cubicBezTo>
                      <a:pt x="19" y="57"/>
                      <a:pt x="19" y="57"/>
                      <a:pt x="19" y="57"/>
                    </a:cubicBezTo>
                    <a:cubicBezTo>
                      <a:pt x="19" y="53"/>
                      <a:pt x="19" y="53"/>
                      <a:pt x="19" y="53"/>
                    </a:cubicBezTo>
                    <a:cubicBezTo>
                      <a:pt x="19" y="53"/>
                      <a:pt x="21" y="53"/>
                      <a:pt x="20" y="51"/>
                    </a:cubicBez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96" name="Estonia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5753100" y="2689225"/>
                <a:ext cx="458787" cy="290512"/>
              </a:xfrm>
              <a:custGeom>
                <a:avLst/>
                <a:gdLst/>
                <a:ahLst/>
                <a:cxnLst>
                  <a:cxn ang="0">
                    <a:pos x="199" y="82"/>
                  </a:cxn>
                  <a:cxn ang="0">
                    <a:pos x="192" y="42"/>
                  </a:cxn>
                  <a:cxn ang="0">
                    <a:pos x="198" y="11"/>
                  </a:cxn>
                  <a:cxn ang="0">
                    <a:pos x="194" y="5"/>
                  </a:cxn>
                  <a:cxn ang="0">
                    <a:pos x="150" y="5"/>
                  </a:cxn>
                  <a:cxn ang="0">
                    <a:pos x="133" y="7"/>
                  </a:cxn>
                  <a:cxn ang="0">
                    <a:pos x="129" y="8"/>
                  </a:cxn>
                  <a:cxn ang="0">
                    <a:pos x="124" y="7"/>
                  </a:cxn>
                  <a:cxn ang="0">
                    <a:pos x="118" y="3"/>
                  </a:cxn>
                  <a:cxn ang="0">
                    <a:pos x="114" y="8"/>
                  </a:cxn>
                  <a:cxn ang="0">
                    <a:pos x="103" y="17"/>
                  </a:cxn>
                  <a:cxn ang="0">
                    <a:pos x="91" y="24"/>
                  </a:cxn>
                  <a:cxn ang="0">
                    <a:pos x="75" y="30"/>
                  </a:cxn>
                  <a:cxn ang="0">
                    <a:pos x="66" y="31"/>
                  </a:cxn>
                  <a:cxn ang="0">
                    <a:pos x="67" y="39"/>
                  </a:cxn>
                  <a:cxn ang="0">
                    <a:pos x="56" y="44"/>
                  </a:cxn>
                  <a:cxn ang="0">
                    <a:pos x="51" y="45"/>
                  </a:cxn>
                  <a:cxn ang="0">
                    <a:pos x="52" y="50"/>
                  </a:cxn>
                  <a:cxn ang="0">
                    <a:pos x="52" y="61"/>
                  </a:cxn>
                  <a:cxn ang="0">
                    <a:pos x="51" y="65"/>
                  </a:cxn>
                  <a:cxn ang="0">
                    <a:pos x="58" y="72"/>
                  </a:cxn>
                  <a:cxn ang="0">
                    <a:pos x="56" y="77"/>
                  </a:cxn>
                  <a:cxn ang="0">
                    <a:pos x="57" y="88"/>
                  </a:cxn>
                  <a:cxn ang="0">
                    <a:pos x="69" y="101"/>
                  </a:cxn>
                  <a:cxn ang="0">
                    <a:pos x="78" y="99"/>
                  </a:cxn>
                  <a:cxn ang="0">
                    <a:pos x="87" y="94"/>
                  </a:cxn>
                  <a:cxn ang="0">
                    <a:pos x="97" y="112"/>
                  </a:cxn>
                  <a:cxn ang="0">
                    <a:pos x="98" y="126"/>
                  </a:cxn>
                  <a:cxn ang="0">
                    <a:pos x="105" y="122"/>
                  </a:cxn>
                  <a:cxn ang="0">
                    <a:pos x="119" y="108"/>
                  </a:cxn>
                  <a:cxn ang="0">
                    <a:pos x="127" y="108"/>
                  </a:cxn>
                  <a:cxn ang="0">
                    <a:pos x="140" y="117"/>
                  </a:cxn>
                  <a:cxn ang="0">
                    <a:pos x="154" y="117"/>
                  </a:cxn>
                  <a:cxn ang="0">
                    <a:pos x="164" y="131"/>
                  </a:cxn>
                  <a:cxn ang="0">
                    <a:pos x="188" y="126"/>
                  </a:cxn>
                  <a:cxn ang="0">
                    <a:pos x="202" y="123"/>
                  </a:cxn>
                  <a:cxn ang="0">
                    <a:pos x="205" y="108"/>
                  </a:cxn>
                  <a:cxn ang="0">
                    <a:pos x="28" y="91"/>
                  </a:cxn>
                  <a:cxn ang="0">
                    <a:pos x="15" y="93"/>
                  </a:cxn>
                  <a:cxn ang="0">
                    <a:pos x="11" y="104"/>
                  </a:cxn>
                  <a:cxn ang="0">
                    <a:pos x="0" y="99"/>
                  </a:cxn>
                  <a:cxn ang="0">
                    <a:pos x="6" y="108"/>
                  </a:cxn>
                  <a:cxn ang="0">
                    <a:pos x="16" y="119"/>
                  </a:cxn>
                  <a:cxn ang="0">
                    <a:pos x="13" y="125"/>
                  </a:cxn>
                  <a:cxn ang="0">
                    <a:pos x="13" y="137"/>
                  </a:cxn>
                  <a:cxn ang="0">
                    <a:pos x="24" y="114"/>
                  </a:cxn>
                  <a:cxn ang="0">
                    <a:pos x="44" y="99"/>
                  </a:cxn>
                  <a:cxn ang="0">
                    <a:pos x="28" y="91"/>
                  </a:cxn>
                  <a:cxn ang="0">
                    <a:pos x="18" y="77"/>
                  </a:cxn>
                  <a:cxn ang="0">
                    <a:pos x="26" y="80"/>
                  </a:cxn>
                  <a:cxn ang="0">
                    <a:pos x="32" y="76"/>
                  </a:cxn>
                  <a:cxn ang="0">
                    <a:pos x="32" y="65"/>
                  </a:cxn>
                  <a:cxn ang="0">
                    <a:pos x="19" y="57"/>
                  </a:cxn>
                  <a:cxn ang="0">
                    <a:pos x="8" y="71"/>
                  </a:cxn>
                  <a:cxn ang="0">
                    <a:pos x="9" y="75"/>
                  </a:cxn>
                  <a:cxn ang="0">
                    <a:pos x="45" y="83"/>
                  </a:cxn>
                  <a:cxn ang="0">
                    <a:pos x="45" y="88"/>
                  </a:cxn>
                  <a:cxn ang="0">
                    <a:pos x="51" y="83"/>
                  </a:cxn>
                  <a:cxn ang="0">
                    <a:pos x="45" y="58"/>
                  </a:cxn>
                </a:cxnLst>
                <a:rect l="0" t="0" r="r" b="b"/>
                <a:pathLst>
                  <a:path w="215" h="137">
                    <a:moveTo>
                      <a:pt x="205" y="96"/>
                    </a:moveTo>
                    <a:cubicBezTo>
                      <a:pt x="205" y="96"/>
                      <a:pt x="205" y="93"/>
                      <a:pt x="204" y="89"/>
                    </a:cubicBezTo>
                    <a:cubicBezTo>
                      <a:pt x="204" y="86"/>
                      <a:pt x="199" y="82"/>
                      <a:pt x="199" y="82"/>
                    </a:cubicBezTo>
                    <a:cubicBezTo>
                      <a:pt x="199" y="82"/>
                      <a:pt x="198" y="72"/>
                      <a:pt x="195" y="65"/>
                    </a:cubicBezTo>
                    <a:cubicBezTo>
                      <a:pt x="192" y="59"/>
                      <a:pt x="186" y="47"/>
                      <a:pt x="186" y="47"/>
                    </a:cubicBezTo>
                    <a:cubicBezTo>
                      <a:pt x="186" y="47"/>
                      <a:pt x="189" y="44"/>
                      <a:pt x="192" y="42"/>
                    </a:cubicBezTo>
                    <a:cubicBezTo>
                      <a:pt x="193" y="40"/>
                      <a:pt x="197" y="30"/>
                      <a:pt x="197" y="30"/>
                    </a:cubicBezTo>
                    <a:cubicBezTo>
                      <a:pt x="200" y="14"/>
                      <a:pt x="200" y="14"/>
                      <a:pt x="200" y="14"/>
                    </a:cubicBezTo>
                    <a:cubicBezTo>
                      <a:pt x="200" y="14"/>
                      <a:pt x="198" y="12"/>
                      <a:pt x="198" y="11"/>
                    </a:cubicBezTo>
                    <a:cubicBezTo>
                      <a:pt x="198" y="9"/>
                      <a:pt x="204" y="5"/>
                      <a:pt x="204" y="5"/>
                    </a:cubicBez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0"/>
                      <a:pt x="197" y="4"/>
                      <a:pt x="194" y="5"/>
                    </a:cubicBezTo>
                    <a:cubicBezTo>
                      <a:pt x="191" y="8"/>
                      <a:pt x="184" y="4"/>
                      <a:pt x="178" y="5"/>
                    </a:cubicBezTo>
                    <a:cubicBezTo>
                      <a:pt x="171" y="7"/>
                      <a:pt x="175" y="10"/>
                      <a:pt x="167" y="10"/>
                    </a:cubicBezTo>
                    <a:cubicBezTo>
                      <a:pt x="159" y="10"/>
                      <a:pt x="150" y="5"/>
                      <a:pt x="150" y="5"/>
                    </a:cubicBezTo>
                    <a:cubicBezTo>
                      <a:pt x="147" y="8"/>
                      <a:pt x="147" y="8"/>
                      <a:pt x="147" y="8"/>
                    </a:cubicBezTo>
                    <a:cubicBezTo>
                      <a:pt x="139" y="5"/>
                      <a:pt x="139" y="5"/>
                      <a:pt x="139" y="5"/>
                    </a:cubicBezTo>
                    <a:cubicBezTo>
                      <a:pt x="133" y="7"/>
                      <a:pt x="133" y="7"/>
                      <a:pt x="133" y="7"/>
                    </a:cubicBezTo>
                    <a:cubicBezTo>
                      <a:pt x="131" y="3"/>
                      <a:pt x="131" y="3"/>
                      <a:pt x="131" y="3"/>
                    </a:cubicBezTo>
                    <a:cubicBezTo>
                      <a:pt x="128" y="4"/>
                      <a:pt x="128" y="4"/>
                      <a:pt x="128" y="4"/>
                    </a:cubicBezTo>
                    <a:cubicBezTo>
                      <a:pt x="129" y="8"/>
                      <a:pt x="129" y="8"/>
                      <a:pt x="129" y="8"/>
                    </a:cubicBezTo>
                    <a:cubicBezTo>
                      <a:pt x="126" y="8"/>
                      <a:pt x="126" y="8"/>
                      <a:pt x="126" y="8"/>
                    </a:cubicBezTo>
                    <a:cubicBezTo>
                      <a:pt x="126" y="7"/>
                      <a:pt x="126" y="7"/>
                      <a:pt x="126" y="7"/>
                    </a:cubicBezTo>
                    <a:cubicBezTo>
                      <a:pt x="124" y="7"/>
                      <a:pt x="124" y="7"/>
                      <a:pt x="124" y="7"/>
                    </a:cubicBezTo>
                    <a:cubicBezTo>
                      <a:pt x="124" y="10"/>
                      <a:pt x="124" y="10"/>
                      <a:pt x="124" y="10"/>
                    </a:cubicBezTo>
                    <a:cubicBezTo>
                      <a:pt x="122" y="10"/>
                      <a:pt x="122" y="10"/>
                      <a:pt x="122" y="10"/>
                    </a:cubicBezTo>
                    <a:cubicBezTo>
                      <a:pt x="118" y="3"/>
                      <a:pt x="118" y="3"/>
                      <a:pt x="118" y="3"/>
                    </a:cubicBezTo>
                    <a:cubicBezTo>
                      <a:pt x="117" y="4"/>
                      <a:pt x="117" y="4"/>
                      <a:pt x="117" y="4"/>
                    </a:cubicBezTo>
                    <a:cubicBezTo>
                      <a:pt x="117" y="4"/>
                      <a:pt x="119" y="10"/>
                      <a:pt x="118" y="11"/>
                    </a:cubicBezTo>
                    <a:cubicBezTo>
                      <a:pt x="117" y="11"/>
                      <a:pt x="114" y="8"/>
                      <a:pt x="114" y="8"/>
                    </a:cubicBezTo>
                    <a:cubicBezTo>
                      <a:pt x="114" y="14"/>
                      <a:pt x="114" y="14"/>
                      <a:pt x="114" y="14"/>
                    </a:cubicBezTo>
                    <a:cubicBezTo>
                      <a:pt x="114" y="14"/>
                      <a:pt x="114" y="15"/>
                      <a:pt x="112" y="16"/>
                    </a:cubicBezTo>
                    <a:cubicBezTo>
                      <a:pt x="110" y="17"/>
                      <a:pt x="103" y="17"/>
                      <a:pt x="103" y="17"/>
                    </a:cubicBezTo>
                    <a:cubicBezTo>
                      <a:pt x="103" y="17"/>
                      <a:pt x="98" y="20"/>
                      <a:pt x="97" y="20"/>
                    </a:cubicBezTo>
                    <a:cubicBezTo>
                      <a:pt x="96" y="20"/>
                      <a:pt x="90" y="15"/>
                      <a:pt x="89" y="16"/>
                    </a:cubicBezTo>
                    <a:cubicBezTo>
                      <a:pt x="88" y="17"/>
                      <a:pt x="91" y="24"/>
                      <a:pt x="91" y="24"/>
                    </a:cubicBezTo>
                    <a:cubicBezTo>
                      <a:pt x="87" y="26"/>
                      <a:pt x="87" y="26"/>
                      <a:pt x="87" y="26"/>
                    </a:cubicBezTo>
                    <a:cubicBezTo>
                      <a:pt x="87" y="26"/>
                      <a:pt x="80" y="24"/>
                      <a:pt x="78" y="25"/>
                    </a:cubicBezTo>
                    <a:cubicBezTo>
                      <a:pt x="75" y="26"/>
                      <a:pt x="75" y="30"/>
                      <a:pt x="75" y="30"/>
                    </a:cubicBezTo>
                    <a:cubicBezTo>
                      <a:pt x="72" y="30"/>
                      <a:pt x="72" y="30"/>
                      <a:pt x="72" y="30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66" y="31"/>
                      <a:pt x="66" y="31"/>
                      <a:pt x="66" y="31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6" y="33"/>
                      <a:pt x="70" y="39"/>
                      <a:pt x="69" y="40"/>
                    </a:cubicBezTo>
                    <a:cubicBezTo>
                      <a:pt x="68" y="41"/>
                      <a:pt x="67" y="39"/>
                      <a:pt x="67" y="39"/>
                    </a:cubicBezTo>
                    <a:cubicBezTo>
                      <a:pt x="60" y="40"/>
                      <a:pt x="60" y="40"/>
                      <a:pt x="60" y="40"/>
                    </a:cubicBezTo>
                    <a:cubicBezTo>
                      <a:pt x="57" y="41"/>
                      <a:pt x="57" y="41"/>
                      <a:pt x="57" y="41"/>
                    </a:cubicBezTo>
                    <a:cubicBezTo>
                      <a:pt x="56" y="44"/>
                      <a:pt x="56" y="44"/>
                      <a:pt x="56" y="44"/>
                    </a:cubicBezTo>
                    <a:cubicBezTo>
                      <a:pt x="55" y="44"/>
                      <a:pt x="55" y="44"/>
                      <a:pt x="55" y="44"/>
                    </a:cubicBezTo>
                    <a:cubicBezTo>
                      <a:pt x="51" y="46"/>
                      <a:pt x="51" y="46"/>
                      <a:pt x="51" y="46"/>
                    </a:cubicBezTo>
                    <a:cubicBezTo>
                      <a:pt x="51" y="45"/>
                      <a:pt x="51" y="45"/>
                      <a:pt x="51" y="45"/>
                    </a:cubicBezTo>
                    <a:cubicBezTo>
                      <a:pt x="50" y="45"/>
                      <a:pt x="50" y="45"/>
                      <a:pt x="50" y="45"/>
                    </a:cubicBezTo>
                    <a:cubicBezTo>
                      <a:pt x="50" y="48"/>
                      <a:pt x="50" y="48"/>
                      <a:pt x="50" y="48"/>
                    </a:cubicBezTo>
                    <a:cubicBezTo>
                      <a:pt x="52" y="50"/>
                      <a:pt x="52" y="50"/>
                      <a:pt x="52" y="50"/>
                    </a:cubicBezTo>
                    <a:cubicBezTo>
                      <a:pt x="51" y="55"/>
                      <a:pt x="51" y="55"/>
                      <a:pt x="51" y="55"/>
                    </a:cubicBezTo>
                    <a:cubicBezTo>
                      <a:pt x="51" y="55"/>
                      <a:pt x="49" y="55"/>
                      <a:pt x="49" y="57"/>
                    </a:cubicBezTo>
                    <a:cubicBezTo>
                      <a:pt x="49" y="59"/>
                      <a:pt x="51" y="61"/>
                      <a:pt x="52" y="61"/>
                    </a:cubicBezTo>
                    <a:cubicBezTo>
                      <a:pt x="54" y="61"/>
                      <a:pt x="55" y="59"/>
                      <a:pt x="55" y="59"/>
                    </a:cubicBezTo>
                    <a:cubicBezTo>
                      <a:pt x="56" y="60"/>
                      <a:pt x="56" y="60"/>
                      <a:pt x="56" y="60"/>
                    </a:cubicBezTo>
                    <a:cubicBezTo>
                      <a:pt x="56" y="60"/>
                      <a:pt x="51" y="63"/>
                      <a:pt x="51" y="65"/>
                    </a:cubicBezTo>
                    <a:cubicBezTo>
                      <a:pt x="50" y="67"/>
                      <a:pt x="54" y="71"/>
                      <a:pt x="54" y="71"/>
                    </a:cubicBezTo>
                    <a:cubicBezTo>
                      <a:pt x="53" y="75"/>
                      <a:pt x="53" y="75"/>
                      <a:pt x="53" y="75"/>
                    </a:cubicBezTo>
                    <a:cubicBezTo>
                      <a:pt x="58" y="72"/>
                      <a:pt x="58" y="72"/>
                      <a:pt x="58" y="72"/>
                    </a:cubicBezTo>
                    <a:cubicBezTo>
                      <a:pt x="64" y="73"/>
                      <a:pt x="64" y="73"/>
                      <a:pt x="64" y="73"/>
                    </a:cubicBezTo>
                    <a:cubicBezTo>
                      <a:pt x="63" y="76"/>
                      <a:pt x="63" y="76"/>
                      <a:pt x="63" y="76"/>
                    </a:cubicBezTo>
                    <a:cubicBezTo>
                      <a:pt x="56" y="77"/>
                      <a:pt x="56" y="77"/>
                      <a:pt x="56" y="77"/>
                    </a:cubicBezTo>
                    <a:cubicBezTo>
                      <a:pt x="57" y="78"/>
                      <a:pt x="57" y="78"/>
                      <a:pt x="57" y="78"/>
                    </a:cubicBezTo>
                    <a:cubicBezTo>
                      <a:pt x="55" y="79"/>
                      <a:pt x="55" y="79"/>
                      <a:pt x="55" y="79"/>
                    </a:cubicBezTo>
                    <a:cubicBezTo>
                      <a:pt x="57" y="88"/>
                      <a:pt x="57" y="88"/>
                      <a:pt x="57" y="88"/>
                    </a:cubicBezTo>
                    <a:cubicBezTo>
                      <a:pt x="57" y="88"/>
                      <a:pt x="61" y="87"/>
                      <a:pt x="63" y="89"/>
                    </a:cubicBezTo>
                    <a:cubicBezTo>
                      <a:pt x="65" y="91"/>
                      <a:pt x="66" y="94"/>
                      <a:pt x="67" y="96"/>
                    </a:cubicBezTo>
                    <a:cubicBezTo>
                      <a:pt x="68" y="98"/>
                      <a:pt x="69" y="101"/>
                      <a:pt x="69" y="101"/>
                    </a:cubicBezTo>
                    <a:cubicBezTo>
                      <a:pt x="71" y="99"/>
                      <a:pt x="71" y="99"/>
                      <a:pt x="71" y="99"/>
                    </a:cubicBezTo>
                    <a:cubicBezTo>
                      <a:pt x="73" y="102"/>
                      <a:pt x="73" y="102"/>
                      <a:pt x="73" y="102"/>
                    </a:cubicBezTo>
                    <a:cubicBezTo>
                      <a:pt x="78" y="99"/>
                      <a:pt x="78" y="99"/>
                      <a:pt x="78" y="99"/>
                    </a:cubicBezTo>
                    <a:cubicBezTo>
                      <a:pt x="83" y="104"/>
                      <a:pt x="83" y="104"/>
                      <a:pt x="83" y="104"/>
                    </a:cubicBezTo>
                    <a:cubicBezTo>
                      <a:pt x="86" y="101"/>
                      <a:pt x="86" y="101"/>
                      <a:pt x="86" y="101"/>
                    </a:cubicBezTo>
                    <a:cubicBezTo>
                      <a:pt x="86" y="101"/>
                      <a:pt x="86" y="95"/>
                      <a:pt x="87" y="94"/>
                    </a:cubicBezTo>
                    <a:cubicBezTo>
                      <a:pt x="89" y="93"/>
                      <a:pt x="95" y="94"/>
                      <a:pt x="96" y="96"/>
                    </a:cubicBezTo>
                    <a:cubicBezTo>
                      <a:pt x="98" y="97"/>
                      <a:pt x="94" y="103"/>
                      <a:pt x="94" y="103"/>
                    </a:cubicBezTo>
                    <a:cubicBezTo>
                      <a:pt x="97" y="112"/>
                      <a:pt x="97" y="112"/>
                      <a:pt x="97" y="112"/>
                    </a:cubicBezTo>
                    <a:cubicBezTo>
                      <a:pt x="95" y="120"/>
                      <a:pt x="95" y="120"/>
                      <a:pt x="95" y="120"/>
                    </a:cubicBezTo>
                    <a:cubicBezTo>
                      <a:pt x="96" y="126"/>
                      <a:pt x="96" y="126"/>
                      <a:pt x="96" y="126"/>
                    </a:cubicBezTo>
                    <a:cubicBezTo>
                      <a:pt x="98" y="126"/>
                      <a:pt x="98" y="126"/>
                      <a:pt x="98" y="126"/>
                    </a:cubicBezTo>
                    <a:cubicBezTo>
                      <a:pt x="99" y="122"/>
                      <a:pt x="99" y="122"/>
                      <a:pt x="99" y="122"/>
                    </a:cubicBezTo>
                    <a:cubicBezTo>
                      <a:pt x="102" y="119"/>
                      <a:pt x="102" y="119"/>
                      <a:pt x="102" y="119"/>
                    </a:cubicBezTo>
                    <a:cubicBezTo>
                      <a:pt x="105" y="122"/>
                      <a:pt x="105" y="122"/>
                      <a:pt x="105" y="122"/>
                    </a:cubicBezTo>
                    <a:cubicBezTo>
                      <a:pt x="108" y="115"/>
                      <a:pt x="108" y="115"/>
                      <a:pt x="108" y="115"/>
                    </a:cubicBezTo>
                    <a:cubicBezTo>
                      <a:pt x="114" y="117"/>
                      <a:pt x="114" y="117"/>
                      <a:pt x="114" y="117"/>
                    </a:cubicBezTo>
                    <a:cubicBezTo>
                      <a:pt x="119" y="108"/>
                      <a:pt x="119" y="108"/>
                      <a:pt x="119" y="108"/>
                    </a:cubicBezTo>
                    <a:cubicBezTo>
                      <a:pt x="122" y="108"/>
                      <a:pt x="122" y="108"/>
                      <a:pt x="122" y="108"/>
                    </a:cubicBezTo>
                    <a:cubicBezTo>
                      <a:pt x="126" y="113"/>
                      <a:pt x="126" y="113"/>
                      <a:pt x="126" y="113"/>
                    </a:cubicBezTo>
                    <a:cubicBezTo>
                      <a:pt x="127" y="108"/>
                      <a:pt x="127" y="108"/>
                      <a:pt x="127" y="108"/>
                    </a:cubicBezTo>
                    <a:cubicBezTo>
                      <a:pt x="133" y="112"/>
                      <a:pt x="133" y="112"/>
                      <a:pt x="133" y="112"/>
                    </a:cubicBezTo>
                    <a:cubicBezTo>
                      <a:pt x="137" y="112"/>
                      <a:pt x="137" y="112"/>
                      <a:pt x="137" y="112"/>
                    </a:cubicBezTo>
                    <a:cubicBezTo>
                      <a:pt x="140" y="117"/>
                      <a:pt x="140" y="117"/>
                      <a:pt x="140" y="117"/>
                    </a:cubicBezTo>
                    <a:cubicBezTo>
                      <a:pt x="144" y="114"/>
                      <a:pt x="144" y="114"/>
                      <a:pt x="144" y="114"/>
                    </a:cubicBezTo>
                    <a:cubicBezTo>
                      <a:pt x="144" y="114"/>
                      <a:pt x="146" y="119"/>
                      <a:pt x="148" y="119"/>
                    </a:cubicBezTo>
                    <a:cubicBezTo>
                      <a:pt x="150" y="119"/>
                      <a:pt x="154" y="117"/>
                      <a:pt x="154" y="117"/>
                    </a:cubicBezTo>
                    <a:cubicBezTo>
                      <a:pt x="154" y="121"/>
                      <a:pt x="154" y="121"/>
                      <a:pt x="154" y="121"/>
                    </a:cubicBezTo>
                    <a:cubicBezTo>
                      <a:pt x="154" y="121"/>
                      <a:pt x="159" y="123"/>
                      <a:pt x="161" y="124"/>
                    </a:cubicBezTo>
                    <a:cubicBezTo>
                      <a:pt x="163" y="126"/>
                      <a:pt x="162" y="131"/>
                      <a:pt x="164" y="131"/>
                    </a:cubicBezTo>
                    <a:cubicBezTo>
                      <a:pt x="173" y="131"/>
                      <a:pt x="173" y="131"/>
                      <a:pt x="173" y="131"/>
                    </a:cubicBezTo>
                    <a:cubicBezTo>
                      <a:pt x="177" y="134"/>
                      <a:pt x="177" y="134"/>
                      <a:pt x="177" y="134"/>
                    </a:cubicBezTo>
                    <a:cubicBezTo>
                      <a:pt x="188" y="126"/>
                      <a:pt x="188" y="126"/>
                      <a:pt x="188" y="126"/>
                    </a:cubicBezTo>
                    <a:cubicBezTo>
                      <a:pt x="188" y="126"/>
                      <a:pt x="196" y="129"/>
                      <a:pt x="199" y="128"/>
                    </a:cubicBezTo>
                    <a:cubicBezTo>
                      <a:pt x="200" y="128"/>
                      <a:pt x="202" y="128"/>
                      <a:pt x="203" y="127"/>
                    </a:cubicBezTo>
                    <a:cubicBezTo>
                      <a:pt x="202" y="123"/>
                      <a:pt x="202" y="123"/>
                      <a:pt x="202" y="123"/>
                    </a:cubicBezTo>
                    <a:cubicBezTo>
                      <a:pt x="203" y="117"/>
                      <a:pt x="203" y="117"/>
                      <a:pt x="203" y="117"/>
                    </a:cubicBezTo>
                    <a:cubicBezTo>
                      <a:pt x="203" y="117"/>
                      <a:pt x="206" y="117"/>
                      <a:pt x="208" y="114"/>
                    </a:cubicBezTo>
                    <a:cubicBezTo>
                      <a:pt x="208" y="112"/>
                      <a:pt x="205" y="108"/>
                      <a:pt x="205" y="108"/>
                    </a:cubicBezTo>
                    <a:cubicBezTo>
                      <a:pt x="205" y="108"/>
                      <a:pt x="214" y="106"/>
                      <a:pt x="215" y="104"/>
                    </a:cubicBezTo>
                    <a:cubicBezTo>
                      <a:pt x="215" y="102"/>
                      <a:pt x="205" y="96"/>
                      <a:pt x="205" y="96"/>
                    </a:cubicBezTo>
                    <a:close/>
                    <a:moveTo>
                      <a:pt x="28" y="91"/>
                    </a:moveTo>
                    <a:cubicBezTo>
                      <a:pt x="24" y="88"/>
                      <a:pt x="24" y="88"/>
                      <a:pt x="24" y="88"/>
                    </a:cubicBezTo>
                    <a:cubicBezTo>
                      <a:pt x="24" y="88"/>
                      <a:pt x="22" y="90"/>
                      <a:pt x="21" y="91"/>
                    </a:cubicBezTo>
                    <a:cubicBezTo>
                      <a:pt x="20" y="92"/>
                      <a:pt x="15" y="93"/>
                      <a:pt x="15" y="93"/>
                    </a:cubicBezTo>
                    <a:cubicBezTo>
                      <a:pt x="15" y="93"/>
                      <a:pt x="18" y="98"/>
                      <a:pt x="16" y="99"/>
                    </a:cubicBezTo>
                    <a:cubicBezTo>
                      <a:pt x="14" y="99"/>
                      <a:pt x="12" y="94"/>
                      <a:pt x="12" y="94"/>
                    </a:cubicBezTo>
                    <a:cubicBezTo>
                      <a:pt x="11" y="104"/>
                      <a:pt x="11" y="104"/>
                      <a:pt x="11" y="104"/>
                    </a:cubicBezTo>
                    <a:cubicBezTo>
                      <a:pt x="6" y="102"/>
                      <a:pt x="6" y="102"/>
                      <a:pt x="6" y="102"/>
                    </a:cubicBezTo>
                    <a:cubicBezTo>
                      <a:pt x="6" y="99"/>
                      <a:pt x="6" y="99"/>
                      <a:pt x="6" y="99"/>
                    </a:cubicBezTo>
                    <a:cubicBezTo>
                      <a:pt x="0" y="99"/>
                      <a:pt x="0" y="99"/>
                      <a:pt x="0" y="99"/>
                    </a:cubicBezTo>
                    <a:cubicBezTo>
                      <a:pt x="0" y="102"/>
                      <a:pt x="0" y="102"/>
                      <a:pt x="0" y="102"/>
                    </a:cubicBezTo>
                    <a:cubicBezTo>
                      <a:pt x="4" y="105"/>
                      <a:pt x="4" y="105"/>
                      <a:pt x="4" y="105"/>
                    </a:cubicBezTo>
                    <a:cubicBezTo>
                      <a:pt x="6" y="108"/>
                      <a:pt x="6" y="108"/>
                      <a:pt x="6" y="108"/>
                    </a:cubicBezTo>
                    <a:cubicBezTo>
                      <a:pt x="2" y="114"/>
                      <a:pt x="2" y="114"/>
                      <a:pt x="2" y="114"/>
                    </a:cubicBezTo>
                    <a:cubicBezTo>
                      <a:pt x="2" y="114"/>
                      <a:pt x="7" y="117"/>
                      <a:pt x="9" y="118"/>
                    </a:cubicBezTo>
                    <a:cubicBezTo>
                      <a:pt x="12" y="120"/>
                      <a:pt x="16" y="119"/>
                      <a:pt x="16" y="119"/>
                    </a:cubicBezTo>
                    <a:cubicBezTo>
                      <a:pt x="16" y="119"/>
                      <a:pt x="17" y="120"/>
                      <a:pt x="17" y="123"/>
                    </a:cubicBezTo>
                    <a:cubicBezTo>
                      <a:pt x="17" y="125"/>
                      <a:pt x="16" y="126"/>
                      <a:pt x="16" y="126"/>
                    </a:cubicBezTo>
                    <a:cubicBezTo>
                      <a:pt x="13" y="125"/>
                      <a:pt x="13" y="125"/>
                      <a:pt x="13" y="125"/>
                    </a:cubicBezTo>
                    <a:cubicBezTo>
                      <a:pt x="13" y="129"/>
                      <a:pt x="13" y="129"/>
                      <a:pt x="13" y="129"/>
                    </a:cubicBezTo>
                    <a:cubicBezTo>
                      <a:pt x="13" y="131"/>
                      <a:pt x="9" y="134"/>
                      <a:pt x="9" y="134"/>
                    </a:cubicBezTo>
                    <a:cubicBezTo>
                      <a:pt x="13" y="137"/>
                      <a:pt x="13" y="137"/>
                      <a:pt x="13" y="137"/>
                    </a:cubicBezTo>
                    <a:cubicBezTo>
                      <a:pt x="13" y="137"/>
                      <a:pt x="16" y="134"/>
                      <a:pt x="18" y="130"/>
                    </a:cubicBezTo>
                    <a:cubicBezTo>
                      <a:pt x="20" y="126"/>
                      <a:pt x="20" y="118"/>
                      <a:pt x="20" y="118"/>
                    </a:cubicBezTo>
                    <a:cubicBezTo>
                      <a:pt x="20" y="118"/>
                      <a:pt x="23" y="115"/>
                      <a:pt x="24" y="114"/>
                    </a:cubicBezTo>
                    <a:cubicBezTo>
                      <a:pt x="25" y="114"/>
                      <a:pt x="32" y="112"/>
                      <a:pt x="32" y="112"/>
                    </a:cubicBezTo>
                    <a:cubicBezTo>
                      <a:pt x="41" y="103"/>
                      <a:pt x="41" y="103"/>
                      <a:pt x="41" y="103"/>
                    </a:cubicBezTo>
                    <a:cubicBezTo>
                      <a:pt x="44" y="99"/>
                      <a:pt x="44" y="99"/>
                      <a:pt x="44" y="99"/>
                    </a:cubicBezTo>
                    <a:cubicBezTo>
                      <a:pt x="48" y="93"/>
                      <a:pt x="48" y="93"/>
                      <a:pt x="48" y="93"/>
                    </a:cubicBezTo>
                    <a:cubicBezTo>
                      <a:pt x="48" y="93"/>
                      <a:pt x="39" y="87"/>
                      <a:pt x="34" y="87"/>
                    </a:cubicBezTo>
                    <a:cubicBezTo>
                      <a:pt x="30" y="87"/>
                      <a:pt x="28" y="91"/>
                      <a:pt x="28" y="91"/>
                    </a:cubicBezTo>
                    <a:close/>
                    <a:moveTo>
                      <a:pt x="14" y="72"/>
                    </a:moveTo>
                    <a:cubicBezTo>
                      <a:pt x="19" y="75"/>
                      <a:pt x="19" y="75"/>
                      <a:pt x="19" y="75"/>
                    </a:cubicBezTo>
                    <a:cubicBezTo>
                      <a:pt x="18" y="77"/>
                      <a:pt x="18" y="77"/>
                      <a:pt x="18" y="77"/>
                    </a:cubicBezTo>
                    <a:cubicBezTo>
                      <a:pt x="21" y="83"/>
                      <a:pt x="21" y="83"/>
                      <a:pt x="21" y="83"/>
                    </a:cubicBezTo>
                    <a:cubicBezTo>
                      <a:pt x="24" y="83"/>
                      <a:pt x="24" y="83"/>
                      <a:pt x="24" y="83"/>
                    </a:cubicBezTo>
                    <a:cubicBezTo>
                      <a:pt x="26" y="80"/>
                      <a:pt x="26" y="80"/>
                      <a:pt x="26" y="80"/>
                    </a:cubicBezTo>
                    <a:cubicBezTo>
                      <a:pt x="28" y="78"/>
                      <a:pt x="28" y="78"/>
                      <a:pt x="28" y="78"/>
                    </a:cubicBezTo>
                    <a:cubicBezTo>
                      <a:pt x="30" y="78"/>
                      <a:pt x="30" y="78"/>
                      <a:pt x="30" y="78"/>
                    </a:cubicBezTo>
                    <a:cubicBezTo>
                      <a:pt x="32" y="76"/>
                      <a:pt x="32" y="76"/>
                      <a:pt x="32" y="76"/>
                    </a:cubicBezTo>
                    <a:cubicBezTo>
                      <a:pt x="31" y="73"/>
                      <a:pt x="31" y="73"/>
                      <a:pt x="31" y="73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38" y="72"/>
                      <a:pt x="34" y="67"/>
                      <a:pt x="32" y="65"/>
                    </a:cubicBezTo>
                    <a:cubicBezTo>
                      <a:pt x="29" y="63"/>
                      <a:pt x="26" y="63"/>
                      <a:pt x="26" y="63"/>
                    </a:cubicBezTo>
                    <a:cubicBezTo>
                      <a:pt x="22" y="59"/>
                      <a:pt x="22" y="59"/>
                      <a:pt x="22" y="59"/>
                    </a:cubicBezTo>
                    <a:cubicBezTo>
                      <a:pt x="19" y="57"/>
                      <a:pt x="19" y="57"/>
                      <a:pt x="19" y="57"/>
                    </a:cubicBezTo>
                    <a:cubicBezTo>
                      <a:pt x="20" y="62"/>
                      <a:pt x="20" y="62"/>
                      <a:pt x="20" y="62"/>
                    </a:cubicBezTo>
                    <a:cubicBezTo>
                      <a:pt x="16" y="68"/>
                      <a:pt x="16" y="68"/>
                      <a:pt x="16" y="68"/>
                    </a:cubicBezTo>
                    <a:cubicBezTo>
                      <a:pt x="8" y="71"/>
                      <a:pt x="8" y="71"/>
                      <a:pt x="8" y="71"/>
                    </a:cubicBezTo>
                    <a:cubicBezTo>
                      <a:pt x="6" y="70"/>
                      <a:pt x="6" y="70"/>
                      <a:pt x="6" y="70"/>
                    </a:cubicBezTo>
                    <a:cubicBezTo>
                      <a:pt x="2" y="72"/>
                      <a:pt x="2" y="72"/>
                      <a:pt x="2" y="72"/>
                    </a:cubicBezTo>
                    <a:cubicBezTo>
                      <a:pt x="9" y="75"/>
                      <a:pt x="9" y="75"/>
                      <a:pt x="9" y="75"/>
                    </a:cubicBezTo>
                    <a:lnTo>
                      <a:pt x="14" y="72"/>
                    </a:lnTo>
                    <a:close/>
                    <a:moveTo>
                      <a:pt x="45" y="80"/>
                    </a:moveTo>
                    <a:cubicBezTo>
                      <a:pt x="45" y="83"/>
                      <a:pt x="45" y="83"/>
                      <a:pt x="45" y="83"/>
                    </a:cubicBezTo>
                    <a:cubicBezTo>
                      <a:pt x="41" y="86"/>
                      <a:pt x="41" y="86"/>
                      <a:pt x="41" y="86"/>
                    </a:cubicBezTo>
                    <a:cubicBezTo>
                      <a:pt x="44" y="88"/>
                      <a:pt x="44" y="88"/>
                      <a:pt x="44" y="88"/>
                    </a:cubicBezTo>
                    <a:cubicBezTo>
                      <a:pt x="45" y="88"/>
                      <a:pt x="45" y="88"/>
                      <a:pt x="45" y="88"/>
                    </a:cubicBezTo>
                    <a:cubicBezTo>
                      <a:pt x="48" y="91"/>
                      <a:pt x="48" y="91"/>
                      <a:pt x="48" y="91"/>
                    </a:cubicBezTo>
                    <a:cubicBezTo>
                      <a:pt x="53" y="89"/>
                      <a:pt x="53" y="89"/>
                      <a:pt x="53" y="89"/>
                    </a:cubicBezTo>
                    <a:cubicBezTo>
                      <a:pt x="51" y="83"/>
                      <a:pt x="51" y="83"/>
                      <a:pt x="51" y="83"/>
                    </a:cubicBezTo>
                    <a:lnTo>
                      <a:pt x="45" y="80"/>
                    </a:lnTo>
                    <a:close/>
                    <a:moveTo>
                      <a:pt x="42" y="62"/>
                    </a:moveTo>
                    <a:cubicBezTo>
                      <a:pt x="53" y="65"/>
                      <a:pt x="48" y="58"/>
                      <a:pt x="45" y="58"/>
                    </a:cubicBezTo>
                    <a:cubicBezTo>
                      <a:pt x="41" y="58"/>
                      <a:pt x="35" y="60"/>
                      <a:pt x="42" y="62"/>
                    </a:cubicBezTo>
                    <a:close/>
                  </a:path>
                </a:pathLst>
              </a:custGeom>
              <a:solidFill>
                <a:schemeClr val="accent2">
                  <a:lumMod val="40000"/>
                  <a:lumOff val="60000"/>
                </a:schemeClr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98" name="Denmark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4700588" y="3048000"/>
                <a:ext cx="571500" cy="436562"/>
              </a:xfrm>
              <a:custGeom>
                <a:avLst/>
                <a:gdLst/>
                <a:ahLst/>
                <a:cxnLst>
                  <a:cxn ang="0">
                    <a:pos x="148" y="197"/>
                  </a:cxn>
                  <a:cxn ang="0">
                    <a:pos x="162" y="174"/>
                  </a:cxn>
                  <a:cxn ang="0">
                    <a:pos x="155" y="185"/>
                  </a:cxn>
                  <a:cxn ang="0">
                    <a:pos x="81" y="186"/>
                  </a:cxn>
                  <a:cxn ang="0">
                    <a:pos x="98" y="185"/>
                  </a:cxn>
                  <a:cxn ang="0">
                    <a:pos x="97" y="176"/>
                  </a:cxn>
                  <a:cxn ang="0">
                    <a:pos x="84" y="179"/>
                  </a:cxn>
                  <a:cxn ang="0">
                    <a:pos x="65" y="179"/>
                  </a:cxn>
                  <a:cxn ang="0">
                    <a:pos x="68" y="176"/>
                  </a:cxn>
                  <a:cxn ang="0">
                    <a:pos x="99" y="173"/>
                  </a:cxn>
                  <a:cxn ang="0">
                    <a:pos x="94" y="137"/>
                  </a:cxn>
                  <a:cxn ang="0">
                    <a:pos x="84" y="138"/>
                  </a:cxn>
                  <a:cxn ang="0">
                    <a:pos x="63" y="150"/>
                  </a:cxn>
                  <a:cxn ang="0">
                    <a:pos x="75" y="165"/>
                  </a:cxn>
                  <a:cxn ang="0">
                    <a:pos x="93" y="113"/>
                  </a:cxn>
                  <a:cxn ang="0">
                    <a:pos x="127" y="188"/>
                  </a:cxn>
                  <a:cxn ang="0">
                    <a:pos x="108" y="187"/>
                  </a:cxn>
                  <a:cxn ang="0">
                    <a:pos x="132" y="200"/>
                  </a:cxn>
                  <a:cxn ang="0">
                    <a:pos x="17" y="66"/>
                  </a:cxn>
                  <a:cxn ang="0">
                    <a:pos x="35" y="48"/>
                  </a:cxn>
                  <a:cxn ang="0">
                    <a:pos x="66" y="43"/>
                  </a:cxn>
                  <a:cxn ang="0">
                    <a:pos x="89" y="13"/>
                  </a:cxn>
                  <a:cxn ang="0">
                    <a:pos x="63" y="28"/>
                  </a:cxn>
                  <a:cxn ang="0">
                    <a:pos x="10" y="63"/>
                  </a:cxn>
                  <a:cxn ang="0">
                    <a:pos x="20" y="67"/>
                  </a:cxn>
                  <a:cxn ang="0">
                    <a:pos x="20" y="64"/>
                  </a:cxn>
                  <a:cxn ang="0">
                    <a:pos x="120" y="123"/>
                  </a:cxn>
                  <a:cxn ang="0">
                    <a:pos x="107" y="29"/>
                  </a:cxn>
                  <a:cxn ang="0">
                    <a:pos x="15" y="163"/>
                  </a:cxn>
                  <a:cxn ang="0">
                    <a:pos x="50" y="175"/>
                  </a:cxn>
                  <a:cxn ang="0">
                    <a:pos x="59" y="159"/>
                  </a:cxn>
                  <a:cxn ang="0">
                    <a:pos x="59" y="133"/>
                  </a:cxn>
                  <a:cxn ang="0">
                    <a:pos x="73" y="120"/>
                  </a:cxn>
                  <a:cxn ang="0">
                    <a:pos x="89" y="95"/>
                  </a:cxn>
                  <a:cxn ang="0">
                    <a:pos x="96" y="99"/>
                  </a:cxn>
                  <a:cxn ang="0">
                    <a:pos x="106" y="86"/>
                  </a:cxn>
                  <a:cxn ang="0">
                    <a:pos x="82" y="78"/>
                  </a:cxn>
                  <a:cxn ang="0">
                    <a:pos x="84" y="54"/>
                  </a:cxn>
                  <a:cxn ang="0">
                    <a:pos x="57" y="48"/>
                  </a:cxn>
                  <a:cxn ang="0">
                    <a:pos x="48" y="76"/>
                  </a:cxn>
                  <a:cxn ang="0">
                    <a:pos x="39" y="76"/>
                  </a:cxn>
                  <a:cxn ang="0">
                    <a:pos x="24" y="75"/>
                  </a:cxn>
                  <a:cxn ang="0">
                    <a:pos x="5" y="70"/>
                  </a:cxn>
                  <a:cxn ang="0">
                    <a:pos x="5" y="95"/>
                  </a:cxn>
                  <a:cxn ang="0">
                    <a:pos x="8" y="107"/>
                  </a:cxn>
                  <a:cxn ang="0">
                    <a:pos x="2" y="132"/>
                  </a:cxn>
                  <a:cxn ang="0">
                    <a:pos x="17" y="147"/>
                  </a:cxn>
                  <a:cxn ang="0">
                    <a:pos x="39" y="185"/>
                  </a:cxn>
                  <a:cxn ang="0">
                    <a:pos x="61" y="188"/>
                  </a:cxn>
                  <a:cxn ang="0">
                    <a:pos x="157" y="104"/>
                  </a:cxn>
                  <a:cxn ang="0">
                    <a:pos x="151" y="133"/>
                  </a:cxn>
                  <a:cxn ang="0">
                    <a:pos x="145" y="122"/>
                  </a:cxn>
                  <a:cxn ang="0">
                    <a:pos x="133" y="125"/>
                  </a:cxn>
                  <a:cxn ang="0">
                    <a:pos x="130" y="117"/>
                  </a:cxn>
                  <a:cxn ang="0">
                    <a:pos x="108" y="131"/>
                  </a:cxn>
                  <a:cxn ang="0">
                    <a:pos x="114" y="144"/>
                  </a:cxn>
                  <a:cxn ang="0">
                    <a:pos x="137" y="166"/>
                  </a:cxn>
                  <a:cxn ang="0">
                    <a:pos x="142" y="177"/>
                  </a:cxn>
                  <a:cxn ang="0">
                    <a:pos x="165" y="158"/>
                  </a:cxn>
                  <a:cxn ang="0">
                    <a:pos x="169" y="142"/>
                  </a:cxn>
                  <a:cxn ang="0">
                    <a:pos x="12" y="151"/>
                  </a:cxn>
                  <a:cxn ang="0">
                    <a:pos x="249" y="169"/>
                  </a:cxn>
                  <a:cxn ang="0">
                    <a:pos x="174" y="134"/>
                  </a:cxn>
                </a:cxnLst>
                <a:rect l="0" t="0" r="r" b="b"/>
                <a:pathLst>
                  <a:path w="268" h="205">
                    <a:moveTo>
                      <a:pt x="143" y="181"/>
                    </a:moveTo>
                    <a:cubicBezTo>
                      <a:pt x="142" y="179"/>
                      <a:pt x="142" y="179"/>
                      <a:pt x="142" y="179"/>
                    </a:cubicBezTo>
                    <a:cubicBezTo>
                      <a:pt x="142" y="179"/>
                      <a:pt x="138" y="178"/>
                      <a:pt x="137" y="179"/>
                    </a:cubicBezTo>
                    <a:cubicBezTo>
                      <a:pt x="137" y="179"/>
                      <a:pt x="138" y="185"/>
                      <a:pt x="140" y="187"/>
                    </a:cubicBezTo>
                    <a:cubicBezTo>
                      <a:pt x="142" y="190"/>
                      <a:pt x="143" y="192"/>
                      <a:pt x="143" y="192"/>
                    </a:cubicBezTo>
                    <a:cubicBezTo>
                      <a:pt x="143" y="205"/>
                      <a:pt x="143" y="205"/>
                      <a:pt x="143" y="205"/>
                    </a:cubicBezTo>
                    <a:cubicBezTo>
                      <a:pt x="147" y="205"/>
                      <a:pt x="147" y="205"/>
                      <a:pt x="147" y="205"/>
                    </a:cubicBezTo>
                    <a:cubicBezTo>
                      <a:pt x="148" y="197"/>
                      <a:pt x="148" y="197"/>
                      <a:pt x="148" y="197"/>
                    </a:cubicBezTo>
                    <a:cubicBezTo>
                      <a:pt x="154" y="186"/>
                      <a:pt x="154" y="186"/>
                      <a:pt x="154" y="186"/>
                    </a:cubicBezTo>
                    <a:cubicBezTo>
                      <a:pt x="147" y="180"/>
                      <a:pt x="147" y="180"/>
                      <a:pt x="147" y="180"/>
                    </a:cubicBezTo>
                    <a:lnTo>
                      <a:pt x="143" y="181"/>
                    </a:lnTo>
                    <a:close/>
                    <a:moveTo>
                      <a:pt x="131" y="178"/>
                    </a:moveTo>
                    <a:cubicBezTo>
                      <a:pt x="131" y="176"/>
                      <a:pt x="129" y="177"/>
                      <a:pt x="129" y="178"/>
                    </a:cubicBezTo>
                    <a:cubicBezTo>
                      <a:pt x="130" y="180"/>
                      <a:pt x="131" y="178"/>
                      <a:pt x="131" y="178"/>
                    </a:cubicBezTo>
                    <a:close/>
                    <a:moveTo>
                      <a:pt x="166" y="175"/>
                    </a:moveTo>
                    <a:cubicBezTo>
                      <a:pt x="165" y="175"/>
                      <a:pt x="162" y="175"/>
                      <a:pt x="162" y="174"/>
                    </a:cubicBezTo>
                    <a:cubicBezTo>
                      <a:pt x="161" y="174"/>
                      <a:pt x="157" y="173"/>
                      <a:pt x="157" y="173"/>
                    </a:cubicBezTo>
                    <a:cubicBezTo>
                      <a:pt x="156" y="173"/>
                      <a:pt x="156" y="173"/>
                      <a:pt x="156" y="173"/>
                    </a:cubicBezTo>
                    <a:cubicBezTo>
                      <a:pt x="158" y="175"/>
                      <a:pt x="158" y="175"/>
                      <a:pt x="158" y="175"/>
                    </a:cubicBezTo>
                    <a:cubicBezTo>
                      <a:pt x="158" y="175"/>
                      <a:pt x="161" y="177"/>
                      <a:pt x="158" y="177"/>
                    </a:cubicBezTo>
                    <a:cubicBezTo>
                      <a:pt x="157" y="178"/>
                      <a:pt x="154" y="178"/>
                      <a:pt x="154" y="178"/>
                    </a:cubicBezTo>
                    <a:cubicBezTo>
                      <a:pt x="152" y="179"/>
                      <a:pt x="152" y="179"/>
                      <a:pt x="152" y="179"/>
                    </a:cubicBezTo>
                    <a:cubicBezTo>
                      <a:pt x="153" y="182"/>
                      <a:pt x="153" y="182"/>
                      <a:pt x="153" y="182"/>
                    </a:cubicBezTo>
                    <a:cubicBezTo>
                      <a:pt x="154" y="185"/>
                      <a:pt x="155" y="185"/>
                      <a:pt x="155" y="185"/>
                    </a:cubicBezTo>
                    <a:cubicBezTo>
                      <a:pt x="157" y="181"/>
                      <a:pt x="157" y="181"/>
                      <a:pt x="157" y="181"/>
                    </a:cubicBezTo>
                    <a:cubicBezTo>
                      <a:pt x="157" y="181"/>
                      <a:pt x="161" y="179"/>
                      <a:pt x="162" y="179"/>
                    </a:cubicBezTo>
                    <a:cubicBezTo>
                      <a:pt x="163" y="179"/>
                      <a:pt x="165" y="181"/>
                      <a:pt x="168" y="180"/>
                    </a:cubicBezTo>
                    <a:cubicBezTo>
                      <a:pt x="170" y="179"/>
                      <a:pt x="168" y="175"/>
                      <a:pt x="166" y="175"/>
                    </a:cubicBezTo>
                    <a:close/>
                    <a:moveTo>
                      <a:pt x="84" y="185"/>
                    </a:moveTo>
                    <a:cubicBezTo>
                      <a:pt x="84" y="185"/>
                      <a:pt x="84" y="183"/>
                      <a:pt x="82" y="181"/>
                    </a:cubicBezTo>
                    <a:cubicBezTo>
                      <a:pt x="81" y="180"/>
                      <a:pt x="79" y="179"/>
                      <a:pt x="79" y="179"/>
                    </a:cubicBezTo>
                    <a:cubicBezTo>
                      <a:pt x="79" y="179"/>
                      <a:pt x="80" y="185"/>
                      <a:pt x="81" y="186"/>
                    </a:cubicBezTo>
                    <a:cubicBezTo>
                      <a:pt x="83" y="187"/>
                      <a:pt x="84" y="189"/>
                      <a:pt x="84" y="189"/>
                    </a:cubicBezTo>
                    <a:cubicBezTo>
                      <a:pt x="90" y="188"/>
                      <a:pt x="90" y="188"/>
                      <a:pt x="90" y="188"/>
                    </a:cubicBezTo>
                    <a:cubicBezTo>
                      <a:pt x="86" y="185"/>
                      <a:pt x="86" y="185"/>
                      <a:pt x="86" y="185"/>
                    </a:cubicBezTo>
                    <a:lnTo>
                      <a:pt x="84" y="185"/>
                    </a:lnTo>
                    <a:close/>
                    <a:moveTo>
                      <a:pt x="106" y="167"/>
                    </a:moveTo>
                    <a:cubicBezTo>
                      <a:pt x="103" y="175"/>
                      <a:pt x="103" y="175"/>
                      <a:pt x="103" y="175"/>
                    </a:cubicBezTo>
                    <a:cubicBezTo>
                      <a:pt x="96" y="183"/>
                      <a:pt x="96" y="183"/>
                      <a:pt x="96" y="183"/>
                    </a:cubicBezTo>
                    <a:cubicBezTo>
                      <a:pt x="98" y="185"/>
                      <a:pt x="98" y="185"/>
                      <a:pt x="98" y="185"/>
                    </a:cubicBezTo>
                    <a:cubicBezTo>
                      <a:pt x="93" y="188"/>
                      <a:pt x="93" y="188"/>
                      <a:pt x="93" y="188"/>
                    </a:cubicBezTo>
                    <a:cubicBezTo>
                      <a:pt x="98" y="196"/>
                      <a:pt x="98" y="196"/>
                      <a:pt x="98" y="196"/>
                    </a:cubicBezTo>
                    <a:cubicBezTo>
                      <a:pt x="106" y="175"/>
                      <a:pt x="106" y="175"/>
                      <a:pt x="106" y="175"/>
                    </a:cubicBezTo>
                    <a:cubicBezTo>
                      <a:pt x="107" y="174"/>
                      <a:pt x="107" y="167"/>
                      <a:pt x="107" y="167"/>
                    </a:cubicBezTo>
                    <a:lnTo>
                      <a:pt x="106" y="167"/>
                    </a:lnTo>
                    <a:close/>
                    <a:moveTo>
                      <a:pt x="97" y="177"/>
                    </a:moveTo>
                    <a:cubicBezTo>
                      <a:pt x="94" y="177"/>
                      <a:pt x="94" y="177"/>
                      <a:pt x="94" y="177"/>
                    </a:cubicBezTo>
                    <a:cubicBezTo>
                      <a:pt x="97" y="176"/>
                      <a:pt x="97" y="176"/>
                      <a:pt x="97" y="176"/>
                    </a:cubicBezTo>
                    <a:cubicBezTo>
                      <a:pt x="97" y="176"/>
                      <a:pt x="96" y="175"/>
                      <a:pt x="94" y="175"/>
                    </a:cubicBezTo>
                    <a:cubicBezTo>
                      <a:pt x="90" y="177"/>
                      <a:pt x="90" y="177"/>
                      <a:pt x="90" y="177"/>
                    </a:cubicBezTo>
                    <a:cubicBezTo>
                      <a:pt x="91" y="181"/>
                      <a:pt x="91" y="181"/>
                      <a:pt x="91" y="181"/>
                    </a:cubicBezTo>
                    <a:cubicBezTo>
                      <a:pt x="91" y="181"/>
                      <a:pt x="96" y="180"/>
                      <a:pt x="97" y="180"/>
                    </a:cubicBezTo>
                    <a:cubicBezTo>
                      <a:pt x="98" y="179"/>
                      <a:pt x="97" y="177"/>
                      <a:pt x="97" y="177"/>
                    </a:cubicBezTo>
                    <a:close/>
                    <a:moveTo>
                      <a:pt x="87" y="180"/>
                    </a:moveTo>
                    <a:cubicBezTo>
                      <a:pt x="88" y="180"/>
                      <a:pt x="88" y="179"/>
                      <a:pt x="88" y="179"/>
                    </a:cubicBezTo>
                    <a:cubicBezTo>
                      <a:pt x="84" y="179"/>
                      <a:pt x="84" y="179"/>
                      <a:pt x="84" y="179"/>
                    </a:cubicBezTo>
                    <a:lnTo>
                      <a:pt x="87" y="180"/>
                    </a:lnTo>
                    <a:close/>
                    <a:moveTo>
                      <a:pt x="126" y="181"/>
                    </a:moveTo>
                    <a:cubicBezTo>
                      <a:pt x="129" y="180"/>
                      <a:pt x="129" y="179"/>
                      <a:pt x="125" y="179"/>
                    </a:cubicBezTo>
                    <a:cubicBezTo>
                      <a:pt x="125" y="179"/>
                      <a:pt x="123" y="179"/>
                      <a:pt x="123" y="180"/>
                    </a:cubicBezTo>
                    <a:cubicBezTo>
                      <a:pt x="123" y="181"/>
                      <a:pt x="124" y="182"/>
                      <a:pt x="126" y="181"/>
                    </a:cubicBezTo>
                    <a:close/>
                    <a:moveTo>
                      <a:pt x="61" y="172"/>
                    </a:moveTo>
                    <a:cubicBezTo>
                      <a:pt x="60" y="172"/>
                      <a:pt x="58" y="173"/>
                      <a:pt x="58" y="175"/>
                    </a:cubicBezTo>
                    <a:cubicBezTo>
                      <a:pt x="58" y="176"/>
                      <a:pt x="64" y="178"/>
                      <a:pt x="65" y="179"/>
                    </a:cubicBezTo>
                    <a:cubicBezTo>
                      <a:pt x="67" y="180"/>
                      <a:pt x="65" y="181"/>
                      <a:pt x="65" y="181"/>
                    </a:cubicBezTo>
                    <a:cubicBezTo>
                      <a:pt x="64" y="180"/>
                      <a:pt x="64" y="180"/>
                      <a:pt x="64" y="180"/>
                    </a:cubicBezTo>
                    <a:cubicBezTo>
                      <a:pt x="63" y="180"/>
                      <a:pt x="63" y="180"/>
                      <a:pt x="63" y="180"/>
                    </a:cubicBezTo>
                    <a:cubicBezTo>
                      <a:pt x="64" y="183"/>
                      <a:pt x="64" y="183"/>
                      <a:pt x="64" y="183"/>
                    </a:cubicBezTo>
                    <a:cubicBezTo>
                      <a:pt x="66" y="183"/>
                      <a:pt x="66" y="183"/>
                      <a:pt x="66" y="183"/>
                    </a:cubicBezTo>
                    <a:cubicBezTo>
                      <a:pt x="69" y="187"/>
                      <a:pt x="69" y="187"/>
                      <a:pt x="69" y="187"/>
                    </a:cubicBezTo>
                    <a:cubicBezTo>
                      <a:pt x="73" y="186"/>
                      <a:pt x="73" y="186"/>
                      <a:pt x="73" y="186"/>
                    </a:cubicBezTo>
                    <a:cubicBezTo>
                      <a:pt x="73" y="186"/>
                      <a:pt x="71" y="180"/>
                      <a:pt x="68" y="176"/>
                    </a:cubicBezTo>
                    <a:cubicBezTo>
                      <a:pt x="68" y="176"/>
                      <a:pt x="64" y="172"/>
                      <a:pt x="61" y="172"/>
                    </a:cubicBezTo>
                    <a:close/>
                    <a:moveTo>
                      <a:pt x="77" y="169"/>
                    </a:moveTo>
                    <a:cubicBezTo>
                      <a:pt x="74" y="171"/>
                      <a:pt x="74" y="171"/>
                      <a:pt x="74" y="171"/>
                    </a:cubicBezTo>
                    <a:cubicBezTo>
                      <a:pt x="79" y="173"/>
                      <a:pt x="79" y="173"/>
                      <a:pt x="79" y="173"/>
                    </a:cubicBezTo>
                    <a:cubicBezTo>
                      <a:pt x="80" y="172"/>
                      <a:pt x="80" y="172"/>
                      <a:pt x="80" y="172"/>
                    </a:cubicBezTo>
                    <a:cubicBezTo>
                      <a:pt x="80" y="172"/>
                      <a:pt x="81" y="174"/>
                      <a:pt x="86" y="175"/>
                    </a:cubicBezTo>
                    <a:cubicBezTo>
                      <a:pt x="91" y="176"/>
                      <a:pt x="92" y="172"/>
                      <a:pt x="92" y="172"/>
                    </a:cubicBezTo>
                    <a:cubicBezTo>
                      <a:pt x="92" y="172"/>
                      <a:pt x="98" y="175"/>
                      <a:pt x="99" y="173"/>
                    </a:cubicBezTo>
                    <a:cubicBezTo>
                      <a:pt x="101" y="170"/>
                      <a:pt x="103" y="163"/>
                      <a:pt x="103" y="163"/>
                    </a:cubicBezTo>
                    <a:cubicBezTo>
                      <a:pt x="103" y="163"/>
                      <a:pt x="100" y="161"/>
                      <a:pt x="101" y="159"/>
                    </a:cubicBezTo>
                    <a:cubicBezTo>
                      <a:pt x="101" y="158"/>
                      <a:pt x="102" y="158"/>
                      <a:pt x="102" y="158"/>
                    </a:cubicBezTo>
                    <a:cubicBezTo>
                      <a:pt x="99" y="149"/>
                      <a:pt x="99" y="149"/>
                      <a:pt x="99" y="149"/>
                    </a:cubicBezTo>
                    <a:cubicBezTo>
                      <a:pt x="92" y="149"/>
                      <a:pt x="92" y="149"/>
                      <a:pt x="92" y="149"/>
                    </a:cubicBezTo>
                    <a:cubicBezTo>
                      <a:pt x="94" y="148"/>
                      <a:pt x="97" y="148"/>
                      <a:pt x="98" y="147"/>
                    </a:cubicBezTo>
                    <a:cubicBezTo>
                      <a:pt x="99" y="145"/>
                      <a:pt x="100" y="145"/>
                      <a:pt x="99" y="143"/>
                    </a:cubicBezTo>
                    <a:cubicBezTo>
                      <a:pt x="97" y="141"/>
                      <a:pt x="94" y="137"/>
                      <a:pt x="94" y="137"/>
                    </a:cubicBezTo>
                    <a:cubicBezTo>
                      <a:pt x="93" y="138"/>
                      <a:pt x="93" y="138"/>
                      <a:pt x="93" y="138"/>
                    </a:cubicBezTo>
                    <a:cubicBezTo>
                      <a:pt x="94" y="142"/>
                      <a:pt x="94" y="142"/>
                      <a:pt x="94" y="142"/>
                    </a:cubicBezTo>
                    <a:cubicBezTo>
                      <a:pt x="93" y="143"/>
                      <a:pt x="93" y="143"/>
                      <a:pt x="93" y="143"/>
                    </a:cubicBezTo>
                    <a:cubicBezTo>
                      <a:pt x="94" y="145"/>
                      <a:pt x="94" y="145"/>
                      <a:pt x="94" y="145"/>
                    </a:cubicBezTo>
                    <a:cubicBezTo>
                      <a:pt x="89" y="149"/>
                      <a:pt x="89" y="149"/>
                      <a:pt x="89" y="149"/>
                    </a:cubicBezTo>
                    <a:cubicBezTo>
                      <a:pt x="88" y="147"/>
                      <a:pt x="88" y="147"/>
                      <a:pt x="88" y="147"/>
                    </a:cubicBezTo>
                    <a:cubicBezTo>
                      <a:pt x="91" y="144"/>
                      <a:pt x="91" y="144"/>
                      <a:pt x="91" y="144"/>
                    </a:cubicBezTo>
                    <a:cubicBezTo>
                      <a:pt x="84" y="138"/>
                      <a:pt x="84" y="138"/>
                      <a:pt x="84" y="138"/>
                    </a:cubicBezTo>
                    <a:cubicBezTo>
                      <a:pt x="83" y="140"/>
                      <a:pt x="83" y="140"/>
                      <a:pt x="83" y="140"/>
                    </a:cubicBezTo>
                    <a:cubicBezTo>
                      <a:pt x="81" y="138"/>
                      <a:pt x="81" y="138"/>
                      <a:pt x="81" y="138"/>
                    </a:cubicBezTo>
                    <a:cubicBezTo>
                      <a:pt x="67" y="144"/>
                      <a:pt x="67" y="144"/>
                      <a:pt x="67" y="144"/>
                    </a:cubicBezTo>
                    <a:cubicBezTo>
                      <a:pt x="65" y="142"/>
                      <a:pt x="65" y="142"/>
                      <a:pt x="65" y="142"/>
                    </a:cubicBezTo>
                    <a:cubicBezTo>
                      <a:pt x="61" y="145"/>
                      <a:pt x="61" y="145"/>
                      <a:pt x="61" y="145"/>
                    </a:cubicBezTo>
                    <a:cubicBezTo>
                      <a:pt x="64" y="147"/>
                      <a:pt x="64" y="147"/>
                      <a:pt x="64" y="147"/>
                    </a:cubicBezTo>
                    <a:cubicBezTo>
                      <a:pt x="61" y="147"/>
                      <a:pt x="61" y="147"/>
                      <a:pt x="61" y="147"/>
                    </a:cubicBezTo>
                    <a:cubicBezTo>
                      <a:pt x="63" y="150"/>
                      <a:pt x="63" y="150"/>
                      <a:pt x="63" y="150"/>
                    </a:cubicBezTo>
                    <a:cubicBezTo>
                      <a:pt x="65" y="150"/>
                      <a:pt x="65" y="150"/>
                      <a:pt x="65" y="150"/>
                    </a:cubicBezTo>
                    <a:cubicBezTo>
                      <a:pt x="64" y="154"/>
                      <a:pt x="64" y="154"/>
                      <a:pt x="64" y="154"/>
                    </a:cubicBezTo>
                    <a:cubicBezTo>
                      <a:pt x="67" y="155"/>
                      <a:pt x="67" y="155"/>
                      <a:pt x="67" y="155"/>
                    </a:cubicBezTo>
                    <a:cubicBezTo>
                      <a:pt x="67" y="155"/>
                      <a:pt x="66" y="161"/>
                      <a:pt x="68" y="162"/>
                    </a:cubicBezTo>
                    <a:cubicBezTo>
                      <a:pt x="70" y="163"/>
                      <a:pt x="71" y="170"/>
                      <a:pt x="71" y="170"/>
                    </a:cubicBezTo>
                    <a:cubicBezTo>
                      <a:pt x="72" y="170"/>
                      <a:pt x="72" y="170"/>
                      <a:pt x="72" y="170"/>
                    </a:cubicBezTo>
                    <a:cubicBezTo>
                      <a:pt x="72" y="165"/>
                      <a:pt x="72" y="165"/>
                      <a:pt x="72" y="165"/>
                    </a:cubicBezTo>
                    <a:cubicBezTo>
                      <a:pt x="75" y="165"/>
                      <a:pt x="75" y="165"/>
                      <a:pt x="75" y="165"/>
                    </a:cubicBezTo>
                    <a:lnTo>
                      <a:pt x="77" y="169"/>
                    </a:lnTo>
                    <a:close/>
                    <a:moveTo>
                      <a:pt x="91" y="123"/>
                    </a:moveTo>
                    <a:cubicBezTo>
                      <a:pt x="91" y="125"/>
                      <a:pt x="92" y="127"/>
                      <a:pt x="92" y="127"/>
                    </a:cubicBezTo>
                    <a:cubicBezTo>
                      <a:pt x="96" y="129"/>
                      <a:pt x="96" y="129"/>
                      <a:pt x="96" y="129"/>
                    </a:cubicBezTo>
                    <a:cubicBezTo>
                      <a:pt x="98" y="127"/>
                      <a:pt x="99" y="126"/>
                      <a:pt x="99" y="124"/>
                    </a:cubicBezTo>
                    <a:cubicBezTo>
                      <a:pt x="99" y="123"/>
                      <a:pt x="97" y="118"/>
                      <a:pt x="97" y="118"/>
                    </a:cubicBezTo>
                    <a:cubicBezTo>
                      <a:pt x="97" y="118"/>
                      <a:pt x="96" y="119"/>
                      <a:pt x="94" y="117"/>
                    </a:cubicBezTo>
                    <a:cubicBezTo>
                      <a:pt x="94" y="115"/>
                      <a:pt x="93" y="113"/>
                      <a:pt x="93" y="113"/>
                    </a:cubicBezTo>
                    <a:cubicBezTo>
                      <a:pt x="91" y="113"/>
                      <a:pt x="91" y="113"/>
                      <a:pt x="91" y="113"/>
                    </a:cubicBezTo>
                    <a:cubicBezTo>
                      <a:pt x="93" y="119"/>
                      <a:pt x="93" y="119"/>
                      <a:pt x="93" y="119"/>
                    </a:cubicBezTo>
                    <a:cubicBezTo>
                      <a:pt x="93" y="119"/>
                      <a:pt x="91" y="120"/>
                      <a:pt x="91" y="123"/>
                    </a:cubicBezTo>
                    <a:close/>
                    <a:moveTo>
                      <a:pt x="140" y="190"/>
                    </a:moveTo>
                    <a:cubicBezTo>
                      <a:pt x="139" y="188"/>
                      <a:pt x="135" y="182"/>
                      <a:pt x="135" y="182"/>
                    </a:cubicBezTo>
                    <a:cubicBezTo>
                      <a:pt x="133" y="182"/>
                      <a:pt x="133" y="182"/>
                      <a:pt x="133" y="182"/>
                    </a:cubicBezTo>
                    <a:cubicBezTo>
                      <a:pt x="133" y="186"/>
                      <a:pt x="133" y="186"/>
                      <a:pt x="133" y="186"/>
                    </a:cubicBezTo>
                    <a:cubicBezTo>
                      <a:pt x="127" y="188"/>
                      <a:pt x="127" y="188"/>
                      <a:pt x="127" y="188"/>
                    </a:cubicBezTo>
                    <a:cubicBezTo>
                      <a:pt x="127" y="186"/>
                      <a:pt x="127" y="186"/>
                      <a:pt x="127" y="186"/>
                    </a:cubicBezTo>
                    <a:cubicBezTo>
                      <a:pt x="125" y="185"/>
                      <a:pt x="125" y="185"/>
                      <a:pt x="125" y="185"/>
                    </a:cubicBezTo>
                    <a:cubicBezTo>
                      <a:pt x="125" y="185"/>
                      <a:pt x="124" y="180"/>
                      <a:pt x="118" y="180"/>
                    </a:cubicBezTo>
                    <a:cubicBezTo>
                      <a:pt x="112" y="179"/>
                      <a:pt x="109" y="183"/>
                      <a:pt x="109" y="183"/>
                    </a:cubicBezTo>
                    <a:cubicBezTo>
                      <a:pt x="114" y="188"/>
                      <a:pt x="114" y="188"/>
                      <a:pt x="114" y="188"/>
                    </a:cubicBezTo>
                    <a:cubicBezTo>
                      <a:pt x="110" y="190"/>
                      <a:pt x="110" y="190"/>
                      <a:pt x="110" y="190"/>
                    </a:cubicBezTo>
                    <a:cubicBezTo>
                      <a:pt x="108" y="189"/>
                      <a:pt x="108" y="189"/>
                      <a:pt x="108" y="189"/>
                    </a:cubicBezTo>
                    <a:cubicBezTo>
                      <a:pt x="108" y="187"/>
                      <a:pt x="108" y="187"/>
                      <a:pt x="108" y="187"/>
                    </a:cubicBezTo>
                    <a:cubicBezTo>
                      <a:pt x="107" y="188"/>
                      <a:pt x="107" y="188"/>
                      <a:pt x="107" y="188"/>
                    </a:cubicBezTo>
                    <a:cubicBezTo>
                      <a:pt x="107" y="192"/>
                      <a:pt x="107" y="192"/>
                      <a:pt x="107" y="192"/>
                    </a:cubicBezTo>
                    <a:cubicBezTo>
                      <a:pt x="121" y="196"/>
                      <a:pt x="121" y="196"/>
                      <a:pt x="121" y="196"/>
                    </a:cubicBezTo>
                    <a:cubicBezTo>
                      <a:pt x="121" y="196"/>
                      <a:pt x="122" y="198"/>
                      <a:pt x="123" y="200"/>
                    </a:cubicBezTo>
                    <a:cubicBezTo>
                      <a:pt x="123" y="202"/>
                      <a:pt x="126" y="204"/>
                      <a:pt x="126" y="204"/>
                    </a:cubicBezTo>
                    <a:cubicBezTo>
                      <a:pt x="129" y="203"/>
                      <a:pt x="129" y="203"/>
                      <a:pt x="129" y="203"/>
                    </a:cubicBezTo>
                    <a:cubicBezTo>
                      <a:pt x="129" y="201"/>
                      <a:pt x="129" y="201"/>
                      <a:pt x="129" y="201"/>
                    </a:cubicBezTo>
                    <a:cubicBezTo>
                      <a:pt x="129" y="201"/>
                      <a:pt x="130" y="200"/>
                      <a:pt x="132" y="200"/>
                    </a:cubicBezTo>
                    <a:cubicBezTo>
                      <a:pt x="134" y="200"/>
                      <a:pt x="140" y="198"/>
                      <a:pt x="140" y="198"/>
                    </a:cubicBezTo>
                    <a:cubicBezTo>
                      <a:pt x="141" y="196"/>
                      <a:pt x="141" y="196"/>
                      <a:pt x="141" y="196"/>
                    </a:cubicBezTo>
                    <a:cubicBezTo>
                      <a:pt x="140" y="194"/>
                      <a:pt x="140" y="194"/>
                      <a:pt x="140" y="194"/>
                    </a:cubicBezTo>
                    <a:cubicBezTo>
                      <a:pt x="140" y="194"/>
                      <a:pt x="141" y="192"/>
                      <a:pt x="140" y="190"/>
                    </a:cubicBezTo>
                    <a:close/>
                    <a:moveTo>
                      <a:pt x="10" y="63"/>
                    </a:moveTo>
                    <a:cubicBezTo>
                      <a:pt x="11" y="67"/>
                      <a:pt x="11" y="67"/>
                      <a:pt x="11" y="67"/>
                    </a:cubicBezTo>
                    <a:cubicBezTo>
                      <a:pt x="11" y="67"/>
                      <a:pt x="14" y="68"/>
                      <a:pt x="15" y="68"/>
                    </a:cubicBezTo>
                    <a:cubicBezTo>
                      <a:pt x="16" y="68"/>
                      <a:pt x="17" y="66"/>
                      <a:pt x="17" y="66"/>
                    </a:cubicBezTo>
                    <a:cubicBezTo>
                      <a:pt x="19" y="65"/>
                      <a:pt x="19" y="65"/>
                      <a:pt x="19" y="65"/>
                    </a:cubicBezTo>
                    <a:cubicBezTo>
                      <a:pt x="19" y="65"/>
                      <a:pt x="18" y="63"/>
                      <a:pt x="17" y="62"/>
                    </a:cubicBezTo>
                    <a:cubicBezTo>
                      <a:pt x="17" y="60"/>
                      <a:pt x="21" y="58"/>
                      <a:pt x="22" y="56"/>
                    </a:cubicBezTo>
                    <a:cubicBezTo>
                      <a:pt x="23" y="55"/>
                      <a:pt x="25" y="51"/>
                      <a:pt x="25" y="51"/>
                    </a:cubicBezTo>
                    <a:cubicBezTo>
                      <a:pt x="32" y="49"/>
                      <a:pt x="32" y="49"/>
                      <a:pt x="32" y="49"/>
                    </a:cubicBezTo>
                    <a:cubicBezTo>
                      <a:pt x="32" y="47"/>
                      <a:pt x="32" y="47"/>
                      <a:pt x="32" y="47"/>
                    </a:cubicBezTo>
                    <a:cubicBezTo>
                      <a:pt x="33" y="48"/>
                      <a:pt x="33" y="48"/>
                      <a:pt x="33" y="48"/>
                    </a:cubicBezTo>
                    <a:cubicBezTo>
                      <a:pt x="35" y="48"/>
                      <a:pt x="35" y="48"/>
                      <a:pt x="35" y="48"/>
                    </a:cubicBezTo>
                    <a:cubicBezTo>
                      <a:pt x="35" y="47"/>
                      <a:pt x="35" y="47"/>
                      <a:pt x="35" y="47"/>
                    </a:cubicBezTo>
                    <a:cubicBezTo>
                      <a:pt x="42" y="46"/>
                      <a:pt x="42" y="46"/>
                      <a:pt x="42" y="46"/>
                    </a:cubicBezTo>
                    <a:cubicBezTo>
                      <a:pt x="42" y="46"/>
                      <a:pt x="44" y="47"/>
                      <a:pt x="47" y="48"/>
                    </a:cubicBezTo>
                    <a:cubicBezTo>
                      <a:pt x="48" y="48"/>
                      <a:pt x="53" y="45"/>
                      <a:pt x="53" y="45"/>
                    </a:cubicBezTo>
                    <a:cubicBezTo>
                      <a:pt x="60" y="45"/>
                      <a:pt x="60" y="45"/>
                      <a:pt x="60" y="45"/>
                    </a:cubicBezTo>
                    <a:cubicBezTo>
                      <a:pt x="60" y="45"/>
                      <a:pt x="60" y="41"/>
                      <a:pt x="61" y="41"/>
                    </a:cubicBezTo>
                    <a:cubicBezTo>
                      <a:pt x="64" y="41"/>
                      <a:pt x="63" y="44"/>
                      <a:pt x="63" y="44"/>
                    </a:cubicBezTo>
                    <a:cubicBezTo>
                      <a:pt x="63" y="44"/>
                      <a:pt x="64" y="44"/>
                      <a:pt x="66" y="43"/>
                    </a:cubicBezTo>
                    <a:cubicBezTo>
                      <a:pt x="72" y="43"/>
                      <a:pt x="72" y="43"/>
                      <a:pt x="72" y="43"/>
                    </a:cubicBezTo>
                    <a:cubicBezTo>
                      <a:pt x="74" y="43"/>
                      <a:pt x="79" y="46"/>
                      <a:pt x="80" y="47"/>
                    </a:cubicBezTo>
                    <a:cubicBezTo>
                      <a:pt x="82" y="48"/>
                      <a:pt x="83" y="49"/>
                      <a:pt x="85" y="48"/>
                    </a:cubicBezTo>
                    <a:cubicBezTo>
                      <a:pt x="87" y="48"/>
                      <a:pt x="89" y="39"/>
                      <a:pt x="89" y="39"/>
                    </a:cubicBezTo>
                    <a:cubicBezTo>
                      <a:pt x="94" y="32"/>
                      <a:pt x="94" y="32"/>
                      <a:pt x="94" y="32"/>
                    </a:cubicBezTo>
                    <a:cubicBezTo>
                      <a:pt x="94" y="32"/>
                      <a:pt x="93" y="30"/>
                      <a:pt x="93" y="29"/>
                    </a:cubicBezTo>
                    <a:cubicBezTo>
                      <a:pt x="92" y="28"/>
                      <a:pt x="94" y="23"/>
                      <a:pt x="93" y="19"/>
                    </a:cubicBezTo>
                    <a:cubicBezTo>
                      <a:pt x="93" y="14"/>
                      <a:pt x="90" y="15"/>
                      <a:pt x="89" y="13"/>
                    </a:cubicBezTo>
                    <a:cubicBezTo>
                      <a:pt x="89" y="12"/>
                      <a:pt x="93" y="4"/>
                      <a:pt x="94" y="3"/>
                    </a:cubicBezTo>
                    <a:cubicBezTo>
                      <a:pt x="96" y="2"/>
                      <a:pt x="99" y="1"/>
                      <a:pt x="99" y="1"/>
                    </a:cubicBezTo>
                    <a:cubicBezTo>
                      <a:pt x="98" y="0"/>
                      <a:pt x="98" y="0"/>
                      <a:pt x="98" y="0"/>
                    </a:cubicBezTo>
                    <a:cubicBezTo>
                      <a:pt x="93" y="1"/>
                      <a:pt x="93" y="1"/>
                      <a:pt x="93" y="1"/>
                    </a:cubicBezTo>
                    <a:cubicBezTo>
                      <a:pt x="93" y="1"/>
                      <a:pt x="91" y="3"/>
                      <a:pt x="90" y="4"/>
                    </a:cubicBezTo>
                    <a:cubicBezTo>
                      <a:pt x="88" y="6"/>
                      <a:pt x="83" y="11"/>
                      <a:pt x="83" y="11"/>
                    </a:cubicBezTo>
                    <a:cubicBezTo>
                      <a:pt x="83" y="11"/>
                      <a:pt x="73" y="11"/>
                      <a:pt x="72" y="12"/>
                    </a:cubicBezTo>
                    <a:cubicBezTo>
                      <a:pt x="70" y="12"/>
                      <a:pt x="64" y="24"/>
                      <a:pt x="63" y="28"/>
                    </a:cubicBezTo>
                    <a:cubicBezTo>
                      <a:pt x="61" y="30"/>
                      <a:pt x="55" y="37"/>
                      <a:pt x="50" y="38"/>
                    </a:cubicBezTo>
                    <a:cubicBezTo>
                      <a:pt x="43" y="39"/>
                      <a:pt x="40" y="37"/>
                      <a:pt x="38" y="37"/>
                    </a:cubicBezTo>
                    <a:cubicBezTo>
                      <a:pt x="35" y="37"/>
                      <a:pt x="34" y="39"/>
                      <a:pt x="34" y="39"/>
                    </a:cubicBezTo>
                    <a:cubicBezTo>
                      <a:pt x="34" y="39"/>
                      <a:pt x="28" y="40"/>
                      <a:pt x="27" y="40"/>
                    </a:cubicBezTo>
                    <a:cubicBezTo>
                      <a:pt x="27" y="40"/>
                      <a:pt x="26" y="38"/>
                      <a:pt x="23" y="38"/>
                    </a:cubicBezTo>
                    <a:cubicBezTo>
                      <a:pt x="21" y="39"/>
                      <a:pt x="16" y="48"/>
                      <a:pt x="12" y="52"/>
                    </a:cubicBezTo>
                    <a:cubicBezTo>
                      <a:pt x="9" y="56"/>
                      <a:pt x="8" y="63"/>
                      <a:pt x="8" y="63"/>
                    </a:cubicBezTo>
                    <a:lnTo>
                      <a:pt x="10" y="63"/>
                    </a:lnTo>
                    <a:close/>
                    <a:moveTo>
                      <a:pt x="20" y="67"/>
                    </a:moveTo>
                    <a:cubicBezTo>
                      <a:pt x="18" y="67"/>
                      <a:pt x="18" y="67"/>
                      <a:pt x="18" y="67"/>
                    </a:cubicBezTo>
                    <a:cubicBezTo>
                      <a:pt x="18" y="68"/>
                      <a:pt x="18" y="68"/>
                      <a:pt x="18" y="68"/>
                    </a:cubicBezTo>
                    <a:cubicBezTo>
                      <a:pt x="16" y="69"/>
                      <a:pt x="16" y="69"/>
                      <a:pt x="16" y="69"/>
                    </a:cubicBezTo>
                    <a:cubicBezTo>
                      <a:pt x="16" y="69"/>
                      <a:pt x="17" y="70"/>
                      <a:pt x="18" y="71"/>
                    </a:cubicBezTo>
                    <a:cubicBezTo>
                      <a:pt x="19" y="71"/>
                      <a:pt x="22" y="71"/>
                      <a:pt x="23" y="70"/>
                    </a:cubicBezTo>
                    <a:cubicBezTo>
                      <a:pt x="24" y="69"/>
                      <a:pt x="21" y="69"/>
                      <a:pt x="21" y="69"/>
                    </a:cubicBezTo>
                    <a:lnTo>
                      <a:pt x="20" y="67"/>
                    </a:lnTo>
                    <a:close/>
                    <a:moveTo>
                      <a:pt x="34" y="55"/>
                    </a:moveTo>
                    <a:cubicBezTo>
                      <a:pt x="36" y="55"/>
                      <a:pt x="35" y="51"/>
                      <a:pt x="35" y="51"/>
                    </a:cubicBezTo>
                    <a:cubicBezTo>
                      <a:pt x="33" y="51"/>
                      <a:pt x="33" y="51"/>
                      <a:pt x="33" y="51"/>
                    </a:cubicBezTo>
                    <a:cubicBezTo>
                      <a:pt x="31" y="53"/>
                      <a:pt x="31" y="53"/>
                      <a:pt x="31" y="53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4" y="60"/>
                      <a:pt x="24" y="60"/>
                      <a:pt x="24" y="60"/>
                    </a:cubicBezTo>
                    <a:cubicBezTo>
                      <a:pt x="22" y="61"/>
                      <a:pt x="22" y="61"/>
                      <a:pt x="22" y="61"/>
                    </a:cubicBezTo>
                    <a:cubicBezTo>
                      <a:pt x="20" y="64"/>
                      <a:pt x="20" y="64"/>
                      <a:pt x="20" y="64"/>
                    </a:cubicBezTo>
                    <a:cubicBezTo>
                      <a:pt x="20" y="64"/>
                      <a:pt x="22" y="65"/>
                      <a:pt x="22" y="66"/>
                    </a:cubicBezTo>
                    <a:cubicBezTo>
                      <a:pt x="23" y="66"/>
                      <a:pt x="24" y="67"/>
                      <a:pt x="24" y="67"/>
                    </a:cubicBezTo>
                    <a:cubicBezTo>
                      <a:pt x="28" y="65"/>
                      <a:pt x="28" y="65"/>
                      <a:pt x="28" y="65"/>
                    </a:cubicBezTo>
                    <a:cubicBezTo>
                      <a:pt x="28" y="65"/>
                      <a:pt x="33" y="61"/>
                      <a:pt x="33" y="60"/>
                    </a:cubicBezTo>
                    <a:cubicBezTo>
                      <a:pt x="33" y="60"/>
                      <a:pt x="31" y="56"/>
                      <a:pt x="32" y="55"/>
                    </a:cubicBezTo>
                    <a:cubicBezTo>
                      <a:pt x="33" y="54"/>
                      <a:pt x="33" y="56"/>
                      <a:pt x="34" y="55"/>
                    </a:cubicBezTo>
                    <a:close/>
                    <a:moveTo>
                      <a:pt x="116" y="120"/>
                    </a:moveTo>
                    <a:cubicBezTo>
                      <a:pt x="117" y="122"/>
                      <a:pt x="120" y="123"/>
                      <a:pt x="120" y="123"/>
                    </a:cubicBezTo>
                    <a:cubicBezTo>
                      <a:pt x="120" y="123"/>
                      <a:pt x="118" y="120"/>
                      <a:pt x="117" y="119"/>
                    </a:cubicBezTo>
                    <a:cubicBezTo>
                      <a:pt x="116" y="118"/>
                      <a:pt x="113" y="117"/>
                      <a:pt x="113" y="117"/>
                    </a:cubicBezTo>
                    <a:cubicBezTo>
                      <a:pt x="113" y="117"/>
                      <a:pt x="114" y="120"/>
                      <a:pt x="116" y="120"/>
                    </a:cubicBezTo>
                    <a:close/>
                    <a:moveTo>
                      <a:pt x="112" y="34"/>
                    </a:moveTo>
                    <a:cubicBezTo>
                      <a:pt x="113" y="34"/>
                      <a:pt x="112" y="33"/>
                      <a:pt x="113" y="31"/>
                    </a:cubicBezTo>
                    <a:cubicBezTo>
                      <a:pt x="115" y="30"/>
                      <a:pt x="117" y="30"/>
                      <a:pt x="117" y="30"/>
                    </a:cubicBezTo>
                    <a:cubicBezTo>
                      <a:pt x="116" y="25"/>
                      <a:pt x="116" y="25"/>
                      <a:pt x="116" y="25"/>
                    </a:cubicBezTo>
                    <a:cubicBezTo>
                      <a:pt x="116" y="25"/>
                      <a:pt x="109" y="27"/>
                      <a:pt x="107" y="29"/>
                    </a:cubicBezTo>
                    <a:cubicBezTo>
                      <a:pt x="106" y="30"/>
                      <a:pt x="105" y="32"/>
                      <a:pt x="105" y="32"/>
                    </a:cubicBezTo>
                    <a:cubicBezTo>
                      <a:pt x="108" y="33"/>
                      <a:pt x="108" y="33"/>
                      <a:pt x="108" y="33"/>
                    </a:cubicBezTo>
                    <a:cubicBezTo>
                      <a:pt x="108" y="33"/>
                      <a:pt x="109" y="35"/>
                      <a:pt x="112" y="34"/>
                    </a:cubicBezTo>
                    <a:close/>
                    <a:moveTo>
                      <a:pt x="41" y="58"/>
                    </a:moveTo>
                    <a:cubicBezTo>
                      <a:pt x="35" y="59"/>
                      <a:pt x="35" y="59"/>
                      <a:pt x="35" y="59"/>
                    </a:cubicBezTo>
                    <a:cubicBezTo>
                      <a:pt x="37" y="60"/>
                      <a:pt x="37" y="60"/>
                      <a:pt x="37" y="60"/>
                    </a:cubicBezTo>
                    <a:lnTo>
                      <a:pt x="41" y="58"/>
                    </a:lnTo>
                    <a:close/>
                    <a:moveTo>
                      <a:pt x="15" y="163"/>
                    </a:moveTo>
                    <a:cubicBezTo>
                      <a:pt x="15" y="163"/>
                      <a:pt x="12" y="164"/>
                      <a:pt x="12" y="167"/>
                    </a:cubicBezTo>
                    <a:cubicBezTo>
                      <a:pt x="12" y="170"/>
                      <a:pt x="15" y="172"/>
                      <a:pt x="16" y="172"/>
                    </a:cubicBezTo>
                    <a:cubicBezTo>
                      <a:pt x="17" y="172"/>
                      <a:pt x="16" y="167"/>
                      <a:pt x="16" y="167"/>
                    </a:cubicBezTo>
                    <a:cubicBezTo>
                      <a:pt x="16" y="167"/>
                      <a:pt x="18" y="163"/>
                      <a:pt x="15" y="163"/>
                    </a:cubicBezTo>
                    <a:close/>
                    <a:moveTo>
                      <a:pt x="61" y="183"/>
                    </a:moveTo>
                    <a:cubicBezTo>
                      <a:pt x="59" y="178"/>
                      <a:pt x="59" y="178"/>
                      <a:pt x="59" y="178"/>
                    </a:cubicBezTo>
                    <a:cubicBezTo>
                      <a:pt x="53" y="174"/>
                      <a:pt x="53" y="174"/>
                      <a:pt x="53" y="174"/>
                    </a:cubicBezTo>
                    <a:cubicBezTo>
                      <a:pt x="50" y="175"/>
                      <a:pt x="50" y="175"/>
                      <a:pt x="50" y="175"/>
                    </a:cubicBezTo>
                    <a:cubicBezTo>
                      <a:pt x="50" y="175"/>
                      <a:pt x="52" y="173"/>
                      <a:pt x="53" y="173"/>
                    </a:cubicBezTo>
                    <a:cubicBezTo>
                      <a:pt x="54" y="172"/>
                      <a:pt x="53" y="170"/>
                      <a:pt x="53" y="170"/>
                    </a:cubicBezTo>
                    <a:cubicBezTo>
                      <a:pt x="52" y="170"/>
                      <a:pt x="52" y="170"/>
                      <a:pt x="52" y="170"/>
                    </a:cubicBezTo>
                    <a:cubicBezTo>
                      <a:pt x="56" y="165"/>
                      <a:pt x="56" y="165"/>
                      <a:pt x="56" y="165"/>
                    </a:cubicBezTo>
                    <a:cubicBezTo>
                      <a:pt x="56" y="165"/>
                      <a:pt x="58" y="165"/>
                      <a:pt x="59" y="164"/>
                    </a:cubicBezTo>
                    <a:cubicBezTo>
                      <a:pt x="60" y="163"/>
                      <a:pt x="59" y="159"/>
                      <a:pt x="59" y="159"/>
                    </a:cubicBezTo>
                    <a:cubicBezTo>
                      <a:pt x="57" y="160"/>
                      <a:pt x="57" y="160"/>
                      <a:pt x="57" y="160"/>
                    </a:cubicBezTo>
                    <a:cubicBezTo>
                      <a:pt x="59" y="159"/>
                      <a:pt x="59" y="159"/>
                      <a:pt x="59" y="159"/>
                    </a:cubicBezTo>
                    <a:cubicBezTo>
                      <a:pt x="59" y="159"/>
                      <a:pt x="57" y="155"/>
                      <a:pt x="57" y="154"/>
                    </a:cubicBezTo>
                    <a:cubicBezTo>
                      <a:pt x="57" y="151"/>
                      <a:pt x="59" y="148"/>
                      <a:pt x="59" y="148"/>
                    </a:cubicBezTo>
                    <a:cubicBezTo>
                      <a:pt x="58" y="145"/>
                      <a:pt x="58" y="145"/>
                      <a:pt x="58" y="145"/>
                    </a:cubicBezTo>
                    <a:cubicBezTo>
                      <a:pt x="58" y="145"/>
                      <a:pt x="53" y="146"/>
                      <a:pt x="53" y="145"/>
                    </a:cubicBezTo>
                    <a:cubicBezTo>
                      <a:pt x="54" y="144"/>
                      <a:pt x="59" y="143"/>
                      <a:pt x="59" y="143"/>
                    </a:cubicBezTo>
                    <a:cubicBezTo>
                      <a:pt x="67" y="137"/>
                      <a:pt x="67" y="137"/>
                      <a:pt x="67" y="137"/>
                    </a:cubicBezTo>
                    <a:cubicBezTo>
                      <a:pt x="63" y="137"/>
                      <a:pt x="63" y="137"/>
                      <a:pt x="63" y="137"/>
                    </a:cubicBezTo>
                    <a:cubicBezTo>
                      <a:pt x="63" y="137"/>
                      <a:pt x="60" y="133"/>
                      <a:pt x="59" y="133"/>
                    </a:cubicBezTo>
                    <a:cubicBezTo>
                      <a:pt x="56" y="132"/>
                      <a:pt x="56" y="132"/>
                      <a:pt x="56" y="132"/>
                    </a:cubicBezTo>
                    <a:cubicBezTo>
                      <a:pt x="56" y="132"/>
                      <a:pt x="57" y="131"/>
                      <a:pt x="59" y="131"/>
                    </a:cubicBezTo>
                    <a:cubicBezTo>
                      <a:pt x="60" y="131"/>
                      <a:pt x="65" y="134"/>
                      <a:pt x="68" y="133"/>
                    </a:cubicBezTo>
                    <a:cubicBezTo>
                      <a:pt x="71" y="132"/>
                      <a:pt x="73" y="128"/>
                      <a:pt x="73" y="128"/>
                    </a:cubicBezTo>
                    <a:cubicBezTo>
                      <a:pt x="73" y="125"/>
                      <a:pt x="73" y="125"/>
                      <a:pt x="73" y="125"/>
                    </a:cubicBezTo>
                    <a:cubicBezTo>
                      <a:pt x="73" y="124"/>
                      <a:pt x="67" y="122"/>
                      <a:pt x="67" y="122"/>
                    </a:cubicBezTo>
                    <a:cubicBezTo>
                      <a:pt x="67" y="120"/>
                      <a:pt x="70" y="122"/>
                      <a:pt x="70" y="122"/>
                    </a:cubicBezTo>
                    <a:cubicBezTo>
                      <a:pt x="73" y="120"/>
                      <a:pt x="73" y="120"/>
                      <a:pt x="73" y="120"/>
                    </a:cubicBezTo>
                    <a:cubicBezTo>
                      <a:pt x="77" y="120"/>
                      <a:pt x="77" y="120"/>
                      <a:pt x="77" y="120"/>
                    </a:cubicBezTo>
                    <a:cubicBezTo>
                      <a:pt x="79" y="123"/>
                      <a:pt x="79" y="123"/>
                      <a:pt x="79" y="123"/>
                    </a:cubicBezTo>
                    <a:cubicBezTo>
                      <a:pt x="80" y="123"/>
                      <a:pt x="80" y="123"/>
                      <a:pt x="80" y="123"/>
                    </a:cubicBezTo>
                    <a:cubicBezTo>
                      <a:pt x="80" y="123"/>
                      <a:pt x="81" y="119"/>
                      <a:pt x="81" y="118"/>
                    </a:cubicBezTo>
                    <a:cubicBezTo>
                      <a:pt x="82" y="117"/>
                      <a:pt x="83" y="116"/>
                      <a:pt x="83" y="116"/>
                    </a:cubicBezTo>
                    <a:cubicBezTo>
                      <a:pt x="83" y="110"/>
                      <a:pt x="83" y="110"/>
                      <a:pt x="83" y="110"/>
                    </a:cubicBezTo>
                    <a:cubicBezTo>
                      <a:pt x="83" y="109"/>
                      <a:pt x="81" y="104"/>
                      <a:pt x="81" y="103"/>
                    </a:cubicBezTo>
                    <a:cubicBezTo>
                      <a:pt x="81" y="102"/>
                      <a:pt x="87" y="95"/>
                      <a:pt x="89" y="95"/>
                    </a:cubicBezTo>
                    <a:cubicBezTo>
                      <a:pt x="90" y="95"/>
                      <a:pt x="90" y="97"/>
                      <a:pt x="90" y="97"/>
                    </a:cubicBezTo>
                    <a:cubicBezTo>
                      <a:pt x="87" y="101"/>
                      <a:pt x="87" y="101"/>
                      <a:pt x="87" y="101"/>
                    </a:cubicBezTo>
                    <a:cubicBezTo>
                      <a:pt x="87" y="103"/>
                      <a:pt x="87" y="103"/>
                      <a:pt x="87" y="103"/>
                    </a:cubicBezTo>
                    <a:cubicBezTo>
                      <a:pt x="87" y="103"/>
                      <a:pt x="90" y="102"/>
                      <a:pt x="91" y="102"/>
                    </a:cubicBezTo>
                    <a:cubicBezTo>
                      <a:pt x="92" y="103"/>
                      <a:pt x="91" y="104"/>
                      <a:pt x="90" y="106"/>
                    </a:cubicBezTo>
                    <a:cubicBezTo>
                      <a:pt x="89" y="106"/>
                      <a:pt x="92" y="107"/>
                      <a:pt x="93" y="107"/>
                    </a:cubicBezTo>
                    <a:cubicBezTo>
                      <a:pt x="94" y="106"/>
                      <a:pt x="93" y="102"/>
                      <a:pt x="93" y="102"/>
                    </a:cubicBezTo>
                    <a:cubicBezTo>
                      <a:pt x="93" y="102"/>
                      <a:pt x="94" y="99"/>
                      <a:pt x="96" y="99"/>
                    </a:cubicBezTo>
                    <a:cubicBezTo>
                      <a:pt x="97" y="99"/>
                      <a:pt x="98" y="101"/>
                      <a:pt x="97" y="101"/>
                    </a:cubicBezTo>
                    <a:cubicBezTo>
                      <a:pt x="96" y="102"/>
                      <a:pt x="96" y="103"/>
                      <a:pt x="97" y="104"/>
                    </a:cubicBezTo>
                    <a:cubicBezTo>
                      <a:pt x="98" y="104"/>
                      <a:pt x="100" y="103"/>
                      <a:pt x="100" y="103"/>
                    </a:cubicBezTo>
                    <a:cubicBezTo>
                      <a:pt x="100" y="100"/>
                      <a:pt x="100" y="100"/>
                      <a:pt x="100" y="100"/>
                    </a:cubicBezTo>
                    <a:cubicBezTo>
                      <a:pt x="103" y="97"/>
                      <a:pt x="103" y="97"/>
                      <a:pt x="103" y="97"/>
                    </a:cubicBezTo>
                    <a:cubicBezTo>
                      <a:pt x="103" y="96"/>
                      <a:pt x="103" y="96"/>
                      <a:pt x="103" y="96"/>
                    </a:cubicBezTo>
                    <a:cubicBezTo>
                      <a:pt x="107" y="92"/>
                      <a:pt x="107" y="92"/>
                      <a:pt x="107" y="92"/>
                    </a:cubicBezTo>
                    <a:cubicBezTo>
                      <a:pt x="106" y="86"/>
                      <a:pt x="106" y="86"/>
                      <a:pt x="106" y="86"/>
                    </a:cubicBezTo>
                    <a:cubicBezTo>
                      <a:pt x="107" y="85"/>
                      <a:pt x="107" y="85"/>
                      <a:pt x="107" y="85"/>
                    </a:cubicBezTo>
                    <a:cubicBezTo>
                      <a:pt x="107" y="82"/>
                      <a:pt x="107" y="82"/>
                      <a:pt x="107" y="82"/>
                    </a:cubicBezTo>
                    <a:cubicBezTo>
                      <a:pt x="107" y="80"/>
                      <a:pt x="103" y="78"/>
                      <a:pt x="103" y="78"/>
                    </a:cubicBezTo>
                    <a:cubicBezTo>
                      <a:pt x="91" y="80"/>
                      <a:pt x="91" y="80"/>
                      <a:pt x="91" y="80"/>
                    </a:cubicBezTo>
                    <a:cubicBezTo>
                      <a:pt x="87" y="78"/>
                      <a:pt x="87" y="78"/>
                      <a:pt x="87" y="78"/>
                    </a:cubicBezTo>
                    <a:cubicBezTo>
                      <a:pt x="87" y="78"/>
                      <a:pt x="86" y="75"/>
                      <a:pt x="85" y="75"/>
                    </a:cubicBezTo>
                    <a:cubicBezTo>
                      <a:pt x="84" y="74"/>
                      <a:pt x="82" y="76"/>
                      <a:pt x="82" y="76"/>
                    </a:cubicBezTo>
                    <a:cubicBezTo>
                      <a:pt x="82" y="78"/>
                      <a:pt x="82" y="78"/>
                      <a:pt x="82" y="78"/>
                    </a:cubicBezTo>
                    <a:cubicBezTo>
                      <a:pt x="81" y="76"/>
                      <a:pt x="81" y="76"/>
                      <a:pt x="81" y="76"/>
                    </a:cubicBezTo>
                    <a:cubicBezTo>
                      <a:pt x="84" y="72"/>
                      <a:pt x="84" y="72"/>
                      <a:pt x="84" y="72"/>
                    </a:cubicBezTo>
                    <a:cubicBezTo>
                      <a:pt x="85" y="72"/>
                      <a:pt x="85" y="72"/>
                      <a:pt x="85" y="72"/>
                    </a:cubicBezTo>
                    <a:cubicBezTo>
                      <a:pt x="87" y="69"/>
                      <a:pt x="87" y="69"/>
                      <a:pt x="87" y="69"/>
                    </a:cubicBezTo>
                    <a:cubicBezTo>
                      <a:pt x="85" y="68"/>
                      <a:pt x="85" y="68"/>
                      <a:pt x="85" y="68"/>
                    </a:cubicBezTo>
                    <a:cubicBezTo>
                      <a:pt x="86" y="65"/>
                      <a:pt x="86" y="65"/>
                      <a:pt x="86" y="65"/>
                    </a:cubicBezTo>
                    <a:cubicBezTo>
                      <a:pt x="85" y="63"/>
                      <a:pt x="85" y="63"/>
                      <a:pt x="85" y="63"/>
                    </a:cubicBezTo>
                    <a:cubicBezTo>
                      <a:pt x="84" y="54"/>
                      <a:pt x="84" y="54"/>
                      <a:pt x="84" y="54"/>
                    </a:cubicBezTo>
                    <a:cubicBezTo>
                      <a:pt x="85" y="51"/>
                      <a:pt x="85" y="51"/>
                      <a:pt x="85" y="51"/>
                    </a:cubicBezTo>
                    <a:cubicBezTo>
                      <a:pt x="85" y="50"/>
                      <a:pt x="81" y="50"/>
                      <a:pt x="81" y="50"/>
                    </a:cubicBezTo>
                    <a:cubicBezTo>
                      <a:pt x="74" y="45"/>
                      <a:pt x="74" y="45"/>
                      <a:pt x="74" y="45"/>
                    </a:cubicBezTo>
                    <a:cubicBezTo>
                      <a:pt x="72" y="45"/>
                      <a:pt x="72" y="45"/>
                      <a:pt x="72" y="45"/>
                    </a:cubicBezTo>
                    <a:cubicBezTo>
                      <a:pt x="64" y="46"/>
                      <a:pt x="64" y="46"/>
                      <a:pt x="64" y="46"/>
                    </a:cubicBezTo>
                    <a:cubicBezTo>
                      <a:pt x="64" y="46"/>
                      <a:pt x="60" y="48"/>
                      <a:pt x="60" y="49"/>
                    </a:cubicBezTo>
                    <a:cubicBezTo>
                      <a:pt x="59" y="50"/>
                      <a:pt x="57" y="52"/>
                      <a:pt x="56" y="51"/>
                    </a:cubicBezTo>
                    <a:cubicBezTo>
                      <a:pt x="56" y="50"/>
                      <a:pt x="58" y="49"/>
                      <a:pt x="57" y="48"/>
                    </a:cubicBezTo>
                    <a:cubicBezTo>
                      <a:pt x="57" y="46"/>
                      <a:pt x="49" y="48"/>
                      <a:pt x="49" y="48"/>
                    </a:cubicBezTo>
                    <a:cubicBezTo>
                      <a:pt x="43" y="54"/>
                      <a:pt x="43" y="54"/>
                      <a:pt x="43" y="54"/>
                    </a:cubicBezTo>
                    <a:cubicBezTo>
                      <a:pt x="43" y="54"/>
                      <a:pt x="44" y="62"/>
                      <a:pt x="44" y="63"/>
                    </a:cubicBezTo>
                    <a:cubicBezTo>
                      <a:pt x="43" y="63"/>
                      <a:pt x="45" y="64"/>
                      <a:pt x="45" y="64"/>
                    </a:cubicBezTo>
                    <a:cubicBezTo>
                      <a:pt x="45" y="64"/>
                      <a:pt x="45" y="65"/>
                      <a:pt x="44" y="65"/>
                    </a:cubicBezTo>
                    <a:cubicBezTo>
                      <a:pt x="43" y="66"/>
                      <a:pt x="44" y="68"/>
                      <a:pt x="44" y="68"/>
                    </a:cubicBezTo>
                    <a:cubicBezTo>
                      <a:pt x="45" y="68"/>
                      <a:pt x="48" y="69"/>
                      <a:pt x="48" y="69"/>
                    </a:cubicBezTo>
                    <a:cubicBezTo>
                      <a:pt x="48" y="76"/>
                      <a:pt x="48" y="76"/>
                      <a:pt x="48" y="76"/>
                    </a:cubicBezTo>
                    <a:cubicBezTo>
                      <a:pt x="51" y="76"/>
                      <a:pt x="51" y="76"/>
                      <a:pt x="51" y="76"/>
                    </a:cubicBezTo>
                    <a:cubicBezTo>
                      <a:pt x="51" y="76"/>
                      <a:pt x="50" y="78"/>
                      <a:pt x="48" y="78"/>
                    </a:cubicBezTo>
                    <a:cubicBezTo>
                      <a:pt x="45" y="79"/>
                      <a:pt x="45" y="76"/>
                      <a:pt x="45" y="76"/>
                    </a:cubicBezTo>
                    <a:cubicBezTo>
                      <a:pt x="47" y="72"/>
                      <a:pt x="47" y="72"/>
                      <a:pt x="47" y="72"/>
                    </a:cubicBezTo>
                    <a:cubicBezTo>
                      <a:pt x="43" y="70"/>
                      <a:pt x="43" y="70"/>
                      <a:pt x="43" y="70"/>
                    </a:cubicBezTo>
                    <a:cubicBezTo>
                      <a:pt x="43" y="70"/>
                      <a:pt x="41" y="72"/>
                      <a:pt x="40" y="72"/>
                    </a:cubicBezTo>
                    <a:cubicBezTo>
                      <a:pt x="40" y="76"/>
                      <a:pt x="40" y="76"/>
                      <a:pt x="40" y="76"/>
                    </a:cubicBezTo>
                    <a:cubicBezTo>
                      <a:pt x="39" y="76"/>
                      <a:pt x="39" y="76"/>
                      <a:pt x="39" y="76"/>
                    </a:cubicBezTo>
                    <a:cubicBezTo>
                      <a:pt x="38" y="74"/>
                      <a:pt x="38" y="74"/>
                      <a:pt x="38" y="74"/>
                    </a:cubicBezTo>
                    <a:cubicBezTo>
                      <a:pt x="42" y="67"/>
                      <a:pt x="42" y="67"/>
                      <a:pt x="42" y="67"/>
                    </a:cubicBezTo>
                    <a:cubicBezTo>
                      <a:pt x="40" y="62"/>
                      <a:pt x="40" y="62"/>
                      <a:pt x="40" y="62"/>
                    </a:cubicBezTo>
                    <a:cubicBezTo>
                      <a:pt x="35" y="62"/>
                      <a:pt x="35" y="62"/>
                      <a:pt x="35" y="62"/>
                    </a:cubicBezTo>
                    <a:cubicBezTo>
                      <a:pt x="33" y="62"/>
                      <a:pt x="32" y="64"/>
                      <a:pt x="32" y="66"/>
                    </a:cubicBezTo>
                    <a:cubicBezTo>
                      <a:pt x="31" y="67"/>
                      <a:pt x="33" y="67"/>
                      <a:pt x="33" y="67"/>
                    </a:cubicBezTo>
                    <a:cubicBezTo>
                      <a:pt x="30" y="68"/>
                      <a:pt x="30" y="68"/>
                      <a:pt x="30" y="68"/>
                    </a:cubicBezTo>
                    <a:cubicBezTo>
                      <a:pt x="24" y="75"/>
                      <a:pt x="24" y="75"/>
                      <a:pt x="24" y="75"/>
                    </a:cubicBezTo>
                    <a:cubicBezTo>
                      <a:pt x="24" y="75"/>
                      <a:pt x="27" y="77"/>
                      <a:pt x="27" y="79"/>
                    </a:cubicBezTo>
                    <a:cubicBezTo>
                      <a:pt x="27" y="82"/>
                      <a:pt x="22" y="81"/>
                      <a:pt x="22" y="81"/>
                    </a:cubicBezTo>
                    <a:cubicBezTo>
                      <a:pt x="20" y="76"/>
                      <a:pt x="20" y="76"/>
                      <a:pt x="20" y="76"/>
                    </a:cubicBezTo>
                    <a:cubicBezTo>
                      <a:pt x="20" y="76"/>
                      <a:pt x="12" y="75"/>
                      <a:pt x="9" y="74"/>
                    </a:cubicBezTo>
                    <a:cubicBezTo>
                      <a:pt x="6" y="72"/>
                      <a:pt x="7" y="70"/>
                      <a:pt x="7" y="68"/>
                    </a:cubicBezTo>
                    <a:cubicBezTo>
                      <a:pt x="7" y="67"/>
                      <a:pt x="8" y="66"/>
                      <a:pt x="8" y="66"/>
                    </a:cubicBezTo>
                    <a:cubicBezTo>
                      <a:pt x="7" y="64"/>
                      <a:pt x="7" y="64"/>
                      <a:pt x="7" y="64"/>
                    </a:cubicBezTo>
                    <a:cubicBezTo>
                      <a:pt x="5" y="70"/>
                      <a:pt x="5" y="70"/>
                      <a:pt x="5" y="70"/>
                    </a:cubicBezTo>
                    <a:cubicBezTo>
                      <a:pt x="4" y="74"/>
                      <a:pt x="3" y="85"/>
                      <a:pt x="3" y="85"/>
                    </a:cubicBezTo>
                    <a:cubicBezTo>
                      <a:pt x="4" y="84"/>
                      <a:pt x="4" y="84"/>
                      <a:pt x="4" y="84"/>
                    </a:cubicBezTo>
                    <a:cubicBezTo>
                      <a:pt x="9" y="92"/>
                      <a:pt x="9" y="92"/>
                      <a:pt x="9" y="92"/>
                    </a:cubicBezTo>
                    <a:cubicBezTo>
                      <a:pt x="7" y="92"/>
                      <a:pt x="7" y="92"/>
                      <a:pt x="7" y="92"/>
                    </a:cubicBezTo>
                    <a:cubicBezTo>
                      <a:pt x="6" y="90"/>
                      <a:pt x="6" y="90"/>
                      <a:pt x="6" y="90"/>
                    </a:cubicBezTo>
                    <a:cubicBezTo>
                      <a:pt x="4" y="88"/>
                      <a:pt x="4" y="88"/>
                      <a:pt x="4" y="88"/>
                    </a:cubicBezTo>
                    <a:cubicBezTo>
                      <a:pt x="3" y="96"/>
                      <a:pt x="3" y="96"/>
                      <a:pt x="3" y="96"/>
                    </a:cubicBezTo>
                    <a:cubicBezTo>
                      <a:pt x="5" y="95"/>
                      <a:pt x="5" y="95"/>
                      <a:pt x="5" y="95"/>
                    </a:cubicBezTo>
                    <a:cubicBezTo>
                      <a:pt x="7" y="99"/>
                      <a:pt x="7" y="99"/>
                      <a:pt x="7" y="99"/>
                    </a:cubicBezTo>
                    <a:cubicBezTo>
                      <a:pt x="5" y="100"/>
                      <a:pt x="5" y="100"/>
                      <a:pt x="5" y="100"/>
                    </a:cubicBezTo>
                    <a:cubicBezTo>
                      <a:pt x="4" y="98"/>
                      <a:pt x="4" y="98"/>
                      <a:pt x="4" y="98"/>
                    </a:cubicBezTo>
                    <a:cubicBezTo>
                      <a:pt x="2" y="99"/>
                      <a:pt x="2" y="99"/>
                      <a:pt x="2" y="99"/>
                    </a:cubicBezTo>
                    <a:cubicBezTo>
                      <a:pt x="1" y="110"/>
                      <a:pt x="1" y="110"/>
                      <a:pt x="1" y="110"/>
                    </a:cubicBezTo>
                    <a:cubicBezTo>
                      <a:pt x="2" y="109"/>
                      <a:pt x="2" y="109"/>
                      <a:pt x="2" y="109"/>
                    </a:cubicBezTo>
                    <a:cubicBezTo>
                      <a:pt x="4" y="104"/>
                      <a:pt x="4" y="104"/>
                      <a:pt x="4" y="104"/>
                    </a:cubicBezTo>
                    <a:cubicBezTo>
                      <a:pt x="8" y="107"/>
                      <a:pt x="8" y="107"/>
                      <a:pt x="8" y="107"/>
                    </a:cubicBezTo>
                    <a:cubicBezTo>
                      <a:pt x="8" y="113"/>
                      <a:pt x="8" y="113"/>
                      <a:pt x="8" y="113"/>
                    </a:cubicBezTo>
                    <a:cubicBezTo>
                      <a:pt x="8" y="113"/>
                      <a:pt x="12" y="115"/>
                      <a:pt x="11" y="117"/>
                    </a:cubicBezTo>
                    <a:cubicBezTo>
                      <a:pt x="10" y="119"/>
                      <a:pt x="8" y="122"/>
                      <a:pt x="6" y="120"/>
                    </a:cubicBezTo>
                    <a:cubicBezTo>
                      <a:pt x="3" y="119"/>
                      <a:pt x="4" y="112"/>
                      <a:pt x="4" y="112"/>
                    </a:cubicBezTo>
                    <a:cubicBezTo>
                      <a:pt x="3" y="112"/>
                      <a:pt x="3" y="112"/>
                      <a:pt x="3" y="112"/>
                    </a:cubicBezTo>
                    <a:cubicBezTo>
                      <a:pt x="3" y="112"/>
                      <a:pt x="4" y="122"/>
                      <a:pt x="4" y="124"/>
                    </a:cubicBezTo>
                    <a:cubicBezTo>
                      <a:pt x="4" y="127"/>
                      <a:pt x="1" y="131"/>
                      <a:pt x="1" y="131"/>
                    </a:cubicBezTo>
                    <a:cubicBezTo>
                      <a:pt x="2" y="132"/>
                      <a:pt x="2" y="132"/>
                      <a:pt x="2" y="132"/>
                    </a:cubicBezTo>
                    <a:cubicBezTo>
                      <a:pt x="0" y="140"/>
                      <a:pt x="0" y="140"/>
                      <a:pt x="0" y="140"/>
                    </a:cubicBezTo>
                    <a:cubicBezTo>
                      <a:pt x="2" y="141"/>
                      <a:pt x="2" y="141"/>
                      <a:pt x="2" y="141"/>
                    </a:cubicBezTo>
                    <a:cubicBezTo>
                      <a:pt x="7" y="145"/>
                      <a:pt x="7" y="145"/>
                      <a:pt x="7" y="145"/>
                    </a:cubicBezTo>
                    <a:cubicBezTo>
                      <a:pt x="5" y="138"/>
                      <a:pt x="5" y="138"/>
                      <a:pt x="5" y="138"/>
                    </a:cubicBezTo>
                    <a:cubicBezTo>
                      <a:pt x="7" y="138"/>
                      <a:pt x="7" y="138"/>
                      <a:pt x="7" y="138"/>
                    </a:cubicBezTo>
                    <a:cubicBezTo>
                      <a:pt x="9" y="145"/>
                      <a:pt x="9" y="145"/>
                      <a:pt x="9" y="145"/>
                    </a:cubicBezTo>
                    <a:cubicBezTo>
                      <a:pt x="15" y="147"/>
                      <a:pt x="15" y="147"/>
                      <a:pt x="15" y="147"/>
                    </a:cubicBezTo>
                    <a:cubicBezTo>
                      <a:pt x="17" y="147"/>
                      <a:pt x="17" y="147"/>
                      <a:pt x="17" y="147"/>
                    </a:cubicBezTo>
                    <a:cubicBezTo>
                      <a:pt x="21" y="156"/>
                      <a:pt x="21" y="156"/>
                      <a:pt x="21" y="156"/>
                    </a:cubicBezTo>
                    <a:cubicBezTo>
                      <a:pt x="20" y="159"/>
                      <a:pt x="20" y="159"/>
                      <a:pt x="20" y="159"/>
                    </a:cubicBezTo>
                    <a:cubicBezTo>
                      <a:pt x="20" y="159"/>
                      <a:pt x="21" y="163"/>
                      <a:pt x="21" y="166"/>
                    </a:cubicBezTo>
                    <a:cubicBezTo>
                      <a:pt x="21" y="169"/>
                      <a:pt x="18" y="173"/>
                      <a:pt x="18" y="175"/>
                    </a:cubicBezTo>
                    <a:cubicBezTo>
                      <a:pt x="18" y="177"/>
                      <a:pt x="20" y="178"/>
                      <a:pt x="20" y="179"/>
                    </a:cubicBezTo>
                    <a:cubicBezTo>
                      <a:pt x="19" y="179"/>
                      <a:pt x="19" y="180"/>
                      <a:pt x="19" y="181"/>
                    </a:cubicBezTo>
                    <a:cubicBezTo>
                      <a:pt x="20" y="181"/>
                      <a:pt x="21" y="182"/>
                      <a:pt x="22" y="182"/>
                    </a:cubicBezTo>
                    <a:cubicBezTo>
                      <a:pt x="28" y="181"/>
                      <a:pt x="33" y="183"/>
                      <a:pt x="39" y="185"/>
                    </a:cubicBezTo>
                    <a:cubicBezTo>
                      <a:pt x="41" y="185"/>
                      <a:pt x="40" y="190"/>
                      <a:pt x="44" y="189"/>
                    </a:cubicBezTo>
                    <a:cubicBezTo>
                      <a:pt x="47" y="187"/>
                      <a:pt x="48" y="183"/>
                      <a:pt x="49" y="189"/>
                    </a:cubicBezTo>
                    <a:cubicBezTo>
                      <a:pt x="49" y="189"/>
                      <a:pt x="49" y="188"/>
                      <a:pt x="50" y="188"/>
                    </a:cubicBezTo>
                    <a:cubicBezTo>
                      <a:pt x="50" y="186"/>
                      <a:pt x="50" y="186"/>
                      <a:pt x="50" y="186"/>
                    </a:cubicBezTo>
                    <a:cubicBezTo>
                      <a:pt x="54" y="183"/>
                      <a:pt x="54" y="183"/>
                      <a:pt x="54" y="183"/>
                    </a:cubicBezTo>
                    <a:cubicBezTo>
                      <a:pt x="54" y="183"/>
                      <a:pt x="56" y="181"/>
                      <a:pt x="57" y="181"/>
                    </a:cubicBezTo>
                    <a:cubicBezTo>
                      <a:pt x="58" y="181"/>
                      <a:pt x="57" y="185"/>
                      <a:pt x="57" y="186"/>
                    </a:cubicBezTo>
                    <a:cubicBezTo>
                      <a:pt x="57" y="187"/>
                      <a:pt x="59" y="188"/>
                      <a:pt x="61" y="188"/>
                    </a:cubicBezTo>
                    <a:cubicBezTo>
                      <a:pt x="63" y="187"/>
                      <a:pt x="60" y="186"/>
                      <a:pt x="59" y="185"/>
                    </a:cubicBezTo>
                    <a:cubicBezTo>
                      <a:pt x="59" y="183"/>
                      <a:pt x="61" y="183"/>
                      <a:pt x="61" y="183"/>
                    </a:cubicBezTo>
                    <a:close/>
                    <a:moveTo>
                      <a:pt x="170" y="130"/>
                    </a:moveTo>
                    <a:cubicBezTo>
                      <a:pt x="170" y="129"/>
                      <a:pt x="169" y="126"/>
                      <a:pt x="169" y="125"/>
                    </a:cubicBezTo>
                    <a:cubicBezTo>
                      <a:pt x="167" y="116"/>
                      <a:pt x="167" y="116"/>
                      <a:pt x="167" y="116"/>
                    </a:cubicBezTo>
                    <a:cubicBezTo>
                      <a:pt x="167" y="116"/>
                      <a:pt x="167" y="112"/>
                      <a:pt x="168" y="111"/>
                    </a:cubicBezTo>
                    <a:cubicBezTo>
                      <a:pt x="170" y="111"/>
                      <a:pt x="171" y="109"/>
                      <a:pt x="169" y="108"/>
                    </a:cubicBezTo>
                    <a:cubicBezTo>
                      <a:pt x="167" y="107"/>
                      <a:pt x="157" y="104"/>
                      <a:pt x="157" y="104"/>
                    </a:cubicBezTo>
                    <a:cubicBezTo>
                      <a:pt x="157" y="104"/>
                      <a:pt x="152" y="108"/>
                      <a:pt x="149" y="110"/>
                    </a:cubicBezTo>
                    <a:cubicBezTo>
                      <a:pt x="146" y="111"/>
                      <a:pt x="142" y="112"/>
                      <a:pt x="142" y="112"/>
                    </a:cubicBezTo>
                    <a:cubicBezTo>
                      <a:pt x="142" y="114"/>
                      <a:pt x="142" y="114"/>
                      <a:pt x="142" y="114"/>
                    </a:cubicBezTo>
                    <a:cubicBezTo>
                      <a:pt x="142" y="114"/>
                      <a:pt x="147" y="113"/>
                      <a:pt x="148" y="114"/>
                    </a:cubicBezTo>
                    <a:cubicBezTo>
                      <a:pt x="149" y="116"/>
                      <a:pt x="149" y="120"/>
                      <a:pt x="149" y="120"/>
                    </a:cubicBezTo>
                    <a:cubicBezTo>
                      <a:pt x="151" y="126"/>
                      <a:pt x="151" y="126"/>
                      <a:pt x="151" y="126"/>
                    </a:cubicBezTo>
                    <a:cubicBezTo>
                      <a:pt x="150" y="131"/>
                      <a:pt x="150" y="131"/>
                      <a:pt x="150" y="131"/>
                    </a:cubicBezTo>
                    <a:cubicBezTo>
                      <a:pt x="151" y="133"/>
                      <a:pt x="151" y="133"/>
                      <a:pt x="151" y="133"/>
                    </a:cubicBezTo>
                    <a:cubicBezTo>
                      <a:pt x="148" y="132"/>
                      <a:pt x="148" y="132"/>
                      <a:pt x="148" y="132"/>
                    </a:cubicBezTo>
                    <a:cubicBezTo>
                      <a:pt x="143" y="133"/>
                      <a:pt x="143" y="133"/>
                      <a:pt x="143" y="133"/>
                    </a:cubicBezTo>
                    <a:cubicBezTo>
                      <a:pt x="146" y="129"/>
                      <a:pt x="146" y="129"/>
                      <a:pt x="146" y="129"/>
                    </a:cubicBezTo>
                    <a:cubicBezTo>
                      <a:pt x="149" y="129"/>
                      <a:pt x="149" y="129"/>
                      <a:pt x="149" y="129"/>
                    </a:cubicBezTo>
                    <a:cubicBezTo>
                      <a:pt x="149" y="128"/>
                      <a:pt x="149" y="125"/>
                      <a:pt x="148" y="124"/>
                    </a:cubicBezTo>
                    <a:cubicBezTo>
                      <a:pt x="148" y="117"/>
                      <a:pt x="148" y="117"/>
                      <a:pt x="148" y="117"/>
                    </a:cubicBezTo>
                    <a:cubicBezTo>
                      <a:pt x="148" y="117"/>
                      <a:pt x="146" y="115"/>
                      <a:pt x="145" y="116"/>
                    </a:cubicBezTo>
                    <a:cubicBezTo>
                      <a:pt x="142" y="117"/>
                      <a:pt x="145" y="122"/>
                      <a:pt x="145" y="122"/>
                    </a:cubicBezTo>
                    <a:cubicBezTo>
                      <a:pt x="145" y="122"/>
                      <a:pt x="142" y="123"/>
                      <a:pt x="142" y="125"/>
                    </a:cubicBezTo>
                    <a:cubicBezTo>
                      <a:pt x="142" y="130"/>
                      <a:pt x="142" y="130"/>
                      <a:pt x="142" y="130"/>
                    </a:cubicBezTo>
                    <a:cubicBezTo>
                      <a:pt x="139" y="134"/>
                      <a:pt x="139" y="134"/>
                      <a:pt x="139" y="134"/>
                    </a:cubicBezTo>
                    <a:cubicBezTo>
                      <a:pt x="140" y="130"/>
                      <a:pt x="140" y="130"/>
                      <a:pt x="140" y="130"/>
                    </a:cubicBezTo>
                    <a:cubicBezTo>
                      <a:pt x="135" y="130"/>
                      <a:pt x="135" y="130"/>
                      <a:pt x="135" y="130"/>
                    </a:cubicBezTo>
                    <a:cubicBezTo>
                      <a:pt x="138" y="128"/>
                      <a:pt x="138" y="128"/>
                      <a:pt x="138" y="128"/>
                    </a:cubicBezTo>
                    <a:cubicBezTo>
                      <a:pt x="136" y="125"/>
                      <a:pt x="136" y="125"/>
                      <a:pt x="136" y="125"/>
                    </a:cubicBezTo>
                    <a:cubicBezTo>
                      <a:pt x="133" y="125"/>
                      <a:pt x="133" y="125"/>
                      <a:pt x="133" y="125"/>
                    </a:cubicBezTo>
                    <a:cubicBezTo>
                      <a:pt x="133" y="125"/>
                      <a:pt x="137" y="122"/>
                      <a:pt x="137" y="120"/>
                    </a:cubicBezTo>
                    <a:cubicBezTo>
                      <a:pt x="137" y="118"/>
                      <a:pt x="137" y="117"/>
                      <a:pt x="138" y="116"/>
                    </a:cubicBezTo>
                    <a:cubicBezTo>
                      <a:pt x="139" y="116"/>
                      <a:pt x="140" y="114"/>
                      <a:pt x="140" y="114"/>
                    </a:cubicBezTo>
                    <a:cubicBezTo>
                      <a:pt x="139" y="113"/>
                      <a:pt x="139" y="113"/>
                      <a:pt x="139" y="113"/>
                    </a:cubicBezTo>
                    <a:cubicBezTo>
                      <a:pt x="139" y="113"/>
                      <a:pt x="131" y="115"/>
                      <a:pt x="129" y="114"/>
                    </a:cubicBezTo>
                    <a:cubicBezTo>
                      <a:pt x="125" y="113"/>
                      <a:pt x="120" y="110"/>
                      <a:pt x="120" y="110"/>
                    </a:cubicBezTo>
                    <a:cubicBezTo>
                      <a:pt x="121" y="113"/>
                      <a:pt x="121" y="113"/>
                      <a:pt x="121" y="113"/>
                    </a:cubicBezTo>
                    <a:cubicBezTo>
                      <a:pt x="121" y="113"/>
                      <a:pt x="127" y="115"/>
                      <a:pt x="130" y="117"/>
                    </a:cubicBezTo>
                    <a:cubicBezTo>
                      <a:pt x="131" y="119"/>
                      <a:pt x="123" y="122"/>
                      <a:pt x="123" y="122"/>
                    </a:cubicBezTo>
                    <a:cubicBezTo>
                      <a:pt x="123" y="122"/>
                      <a:pt x="123" y="127"/>
                      <a:pt x="121" y="128"/>
                    </a:cubicBezTo>
                    <a:cubicBezTo>
                      <a:pt x="119" y="129"/>
                      <a:pt x="115" y="127"/>
                      <a:pt x="115" y="127"/>
                    </a:cubicBezTo>
                    <a:cubicBezTo>
                      <a:pt x="113" y="129"/>
                      <a:pt x="113" y="129"/>
                      <a:pt x="113" y="129"/>
                    </a:cubicBezTo>
                    <a:cubicBezTo>
                      <a:pt x="109" y="128"/>
                      <a:pt x="109" y="128"/>
                      <a:pt x="109" y="128"/>
                    </a:cubicBezTo>
                    <a:cubicBezTo>
                      <a:pt x="105" y="128"/>
                      <a:pt x="105" y="128"/>
                      <a:pt x="105" y="128"/>
                    </a:cubicBezTo>
                    <a:cubicBezTo>
                      <a:pt x="105" y="130"/>
                      <a:pt x="105" y="130"/>
                      <a:pt x="105" y="130"/>
                    </a:cubicBezTo>
                    <a:cubicBezTo>
                      <a:pt x="108" y="131"/>
                      <a:pt x="108" y="131"/>
                      <a:pt x="108" y="131"/>
                    </a:cubicBezTo>
                    <a:cubicBezTo>
                      <a:pt x="110" y="132"/>
                      <a:pt x="110" y="132"/>
                      <a:pt x="110" y="132"/>
                    </a:cubicBezTo>
                    <a:cubicBezTo>
                      <a:pt x="107" y="132"/>
                      <a:pt x="107" y="132"/>
                      <a:pt x="107" y="132"/>
                    </a:cubicBezTo>
                    <a:cubicBezTo>
                      <a:pt x="107" y="134"/>
                      <a:pt x="107" y="134"/>
                      <a:pt x="107" y="134"/>
                    </a:cubicBezTo>
                    <a:cubicBezTo>
                      <a:pt x="109" y="134"/>
                      <a:pt x="109" y="134"/>
                      <a:pt x="109" y="134"/>
                    </a:cubicBezTo>
                    <a:cubicBezTo>
                      <a:pt x="115" y="138"/>
                      <a:pt x="115" y="138"/>
                      <a:pt x="115" y="138"/>
                    </a:cubicBezTo>
                    <a:cubicBezTo>
                      <a:pt x="115" y="141"/>
                      <a:pt x="115" y="141"/>
                      <a:pt x="115" y="141"/>
                    </a:cubicBezTo>
                    <a:cubicBezTo>
                      <a:pt x="113" y="142"/>
                      <a:pt x="113" y="142"/>
                      <a:pt x="113" y="142"/>
                    </a:cubicBezTo>
                    <a:cubicBezTo>
                      <a:pt x="114" y="144"/>
                      <a:pt x="114" y="144"/>
                      <a:pt x="114" y="144"/>
                    </a:cubicBezTo>
                    <a:cubicBezTo>
                      <a:pt x="117" y="145"/>
                      <a:pt x="117" y="145"/>
                      <a:pt x="117" y="145"/>
                    </a:cubicBezTo>
                    <a:cubicBezTo>
                      <a:pt x="117" y="151"/>
                      <a:pt x="117" y="151"/>
                      <a:pt x="117" y="151"/>
                    </a:cubicBezTo>
                    <a:cubicBezTo>
                      <a:pt x="113" y="155"/>
                      <a:pt x="113" y="155"/>
                      <a:pt x="113" y="155"/>
                    </a:cubicBezTo>
                    <a:cubicBezTo>
                      <a:pt x="121" y="163"/>
                      <a:pt x="121" y="163"/>
                      <a:pt x="121" y="163"/>
                    </a:cubicBezTo>
                    <a:cubicBezTo>
                      <a:pt x="121" y="163"/>
                      <a:pt x="125" y="162"/>
                      <a:pt x="127" y="162"/>
                    </a:cubicBezTo>
                    <a:cubicBezTo>
                      <a:pt x="129" y="162"/>
                      <a:pt x="130" y="165"/>
                      <a:pt x="132" y="164"/>
                    </a:cubicBezTo>
                    <a:cubicBezTo>
                      <a:pt x="134" y="164"/>
                      <a:pt x="135" y="161"/>
                      <a:pt x="137" y="162"/>
                    </a:cubicBezTo>
                    <a:cubicBezTo>
                      <a:pt x="138" y="164"/>
                      <a:pt x="137" y="166"/>
                      <a:pt x="137" y="166"/>
                    </a:cubicBezTo>
                    <a:cubicBezTo>
                      <a:pt x="139" y="166"/>
                      <a:pt x="139" y="166"/>
                      <a:pt x="139" y="166"/>
                    </a:cubicBezTo>
                    <a:cubicBezTo>
                      <a:pt x="137" y="169"/>
                      <a:pt x="137" y="169"/>
                      <a:pt x="137" y="169"/>
                    </a:cubicBezTo>
                    <a:cubicBezTo>
                      <a:pt x="138" y="171"/>
                      <a:pt x="138" y="171"/>
                      <a:pt x="138" y="171"/>
                    </a:cubicBezTo>
                    <a:cubicBezTo>
                      <a:pt x="139" y="171"/>
                      <a:pt x="139" y="171"/>
                      <a:pt x="139" y="171"/>
                    </a:cubicBezTo>
                    <a:cubicBezTo>
                      <a:pt x="139" y="173"/>
                      <a:pt x="139" y="173"/>
                      <a:pt x="139" y="173"/>
                    </a:cubicBezTo>
                    <a:cubicBezTo>
                      <a:pt x="134" y="171"/>
                      <a:pt x="134" y="171"/>
                      <a:pt x="134" y="171"/>
                    </a:cubicBezTo>
                    <a:cubicBezTo>
                      <a:pt x="134" y="172"/>
                      <a:pt x="134" y="172"/>
                      <a:pt x="134" y="172"/>
                    </a:cubicBezTo>
                    <a:cubicBezTo>
                      <a:pt x="142" y="177"/>
                      <a:pt x="142" y="177"/>
                      <a:pt x="142" y="177"/>
                    </a:cubicBezTo>
                    <a:cubicBezTo>
                      <a:pt x="147" y="176"/>
                      <a:pt x="147" y="176"/>
                      <a:pt x="147" y="176"/>
                    </a:cubicBezTo>
                    <a:cubicBezTo>
                      <a:pt x="149" y="179"/>
                      <a:pt x="149" y="179"/>
                      <a:pt x="149" y="179"/>
                    </a:cubicBezTo>
                    <a:cubicBezTo>
                      <a:pt x="154" y="177"/>
                      <a:pt x="154" y="177"/>
                      <a:pt x="154" y="177"/>
                    </a:cubicBezTo>
                    <a:cubicBezTo>
                      <a:pt x="154" y="177"/>
                      <a:pt x="151" y="175"/>
                      <a:pt x="153" y="174"/>
                    </a:cubicBezTo>
                    <a:cubicBezTo>
                      <a:pt x="154" y="173"/>
                      <a:pt x="156" y="171"/>
                      <a:pt x="154" y="170"/>
                    </a:cubicBezTo>
                    <a:cubicBezTo>
                      <a:pt x="151" y="170"/>
                      <a:pt x="148" y="170"/>
                      <a:pt x="148" y="167"/>
                    </a:cubicBezTo>
                    <a:cubicBezTo>
                      <a:pt x="149" y="166"/>
                      <a:pt x="155" y="161"/>
                      <a:pt x="158" y="161"/>
                    </a:cubicBezTo>
                    <a:cubicBezTo>
                      <a:pt x="161" y="161"/>
                      <a:pt x="164" y="161"/>
                      <a:pt x="165" y="158"/>
                    </a:cubicBezTo>
                    <a:cubicBezTo>
                      <a:pt x="165" y="155"/>
                      <a:pt x="162" y="150"/>
                      <a:pt x="159" y="150"/>
                    </a:cubicBezTo>
                    <a:cubicBezTo>
                      <a:pt x="157" y="149"/>
                      <a:pt x="153" y="148"/>
                      <a:pt x="154" y="147"/>
                    </a:cubicBezTo>
                    <a:cubicBezTo>
                      <a:pt x="155" y="146"/>
                      <a:pt x="155" y="142"/>
                      <a:pt x="155" y="142"/>
                    </a:cubicBezTo>
                    <a:cubicBezTo>
                      <a:pt x="155" y="142"/>
                      <a:pt x="157" y="138"/>
                      <a:pt x="158" y="138"/>
                    </a:cubicBezTo>
                    <a:cubicBezTo>
                      <a:pt x="159" y="137"/>
                      <a:pt x="164" y="137"/>
                      <a:pt x="164" y="137"/>
                    </a:cubicBezTo>
                    <a:cubicBezTo>
                      <a:pt x="164" y="137"/>
                      <a:pt x="165" y="133"/>
                      <a:pt x="166" y="134"/>
                    </a:cubicBezTo>
                    <a:cubicBezTo>
                      <a:pt x="168" y="134"/>
                      <a:pt x="166" y="134"/>
                      <a:pt x="166" y="137"/>
                    </a:cubicBezTo>
                    <a:cubicBezTo>
                      <a:pt x="166" y="138"/>
                      <a:pt x="167" y="143"/>
                      <a:pt x="169" y="142"/>
                    </a:cubicBezTo>
                    <a:cubicBezTo>
                      <a:pt x="171" y="141"/>
                      <a:pt x="173" y="138"/>
                      <a:pt x="173" y="138"/>
                    </a:cubicBezTo>
                    <a:cubicBezTo>
                      <a:pt x="173" y="138"/>
                      <a:pt x="171" y="130"/>
                      <a:pt x="170" y="130"/>
                    </a:cubicBezTo>
                    <a:close/>
                    <a:moveTo>
                      <a:pt x="11" y="148"/>
                    </a:moveTo>
                    <a:cubicBezTo>
                      <a:pt x="9" y="146"/>
                      <a:pt x="9" y="146"/>
                      <a:pt x="9" y="146"/>
                    </a:cubicBezTo>
                    <a:cubicBezTo>
                      <a:pt x="9" y="149"/>
                      <a:pt x="9" y="149"/>
                      <a:pt x="9" y="149"/>
                    </a:cubicBezTo>
                    <a:cubicBezTo>
                      <a:pt x="10" y="151"/>
                      <a:pt x="10" y="151"/>
                      <a:pt x="10" y="151"/>
                    </a:cubicBezTo>
                    <a:cubicBezTo>
                      <a:pt x="11" y="155"/>
                      <a:pt x="11" y="155"/>
                      <a:pt x="11" y="155"/>
                    </a:cubicBezTo>
                    <a:cubicBezTo>
                      <a:pt x="12" y="151"/>
                      <a:pt x="12" y="151"/>
                      <a:pt x="12" y="151"/>
                    </a:cubicBezTo>
                    <a:cubicBezTo>
                      <a:pt x="12" y="148"/>
                      <a:pt x="11" y="148"/>
                      <a:pt x="11" y="148"/>
                    </a:cubicBezTo>
                    <a:close/>
                    <a:moveTo>
                      <a:pt x="267" y="166"/>
                    </a:moveTo>
                    <a:cubicBezTo>
                      <a:pt x="261" y="162"/>
                      <a:pt x="261" y="162"/>
                      <a:pt x="261" y="162"/>
                    </a:cubicBezTo>
                    <a:cubicBezTo>
                      <a:pt x="256" y="161"/>
                      <a:pt x="256" y="161"/>
                      <a:pt x="256" y="161"/>
                    </a:cubicBezTo>
                    <a:cubicBezTo>
                      <a:pt x="252" y="156"/>
                      <a:pt x="252" y="156"/>
                      <a:pt x="252" y="156"/>
                    </a:cubicBezTo>
                    <a:cubicBezTo>
                      <a:pt x="249" y="161"/>
                      <a:pt x="249" y="161"/>
                      <a:pt x="249" y="161"/>
                    </a:cubicBezTo>
                    <a:cubicBezTo>
                      <a:pt x="249" y="161"/>
                      <a:pt x="251" y="162"/>
                      <a:pt x="250" y="164"/>
                    </a:cubicBezTo>
                    <a:cubicBezTo>
                      <a:pt x="250" y="166"/>
                      <a:pt x="249" y="169"/>
                      <a:pt x="249" y="169"/>
                    </a:cubicBezTo>
                    <a:cubicBezTo>
                      <a:pt x="264" y="175"/>
                      <a:pt x="264" y="175"/>
                      <a:pt x="264" y="175"/>
                    </a:cubicBezTo>
                    <a:cubicBezTo>
                      <a:pt x="265" y="174"/>
                      <a:pt x="265" y="174"/>
                      <a:pt x="265" y="174"/>
                    </a:cubicBezTo>
                    <a:cubicBezTo>
                      <a:pt x="265" y="171"/>
                      <a:pt x="265" y="171"/>
                      <a:pt x="265" y="171"/>
                    </a:cubicBezTo>
                    <a:cubicBezTo>
                      <a:pt x="268" y="170"/>
                      <a:pt x="268" y="170"/>
                      <a:pt x="268" y="170"/>
                    </a:cubicBezTo>
                    <a:lnTo>
                      <a:pt x="267" y="166"/>
                    </a:lnTo>
                    <a:close/>
                    <a:moveTo>
                      <a:pt x="174" y="134"/>
                    </a:moveTo>
                    <a:cubicBezTo>
                      <a:pt x="175" y="138"/>
                      <a:pt x="178" y="138"/>
                      <a:pt x="176" y="134"/>
                    </a:cubicBezTo>
                    <a:cubicBezTo>
                      <a:pt x="176" y="131"/>
                      <a:pt x="174" y="134"/>
                      <a:pt x="174" y="134"/>
                    </a:cubicBezTo>
                    <a:close/>
                    <a:moveTo>
                      <a:pt x="131" y="69"/>
                    </a:moveTo>
                    <a:cubicBezTo>
                      <a:pt x="134" y="68"/>
                      <a:pt x="136" y="65"/>
                      <a:pt x="136" y="65"/>
                    </a:cubicBezTo>
                    <a:cubicBezTo>
                      <a:pt x="129" y="65"/>
                      <a:pt x="129" y="65"/>
                      <a:pt x="129" y="65"/>
                    </a:cubicBezTo>
                    <a:cubicBezTo>
                      <a:pt x="129" y="65"/>
                      <a:pt x="129" y="69"/>
                      <a:pt x="131" y="69"/>
                    </a:cubicBezTo>
                    <a:close/>
                  </a:path>
                </a:pathLst>
              </a:custGeom>
              <a:grpFill/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199" name="Cyprus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7440613" y="5705475"/>
                <a:ext cx="239712" cy="227012"/>
              </a:xfrm>
              <a:custGeom>
                <a:avLst/>
                <a:gdLst/>
                <a:ahLst/>
                <a:cxnLst>
                  <a:cxn ang="0">
                    <a:pos x="0" y="75"/>
                  </a:cxn>
                  <a:cxn ang="0">
                    <a:pos x="8" y="81"/>
                  </a:cxn>
                  <a:cxn ang="0">
                    <a:pos x="11" y="67"/>
                  </a:cxn>
                  <a:cxn ang="0">
                    <a:pos x="30" y="65"/>
                  </a:cxn>
                  <a:cxn ang="0">
                    <a:pos x="28" y="47"/>
                  </a:cxn>
                  <a:cxn ang="0">
                    <a:pos x="36" y="48"/>
                  </a:cxn>
                  <a:cxn ang="0">
                    <a:pos x="37" y="46"/>
                  </a:cxn>
                  <a:cxn ang="0">
                    <a:pos x="52" y="46"/>
                  </a:cxn>
                  <a:cxn ang="0">
                    <a:pos x="57" y="44"/>
                  </a:cxn>
                  <a:cxn ang="0">
                    <a:pos x="68" y="40"/>
                  </a:cxn>
                  <a:cxn ang="0">
                    <a:pos x="75" y="29"/>
                  </a:cxn>
                  <a:cxn ang="0">
                    <a:pos x="86" y="22"/>
                  </a:cxn>
                  <a:cxn ang="0">
                    <a:pos x="91" y="14"/>
                  </a:cxn>
                  <a:cxn ang="0">
                    <a:pos x="95" y="13"/>
                  </a:cxn>
                  <a:cxn ang="0">
                    <a:pos x="113" y="0"/>
                  </a:cxn>
                  <a:cxn ang="0">
                    <a:pos x="105" y="9"/>
                  </a:cxn>
                  <a:cxn ang="0">
                    <a:pos x="103" y="16"/>
                  </a:cxn>
                  <a:cxn ang="0">
                    <a:pos x="91" y="28"/>
                  </a:cxn>
                  <a:cxn ang="0">
                    <a:pos x="91" y="33"/>
                  </a:cxn>
                  <a:cxn ang="0">
                    <a:pos x="83" y="41"/>
                  </a:cxn>
                  <a:cxn ang="0">
                    <a:pos x="101" y="53"/>
                  </a:cxn>
                  <a:cxn ang="0">
                    <a:pos x="98" y="57"/>
                  </a:cxn>
                  <a:cxn ang="0">
                    <a:pos x="93" y="56"/>
                  </a:cxn>
                  <a:cxn ang="0">
                    <a:pos x="90" y="60"/>
                  </a:cxn>
                  <a:cxn ang="0">
                    <a:pos x="78" y="62"/>
                  </a:cxn>
                  <a:cxn ang="0">
                    <a:pos x="77" y="74"/>
                  </a:cxn>
                  <a:cxn ang="0">
                    <a:pos x="74" y="74"/>
                  </a:cxn>
                  <a:cxn ang="0">
                    <a:pos x="72" y="77"/>
                  </a:cxn>
                  <a:cxn ang="0">
                    <a:pos x="50" y="92"/>
                  </a:cxn>
                  <a:cxn ang="0">
                    <a:pos x="50" y="101"/>
                  </a:cxn>
                  <a:cxn ang="0">
                    <a:pos x="41" y="95"/>
                  </a:cxn>
                  <a:cxn ang="0">
                    <a:pos x="17" y="101"/>
                  </a:cxn>
                  <a:cxn ang="0">
                    <a:pos x="0" y="75"/>
                  </a:cxn>
                </a:cxnLst>
                <a:rect l="0" t="0" r="r" b="b"/>
                <a:pathLst>
                  <a:path w="113" h="106">
                    <a:moveTo>
                      <a:pt x="0" y="75"/>
                    </a:moveTo>
                    <a:cubicBezTo>
                      <a:pt x="0" y="75"/>
                      <a:pt x="4" y="83"/>
                      <a:pt x="8" y="81"/>
                    </a:cubicBezTo>
                    <a:cubicBezTo>
                      <a:pt x="11" y="79"/>
                      <a:pt x="7" y="72"/>
                      <a:pt x="11" y="67"/>
                    </a:cubicBezTo>
                    <a:cubicBezTo>
                      <a:pt x="16" y="64"/>
                      <a:pt x="26" y="72"/>
                      <a:pt x="30" y="65"/>
                    </a:cubicBezTo>
                    <a:cubicBezTo>
                      <a:pt x="34" y="59"/>
                      <a:pt x="28" y="47"/>
                      <a:pt x="28" y="47"/>
                    </a:cubicBezTo>
                    <a:cubicBezTo>
                      <a:pt x="36" y="48"/>
                      <a:pt x="36" y="48"/>
                      <a:pt x="36" y="48"/>
                    </a:cubicBezTo>
                    <a:cubicBezTo>
                      <a:pt x="37" y="46"/>
                      <a:pt x="37" y="46"/>
                      <a:pt x="37" y="46"/>
                    </a:cubicBezTo>
                    <a:cubicBezTo>
                      <a:pt x="52" y="46"/>
                      <a:pt x="52" y="46"/>
                      <a:pt x="52" y="46"/>
                    </a:cubicBezTo>
                    <a:cubicBezTo>
                      <a:pt x="57" y="44"/>
                      <a:pt x="57" y="44"/>
                      <a:pt x="57" y="44"/>
                    </a:cubicBezTo>
                    <a:cubicBezTo>
                      <a:pt x="57" y="44"/>
                      <a:pt x="64" y="43"/>
                      <a:pt x="68" y="40"/>
                    </a:cubicBezTo>
                    <a:cubicBezTo>
                      <a:pt x="72" y="36"/>
                      <a:pt x="70" y="31"/>
                      <a:pt x="75" y="29"/>
                    </a:cubicBezTo>
                    <a:cubicBezTo>
                      <a:pt x="80" y="28"/>
                      <a:pt x="82" y="25"/>
                      <a:pt x="86" y="22"/>
                    </a:cubicBezTo>
                    <a:cubicBezTo>
                      <a:pt x="90" y="19"/>
                      <a:pt x="91" y="14"/>
                      <a:pt x="91" y="14"/>
                    </a:cubicBezTo>
                    <a:cubicBezTo>
                      <a:pt x="95" y="13"/>
                      <a:pt x="95" y="13"/>
                      <a:pt x="95" y="13"/>
                    </a:cubicBezTo>
                    <a:cubicBezTo>
                      <a:pt x="113" y="0"/>
                      <a:pt x="113" y="0"/>
                      <a:pt x="113" y="0"/>
                    </a:cubicBezTo>
                    <a:cubicBezTo>
                      <a:pt x="105" y="9"/>
                      <a:pt x="105" y="9"/>
                      <a:pt x="105" y="9"/>
                    </a:cubicBezTo>
                    <a:cubicBezTo>
                      <a:pt x="103" y="16"/>
                      <a:pt x="103" y="16"/>
                      <a:pt x="103" y="16"/>
                    </a:cubicBezTo>
                    <a:cubicBezTo>
                      <a:pt x="91" y="28"/>
                      <a:pt x="91" y="28"/>
                      <a:pt x="91" y="28"/>
                    </a:cubicBezTo>
                    <a:cubicBezTo>
                      <a:pt x="91" y="33"/>
                      <a:pt x="91" y="33"/>
                      <a:pt x="91" y="33"/>
                    </a:cubicBezTo>
                    <a:cubicBezTo>
                      <a:pt x="91" y="33"/>
                      <a:pt x="80" y="34"/>
                      <a:pt x="83" y="41"/>
                    </a:cubicBezTo>
                    <a:cubicBezTo>
                      <a:pt x="88" y="48"/>
                      <a:pt x="101" y="53"/>
                      <a:pt x="101" y="53"/>
                    </a:cubicBezTo>
                    <a:cubicBezTo>
                      <a:pt x="98" y="57"/>
                      <a:pt x="98" y="57"/>
                      <a:pt x="98" y="57"/>
                    </a:cubicBezTo>
                    <a:cubicBezTo>
                      <a:pt x="93" y="56"/>
                      <a:pt x="93" y="56"/>
                      <a:pt x="93" y="56"/>
                    </a:cubicBezTo>
                    <a:cubicBezTo>
                      <a:pt x="90" y="60"/>
                      <a:pt x="90" y="60"/>
                      <a:pt x="90" y="60"/>
                    </a:cubicBezTo>
                    <a:cubicBezTo>
                      <a:pt x="90" y="60"/>
                      <a:pt x="81" y="59"/>
                      <a:pt x="78" y="62"/>
                    </a:cubicBezTo>
                    <a:cubicBezTo>
                      <a:pt x="75" y="64"/>
                      <a:pt x="77" y="74"/>
                      <a:pt x="77" y="74"/>
                    </a:cubicBezTo>
                    <a:cubicBezTo>
                      <a:pt x="74" y="74"/>
                      <a:pt x="74" y="74"/>
                      <a:pt x="74" y="74"/>
                    </a:cubicBezTo>
                    <a:cubicBezTo>
                      <a:pt x="72" y="77"/>
                      <a:pt x="72" y="77"/>
                      <a:pt x="72" y="77"/>
                    </a:cubicBezTo>
                    <a:cubicBezTo>
                      <a:pt x="72" y="77"/>
                      <a:pt x="52" y="87"/>
                      <a:pt x="50" y="92"/>
                    </a:cubicBezTo>
                    <a:cubicBezTo>
                      <a:pt x="49" y="96"/>
                      <a:pt x="54" y="101"/>
                      <a:pt x="50" y="101"/>
                    </a:cubicBezTo>
                    <a:cubicBezTo>
                      <a:pt x="45" y="103"/>
                      <a:pt x="41" y="95"/>
                      <a:pt x="41" y="95"/>
                    </a:cubicBezTo>
                    <a:cubicBezTo>
                      <a:pt x="41" y="95"/>
                      <a:pt x="27" y="106"/>
                      <a:pt x="17" y="101"/>
                    </a:cubicBezTo>
                    <a:cubicBezTo>
                      <a:pt x="8" y="96"/>
                      <a:pt x="2" y="92"/>
                      <a:pt x="0" y="7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201" name="Czech Republic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030788" y="3970338"/>
                <a:ext cx="628650" cy="355600"/>
              </a:xfrm>
              <a:custGeom>
                <a:avLst/>
                <a:gdLst/>
                <a:ahLst/>
                <a:cxnLst>
                  <a:cxn ang="0">
                    <a:pos x="282" y="79"/>
                  </a:cxn>
                  <a:cxn ang="0">
                    <a:pos x="269" y="64"/>
                  </a:cxn>
                  <a:cxn ang="0">
                    <a:pos x="252" y="63"/>
                  </a:cxn>
                  <a:cxn ang="0">
                    <a:pos x="243" y="58"/>
                  </a:cxn>
                  <a:cxn ang="0">
                    <a:pos x="243" y="48"/>
                  </a:cxn>
                  <a:cxn ang="0">
                    <a:pos x="227" y="48"/>
                  </a:cxn>
                  <a:cxn ang="0">
                    <a:pos x="204" y="37"/>
                  </a:cxn>
                  <a:cxn ang="0">
                    <a:pos x="211" y="46"/>
                  </a:cxn>
                  <a:cxn ang="0">
                    <a:pos x="207" y="51"/>
                  </a:cxn>
                  <a:cxn ang="0">
                    <a:pos x="191" y="58"/>
                  </a:cxn>
                  <a:cxn ang="0">
                    <a:pos x="175" y="41"/>
                  </a:cxn>
                  <a:cxn ang="0">
                    <a:pos x="179" y="25"/>
                  </a:cxn>
                  <a:cxn ang="0">
                    <a:pos x="165" y="25"/>
                  </a:cxn>
                  <a:cxn ang="0">
                    <a:pos x="143" y="22"/>
                  </a:cxn>
                  <a:cxn ang="0">
                    <a:pos x="137" y="7"/>
                  </a:cxn>
                  <a:cxn ang="0">
                    <a:pos x="121" y="8"/>
                  </a:cxn>
                  <a:cxn ang="0">
                    <a:pos x="121" y="13"/>
                  </a:cxn>
                  <a:cxn ang="0">
                    <a:pos x="110" y="14"/>
                  </a:cxn>
                  <a:cxn ang="0">
                    <a:pos x="101" y="9"/>
                  </a:cxn>
                  <a:cxn ang="0">
                    <a:pos x="89" y="5"/>
                  </a:cxn>
                  <a:cxn ang="0">
                    <a:pos x="89" y="12"/>
                  </a:cxn>
                  <a:cxn ang="0">
                    <a:pos x="64" y="23"/>
                  </a:cxn>
                  <a:cxn ang="0">
                    <a:pos x="47" y="37"/>
                  </a:cxn>
                  <a:cxn ang="0">
                    <a:pos x="30" y="44"/>
                  </a:cxn>
                  <a:cxn ang="0">
                    <a:pos x="16" y="49"/>
                  </a:cxn>
                  <a:cxn ang="0">
                    <a:pos x="2" y="52"/>
                  </a:cxn>
                  <a:cxn ang="0">
                    <a:pos x="7" y="67"/>
                  </a:cxn>
                  <a:cxn ang="0">
                    <a:pos x="19" y="77"/>
                  </a:cxn>
                  <a:cxn ang="0">
                    <a:pos x="14" y="88"/>
                  </a:cxn>
                  <a:cxn ang="0">
                    <a:pos x="23" y="103"/>
                  </a:cxn>
                  <a:cxn ang="0">
                    <a:pos x="50" y="130"/>
                  </a:cxn>
                  <a:cxn ang="0">
                    <a:pos x="69" y="141"/>
                  </a:cxn>
                  <a:cxn ang="0">
                    <a:pos x="81" y="153"/>
                  </a:cxn>
                  <a:cxn ang="0">
                    <a:pos x="89" y="161"/>
                  </a:cxn>
                  <a:cxn ang="0">
                    <a:pos x="91" y="165"/>
                  </a:cxn>
                  <a:cxn ang="0">
                    <a:pos x="106" y="161"/>
                  </a:cxn>
                  <a:cxn ang="0">
                    <a:pos x="112" y="162"/>
                  </a:cxn>
                  <a:cxn ang="0">
                    <a:pos x="116" y="156"/>
                  </a:cxn>
                  <a:cxn ang="0">
                    <a:pos x="128" y="153"/>
                  </a:cxn>
                  <a:cxn ang="0">
                    <a:pos x="135" y="136"/>
                  </a:cxn>
                  <a:cxn ang="0">
                    <a:pos x="143" y="136"/>
                  </a:cxn>
                  <a:cxn ang="0">
                    <a:pos x="161" y="143"/>
                  </a:cxn>
                  <a:cxn ang="0">
                    <a:pos x="177" y="150"/>
                  </a:cxn>
                  <a:cxn ang="0">
                    <a:pos x="193" y="144"/>
                  </a:cxn>
                  <a:cxn ang="0">
                    <a:pos x="206" y="150"/>
                  </a:cxn>
                  <a:cxn ang="0">
                    <a:pos x="216" y="152"/>
                  </a:cxn>
                  <a:cxn ang="0">
                    <a:pos x="242" y="141"/>
                  </a:cxn>
                  <a:cxn ang="0">
                    <a:pos x="256" y="126"/>
                  </a:cxn>
                  <a:cxn ang="0">
                    <a:pos x="266" y="107"/>
                  </a:cxn>
                  <a:cxn ang="0">
                    <a:pos x="281" y="92"/>
                  </a:cxn>
                  <a:cxn ang="0">
                    <a:pos x="295" y="90"/>
                  </a:cxn>
                </a:cxnLst>
                <a:rect l="0" t="0" r="r" b="b"/>
                <a:pathLst>
                  <a:path w="295" h="167">
                    <a:moveTo>
                      <a:pt x="291" y="79"/>
                    </a:moveTo>
                    <a:cubicBezTo>
                      <a:pt x="282" y="79"/>
                      <a:pt x="282" y="79"/>
                      <a:pt x="282" y="79"/>
                    </a:cubicBezTo>
                    <a:cubicBezTo>
                      <a:pt x="279" y="67"/>
                      <a:pt x="279" y="67"/>
                      <a:pt x="279" y="67"/>
                    </a:cubicBezTo>
                    <a:cubicBezTo>
                      <a:pt x="269" y="64"/>
                      <a:pt x="269" y="64"/>
                      <a:pt x="269" y="64"/>
                    </a:cubicBezTo>
                    <a:cubicBezTo>
                      <a:pt x="253" y="59"/>
                      <a:pt x="253" y="59"/>
                      <a:pt x="253" y="59"/>
                    </a:cubicBezTo>
                    <a:cubicBezTo>
                      <a:pt x="252" y="63"/>
                      <a:pt x="252" y="63"/>
                      <a:pt x="252" y="63"/>
                    </a:cubicBezTo>
                    <a:cubicBezTo>
                      <a:pt x="247" y="65"/>
                      <a:pt x="247" y="65"/>
                      <a:pt x="247" y="65"/>
                    </a:cubicBezTo>
                    <a:cubicBezTo>
                      <a:pt x="247" y="65"/>
                      <a:pt x="245" y="59"/>
                      <a:pt x="243" y="58"/>
                    </a:cubicBezTo>
                    <a:cubicBezTo>
                      <a:pt x="242" y="57"/>
                      <a:pt x="239" y="53"/>
                      <a:pt x="239" y="53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39" y="43"/>
                      <a:pt x="239" y="43"/>
                      <a:pt x="239" y="43"/>
                    </a:cubicBezTo>
                    <a:cubicBezTo>
                      <a:pt x="227" y="48"/>
                      <a:pt x="227" y="48"/>
                      <a:pt x="227" y="48"/>
                    </a:cubicBezTo>
                    <a:cubicBezTo>
                      <a:pt x="227" y="48"/>
                      <a:pt x="223" y="43"/>
                      <a:pt x="217" y="41"/>
                    </a:cubicBezTo>
                    <a:cubicBezTo>
                      <a:pt x="211" y="39"/>
                      <a:pt x="204" y="37"/>
                      <a:pt x="204" y="37"/>
                    </a:cubicBezTo>
                    <a:cubicBezTo>
                      <a:pt x="205" y="43"/>
                      <a:pt x="205" y="43"/>
                      <a:pt x="205" y="43"/>
                    </a:cubicBezTo>
                    <a:cubicBezTo>
                      <a:pt x="205" y="43"/>
                      <a:pt x="209" y="46"/>
                      <a:pt x="211" y="46"/>
                    </a:cubicBezTo>
                    <a:cubicBezTo>
                      <a:pt x="213" y="46"/>
                      <a:pt x="211" y="52"/>
                      <a:pt x="211" y="52"/>
                    </a:cubicBezTo>
                    <a:cubicBezTo>
                      <a:pt x="207" y="51"/>
                      <a:pt x="207" y="51"/>
                      <a:pt x="207" y="51"/>
                    </a:cubicBezTo>
                    <a:cubicBezTo>
                      <a:pt x="207" y="51"/>
                      <a:pt x="201" y="54"/>
                      <a:pt x="201" y="56"/>
                    </a:cubicBezTo>
                    <a:cubicBezTo>
                      <a:pt x="200" y="58"/>
                      <a:pt x="194" y="60"/>
                      <a:pt x="191" y="58"/>
                    </a:cubicBezTo>
                    <a:cubicBezTo>
                      <a:pt x="188" y="56"/>
                      <a:pt x="189" y="48"/>
                      <a:pt x="187" y="45"/>
                    </a:cubicBezTo>
                    <a:cubicBezTo>
                      <a:pt x="186" y="42"/>
                      <a:pt x="177" y="43"/>
                      <a:pt x="175" y="41"/>
                    </a:cubicBezTo>
                    <a:cubicBezTo>
                      <a:pt x="173" y="38"/>
                      <a:pt x="186" y="30"/>
                      <a:pt x="186" y="30"/>
                    </a:cubicBezTo>
                    <a:cubicBezTo>
                      <a:pt x="179" y="25"/>
                      <a:pt x="179" y="25"/>
                      <a:pt x="179" y="25"/>
                    </a:cubicBezTo>
                    <a:cubicBezTo>
                      <a:pt x="166" y="31"/>
                      <a:pt x="166" y="31"/>
                      <a:pt x="166" y="31"/>
                    </a:cubicBezTo>
                    <a:cubicBezTo>
                      <a:pt x="165" y="25"/>
                      <a:pt x="165" y="25"/>
                      <a:pt x="165" y="25"/>
                    </a:cubicBezTo>
                    <a:cubicBezTo>
                      <a:pt x="143" y="17"/>
                      <a:pt x="143" y="17"/>
                      <a:pt x="143" y="17"/>
                    </a:cubicBezTo>
                    <a:cubicBezTo>
                      <a:pt x="143" y="22"/>
                      <a:pt x="143" y="22"/>
                      <a:pt x="143" y="22"/>
                    </a:cubicBezTo>
                    <a:cubicBezTo>
                      <a:pt x="135" y="14"/>
                      <a:pt x="135" y="14"/>
                      <a:pt x="135" y="14"/>
                    </a:cubicBezTo>
                    <a:cubicBezTo>
                      <a:pt x="137" y="7"/>
                      <a:pt x="137" y="7"/>
                      <a:pt x="137" y="7"/>
                    </a:cubicBezTo>
                    <a:cubicBezTo>
                      <a:pt x="123" y="5"/>
                      <a:pt x="123" y="5"/>
                      <a:pt x="123" y="5"/>
                    </a:cubicBezTo>
                    <a:cubicBezTo>
                      <a:pt x="121" y="8"/>
                      <a:pt x="121" y="8"/>
                      <a:pt x="121" y="8"/>
                    </a:cubicBezTo>
                    <a:cubicBezTo>
                      <a:pt x="123" y="11"/>
                      <a:pt x="123" y="11"/>
                      <a:pt x="123" y="11"/>
                    </a:cubicBezTo>
                    <a:cubicBezTo>
                      <a:pt x="121" y="13"/>
                      <a:pt x="121" y="13"/>
                      <a:pt x="121" y="13"/>
                    </a:cubicBezTo>
                    <a:cubicBezTo>
                      <a:pt x="113" y="11"/>
                      <a:pt x="113" y="11"/>
                      <a:pt x="113" y="11"/>
                    </a:cubicBezTo>
                    <a:cubicBezTo>
                      <a:pt x="113" y="13"/>
                      <a:pt x="112" y="16"/>
                      <a:pt x="110" y="14"/>
                    </a:cubicBezTo>
                    <a:cubicBezTo>
                      <a:pt x="107" y="12"/>
                      <a:pt x="101" y="14"/>
                      <a:pt x="106" y="8"/>
                    </a:cubicBezTo>
                    <a:cubicBezTo>
                      <a:pt x="105" y="9"/>
                      <a:pt x="102" y="9"/>
                      <a:pt x="101" y="9"/>
                    </a:cubicBezTo>
                    <a:cubicBezTo>
                      <a:pt x="107" y="1"/>
                      <a:pt x="94" y="2"/>
                      <a:pt x="91" y="0"/>
                    </a:cubicBezTo>
                    <a:cubicBezTo>
                      <a:pt x="90" y="1"/>
                      <a:pt x="89" y="4"/>
                      <a:pt x="89" y="5"/>
                    </a:cubicBezTo>
                    <a:cubicBezTo>
                      <a:pt x="90" y="5"/>
                      <a:pt x="95" y="7"/>
                      <a:pt x="95" y="8"/>
                    </a:cubicBezTo>
                    <a:cubicBezTo>
                      <a:pt x="95" y="12"/>
                      <a:pt x="92" y="10"/>
                      <a:pt x="89" y="12"/>
                    </a:cubicBezTo>
                    <a:cubicBezTo>
                      <a:pt x="84" y="14"/>
                      <a:pt x="80" y="18"/>
                      <a:pt x="77" y="18"/>
                    </a:cubicBezTo>
                    <a:cubicBezTo>
                      <a:pt x="74" y="18"/>
                      <a:pt x="66" y="22"/>
                      <a:pt x="64" y="23"/>
                    </a:cubicBezTo>
                    <a:cubicBezTo>
                      <a:pt x="60" y="25"/>
                      <a:pt x="58" y="35"/>
                      <a:pt x="53" y="30"/>
                    </a:cubicBezTo>
                    <a:cubicBezTo>
                      <a:pt x="53" y="30"/>
                      <a:pt x="50" y="32"/>
                      <a:pt x="47" y="37"/>
                    </a:cubicBezTo>
                    <a:cubicBezTo>
                      <a:pt x="45" y="39"/>
                      <a:pt x="43" y="40"/>
                      <a:pt x="41" y="39"/>
                    </a:cubicBezTo>
                    <a:cubicBezTo>
                      <a:pt x="40" y="48"/>
                      <a:pt x="33" y="42"/>
                      <a:pt x="30" y="44"/>
                    </a:cubicBezTo>
                    <a:cubicBezTo>
                      <a:pt x="29" y="44"/>
                      <a:pt x="25" y="46"/>
                      <a:pt x="25" y="46"/>
                    </a:cubicBezTo>
                    <a:cubicBezTo>
                      <a:pt x="19" y="43"/>
                      <a:pt x="18" y="48"/>
                      <a:pt x="16" y="49"/>
                    </a:cubicBezTo>
                    <a:cubicBezTo>
                      <a:pt x="14" y="52"/>
                      <a:pt x="11" y="61"/>
                      <a:pt x="10" y="62"/>
                    </a:cubicBezTo>
                    <a:cubicBezTo>
                      <a:pt x="9" y="62"/>
                      <a:pt x="3" y="54"/>
                      <a:pt x="2" y="52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57"/>
                      <a:pt x="4" y="63"/>
                      <a:pt x="7" y="67"/>
                    </a:cubicBezTo>
                    <a:cubicBezTo>
                      <a:pt x="9" y="70"/>
                      <a:pt x="18" y="72"/>
                      <a:pt x="16" y="76"/>
                    </a:cubicBezTo>
                    <a:cubicBezTo>
                      <a:pt x="17" y="76"/>
                      <a:pt x="18" y="77"/>
                      <a:pt x="19" y="77"/>
                    </a:cubicBezTo>
                    <a:cubicBezTo>
                      <a:pt x="19" y="79"/>
                      <a:pt x="18" y="84"/>
                      <a:pt x="17" y="84"/>
                    </a:cubicBezTo>
                    <a:cubicBezTo>
                      <a:pt x="14" y="88"/>
                      <a:pt x="14" y="88"/>
                      <a:pt x="14" y="88"/>
                    </a:cubicBezTo>
                    <a:cubicBezTo>
                      <a:pt x="14" y="92"/>
                      <a:pt x="18" y="92"/>
                      <a:pt x="19" y="93"/>
                    </a:cubicBezTo>
                    <a:cubicBezTo>
                      <a:pt x="21" y="96"/>
                      <a:pt x="21" y="100"/>
                      <a:pt x="23" y="103"/>
                    </a:cubicBezTo>
                    <a:cubicBezTo>
                      <a:pt x="24" y="106"/>
                      <a:pt x="29" y="115"/>
                      <a:pt x="33" y="116"/>
                    </a:cubicBezTo>
                    <a:cubicBezTo>
                      <a:pt x="40" y="117"/>
                      <a:pt x="49" y="130"/>
                      <a:pt x="50" y="130"/>
                    </a:cubicBezTo>
                    <a:cubicBezTo>
                      <a:pt x="53" y="130"/>
                      <a:pt x="59" y="131"/>
                      <a:pt x="59" y="135"/>
                    </a:cubicBezTo>
                    <a:cubicBezTo>
                      <a:pt x="60" y="143"/>
                      <a:pt x="66" y="136"/>
                      <a:pt x="69" y="141"/>
                    </a:cubicBezTo>
                    <a:cubicBezTo>
                      <a:pt x="72" y="146"/>
                      <a:pt x="76" y="149"/>
                      <a:pt x="77" y="154"/>
                    </a:cubicBezTo>
                    <a:cubicBezTo>
                      <a:pt x="81" y="153"/>
                      <a:pt x="81" y="153"/>
                      <a:pt x="81" y="153"/>
                    </a:cubicBezTo>
                    <a:cubicBezTo>
                      <a:pt x="81" y="153"/>
                      <a:pt x="83" y="155"/>
                      <a:pt x="85" y="155"/>
                    </a:cubicBezTo>
                    <a:cubicBezTo>
                      <a:pt x="86" y="156"/>
                      <a:pt x="89" y="161"/>
                      <a:pt x="89" y="161"/>
                    </a:cubicBezTo>
                    <a:cubicBezTo>
                      <a:pt x="88" y="163"/>
                      <a:pt x="88" y="163"/>
                      <a:pt x="88" y="163"/>
                    </a:cubicBezTo>
                    <a:cubicBezTo>
                      <a:pt x="91" y="165"/>
                      <a:pt x="91" y="165"/>
                      <a:pt x="91" y="165"/>
                    </a:cubicBezTo>
                    <a:cubicBezTo>
                      <a:pt x="101" y="167"/>
                      <a:pt x="101" y="167"/>
                      <a:pt x="101" y="167"/>
                    </a:cubicBezTo>
                    <a:cubicBezTo>
                      <a:pt x="106" y="161"/>
                      <a:pt x="106" y="161"/>
                      <a:pt x="106" y="161"/>
                    </a:cubicBezTo>
                    <a:cubicBezTo>
                      <a:pt x="109" y="162"/>
                      <a:pt x="109" y="162"/>
                      <a:pt x="109" y="162"/>
                    </a:cubicBezTo>
                    <a:cubicBezTo>
                      <a:pt x="112" y="162"/>
                      <a:pt x="112" y="162"/>
                      <a:pt x="112" y="162"/>
                    </a:cubicBezTo>
                    <a:cubicBezTo>
                      <a:pt x="112" y="162"/>
                      <a:pt x="116" y="164"/>
                      <a:pt x="118" y="164"/>
                    </a:cubicBezTo>
                    <a:cubicBezTo>
                      <a:pt x="119" y="164"/>
                      <a:pt x="116" y="158"/>
                      <a:pt x="116" y="156"/>
                    </a:cubicBezTo>
                    <a:cubicBezTo>
                      <a:pt x="117" y="154"/>
                      <a:pt x="121" y="150"/>
                      <a:pt x="121" y="150"/>
                    </a:cubicBezTo>
                    <a:cubicBezTo>
                      <a:pt x="128" y="153"/>
                      <a:pt x="128" y="153"/>
                      <a:pt x="128" y="153"/>
                    </a:cubicBezTo>
                    <a:cubicBezTo>
                      <a:pt x="129" y="136"/>
                      <a:pt x="129" y="136"/>
                      <a:pt x="129" y="136"/>
                    </a:cubicBezTo>
                    <a:cubicBezTo>
                      <a:pt x="135" y="136"/>
                      <a:pt x="135" y="136"/>
                      <a:pt x="135" y="136"/>
                    </a:cubicBezTo>
                    <a:cubicBezTo>
                      <a:pt x="135" y="136"/>
                      <a:pt x="137" y="138"/>
                      <a:pt x="140" y="138"/>
                    </a:cubicBezTo>
                    <a:cubicBezTo>
                      <a:pt x="142" y="137"/>
                      <a:pt x="143" y="136"/>
                      <a:pt x="143" y="136"/>
                    </a:cubicBezTo>
                    <a:cubicBezTo>
                      <a:pt x="143" y="136"/>
                      <a:pt x="150" y="138"/>
                      <a:pt x="151" y="138"/>
                    </a:cubicBezTo>
                    <a:cubicBezTo>
                      <a:pt x="152" y="138"/>
                      <a:pt x="161" y="143"/>
                      <a:pt x="161" y="143"/>
                    </a:cubicBezTo>
                    <a:cubicBezTo>
                      <a:pt x="161" y="143"/>
                      <a:pt x="163" y="142"/>
                      <a:pt x="167" y="142"/>
                    </a:cubicBezTo>
                    <a:cubicBezTo>
                      <a:pt x="172" y="142"/>
                      <a:pt x="177" y="150"/>
                      <a:pt x="177" y="150"/>
                    </a:cubicBezTo>
                    <a:cubicBezTo>
                      <a:pt x="191" y="149"/>
                      <a:pt x="191" y="149"/>
                      <a:pt x="191" y="149"/>
                    </a:cubicBezTo>
                    <a:cubicBezTo>
                      <a:pt x="193" y="144"/>
                      <a:pt x="193" y="144"/>
                      <a:pt x="193" y="144"/>
                    </a:cubicBezTo>
                    <a:cubicBezTo>
                      <a:pt x="204" y="147"/>
                      <a:pt x="204" y="147"/>
                      <a:pt x="204" y="147"/>
                    </a:cubicBezTo>
                    <a:cubicBezTo>
                      <a:pt x="206" y="150"/>
                      <a:pt x="206" y="150"/>
                      <a:pt x="206" y="150"/>
                    </a:cubicBezTo>
                    <a:cubicBezTo>
                      <a:pt x="213" y="150"/>
                      <a:pt x="213" y="150"/>
                      <a:pt x="213" y="150"/>
                    </a:cubicBezTo>
                    <a:cubicBezTo>
                      <a:pt x="216" y="152"/>
                      <a:pt x="216" y="152"/>
                      <a:pt x="216" y="152"/>
                    </a:cubicBezTo>
                    <a:cubicBezTo>
                      <a:pt x="217" y="149"/>
                      <a:pt x="222" y="141"/>
                      <a:pt x="226" y="139"/>
                    </a:cubicBezTo>
                    <a:cubicBezTo>
                      <a:pt x="230" y="137"/>
                      <a:pt x="242" y="141"/>
                      <a:pt x="242" y="141"/>
                    </a:cubicBezTo>
                    <a:cubicBezTo>
                      <a:pt x="255" y="133"/>
                      <a:pt x="255" y="133"/>
                      <a:pt x="255" y="133"/>
                    </a:cubicBezTo>
                    <a:cubicBezTo>
                      <a:pt x="255" y="133"/>
                      <a:pt x="253" y="130"/>
                      <a:pt x="256" y="126"/>
                    </a:cubicBezTo>
                    <a:cubicBezTo>
                      <a:pt x="259" y="123"/>
                      <a:pt x="261" y="127"/>
                      <a:pt x="263" y="123"/>
                    </a:cubicBezTo>
                    <a:cubicBezTo>
                      <a:pt x="266" y="119"/>
                      <a:pt x="264" y="111"/>
                      <a:pt x="266" y="107"/>
                    </a:cubicBezTo>
                    <a:cubicBezTo>
                      <a:pt x="270" y="104"/>
                      <a:pt x="272" y="106"/>
                      <a:pt x="276" y="103"/>
                    </a:cubicBezTo>
                    <a:cubicBezTo>
                      <a:pt x="280" y="100"/>
                      <a:pt x="281" y="92"/>
                      <a:pt x="281" y="92"/>
                    </a:cubicBezTo>
                    <a:cubicBezTo>
                      <a:pt x="288" y="93"/>
                      <a:pt x="288" y="93"/>
                      <a:pt x="288" y="93"/>
                    </a:cubicBezTo>
                    <a:cubicBezTo>
                      <a:pt x="295" y="90"/>
                      <a:pt x="295" y="90"/>
                      <a:pt x="295" y="90"/>
                    </a:cubicBezTo>
                    <a:lnTo>
                      <a:pt x="291" y="79"/>
                    </a:lnTo>
                    <a:close/>
                  </a:path>
                </a:pathLst>
              </a:custGeom>
              <a:solidFill>
                <a:srgbClr val="FDC795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202" name="Croatia" descr="© INSCALE GmbH, 05.05.2010&#10;http://www.presentationload.com/"/>
              <p:cNvSpPr>
                <a:spLocks noEditPoints="1"/>
              </p:cNvSpPr>
              <p:nvPr/>
            </p:nvSpPr>
            <p:spPr bwMode="auto">
              <a:xfrm>
                <a:off x="5175250" y="4592638"/>
                <a:ext cx="596900" cy="547687"/>
              </a:xfrm>
              <a:custGeom>
                <a:avLst/>
                <a:gdLst/>
                <a:ahLst/>
                <a:cxnLst>
                  <a:cxn ang="0">
                    <a:pos x="260" y="53"/>
                  </a:cxn>
                  <a:cxn ang="0">
                    <a:pos x="248" y="34"/>
                  </a:cxn>
                  <a:cxn ang="0">
                    <a:pos x="195" y="44"/>
                  </a:cxn>
                  <a:cxn ang="0">
                    <a:pos x="157" y="12"/>
                  </a:cxn>
                  <a:cxn ang="0">
                    <a:pos x="127" y="1"/>
                  </a:cxn>
                  <a:cxn ang="0">
                    <a:pos x="97" y="28"/>
                  </a:cxn>
                  <a:cxn ang="0">
                    <a:pos x="80" y="58"/>
                  </a:cxn>
                  <a:cxn ang="0">
                    <a:pos x="89" y="72"/>
                  </a:cxn>
                  <a:cxn ang="0">
                    <a:pos x="67" y="75"/>
                  </a:cxn>
                  <a:cxn ang="0">
                    <a:pos x="50" y="66"/>
                  </a:cxn>
                  <a:cxn ang="0">
                    <a:pos x="27" y="75"/>
                  </a:cxn>
                  <a:cxn ang="0">
                    <a:pos x="2" y="77"/>
                  </a:cxn>
                  <a:cxn ang="0">
                    <a:pos x="11" y="98"/>
                  </a:cxn>
                  <a:cxn ang="0">
                    <a:pos x="26" y="119"/>
                  </a:cxn>
                  <a:cxn ang="0">
                    <a:pos x="62" y="95"/>
                  </a:cxn>
                  <a:cxn ang="0">
                    <a:pos x="102" y="151"/>
                  </a:cxn>
                  <a:cxn ang="0">
                    <a:pos x="99" y="176"/>
                  </a:cxn>
                  <a:cxn ang="0">
                    <a:pos x="144" y="197"/>
                  </a:cxn>
                  <a:cxn ang="0">
                    <a:pos x="210" y="235"/>
                  </a:cxn>
                  <a:cxn ang="0">
                    <a:pos x="182" y="229"/>
                  </a:cxn>
                  <a:cxn ang="0">
                    <a:pos x="231" y="249"/>
                  </a:cxn>
                  <a:cxn ang="0">
                    <a:pos x="248" y="248"/>
                  </a:cxn>
                  <a:cxn ang="0">
                    <a:pos x="210" y="221"/>
                  </a:cxn>
                  <a:cxn ang="0">
                    <a:pos x="161" y="176"/>
                  </a:cxn>
                  <a:cxn ang="0">
                    <a:pos x="123" y="129"/>
                  </a:cxn>
                  <a:cxn ang="0">
                    <a:pos x="109" y="90"/>
                  </a:cxn>
                  <a:cxn ang="0">
                    <a:pos x="159" y="87"/>
                  </a:cxn>
                  <a:cxn ang="0">
                    <a:pos x="206" y="92"/>
                  </a:cxn>
                  <a:cxn ang="0">
                    <a:pos x="233" y="85"/>
                  </a:cxn>
                  <a:cxn ang="0">
                    <a:pos x="267" y="94"/>
                  </a:cxn>
                  <a:cxn ang="0">
                    <a:pos x="280" y="74"/>
                  </a:cxn>
                  <a:cxn ang="0">
                    <a:pos x="60" y="102"/>
                  </a:cxn>
                  <a:cxn ang="0">
                    <a:pos x="50" y="97"/>
                  </a:cxn>
                  <a:cxn ang="0">
                    <a:pos x="56" y="107"/>
                  </a:cxn>
                  <a:cxn ang="0">
                    <a:pos x="47" y="115"/>
                  </a:cxn>
                  <a:cxn ang="0">
                    <a:pos x="40" y="95"/>
                  </a:cxn>
                  <a:cxn ang="0">
                    <a:pos x="41" y="111"/>
                  </a:cxn>
                  <a:cxn ang="0">
                    <a:pos x="51" y="140"/>
                  </a:cxn>
                  <a:cxn ang="0">
                    <a:pos x="49" y="130"/>
                  </a:cxn>
                  <a:cxn ang="0">
                    <a:pos x="37" y="130"/>
                  </a:cxn>
                  <a:cxn ang="0">
                    <a:pos x="70" y="131"/>
                  </a:cxn>
                  <a:cxn ang="0">
                    <a:pos x="76" y="143"/>
                  </a:cxn>
                  <a:cxn ang="0">
                    <a:pos x="63" y="121"/>
                  </a:cxn>
                  <a:cxn ang="0">
                    <a:pos x="59" y="121"/>
                  </a:cxn>
                  <a:cxn ang="0">
                    <a:pos x="75" y="165"/>
                  </a:cxn>
                  <a:cxn ang="0">
                    <a:pos x="79" y="169"/>
                  </a:cxn>
                  <a:cxn ang="0">
                    <a:pos x="169" y="208"/>
                  </a:cxn>
                  <a:cxn ang="0">
                    <a:pos x="144" y="209"/>
                  </a:cxn>
                  <a:cxn ang="0">
                    <a:pos x="136" y="206"/>
                  </a:cxn>
                  <a:cxn ang="0">
                    <a:pos x="163" y="219"/>
                  </a:cxn>
                  <a:cxn ang="0">
                    <a:pos x="153" y="218"/>
                  </a:cxn>
                  <a:cxn ang="0">
                    <a:pos x="182" y="222"/>
                  </a:cxn>
                  <a:cxn ang="0">
                    <a:pos x="135" y="227"/>
                  </a:cxn>
                  <a:cxn ang="0">
                    <a:pos x="169" y="233"/>
                  </a:cxn>
                  <a:cxn ang="0">
                    <a:pos x="160" y="235"/>
                  </a:cxn>
                  <a:cxn ang="0">
                    <a:pos x="186" y="235"/>
                  </a:cxn>
                  <a:cxn ang="0">
                    <a:pos x="213" y="246"/>
                  </a:cxn>
                  <a:cxn ang="0">
                    <a:pos x="71" y="155"/>
                  </a:cxn>
                  <a:cxn ang="0">
                    <a:pos x="63" y="153"/>
                  </a:cxn>
                  <a:cxn ang="0">
                    <a:pos x="77" y="153"/>
                  </a:cxn>
                  <a:cxn ang="0">
                    <a:pos x="61" y="143"/>
                  </a:cxn>
                  <a:cxn ang="0">
                    <a:pos x="91" y="182"/>
                  </a:cxn>
                  <a:cxn ang="0">
                    <a:pos x="81" y="164"/>
                  </a:cxn>
                </a:cxnLst>
                <a:rect l="0" t="0" r="r" b="b"/>
                <a:pathLst>
                  <a:path w="280" h="257">
                    <a:moveTo>
                      <a:pt x="269" y="74"/>
                    </a:moveTo>
                    <a:cubicBezTo>
                      <a:pt x="258" y="67"/>
                      <a:pt x="258" y="67"/>
                      <a:pt x="258" y="67"/>
                    </a:cubicBezTo>
                    <a:cubicBezTo>
                      <a:pt x="258" y="67"/>
                      <a:pt x="253" y="63"/>
                      <a:pt x="258" y="61"/>
                    </a:cubicBezTo>
                    <a:cubicBezTo>
                      <a:pt x="264" y="59"/>
                      <a:pt x="266" y="53"/>
                      <a:pt x="260" y="53"/>
                    </a:cubicBezTo>
                    <a:cubicBezTo>
                      <a:pt x="256" y="54"/>
                      <a:pt x="256" y="59"/>
                      <a:pt x="253" y="54"/>
                    </a:cubicBezTo>
                    <a:cubicBezTo>
                      <a:pt x="250" y="51"/>
                      <a:pt x="255" y="46"/>
                      <a:pt x="255" y="41"/>
                    </a:cubicBezTo>
                    <a:cubicBezTo>
                      <a:pt x="255" y="40"/>
                      <a:pt x="253" y="37"/>
                      <a:pt x="250" y="34"/>
                    </a:cubicBezTo>
                    <a:cubicBezTo>
                      <a:pt x="248" y="34"/>
                      <a:pt x="248" y="34"/>
                      <a:pt x="248" y="34"/>
                    </a:cubicBezTo>
                    <a:cubicBezTo>
                      <a:pt x="241" y="35"/>
                      <a:pt x="241" y="35"/>
                      <a:pt x="241" y="35"/>
                    </a:cubicBezTo>
                    <a:cubicBezTo>
                      <a:pt x="234" y="45"/>
                      <a:pt x="234" y="45"/>
                      <a:pt x="234" y="45"/>
                    </a:cubicBezTo>
                    <a:cubicBezTo>
                      <a:pt x="234" y="45"/>
                      <a:pt x="223" y="46"/>
                      <a:pt x="218" y="46"/>
                    </a:cubicBezTo>
                    <a:cubicBezTo>
                      <a:pt x="213" y="46"/>
                      <a:pt x="195" y="44"/>
                      <a:pt x="195" y="44"/>
                    </a:cubicBezTo>
                    <a:cubicBezTo>
                      <a:pt x="195" y="44"/>
                      <a:pt x="194" y="38"/>
                      <a:pt x="190" y="36"/>
                    </a:cubicBezTo>
                    <a:cubicBezTo>
                      <a:pt x="186" y="34"/>
                      <a:pt x="179" y="35"/>
                      <a:pt x="179" y="35"/>
                    </a:cubicBezTo>
                    <a:cubicBezTo>
                      <a:pt x="161" y="20"/>
                      <a:pt x="161" y="20"/>
                      <a:pt x="161" y="20"/>
                    </a:cubicBezTo>
                    <a:cubicBezTo>
                      <a:pt x="161" y="20"/>
                      <a:pt x="159" y="15"/>
                      <a:pt x="157" y="12"/>
                    </a:cubicBezTo>
                    <a:cubicBezTo>
                      <a:pt x="155" y="9"/>
                      <a:pt x="148" y="11"/>
                      <a:pt x="148" y="11"/>
                    </a:cubicBezTo>
                    <a:cubicBezTo>
                      <a:pt x="146" y="6"/>
                      <a:pt x="146" y="6"/>
                      <a:pt x="146" y="6"/>
                    </a:cubicBezTo>
                    <a:cubicBezTo>
                      <a:pt x="140" y="3"/>
                      <a:pt x="140" y="3"/>
                      <a:pt x="140" y="3"/>
                    </a:cubicBezTo>
                    <a:cubicBezTo>
                      <a:pt x="140" y="3"/>
                      <a:pt x="131" y="0"/>
                      <a:pt x="127" y="1"/>
                    </a:cubicBezTo>
                    <a:cubicBezTo>
                      <a:pt x="124" y="1"/>
                      <a:pt x="127" y="12"/>
                      <a:pt x="127" y="12"/>
                    </a:cubicBezTo>
                    <a:cubicBezTo>
                      <a:pt x="127" y="12"/>
                      <a:pt x="121" y="9"/>
                      <a:pt x="119" y="9"/>
                    </a:cubicBezTo>
                    <a:cubicBezTo>
                      <a:pt x="116" y="9"/>
                      <a:pt x="119" y="16"/>
                      <a:pt x="119" y="16"/>
                    </a:cubicBezTo>
                    <a:cubicBezTo>
                      <a:pt x="119" y="16"/>
                      <a:pt x="100" y="24"/>
                      <a:pt x="97" y="28"/>
                    </a:cubicBezTo>
                    <a:cubicBezTo>
                      <a:pt x="94" y="32"/>
                      <a:pt x="104" y="36"/>
                      <a:pt x="104" y="36"/>
                    </a:cubicBezTo>
                    <a:cubicBezTo>
                      <a:pt x="102" y="49"/>
                      <a:pt x="102" y="49"/>
                      <a:pt x="102" y="49"/>
                    </a:cubicBezTo>
                    <a:cubicBezTo>
                      <a:pt x="96" y="47"/>
                      <a:pt x="96" y="47"/>
                      <a:pt x="96" y="47"/>
                    </a:cubicBezTo>
                    <a:cubicBezTo>
                      <a:pt x="96" y="47"/>
                      <a:pt x="82" y="54"/>
                      <a:pt x="80" y="58"/>
                    </a:cubicBezTo>
                    <a:cubicBezTo>
                      <a:pt x="78" y="62"/>
                      <a:pt x="88" y="58"/>
                      <a:pt x="88" y="58"/>
                    </a:cubicBezTo>
                    <a:cubicBezTo>
                      <a:pt x="90" y="61"/>
                      <a:pt x="90" y="61"/>
                      <a:pt x="90" y="61"/>
                    </a:cubicBezTo>
                    <a:cubicBezTo>
                      <a:pt x="90" y="61"/>
                      <a:pt x="88" y="64"/>
                      <a:pt x="86" y="66"/>
                    </a:cubicBezTo>
                    <a:cubicBezTo>
                      <a:pt x="83" y="68"/>
                      <a:pt x="89" y="72"/>
                      <a:pt x="89" y="72"/>
                    </a:cubicBezTo>
                    <a:cubicBezTo>
                      <a:pt x="89" y="72"/>
                      <a:pt x="86" y="77"/>
                      <a:pt x="79" y="77"/>
                    </a:cubicBezTo>
                    <a:cubicBezTo>
                      <a:pt x="73" y="77"/>
                      <a:pt x="75" y="74"/>
                      <a:pt x="75" y="74"/>
                    </a:cubicBezTo>
                    <a:cubicBezTo>
                      <a:pt x="75" y="74"/>
                      <a:pt x="70" y="70"/>
                      <a:pt x="67" y="70"/>
                    </a:cubicBezTo>
                    <a:cubicBezTo>
                      <a:pt x="66" y="70"/>
                      <a:pt x="67" y="75"/>
                      <a:pt x="67" y="75"/>
                    </a:cubicBezTo>
                    <a:cubicBezTo>
                      <a:pt x="57" y="71"/>
                      <a:pt x="57" y="71"/>
                      <a:pt x="57" y="71"/>
                    </a:cubicBezTo>
                    <a:cubicBezTo>
                      <a:pt x="53" y="66"/>
                      <a:pt x="53" y="66"/>
                      <a:pt x="53" y="66"/>
                    </a:cubicBezTo>
                    <a:cubicBezTo>
                      <a:pt x="53" y="66"/>
                      <a:pt x="53" y="62"/>
                      <a:pt x="50" y="62"/>
                    </a:cubicBezTo>
                    <a:cubicBezTo>
                      <a:pt x="49" y="63"/>
                      <a:pt x="50" y="66"/>
                      <a:pt x="50" y="66"/>
                    </a:cubicBezTo>
                    <a:cubicBezTo>
                      <a:pt x="48" y="67"/>
                      <a:pt x="48" y="67"/>
                      <a:pt x="48" y="67"/>
                    </a:cubicBezTo>
                    <a:cubicBezTo>
                      <a:pt x="47" y="71"/>
                      <a:pt x="47" y="71"/>
                      <a:pt x="47" y="71"/>
                    </a:cubicBezTo>
                    <a:cubicBezTo>
                      <a:pt x="30" y="77"/>
                      <a:pt x="30" y="77"/>
                      <a:pt x="30" y="77"/>
                    </a:cubicBezTo>
                    <a:cubicBezTo>
                      <a:pt x="27" y="75"/>
                      <a:pt x="27" y="75"/>
                      <a:pt x="27" y="75"/>
                    </a:cubicBezTo>
                    <a:cubicBezTo>
                      <a:pt x="20" y="80"/>
                      <a:pt x="20" y="80"/>
                      <a:pt x="20" y="80"/>
                    </a:cubicBezTo>
                    <a:cubicBezTo>
                      <a:pt x="14" y="76"/>
                      <a:pt x="14" y="76"/>
                      <a:pt x="14" y="76"/>
                    </a:cubicBezTo>
                    <a:cubicBezTo>
                      <a:pt x="14" y="76"/>
                      <a:pt x="10" y="80"/>
                      <a:pt x="9" y="80"/>
                    </a:cubicBezTo>
                    <a:cubicBezTo>
                      <a:pt x="7" y="80"/>
                      <a:pt x="2" y="77"/>
                      <a:pt x="2" y="77"/>
                    </a:cubicBezTo>
                    <a:cubicBezTo>
                      <a:pt x="0" y="80"/>
                      <a:pt x="0" y="80"/>
                      <a:pt x="0" y="80"/>
                    </a:cubicBezTo>
                    <a:cubicBezTo>
                      <a:pt x="4" y="83"/>
                      <a:pt x="4" y="83"/>
                      <a:pt x="4" y="83"/>
                    </a:cubicBezTo>
                    <a:cubicBezTo>
                      <a:pt x="7" y="97"/>
                      <a:pt x="7" y="97"/>
                      <a:pt x="7" y="97"/>
                    </a:cubicBezTo>
                    <a:cubicBezTo>
                      <a:pt x="11" y="98"/>
                      <a:pt x="11" y="98"/>
                      <a:pt x="11" y="98"/>
                    </a:cubicBezTo>
                    <a:cubicBezTo>
                      <a:pt x="7" y="100"/>
                      <a:pt x="7" y="100"/>
                      <a:pt x="7" y="100"/>
                    </a:cubicBezTo>
                    <a:cubicBezTo>
                      <a:pt x="14" y="108"/>
                      <a:pt x="14" y="108"/>
                      <a:pt x="14" y="108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6" y="119"/>
                      <a:pt x="26" y="119"/>
                      <a:pt x="26" y="119"/>
                    </a:cubicBezTo>
                    <a:cubicBezTo>
                      <a:pt x="27" y="107"/>
                      <a:pt x="27" y="107"/>
                      <a:pt x="27" y="107"/>
                    </a:cubicBezTo>
                    <a:cubicBezTo>
                      <a:pt x="27" y="107"/>
                      <a:pt x="30" y="111"/>
                      <a:pt x="33" y="110"/>
                    </a:cubicBezTo>
                    <a:cubicBezTo>
                      <a:pt x="37" y="108"/>
                      <a:pt x="34" y="88"/>
                      <a:pt x="39" y="85"/>
                    </a:cubicBezTo>
                    <a:cubicBezTo>
                      <a:pt x="43" y="82"/>
                      <a:pt x="62" y="95"/>
                      <a:pt x="62" y="95"/>
                    </a:cubicBezTo>
                    <a:cubicBezTo>
                      <a:pt x="70" y="108"/>
                      <a:pt x="70" y="108"/>
                      <a:pt x="70" y="108"/>
                    </a:cubicBezTo>
                    <a:cubicBezTo>
                      <a:pt x="70" y="108"/>
                      <a:pt x="64" y="121"/>
                      <a:pt x="70" y="126"/>
                    </a:cubicBezTo>
                    <a:cubicBezTo>
                      <a:pt x="74" y="131"/>
                      <a:pt x="88" y="146"/>
                      <a:pt x="88" y="146"/>
                    </a:cubicBezTo>
                    <a:cubicBezTo>
                      <a:pt x="88" y="146"/>
                      <a:pt x="98" y="150"/>
                      <a:pt x="102" y="151"/>
                    </a:cubicBezTo>
                    <a:cubicBezTo>
                      <a:pt x="104" y="153"/>
                      <a:pt x="108" y="158"/>
                      <a:pt x="108" y="158"/>
                    </a:cubicBezTo>
                    <a:cubicBezTo>
                      <a:pt x="108" y="158"/>
                      <a:pt x="93" y="153"/>
                      <a:pt x="91" y="151"/>
                    </a:cubicBezTo>
                    <a:cubicBezTo>
                      <a:pt x="89" y="151"/>
                      <a:pt x="82" y="154"/>
                      <a:pt x="82" y="154"/>
                    </a:cubicBezTo>
                    <a:cubicBezTo>
                      <a:pt x="82" y="154"/>
                      <a:pt x="90" y="173"/>
                      <a:pt x="99" y="176"/>
                    </a:cubicBezTo>
                    <a:cubicBezTo>
                      <a:pt x="108" y="179"/>
                      <a:pt x="123" y="190"/>
                      <a:pt x="123" y="190"/>
                    </a:cubicBezTo>
                    <a:cubicBezTo>
                      <a:pt x="123" y="190"/>
                      <a:pt x="120" y="195"/>
                      <a:pt x="123" y="198"/>
                    </a:cubicBezTo>
                    <a:cubicBezTo>
                      <a:pt x="127" y="202"/>
                      <a:pt x="131" y="201"/>
                      <a:pt x="131" y="201"/>
                    </a:cubicBezTo>
                    <a:cubicBezTo>
                      <a:pt x="144" y="197"/>
                      <a:pt x="144" y="197"/>
                      <a:pt x="144" y="197"/>
                    </a:cubicBezTo>
                    <a:cubicBezTo>
                      <a:pt x="169" y="204"/>
                      <a:pt x="169" y="204"/>
                      <a:pt x="169" y="204"/>
                    </a:cubicBezTo>
                    <a:cubicBezTo>
                      <a:pt x="169" y="204"/>
                      <a:pt x="173" y="213"/>
                      <a:pt x="180" y="217"/>
                    </a:cubicBezTo>
                    <a:cubicBezTo>
                      <a:pt x="187" y="219"/>
                      <a:pt x="195" y="225"/>
                      <a:pt x="200" y="228"/>
                    </a:cubicBezTo>
                    <a:cubicBezTo>
                      <a:pt x="203" y="232"/>
                      <a:pt x="210" y="235"/>
                      <a:pt x="210" y="235"/>
                    </a:cubicBezTo>
                    <a:cubicBezTo>
                      <a:pt x="210" y="235"/>
                      <a:pt x="202" y="233"/>
                      <a:pt x="200" y="232"/>
                    </a:cubicBezTo>
                    <a:cubicBezTo>
                      <a:pt x="197" y="230"/>
                      <a:pt x="194" y="228"/>
                      <a:pt x="192" y="228"/>
                    </a:cubicBezTo>
                    <a:cubicBezTo>
                      <a:pt x="189" y="227"/>
                      <a:pt x="176" y="225"/>
                      <a:pt x="176" y="225"/>
                    </a:cubicBezTo>
                    <a:cubicBezTo>
                      <a:pt x="176" y="225"/>
                      <a:pt x="180" y="229"/>
                      <a:pt x="182" y="229"/>
                    </a:cubicBezTo>
                    <a:cubicBezTo>
                      <a:pt x="185" y="230"/>
                      <a:pt x="197" y="235"/>
                      <a:pt x="197" y="235"/>
                    </a:cubicBezTo>
                    <a:cubicBezTo>
                      <a:pt x="212" y="241"/>
                      <a:pt x="212" y="241"/>
                      <a:pt x="212" y="241"/>
                    </a:cubicBezTo>
                    <a:cubicBezTo>
                      <a:pt x="214" y="239"/>
                      <a:pt x="214" y="239"/>
                      <a:pt x="214" y="239"/>
                    </a:cubicBezTo>
                    <a:cubicBezTo>
                      <a:pt x="231" y="249"/>
                      <a:pt x="231" y="249"/>
                      <a:pt x="231" y="249"/>
                    </a:cubicBezTo>
                    <a:cubicBezTo>
                      <a:pt x="236" y="249"/>
                      <a:pt x="236" y="249"/>
                      <a:pt x="236" y="249"/>
                    </a:cubicBezTo>
                    <a:cubicBezTo>
                      <a:pt x="239" y="251"/>
                      <a:pt x="239" y="251"/>
                      <a:pt x="239" y="251"/>
                    </a:cubicBezTo>
                    <a:cubicBezTo>
                      <a:pt x="251" y="257"/>
                      <a:pt x="251" y="257"/>
                      <a:pt x="251" y="257"/>
                    </a:cubicBezTo>
                    <a:cubicBezTo>
                      <a:pt x="251" y="257"/>
                      <a:pt x="253" y="248"/>
                      <a:pt x="248" y="248"/>
                    </a:cubicBezTo>
                    <a:cubicBezTo>
                      <a:pt x="244" y="246"/>
                      <a:pt x="242" y="249"/>
                      <a:pt x="242" y="249"/>
                    </a:cubicBezTo>
                    <a:cubicBezTo>
                      <a:pt x="220" y="230"/>
                      <a:pt x="220" y="230"/>
                      <a:pt x="220" y="230"/>
                    </a:cubicBezTo>
                    <a:cubicBezTo>
                      <a:pt x="212" y="232"/>
                      <a:pt x="212" y="232"/>
                      <a:pt x="212" y="232"/>
                    </a:cubicBezTo>
                    <a:cubicBezTo>
                      <a:pt x="212" y="232"/>
                      <a:pt x="215" y="226"/>
                      <a:pt x="210" y="221"/>
                    </a:cubicBezTo>
                    <a:cubicBezTo>
                      <a:pt x="204" y="216"/>
                      <a:pt x="191" y="210"/>
                      <a:pt x="190" y="206"/>
                    </a:cubicBezTo>
                    <a:cubicBezTo>
                      <a:pt x="189" y="201"/>
                      <a:pt x="190" y="197"/>
                      <a:pt x="190" y="197"/>
                    </a:cubicBezTo>
                    <a:cubicBezTo>
                      <a:pt x="178" y="191"/>
                      <a:pt x="178" y="191"/>
                      <a:pt x="178" y="191"/>
                    </a:cubicBezTo>
                    <a:cubicBezTo>
                      <a:pt x="161" y="176"/>
                      <a:pt x="161" y="176"/>
                      <a:pt x="161" y="176"/>
                    </a:cubicBezTo>
                    <a:cubicBezTo>
                      <a:pt x="159" y="173"/>
                      <a:pt x="159" y="173"/>
                      <a:pt x="159" y="173"/>
                    </a:cubicBezTo>
                    <a:cubicBezTo>
                      <a:pt x="159" y="173"/>
                      <a:pt x="146" y="164"/>
                      <a:pt x="140" y="157"/>
                    </a:cubicBezTo>
                    <a:cubicBezTo>
                      <a:pt x="132" y="149"/>
                      <a:pt x="133" y="144"/>
                      <a:pt x="131" y="139"/>
                    </a:cubicBezTo>
                    <a:cubicBezTo>
                      <a:pt x="128" y="132"/>
                      <a:pt x="123" y="129"/>
                      <a:pt x="123" y="129"/>
                    </a:cubicBezTo>
                    <a:cubicBezTo>
                      <a:pt x="125" y="125"/>
                      <a:pt x="125" y="125"/>
                      <a:pt x="125" y="125"/>
                    </a:cubicBezTo>
                    <a:cubicBezTo>
                      <a:pt x="120" y="118"/>
                      <a:pt x="120" y="118"/>
                      <a:pt x="120" y="118"/>
                    </a:cubicBezTo>
                    <a:cubicBezTo>
                      <a:pt x="110" y="117"/>
                      <a:pt x="110" y="117"/>
                      <a:pt x="110" y="117"/>
                    </a:cubicBezTo>
                    <a:cubicBezTo>
                      <a:pt x="110" y="117"/>
                      <a:pt x="102" y="93"/>
                      <a:pt x="109" y="90"/>
                    </a:cubicBezTo>
                    <a:cubicBezTo>
                      <a:pt x="116" y="85"/>
                      <a:pt x="120" y="90"/>
                      <a:pt x="123" y="93"/>
                    </a:cubicBezTo>
                    <a:cubicBezTo>
                      <a:pt x="126" y="96"/>
                      <a:pt x="132" y="102"/>
                      <a:pt x="136" y="100"/>
                    </a:cubicBezTo>
                    <a:cubicBezTo>
                      <a:pt x="140" y="99"/>
                      <a:pt x="140" y="86"/>
                      <a:pt x="144" y="85"/>
                    </a:cubicBezTo>
                    <a:cubicBezTo>
                      <a:pt x="148" y="85"/>
                      <a:pt x="159" y="87"/>
                      <a:pt x="159" y="87"/>
                    </a:cubicBezTo>
                    <a:cubicBezTo>
                      <a:pt x="164" y="81"/>
                      <a:pt x="164" y="81"/>
                      <a:pt x="164" y="81"/>
                    </a:cubicBezTo>
                    <a:cubicBezTo>
                      <a:pt x="164" y="81"/>
                      <a:pt x="172" y="88"/>
                      <a:pt x="176" y="88"/>
                    </a:cubicBezTo>
                    <a:cubicBezTo>
                      <a:pt x="198" y="88"/>
                      <a:pt x="198" y="88"/>
                      <a:pt x="198" y="88"/>
                    </a:cubicBezTo>
                    <a:cubicBezTo>
                      <a:pt x="198" y="88"/>
                      <a:pt x="203" y="92"/>
                      <a:pt x="206" y="92"/>
                    </a:cubicBezTo>
                    <a:cubicBezTo>
                      <a:pt x="210" y="92"/>
                      <a:pt x="214" y="84"/>
                      <a:pt x="214" y="84"/>
                    </a:cubicBezTo>
                    <a:cubicBezTo>
                      <a:pt x="214" y="84"/>
                      <a:pt x="219" y="90"/>
                      <a:pt x="222" y="90"/>
                    </a:cubicBezTo>
                    <a:cubicBezTo>
                      <a:pt x="225" y="90"/>
                      <a:pt x="225" y="84"/>
                      <a:pt x="225" y="84"/>
                    </a:cubicBezTo>
                    <a:cubicBezTo>
                      <a:pt x="233" y="85"/>
                      <a:pt x="233" y="85"/>
                      <a:pt x="233" y="85"/>
                    </a:cubicBezTo>
                    <a:cubicBezTo>
                      <a:pt x="239" y="90"/>
                      <a:pt x="239" y="90"/>
                      <a:pt x="239" y="90"/>
                    </a:cubicBezTo>
                    <a:cubicBezTo>
                      <a:pt x="239" y="90"/>
                      <a:pt x="241" y="86"/>
                      <a:pt x="247" y="87"/>
                    </a:cubicBezTo>
                    <a:cubicBezTo>
                      <a:pt x="253" y="90"/>
                      <a:pt x="251" y="99"/>
                      <a:pt x="256" y="99"/>
                    </a:cubicBezTo>
                    <a:cubicBezTo>
                      <a:pt x="262" y="99"/>
                      <a:pt x="267" y="94"/>
                      <a:pt x="267" y="94"/>
                    </a:cubicBezTo>
                    <a:cubicBezTo>
                      <a:pt x="264" y="82"/>
                      <a:pt x="264" y="82"/>
                      <a:pt x="264" y="82"/>
                    </a:cubicBezTo>
                    <a:cubicBezTo>
                      <a:pt x="269" y="77"/>
                      <a:pt x="269" y="77"/>
                      <a:pt x="269" y="77"/>
                    </a:cubicBezTo>
                    <a:cubicBezTo>
                      <a:pt x="280" y="77"/>
                      <a:pt x="280" y="77"/>
                      <a:pt x="280" y="77"/>
                    </a:cubicBezTo>
                    <a:cubicBezTo>
                      <a:pt x="280" y="74"/>
                      <a:pt x="280" y="74"/>
                      <a:pt x="280" y="74"/>
                    </a:cubicBezTo>
                    <a:lnTo>
                      <a:pt x="269" y="74"/>
                    </a:lnTo>
                    <a:close/>
                    <a:moveTo>
                      <a:pt x="60" y="109"/>
                    </a:moveTo>
                    <a:cubicBezTo>
                      <a:pt x="64" y="106"/>
                      <a:pt x="64" y="106"/>
                      <a:pt x="64" y="106"/>
                    </a:cubicBezTo>
                    <a:cubicBezTo>
                      <a:pt x="60" y="102"/>
                      <a:pt x="60" y="102"/>
                      <a:pt x="60" y="102"/>
                    </a:cubicBezTo>
                    <a:cubicBezTo>
                      <a:pt x="58" y="98"/>
                      <a:pt x="58" y="98"/>
                      <a:pt x="58" y="98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49" y="92"/>
                      <a:pt x="49" y="92"/>
                      <a:pt x="49" y="92"/>
                    </a:cubicBezTo>
                    <a:cubicBezTo>
                      <a:pt x="50" y="97"/>
                      <a:pt x="50" y="97"/>
                      <a:pt x="50" y="97"/>
                    </a:cubicBezTo>
                    <a:cubicBezTo>
                      <a:pt x="46" y="101"/>
                      <a:pt x="46" y="101"/>
                      <a:pt x="46" y="101"/>
                    </a:cubicBezTo>
                    <a:cubicBezTo>
                      <a:pt x="51" y="107"/>
                      <a:pt x="51" y="107"/>
                      <a:pt x="51" y="107"/>
                    </a:cubicBezTo>
                    <a:cubicBezTo>
                      <a:pt x="56" y="104"/>
                      <a:pt x="56" y="104"/>
                      <a:pt x="56" y="104"/>
                    </a:cubicBezTo>
                    <a:cubicBezTo>
                      <a:pt x="56" y="107"/>
                      <a:pt x="56" y="107"/>
                      <a:pt x="56" y="107"/>
                    </a:cubicBezTo>
                    <a:lnTo>
                      <a:pt x="60" y="109"/>
                    </a:lnTo>
                    <a:close/>
                    <a:moveTo>
                      <a:pt x="53" y="129"/>
                    </a:moveTo>
                    <a:cubicBezTo>
                      <a:pt x="49" y="126"/>
                      <a:pt x="49" y="126"/>
                      <a:pt x="49" y="126"/>
                    </a:cubicBezTo>
                    <a:cubicBezTo>
                      <a:pt x="47" y="115"/>
                      <a:pt x="47" y="115"/>
                      <a:pt x="47" y="115"/>
                    </a:cubicBezTo>
                    <a:cubicBezTo>
                      <a:pt x="47" y="115"/>
                      <a:pt x="50" y="112"/>
                      <a:pt x="48" y="110"/>
                    </a:cubicBezTo>
                    <a:cubicBezTo>
                      <a:pt x="47" y="108"/>
                      <a:pt x="45" y="106"/>
                      <a:pt x="44" y="102"/>
                    </a:cubicBezTo>
                    <a:cubicBezTo>
                      <a:pt x="44" y="100"/>
                      <a:pt x="43" y="95"/>
                      <a:pt x="43" y="95"/>
                    </a:cubicBezTo>
                    <a:cubicBezTo>
                      <a:pt x="40" y="95"/>
                      <a:pt x="40" y="95"/>
                      <a:pt x="40" y="95"/>
                    </a:cubicBezTo>
                    <a:cubicBezTo>
                      <a:pt x="38" y="100"/>
                      <a:pt x="38" y="100"/>
                      <a:pt x="38" y="100"/>
                    </a:cubicBezTo>
                    <a:cubicBezTo>
                      <a:pt x="38" y="100"/>
                      <a:pt x="42" y="106"/>
                      <a:pt x="44" y="107"/>
                    </a:cubicBezTo>
                    <a:cubicBezTo>
                      <a:pt x="45" y="109"/>
                      <a:pt x="44" y="112"/>
                      <a:pt x="44" y="112"/>
                    </a:cubicBezTo>
                    <a:cubicBezTo>
                      <a:pt x="41" y="111"/>
                      <a:pt x="41" y="111"/>
                      <a:pt x="41" y="111"/>
                    </a:cubicBezTo>
                    <a:cubicBezTo>
                      <a:pt x="46" y="124"/>
                      <a:pt x="46" y="124"/>
                      <a:pt x="46" y="124"/>
                    </a:cubicBezTo>
                    <a:cubicBezTo>
                      <a:pt x="42" y="124"/>
                      <a:pt x="42" y="124"/>
                      <a:pt x="42" y="124"/>
                    </a:cubicBezTo>
                    <a:cubicBezTo>
                      <a:pt x="45" y="135"/>
                      <a:pt x="45" y="135"/>
                      <a:pt x="45" y="135"/>
                    </a:cubicBezTo>
                    <a:cubicBezTo>
                      <a:pt x="51" y="140"/>
                      <a:pt x="51" y="140"/>
                      <a:pt x="51" y="140"/>
                    </a:cubicBezTo>
                    <a:cubicBezTo>
                      <a:pt x="53" y="138"/>
                      <a:pt x="53" y="138"/>
                      <a:pt x="53" y="138"/>
                    </a:cubicBezTo>
                    <a:cubicBezTo>
                      <a:pt x="47" y="132"/>
                      <a:pt x="47" y="132"/>
                      <a:pt x="47" y="132"/>
                    </a:cubicBezTo>
                    <a:cubicBezTo>
                      <a:pt x="46" y="129"/>
                      <a:pt x="46" y="129"/>
                      <a:pt x="46" y="129"/>
                    </a:cubicBezTo>
                    <a:cubicBezTo>
                      <a:pt x="49" y="130"/>
                      <a:pt x="49" y="130"/>
                      <a:pt x="49" y="130"/>
                    </a:cubicBezTo>
                    <a:lnTo>
                      <a:pt x="53" y="129"/>
                    </a:lnTo>
                    <a:close/>
                    <a:moveTo>
                      <a:pt x="37" y="130"/>
                    </a:moveTo>
                    <a:cubicBezTo>
                      <a:pt x="37" y="133"/>
                      <a:pt x="40" y="129"/>
                      <a:pt x="40" y="129"/>
                    </a:cubicBezTo>
                    <a:cubicBezTo>
                      <a:pt x="40" y="125"/>
                      <a:pt x="37" y="127"/>
                      <a:pt x="37" y="130"/>
                    </a:cubicBezTo>
                    <a:close/>
                    <a:moveTo>
                      <a:pt x="86" y="147"/>
                    </a:moveTo>
                    <a:cubicBezTo>
                      <a:pt x="78" y="140"/>
                      <a:pt x="78" y="140"/>
                      <a:pt x="78" y="140"/>
                    </a:cubicBezTo>
                    <a:cubicBezTo>
                      <a:pt x="74" y="139"/>
                      <a:pt x="74" y="139"/>
                      <a:pt x="74" y="139"/>
                    </a:cubicBezTo>
                    <a:cubicBezTo>
                      <a:pt x="70" y="131"/>
                      <a:pt x="70" y="131"/>
                      <a:pt x="70" y="131"/>
                    </a:cubicBezTo>
                    <a:cubicBezTo>
                      <a:pt x="67" y="130"/>
                      <a:pt x="67" y="130"/>
                      <a:pt x="67" y="130"/>
                    </a:cubicBezTo>
                    <a:cubicBezTo>
                      <a:pt x="62" y="127"/>
                      <a:pt x="62" y="127"/>
                      <a:pt x="62" y="127"/>
                    </a:cubicBezTo>
                    <a:cubicBezTo>
                      <a:pt x="72" y="140"/>
                      <a:pt x="72" y="140"/>
                      <a:pt x="72" y="140"/>
                    </a:cubicBezTo>
                    <a:cubicBezTo>
                      <a:pt x="76" y="143"/>
                      <a:pt x="76" y="143"/>
                      <a:pt x="76" y="143"/>
                    </a:cubicBezTo>
                    <a:cubicBezTo>
                      <a:pt x="82" y="149"/>
                      <a:pt x="82" y="149"/>
                      <a:pt x="82" y="149"/>
                    </a:cubicBezTo>
                    <a:lnTo>
                      <a:pt x="86" y="147"/>
                    </a:lnTo>
                    <a:close/>
                    <a:moveTo>
                      <a:pt x="59" y="121"/>
                    </a:moveTo>
                    <a:cubicBezTo>
                      <a:pt x="63" y="121"/>
                      <a:pt x="63" y="121"/>
                      <a:pt x="63" y="121"/>
                    </a:cubicBezTo>
                    <a:cubicBezTo>
                      <a:pt x="61" y="114"/>
                      <a:pt x="61" y="114"/>
                      <a:pt x="61" y="114"/>
                    </a:cubicBezTo>
                    <a:cubicBezTo>
                      <a:pt x="58" y="115"/>
                      <a:pt x="58" y="115"/>
                      <a:pt x="58" y="115"/>
                    </a:cubicBezTo>
                    <a:cubicBezTo>
                      <a:pt x="60" y="117"/>
                      <a:pt x="60" y="117"/>
                      <a:pt x="60" y="117"/>
                    </a:cubicBezTo>
                    <a:lnTo>
                      <a:pt x="59" y="121"/>
                    </a:lnTo>
                    <a:close/>
                    <a:moveTo>
                      <a:pt x="77" y="165"/>
                    </a:moveTo>
                    <a:cubicBezTo>
                      <a:pt x="72" y="160"/>
                      <a:pt x="72" y="160"/>
                      <a:pt x="72" y="160"/>
                    </a:cubicBezTo>
                    <a:cubicBezTo>
                      <a:pt x="69" y="160"/>
                      <a:pt x="69" y="160"/>
                      <a:pt x="69" y="160"/>
                    </a:cubicBezTo>
                    <a:cubicBezTo>
                      <a:pt x="75" y="165"/>
                      <a:pt x="75" y="165"/>
                      <a:pt x="75" y="165"/>
                    </a:cubicBezTo>
                    <a:cubicBezTo>
                      <a:pt x="78" y="170"/>
                      <a:pt x="78" y="170"/>
                      <a:pt x="78" y="170"/>
                    </a:cubicBezTo>
                    <a:cubicBezTo>
                      <a:pt x="84" y="177"/>
                      <a:pt x="84" y="177"/>
                      <a:pt x="84" y="177"/>
                    </a:cubicBezTo>
                    <a:cubicBezTo>
                      <a:pt x="86" y="174"/>
                      <a:pt x="86" y="174"/>
                      <a:pt x="86" y="174"/>
                    </a:cubicBezTo>
                    <a:cubicBezTo>
                      <a:pt x="79" y="169"/>
                      <a:pt x="79" y="169"/>
                      <a:pt x="79" y="169"/>
                    </a:cubicBezTo>
                    <a:lnTo>
                      <a:pt x="77" y="165"/>
                    </a:lnTo>
                    <a:close/>
                    <a:moveTo>
                      <a:pt x="162" y="212"/>
                    </a:moveTo>
                    <a:cubicBezTo>
                      <a:pt x="168" y="210"/>
                      <a:pt x="168" y="210"/>
                      <a:pt x="168" y="210"/>
                    </a:cubicBezTo>
                    <a:cubicBezTo>
                      <a:pt x="169" y="208"/>
                      <a:pt x="169" y="208"/>
                      <a:pt x="169" y="208"/>
                    </a:cubicBezTo>
                    <a:cubicBezTo>
                      <a:pt x="163" y="207"/>
                      <a:pt x="163" y="207"/>
                      <a:pt x="163" y="207"/>
                    </a:cubicBezTo>
                    <a:cubicBezTo>
                      <a:pt x="148" y="205"/>
                      <a:pt x="148" y="205"/>
                      <a:pt x="148" y="205"/>
                    </a:cubicBezTo>
                    <a:cubicBezTo>
                      <a:pt x="148" y="208"/>
                      <a:pt x="148" y="208"/>
                      <a:pt x="148" y="208"/>
                    </a:cubicBezTo>
                    <a:cubicBezTo>
                      <a:pt x="144" y="209"/>
                      <a:pt x="144" y="209"/>
                      <a:pt x="144" y="209"/>
                    </a:cubicBezTo>
                    <a:cubicBezTo>
                      <a:pt x="159" y="214"/>
                      <a:pt x="159" y="214"/>
                      <a:pt x="159" y="214"/>
                    </a:cubicBezTo>
                    <a:lnTo>
                      <a:pt x="162" y="212"/>
                    </a:lnTo>
                    <a:close/>
                    <a:moveTo>
                      <a:pt x="141" y="204"/>
                    </a:moveTo>
                    <a:cubicBezTo>
                      <a:pt x="133" y="202"/>
                      <a:pt x="136" y="206"/>
                      <a:pt x="136" y="206"/>
                    </a:cubicBezTo>
                    <a:cubicBezTo>
                      <a:pt x="140" y="208"/>
                      <a:pt x="147" y="206"/>
                      <a:pt x="141" y="204"/>
                    </a:cubicBezTo>
                    <a:close/>
                    <a:moveTo>
                      <a:pt x="182" y="222"/>
                    </a:moveTo>
                    <a:cubicBezTo>
                      <a:pt x="180" y="220"/>
                      <a:pt x="180" y="220"/>
                      <a:pt x="180" y="220"/>
                    </a:cubicBezTo>
                    <a:cubicBezTo>
                      <a:pt x="163" y="219"/>
                      <a:pt x="163" y="219"/>
                      <a:pt x="163" y="219"/>
                    </a:cubicBezTo>
                    <a:cubicBezTo>
                      <a:pt x="161" y="217"/>
                      <a:pt x="161" y="217"/>
                      <a:pt x="161" y="217"/>
                    </a:cubicBezTo>
                    <a:cubicBezTo>
                      <a:pt x="154" y="214"/>
                      <a:pt x="154" y="214"/>
                      <a:pt x="154" y="214"/>
                    </a:cubicBezTo>
                    <a:cubicBezTo>
                      <a:pt x="152" y="216"/>
                      <a:pt x="152" y="216"/>
                      <a:pt x="152" y="216"/>
                    </a:cubicBezTo>
                    <a:cubicBezTo>
                      <a:pt x="153" y="218"/>
                      <a:pt x="153" y="218"/>
                      <a:pt x="153" y="218"/>
                    </a:cubicBezTo>
                    <a:cubicBezTo>
                      <a:pt x="149" y="218"/>
                      <a:pt x="149" y="218"/>
                      <a:pt x="149" y="218"/>
                    </a:cubicBezTo>
                    <a:cubicBezTo>
                      <a:pt x="146" y="221"/>
                      <a:pt x="146" y="221"/>
                      <a:pt x="146" y="221"/>
                    </a:cubicBezTo>
                    <a:cubicBezTo>
                      <a:pt x="159" y="223"/>
                      <a:pt x="159" y="223"/>
                      <a:pt x="159" y="223"/>
                    </a:cubicBezTo>
                    <a:lnTo>
                      <a:pt x="182" y="222"/>
                    </a:lnTo>
                    <a:close/>
                    <a:moveTo>
                      <a:pt x="135" y="227"/>
                    </a:moveTo>
                    <a:cubicBezTo>
                      <a:pt x="129" y="229"/>
                      <a:pt x="129" y="229"/>
                      <a:pt x="129" y="229"/>
                    </a:cubicBezTo>
                    <a:cubicBezTo>
                      <a:pt x="129" y="229"/>
                      <a:pt x="131" y="232"/>
                      <a:pt x="138" y="230"/>
                    </a:cubicBezTo>
                    <a:cubicBezTo>
                      <a:pt x="144" y="228"/>
                      <a:pt x="143" y="225"/>
                      <a:pt x="135" y="227"/>
                    </a:cubicBezTo>
                    <a:close/>
                    <a:moveTo>
                      <a:pt x="170" y="243"/>
                    </a:moveTo>
                    <a:cubicBezTo>
                      <a:pt x="170" y="243"/>
                      <a:pt x="163" y="248"/>
                      <a:pt x="171" y="246"/>
                    </a:cubicBezTo>
                    <a:cubicBezTo>
                      <a:pt x="177" y="246"/>
                      <a:pt x="179" y="243"/>
                      <a:pt x="170" y="243"/>
                    </a:cubicBezTo>
                    <a:close/>
                    <a:moveTo>
                      <a:pt x="169" y="233"/>
                    </a:moveTo>
                    <a:cubicBezTo>
                      <a:pt x="160" y="229"/>
                      <a:pt x="160" y="229"/>
                      <a:pt x="160" y="229"/>
                    </a:cubicBezTo>
                    <a:cubicBezTo>
                      <a:pt x="159" y="232"/>
                      <a:pt x="159" y="232"/>
                      <a:pt x="159" y="232"/>
                    </a:cubicBezTo>
                    <a:cubicBezTo>
                      <a:pt x="162" y="233"/>
                      <a:pt x="162" y="233"/>
                      <a:pt x="162" y="233"/>
                    </a:cubicBezTo>
                    <a:cubicBezTo>
                      <a:pt x="160" y="235"/>
                      <a:pt x="160" y="235"/>
                      <a:pt x="160" y="235"/>
                    </a:cubicBezTo>
                    <a:cubicBezTo>
                      <a:pt x="169" y="237"/>
                      <a:pt x="169" y="237"/>
                      <a:pt x="169" y="237"/>
                    </a:cubicBezTo>
                    <a:cubicBezTo>
                      <a:pt x="174" y="235"/>
                      <a:pt x="174" y="235"/>
                      <a:pt x="174" y="235"/>
                    </a:cubicBezTo>
                    <a:cubicBezTo>
                      <a:pt x="184" y="236"/>
                      <a:pt x="184" y="236"/>
                      <a:pt x="184" y="236"/>
                    </a:cubicBezTo>
                    <a:cubicBezTo>
                      <a:pt x="186" y="235"/>
                      <a:pt x="186" y="235"/>
                      <a:pt x="186" y="235"/>
                    </a:cubicBezTo>
                    <a:cubicBezTo>
                      <a:pt x="176" y="230"/>
                      <a:pt x="176" y="230"/>
                      <a:pt x="176" y="230"/>
                    </a:cubicBezTo>
                    <a:lnTo>
                      <a:pt x="169" y="233"/>
                    </a:lnTo>
                    <a:close/>
                    <a:moveTo>
                      <a:pt x="194" y="243"/>
                    </a:moveTo>
                    <a:cubicBezTo>
                      <a:pt x="213" y="246"/>
                      <a:pt x="213" y="246"/>
                      <a:pt x="213" y="246"/>
                    </a:cubicBezTo>
                    <a:cubicBezTo>
                      <a:pt x="213" y="244"/>
                      <a:pt x="213" y="244"/>
                      <a:pt x="213" y="244"/>
                    </a:cubicBezTo>
                    <a:cubicBezTo>
                      <a:pt x="195" y="240"/>
                      <a:pt x="195" y="240"/>
                      <a:pt x="195" y="240"/>
                    </a:cubicBezTo>
                    <a:lnTo>
                      <a:pt x="194" y="243"/>
                    </a:lnTo>
                    <a:close/>
                    <a:moveTo>
                      <a:pt x="71" y="155"/>
                    </a:moveTo>
                    <a:cubicBezTo>
                      <a:pt x="67" y="153"/>
                      <a:pt x="65" y="156"/>
                      <a:pt x="65" y="156"/>
                    </a:cubicBezTo>
                    <a:cubicBezTo>
                      <a:pt x="71" y="158"/>
                      <a:pt x="74" y="157"/>
                      <a:pt x="71" y="155"/>
                    </a:cubicBezTo>
                    <a:close/>
                    <a:moveTo>
                      <a:pt x="65" y="150"/>
                    </a:moveTo>
                    <a:cubicBezTo>
                      <a:pt x="62" y="150"/>
                      <a:pt x="60" y="151"/>
                      <a:pt x="63" y="153"/>
                    </a:cubicBezTo>
                    <a:cubicBezTo>
                      <a:pt x="63" y="153"/>
                      <a:pt x="67" y="151"/>
                      <a:pt x="65" y="150"/>
                    </a:cubicBezTo>
                    <a:close/>
                    <a:moveTo>
                      <a:pt x="77" y="153"/>
                    </a:moveTo>
                    <a:cubicBezTo>
                      <a:pt x="80" y="153"/>
                      <a:pt x="84" y="149"/>
                      <a:pt x="79" y="149"/>
                    </a:cubicBezTo>
                    <a:cubicBezTo>
                      <a:pt x="75" y="148"/>
                      <a:pt x="77" y="153"/>
                      <a:pt x="77" y="153"/>
                    </a:cubicBezTo>
                    <a:close/>
                    <a:moveTo>
                      <a:pt x="65" y="146"/>
                    </a:moveTo>
                    <a:cubicBezTo>
                      <a:pt x="69" y="147"/>
                      <a:pt x="71" y="145"/>
                      <a:pt x="67" y="144"/>
                    </a:cubicBezTo>
                    <a:cubicBezTo>
                      <a:pt x="65" y="143"/>
                      <a:pt x="65" y="146"/>
                      <a:pt x="65" y="146"/>
                    </a:cubicBezTo>
                    <a:close/>
                    <a:moveTo>
                      <a:pt x="61" y="143"/>
                    </a:moveTo>
                    <a:cubicBezTo>
                      <a:pt x="60" y="142"/>
                      <a:pt x="57" y="145"/>
                      <a:pt x="59" y="146"/>
                    </a:cubicBezTo>
                    <a:cubicBezTo>
                      <a:pt x="59" y="146"/>
                      <a:pt x="63" y="144"/>
                      <a:pt x="61" y="143"/>
                    </a:cubicBezTo>
                    <a:close/>
                    <a:moveTo>
                      <a:pt x="91" y="179"/>
                    </a:moveTo>
                    <a:cubicBezTo>
                      <a:pt x="88" y="178"/>
                      <a:pt x="91" y="182"/>
                      <a:pt x="91" y="182"/>
                    </a:cubicBezTo>
                    <a:cubicBezTo>
                      <a:pt x="96" y="185"/>
                      <a:pt x="95" y="181"/>
                      <a:pt x="91" y="179"/>
                    </a:cubicBezTo>
                    <a:close/>
                    <a:moveTo>
                      <a:pt x="81" y="164"/>
                    </a:moveTo>
                    <a:cubicBezTo>
                      <a:pt x="88" y="171"/>
                      <a:pt x="88" y="167"/>
                      <a:pt x="83" y="163"/>
                    </a:cubicBezTo>
                    <a:cubicBezTo>
                      <a:pt x="78" y="158"/>
                      <a:pt x="81" y="164"/>
                      <a:pt x="81" y="164"/>
                    </a:cubicBez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265" name="Bulgaria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6092825" y="4772025"/>
                <a:ext cx="639762" cy="465137"/>
              </a:xfrm>
              <a:custGeom>
                <a:avLst/>
                <a:gdLst/>
                <a:ahLst/>
                <a:cxnLst>
                  <a:cxn ang="0">
                    <a:pos x="278" y="15"/>
                  </a:cxn>
                  <a:cxn ang="0">
                    <a:pos x="262" y="3"/>
                  </a:cxn>
                  <a:cxn ang="0">
                    <a:pos x="248" y="3"/>
                  </a:cxn>
                  <a:cxn ang="0">
                    <a:pos x="218" y="3"/>
                  </a:cxn>
                  <a:cxn ang="0">
                    <a:pos x="171" y="33"/>
                  </a:cxn>
                  <a:cxn ang="0">
                    <a:pos x="137" y="48"/>
                  </a:cxn>
                  <a:cxn ang="0">
                    <a:pos x="124" y="48"/>
                  </a:cxn>
                  <a:cxn ang="0">
                    <a:pos x="102" y="50"/>
                  </a:cxn>
                  <a:cxn ang="0">
                    <a:pos x="68" y="55"/>
                  </a:cxn>
                  <a:cxn ang="0">
                    <a:pos x="51" y="51"/>
                  </a:cxn>
                  <a:cxn ang="0">
                    <a:pos x="22" y="53"/>
                  </a:cxn>
                  <a:cxn ang="0">
                    <a:pos x="22" y="40"/>
                  </a:cxn>
                  <a:cxn ang="0">
                    <a:pos x="8" y="39"/>
                  </a:cxn>
                  <a:cxn ang="0">
                    <a:pos x="2" y="50"/>
                  </a:cxn>
                  <a:cxn ang="0">
                    <a:pos x="8" y="74"/>
                  </a:cxn>
                  <a:cxn ang="0">
                    <a:pos x="27" y="89"/>
                  </a:cxn>
                  <a:cxn ang="0">
                    <a:pos x="29" y="116"/>
                  </a:cxn>
                  <a:cxn ang="0">
                    <a:pos x="16" y="123"/>
                  </a:cxn>
                  <a:cxn ang="0">
                    <a:pos x="17" y="132"/>
                  </a:cxn>
                  <a:cxn ang="0">
                    <a:pos x="21" y="149"/>
                  </a:cxn>
                  <a:cxn ang="0">
                    <a:pos x="22" y="166"/>
                  </a:cxn>
                  <a:cxn ang="0">
                    <a:pos x="42" y="173"/>
                  </a:cxn>
                  <a:cxn ang="0">
                    <a:pos x="52" y="190"/>
                  </a:cxn>
                  <a:cxn ang="0">
                    <a:pos x="53" y="219"/>
                  </a:cxn>
                  <a:cxn ang="0">
                    <a:pos x="68" y="213"/>
                  </a:cxn>
                  <a:cxn ang="0">
                    <a:pos x="75" y="211"/>
                  </a:cxn>
                  <a:cxn ang="0">
                    <a:pos x="89" y="208"/>
                  </a:cxn>
                  <a:cxn ang="0">
                    <a:pos x="99" y="202"/>
                  </a:cxn>
                  <a:cxn ang="0">
                    <a:pos x="106" y="201"/>
                  </a:cxn>
                  <a:cxn ang="0">
                    <a:pos x="111" y="196"/>
                  </a:cxn>
                  <a:cxn ang="0">
                    <a:pos x="119" y="197"/>
                  </a:cxn>
                  <a:cxn ang="0">
                    <a:pos x="134" y="198"/>
                  </a:cxn>
                  <a:cxn ang="0">
                    <a:pos x="143" y="203"/>
                  </a:cxn>
                  <a:cxn ang="0">
                    <a:pos x="163" y="202"/>
                  </a:cxn>
                  <a:cxn ang="0">
                    <a:pos x="192" y="195"/>
                  </a:cxn>
                  <a:cxn ang="0">
                    <a:pos x="209" y="185"/>
                  </a:cxn>
                  <a:cxn ang="0">
                    <a:pos x="215" y="165"/>
                  </a:cxn>
                  <a:cxn ang="0">
                    <a:pos x="225" y="156"/>
                  </a:cxn>
                  <a:cxn ang="0">
                    <a:pos x="239" y="143"/>
                  </a:cxn>
                  <a:cxn ang="0">
                    <a:pos x="250" y="136"/>
                  </a:cxn>
                  <a:cxn ang="0">
                    <a:pos x="268" y="139"/>
                  </a:cxn>
                  <a:cxn ang="0">
                    <a:pos x="285" y="138"/>
                  </a:cxn>
                  <a:cxn ang="0">
                    <a:pos x="288" y="133"/>
                  </a:cxn>
                  <a:cxn ang="0">
                    <a:pos x="284" y="121"/>
                  </a:cxn>
                  <a:cxn ang="0">
                    <a:pos x="276" y="111"/>
                  </a:cxn>
                  <a:cxn ang="0">
                    <a:pos x="264" y="108"/>
                  </a:cxn>
                  <a:cxn ang="0">
                    <a:pos x="260" y="98"/>
                  </a:cxn>
                  <a:cxn ang="0">
                    <a:pos x="268" y="88"/>
                  </a:cxn>
                  <a:cxn ang="0">
                    <a:pos x="273" y="73"/>
                  </a:cxn>
                  <a:cxn ang="0">
                    <a:pos x="264" y="56"/>
                  </a:cxn>
                  <a:cxn ang="0">
                    <a:pos x="279" y="40"/>
                  </a:cxn>
                  <a:cxn ang="0">
                    <a:pos x="300" y="26"/>
                  </a:cxn>
                  <a:cxn ang="0">
                    <a:pos x="294" y="14"/>
                  </a:cxn>
                </a:cxnLst>
                <a:rect l="0" t="0" r="r" b="b"/>
                <a:pathLst>
                  <a:path w="300" h="219">
                    <a:moveTo>
                      <a:pt x="294" y="14"/>
                    </a:moveTo>
                    <a:cubicBezTo>
                      <a:pt x="294" y="14"/>
                      <a:pt x="282" y="16"/>
                      <a:pt x="278" y="15"/>
                    </a:cubicBezTo>
                    <a:cubicBezTo>
                      <a:pt x="274" y="15"/>
                      <a:pt x="266" y="13"/>
                      <a:pt x="266" y="13"/>
                    </a:cubicBezTo>
                    <a:cubicBezTo>
                      <a:pt x="262" y="3"/>
                      <a:pt x="262" y="3"/>
                      <a:pt x="262" y="3"/>
                    </a:cubicBezTo>
                    <a:cubicBezTo>
                      <a:pt x="262" y="3"/>
                      <a:pt x="256" y="10"/>
                      <a:pt x="253" y="9"/>
                    </a:cubicBezTo>
                    <a:cubicBezTo>
                      <a:pt x="250" y="8"/>
                      <a:pt x="250" y="3"/>
                      <a:pt x="248" y="3"/>
                    </a:cubicBezTo>
                    <a:cubicBezTo>
                      <a:pt x="246" y="3"/>
                      <a:pt x="240" y="10"/>
                      <a:pt x="236" y="9"/>
                    </a:cubicBezTo>
                    <a:cubicBezTo>
                      <a:pt x="232" y="8"/>
                      <a:pt x="226" y="0"/>
                      <a:pt x="218" y="3"/>
                    </a:cubicBezTo>
                    <a:cubicBezTo>
                      <a:pt x="209" y="6"/>
                      <a:pt x="194" y="15"/>
                      <a:pt x="189" y="16"/>
                    </a:cubicBezTo>
                    <a:cubicBezTo>
                      <a:pt x="183" y="17"/>
                      <a:pt x="175" y="27"/>
                      <a:pt x="171" y="33"/>
                    </a:cubicBezTo>
                    <a:cubicBezTo>
                      <a:pt x="167" y="39"/>
                      <a:pt x="164" y="47"/>
                      <a:pt x="152" y="50"/>
                    </a:cubicBezTo>
                    <a:cubicBezTo>
                      <a:pt x="139" y="53"/>
                      <a:pt x="137" y="48"/>
                      <a:pt x="137" y="48"/>
                    </a:cubicBezTo>
                    <a:cubicBezTo>
                      <a:pt x="131" y="51"/>
                      <a:pt x="131" y="51"/>
                      <a:pt x="131" y="51"/>
                    </a:cubicBezTo>
                    <a:cubicBezTo>
                      <a:pt x="124" y="48"/>
                      <a:pt x="124" y="48"/>
                      <a:pt x="124" y="48"/>
                    </a:cubicBezTo>
                    <a:cubicBezTo>
                      <a:pt x="124" y="48"/>
                      <a:pt x="115" y="53"/>
                      <a:pt x="110" y="51"/>
                    </a:cubicBezTo>
                    <a:cubicBezTo>
                      <a:pt x="107" y="51"/>
                      <a:pt x="106" y="49"/>
                      <a:pt x="102" y="50"/>
                    </a:cubicBezTo>
                    <a:cubicBezTo>
                      <a:pt x="99" y="53"/>
                      <a:pt x="98" y="58"/>
                      <a:pt x="87" y="59"/>
                    </a:cubicBezTo>
                    <a:cubicBezTo>
                      <a:pt x="77" y="60"/>
                      <a:pt x="68" y="55"/>
                      <a:pt x="68" y="55"/>
                    </a:cubicBezTo>
                    <a:cubicBezTo>
                      <a:pt x="60" y="55"/>
                      <a:pt x="60" y="55"/>
                      <a:pt x="60" y="55"/>
                    </a:cubicBezTo>
                    <a:cubicBezTo>
                      <a:pt x="60" y="55"/>
                      <a:pt x="54" y="51"/>
                      <a:pt x="51" y="51"/>
                    </a:cubicBezTo>
                    <a:cubicBezTo>
                      <a:pt x="47" y="51"/>
                      <a:pt x="37" y="60"/>
                      <a:pt x="32" y="59"/>
                    </a:cubicBezTo>
                    <a:cubicBezTo>
                      <a:pt x="26" y="59"/>
                      <a:pt x="22" y="58"/>
                      <a:pt x="22" y="53"/>
                    </a:cubicBezTo>
                    <a:cubicBezTo>
                      <a:pt x="23" y="47"/>
                      <a:pt x="30" y="48"/>
                      <a:pt x="29" y="43"/>
                    </a:cubicBezTo>
                    <a:cubicBezTo>
                      <a:pt x="29" y="39"/>
                      <a:pt x="26" y="41"/>
                      <a:pt x="22" y="40"/>
                    </a:cubicBezTo>
                    <a:cubicBezTo>
                      <a:pt x="20" y="40"/>
                      <a:pt x="14" y="37"/>
                      <a:pt x="10" y="35"/>
                    </a:cubicBezTo>
                    <a:cubicBezTo>
                      <a:pt x="9" y="38"/>
                      <a:pt x="8" y="39"/>
                      <a:pt x="8" y="39"/>
                    </a:cubicBezTo>
                    <a:cubicBezTo>
                      <a:pt x="8" y="39"/>
                      <a:pt x="9" y="44"/>
                      <a:pt x="7" y="47"/>
                    </a:cubicBezTo>
                    <a:cubicBezTo>
                      <a:pt x="5" y="49"/>
                      <a:pt x="2" y="50"/>
                      <a:pt x="2" y="50"/>
                    </a:cubicBezTo>
                    <a:cubicBezTo>
                      <a:pt x="0" y="65"/>
                      <a:pt x="0" y="65"/>
                      <a:pt x="0" y="65"/>
                    </a:cubicBezTo>
                    <a:cubicBezTo>
                      <a:pt x="8" y="74"/>
                      <a:pt x="8" y="74"/>
                      <a:pt x="8" y="74"/>
                    </a:cubicBezTo>
                    <a:cubicBezTo>
                      <a:pt x="11" y="83"/>
                      <a:pt x="11" y="83"/>
                      <a:pt x="11" y="83"/>
                    </a:cubicBezTo>
                    <a:cubicBezTo>
                      <a:pt x="11" y="83"/>
                      <a:pt x="23" y="86"/>
                      <a:pt x="27" y="89"/>
                    </a:cubicBezTo>
                    <a:cubicBezTo>
                      <a:pt x="33" y="92"/>
                      <a:pt x="38" y="101"/>
                      <a:pt x="38" y="101"/>
                    </a:cubicBezTo>
                    <a:cubicBezTo>
                      <a:pt x="29" y="116"/>
                      <a:pt x="29" y="116"/>
                      <a:pt x="29" y="116"/>
                    </a:cubicBezTo>
                    <a:cubicBezTo>
                      <a:pt x="29" y="116"/>
                      <a:pt x="28" y="120"/>
                      <a:pt x="26" y="121"/>
                    </a:cubicBezTo>
                    <a:cubicBezTo>
                      <a:pt x="23" y="122"/>
                      <a:pt x="19" y="120"/>
                      <a:pt x="16" y="123"/>
                    </a:cubicBezTo>
                    <a:cubicBezTo>
                      <a:pt x="11" y="126"/>
                      <a:pt x="11" y="130"/>
                      <a:pt x="11" y="130"/>
                    </a:cubicBezTo>
                    <a:cubicBezTo>
                      <a:pt x="17" y="132"/>
                      <a:pt x="17" y="132"/>
                      <a:pt x="17" y="132"/>
                    </a:cubicBezTo>
                    <a:cubicBezTo>
                      <a:pt x="13" y="141"/>
                      <a:pt x="13" y="141"/>
                      <a:pt x="13" y="141"/>
                    </a:cubicBezTo>
                    <a:cubicBezTo>
                      <a:pt x="21" y="149"/>
                      <a:pt x="21" y="149"/>
                      <a:pt x="21" y="149"/>
                    </a:cubicBezTo>
                    <a:cubicBezTo>
                      <a:pt x="13" y="160"/>
                      <a:pt x="13" y="160"/>
                      <a:pt x="13" y="160"/>
                    </a:cubicBezTo>
                    <a:cubicBezTo>
                      <a:pt x="13" y="160"/>
                      <a:pt x="20" y="164"/>
                      <a:pt x="22" y="166"/>
                    </a:cubicBezTo>
                    <a:cubicBezTo>
                      <a:pt x="24" y="169"/>
                      <a:pt x="27" y="174"/>
                      <a:pt x="32" y="173"/>
                    </a:cubicBezTo>
                    <a:cubicBezTo>
                      <a:pt x="42" y="173"/>
                      <a:pt x="42" y="173"/>
                      <a:pt x="42" y="173"/>
                    </a:cubicBezTo>
                    <a:cubicBezTo>
                      <a:pt x="43" y="186"/>
                      <a:pt x="43" y="186"/>
                      <a:pt x="43" y="186"/>
                    </a:cubicBezTo>
                    <a:cubicBezTo>
                      <a:pt x="52" y="190"/>
                      <a:pt x="52" y="190"/>
                      <a:pt x="52" y="190"/>
                    </a:cubicBezTo>
                    <a:cubicBezTo>
                      <a:pt x="49" y="199"/>
                      <a:pt x="49" y="199"/>
                      <a:pt x="49" y="199"/>
                    </a:cubicBezTo>
                    <a:cubicBezTo>
                      <a:pt x="53" y="219"/>
                      <a:pt x="53" y="219"/>
                      <a:pt x="53" y="219"/>
                    </a:cubicBezTo>
                    <a:cubicBezTo>
                      <a:pt x="63" y="218"/>
                      <a:pt x="63" y="218"/>
                      <a:pt x="63" y="218"/>
                    </a:cubicBezTo>
                    <a:cubicBezTo>
                      <a:pt x="68" y="213"/>
                      <a:pt x="68" y="213"/>
                      <a:pt x="68" y="213"/>
                    </a:cubicBezTo>
                    <a:cubicBezTo>
                      <a:pt x="73" y="215"/>
                      <a:pt x="73" y="215"/>
                      <a:pt x="73" y="215"/>
                    </a:cubicBezTo>
                    <a:cubicBezTo>
                      <a:pt x="75" y="211"/>
                      <a:pt x="75" y="211"/>
                      <a:pt x="75" y="211"/>
                    </a:cubicBezTo>
                    <a:cubicBezTo>
                      <a:pt x="87" y="211"/>
                      <a:pt x="87" y="211"/>
                      <a:pt x="87" y="211"/>
                    </a:cubicBezTo>
                    <a:cubicBezTo>
                      <a:pt x="89" y="208"/>
                      <a:pt x="89" y="208"/>
                      <a:pt x="89" y="208"/>
                    </a:cubicBezTo>
                    <a:cubicBezTo>
                      <a:pt x="92" y="207"/>
                      <a:pt x="92" y="207"/>
                      <a:pt x="92" y="207"/>
                    </a:cubicBezTo>
                    <a:cubicBezTo>
                      <a:pt x="99" y="202"/>
                      <a:pt x="99" y="202"/>
                      <a:pt x="99" y="202"/>
                    </a:cubicBezTo>
                    <a:cubicBezTo>
                      <a:pt x="101" y="205"/>
                      <a:pt x="101" y="205"/>
                      <a:pt x="101" y="205"/>
                    </a:cubicBezTo>
                    <a:cubicBezTo>
                      <a:pt x="106" y="201"/>
                      <a:pt x="106" y="201"/>
                      <a:pt x="106" y="201"/>
                    </a:cubicBezTo>
                    <a:cubicBezTo>
                      <a:pt x="105" y="196"/>
                      <a:pt x="105" y="196"/>
                      <a:pt x="105" y="196"/>
                    </a:cubicBezTo>
                    <a:cubicBezTo>
                      <a:pt x="111" y="196"/>
                      <a:pt x="111" y="196"/>
                      <a:pt x="111" y="196"/>
                    </a:cubicBezTo>
                    <a:cubicBezTo>
                      <a:pt x="114" y="192"/>
                      <a:pt x="114" y="192"/>
                      <a:pt x="114" y="192"/>
                    </a:cubicBezTo>
                    <a:cubicBezTo>
                      <a:pt x="114" y="192"/>
                      <a:pt x="117" y="198"/>
                      <a:pt x="119" y="197"/>
                    </a:cubicBezTo>
                    <a:cubicBezTo>
                      <a:pt x="121" y="195"/>
                      <a:pt x="128" y="191"/>
                      <a:pt x="128" y="191"/>
                    </a:cubicBezTo>
                    <a:cubicBezTo>
                      <a:pt x="134" y="198"/>
                      <a:pt x="134" y="198"/>
                      <a:pt x="134" y="198"/>
                    </a:cubicBezTo>
                    <a:cubicBezTo>
                      <a:pt x="138" y="197"/>
                      <a:pt x="138" y="197"/>
                      <a:pt x="138" y="197"/>
                    </a:cubicBezTo>
                    <a:cubicBezTo>
                      <a:pt x="143" y="203"/>
                      <a:pt x="143" y="203"/>
                      <a:pt x="143" y="203"/>
                    </a:cubicBezTo>
                    <a:cubicBezTo>
                      <a:pt x="149" y="198"/>
                      <a:pt x="149" y="198"/>
                      <a:pt x="149" y="198"/>
                    </a:cubicBezTo>
                    <a:cubicBezTo>
                      <a:pt x="163" y="202"/>
                      <a:pt x="163" y="202"/>
                      <a:pt x="163" y="202"/>
                    </a:cubicBezTo>
                    <a:cubicBezTo>
                      <a:pt x="163" y="202"/>
                      <a:pt x="166" y="207"/>
                      <a:pt x="168" y="206"/>
                    </a:cubicBezTo>
                    <a:cubicBezTo>
                      <a:pt x="169" y="206"/>
                      <a:pt x="192" y="195"/>
                      <a:pt x="192" y="195"/>
                    </a:cubicBezTo>
                    <a:cubicBezTo>
                      <a:pt x="199" y="196"/>
                      <a:pt x="199" y="196"/>
                      <a:pt x="199" y="196"/>
                    </a:cubicBezTo>
                    <a:cubicBezTo>
                      <a:pt x="199" y="196"/>
                      <a:pt x="208" y="192"/>
                      <a:pt x="209" y="185"/>
                    </a:cubicBezTo>
                    <a:cubicBezTo>
                      <a:pt x="209" y="176"/>
                      <a:pt x="199" y="171"/>
                      <a:pt x="201" y="168"/>
                    </a:cubicBezTo>
                    <a:cubicBezTo>
                      <a:pt x="204" y="166"/>
                      <a:pt x="215" y="165"/>
                      <a:pt x="215" y="165"/>
                    </a:cubicBezTo>
                    <a:cubicBezTo>
                      <a:pt x="215" y="165"/>
                      <a:pt x="213" y="160"/>
                      <a:pt x="216" y="158"/>
                    </a:cubicBezTo>
                    <a:cubicBezTo>
                      <a:pt x="218" y="156"/>
                      <a:pt x="223" y="159"/>
                      <a:pt x="225" y="156"/>
                    </a:cubicBezTo>
                    <a:cubicBezTo>
                      <a:pt x="226" y="152"/>
                      <a:pt x="221" y="148"/>
                      <a:pt x="224" y="145"/>
                    </a:cubicBezTo>
                    <a:cubicBezTo>
                      <a:pt x="229" y="144"/>
                      <a:pt x="235" y="148"/>
                      <a:pt x="239" y="143"/>
                    </a:cubicBezTo>
                    <a:cubicBezTo>
                      <a:pt x="245" y="139"/>
                      <a:pt x="245" y="136"/>
                      <a:pt x="247" y="134"/>
                    </a:cubicBezTo>
                    <a:cubicBezTo>
                      <a:pt x="249" y="133"/>
                      <a:pt x="250" y="136"/>
                      <a:pt x="250" y="136"/>
                    </a:cubicBezTo>
                    <a:cubicBezTo>
                      <a:pt x="250" y="136"/>
                      <a:pt x="252" y="130"/>
                      <a:pt x="256" y="130"/>
                    </a:cubicBezTo>
                    <a:cubicBezTo>
                      <a:pt x="259" y="132"/>
                      <a:pt x="264" y="138"/>
                      <a:pt x="268" y="139"/>
                    </a:cubicBezTo>
                    <a:cubicBezTo>
                      <a:pt x="273" y="139"/>
                      <a:pt x="278" y="135"/>
                      <a:pt x="278" y="135"/>
                    </a:cubicBezTo>
                    <a:cubicBezTo>
                      <a:pt x="285" y="138"/>
                      <a:pt x="285" y="138"/>
                      <a:pt x="285" y="138"/>
                    </a:cubicBezTo>
                    <a:cubicBezTo>
                      <a:pt x="285" y="133"/>
                      <a:pt x="285" y="133"/>
                      <a:pt x="285" y="133"/>
                    </a:cubicBezTo>
                    <a:cubicBezTo>
                      <a:pt x="288" y="133"/>
                      <a:pt x="288" y="133"/>
                      <a:pt x="288" y="133"/>
                    </a:cubicBezTo>
                    <a:cubicBezTo>
                      <a:pt x="294" y="130"/>
                      <a:pt x="294" y="130"/>
                      <a:pt x="294" y="130"/>
                    </a:cubicBezTo>
                    <a:cubicBezTo>
                      <a:pt x="284" y="121"/>
                      <a:pt x="284" y="121"/>
                      <a:pt x="284" y="121"/>
                    </a:cubicBezTo>
                    <a:cubicBezTo>
                      <a:pt x="278" y="117"/>
                      <a:pt x="278" y="117"/>
                      <a:pt x="278" y="117"/>
                    </a:cubicBezTo>
                    <a:cubicBezTo>
                      <a:pt x="276" y="111"/>
                      <a:pt x="276" y="111"/>
                      <a:pt x="276" y="111"/>
                    </a:cubicBezTo>
                    <a:cubicBezTo>
                      <a:pt x="267" y="103"/>
                      <a:pt x="267" y="103"/>
                      <a:pt x="267" y="103"/>
                    </a:cubicBezTo>
                    <a:cubicBezTo>
                      <a:pt x="267" y="103"/>
                      <a:pt x="266" y="106"/>
                      <a:pt x="264" y="108"/>
                    </a:cubicBezTo>
                    <a:cubicBezTo>
                      <a:pt x="262" y="110"/>
                      <a:pt x="256" y="108"/>
                      <a:pt x="256" y="108"/>
                    </a:cubicBezTo>
                    <a:cubicBezTo>
                      <a:pt x="260" y="98"/>
                      <a:pt x="260" y="98"/>
                      <a:pt x="260" y="98"/>
                    </a:cubicBezTo>
                    <a:cubicBezTo>
                      <a:pt x="268" y="97"/>
                      <a:pt x="268" y="97"/>
                      <a:pt x="268" y="97"/>
                    </a:cubicBezTo>
                    <a:cubicBezTo>
                      <a:pt x="268" y="88"/>
                      <a:pt x="268" y="88"/>
                      <a:pt x="268" y="88"/>
                    </a:cubicBezTo>
                    <a:cubicBezTo>
                      <a:pt x="278" y="85"/>
                      <a:pt x="278" y="85"/>
                      <a:pt x="278" y="85"/>
                    </a:cubicBezTo>
                    <a:cubicBezTo>
                      <a:pt x="278" y="85"/>
                      <a:pt x="274" y="80"/>
                      <a:pt x="273" y="73"/>
                    </a:cubicBezTo>
                    <a:cubicBezTo>
                      <a:pt x="273" y="66"/>
                      <a:pt x="272" y="56"/>
                      <a:pt x="272" y="56"/>
                    </a:cubicBezTo>
                    <a:cubicBezTo>
                      <a:pt x="264" y="56"/>
                      <a:pt x="264" y="56"/>
                      <a:pt x="264" y="56"/>
                    </a:cubicBezTo>
                    <a:cubicBezTo>
                      <a:pt x="264" y="56"/>
                      <a:pt x="274" y="54"/>
                      <a:pt x="275" y="51"/>
                    </a:cubicBezTo>
                    <a:cubicBezTo>
                      <a:pt x="276" y="49"/>
                      <a:pt x="271" y="44"/>
                      <a:pt x="279" y="40"/>
                    </a:cubicBezTo>
                    <a:cubicBezTo>
                      <a:pt x="286" y="34"/>
                      <a:pt x="294" y="38"/>
                      <a:pt x="294" y="38"/>
                    </a:cubicBezTo>
                    <a:cubicBezTo>
                      <a:pt x="300" y="26"/>
                      <a:pt x="300" y="26"/>
                      <a:pt x="300" y="26"/>
                    </a:cubicBezTo>
                    <a:cubicBezTo>
                      <a:pt x="300" y="26"/>
                      <a:pt x="297" y="23"/>
                      <a:pt x="296" y="19"/>
                    </a:cubicBezTo>
                    <a:cubicBezTo>
                      <a:pt x="295" y="17"/>
                      <a:pt x="294" y="14"/>
                      <a:pt x="294" y="14"/>
                    </a:cubicBezTo>
                    <a:close/>
                  </a:path>
                </a:pathLst>
              </a:custGeom>
              <a:solidFill>
                <a:schemeClr val="accent2">
                  <a:lumMod val="40000"/>
                  <a:lumOff val="60000"/>
                </a:schemeClr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266" name="Bosnia a. Herzegovina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392738" y="4765675"/>
                <a:ext cx="422275" cy="361950"/>
              </a:xfrm>
              <a:custGeom>
                <a:avLst/>
                <a:gdLst/>
                <a:ahLst/>
                <a:cxnLst>
                  <a:cxn ang="0">
                    <a:pos x="195" y="66"/>
                  </a:cxn>
                  <a:cxn ang="0">
                    <a:pos x="180" y="54"/>
                  </a:cxn>
                  <a:cxn ang="0">
                    <a:pos x="168" y="53"/>
                  </a:cxn>
                  <a:cxn ang="0">
                    <a:pos x="169" y="45"/>
                  </a:cxn>
                  <a:cxn ang="0">
                    <a:pos x="168" y="41"/>
                  </a:cxn>
                  <a:cxn ang="0">
                    <a:pos x="174" y="31"/>
                  </a:cxn>
                  <a:cxn ang="0">
                    <a:pos x="177" y="18"/>
                  </a:cxn>
                  <a:cxn ang="0">
                    <a:pos x="180" y="15"/>
                  </a:cxn>
                  <a:cxn ang="0">
                    <a:pos x="165" y="13"/>
                  </a:cxn>
                  <a:cxn ang="0">
                    <a:pos x="154" y="18"/>
                  </a:cxn>
                  <a:cxn ang="0">
                    <a:pos x="145" y="6"/>
                  </a:cxn>
                  <a:cxn ang="0">
                    <a:pos x="137" y="9"/>
                  </a:cxn>
                  <a:cxn ang="0">
                    <a:pos x="131" y="4"/>
                  </a:cxn>
                  <a:cxn ang="0">
                    <a:pos x="123" y="3"/>
                  </a:cxn>
                  <a:cxn ang="0">
                    <a:pos x="120" y="9"/>
                  </a:cxn>
                  <a:cxn ang="0">
                    <a:pos x="112" y="3"/>
                  </a:cxn>
                  <a:cxn ang="0">
                    <a:pos x="104" y="11"/>
                  </a:cxn>
                  <a:cxn ang="0">
                    <a:pos x="96" y="7"/>
                  </a:cxn>
                  <a:cxn ang="0">
                    <a:pos x="74" y="7"/>
                  </a:cxn>
                  <a:cxn ang="0">
                    <a:pos x="62" y="0"/>
                  </a:cxn>
                  <a:cxn ang="0">
                    <a:pos x="57" y="6"/>
                  </a:cxn>
                  <a:cxn ang="0">
                    <a:pos x="42" y="4"/>
                  </a:cxn>
                  <a:cxn ang="0">
                    <a:pos x="34" y="19"/>
                  </a:cxn>
                  <a:cxn ang="0">
                    <a:pos x="21" y="12"/>
                  </a:cxn>
                  <a:cxn ang="0">
                    <a:pos x="7" y="9"/>
                  </a:cxn>
                  <a:cxn ang="0">
                    <a:pos x="8" y="36"/>
                  </a:cxn>
                  <a:cxn ang="0">
                    <a:pos x="18" y="37"/>
                  </a:cxn>
                  <a:cxn ang="0">
                    <a:pos x="23" y="44"/>
                  </a:cxn>
                  <a:cxn ang="0">
                    <a:pos x="21" y="48"/>
                  </a:cxn>
                  <a:cxn ang="0">
                    <a:pos x="29" y="58"/>
                  </a:cxn>
                  <a:cxn ang="0">
                    <a:pos x="38" y="76"/>
                  </a:cxn>
                  <a:cxn ang="0">
                    <a:pos x="57" y="92"/>
                  </a:cxn>
                  <a:cxn ang="0">
                    <a:pos x="59" y="95"/>
                  </a:cxn>
                  <a:cxn ang="0">
                    <a:pos x="76" y="110"/>
                  </a:cxn>
                  <a:cxn ang="0">
                    <a:pos x="88" y="116"/>
                  </a:cxn>
                  <a:cxn ang="0">
                    <a:pos x="88" y="125"/>
                  </a:cxn>
                  <a:cxn ang="0">
                    <a:pos x="108" y="140"/>
                  </a:cxn>
                  <a:cxn ang="0">
                    <a:pos x="110" y="151"/>
                  </a:cxn>
                  <a:cxn ang="0">
                    <a:pos x="118" y="149"/>
                  </a:cxn>
                  <a:cxn ang="0">
                    <a:pos x="140" y="168"/>
                  </a:cxn>
                  <a:cxn ang="0">
                    <a:pos x="146" y="167"/>
                  </a:cxn>
                  <a:cxn ang="0">
                    <a:pos x="149" y="170"/>
                  </a:cxn>
                  <a:cxn ang="0">
                    <a:pos x="154" y="167"/>
                  </a:cxn>
                  <a:cxn ang="0">
                    <a:pos x="154" y="157"/>
                  </a:cxn>
                  <a:cxn ang="0">
                    <a:pos x="151" y="157"/>
                  </a:cxn>
                  <a:cxn ang="0">
                    <a:pos x="150" y="141"/>
                  </a:cxn>
                  <a:cxn ang="0">
                    <a:pos x="157" y="137"/>
                  </a:cxn>
                  <a:cxn ang="0">
                    <a:pos x="156" y="123"/>
                  </a:cxn>
                  <a:cxn ang="0">
                    <a:pos x="165" y="117"/>
                  </a:cxn>
                  <a:cxn ang="0">
                    <a:pos x="175" y="119"/>
                  </a:cxn>
                  <a:cxn ang="0">
                    <a:pos x="166" y="107"/>
                  </a:cxn>
                  <a:cxn ang="0">
                    <a:pos x="167" y="101"/>
                  </a:cxn>
                  <a:cxn ang="0">
                    <a:pos x="172" y="105"/>
                  </a:cxn>
                  <a:cxn ang="0">
                    <a:pos x="180" y="105"/>
                  </a:cxn>
                  <a:cxn ang="0">
                    <a:pos x="181" y="99"/>
                  </a:cxn>
                  <a:cxn ang="0">
                    <a:pos x="191" y="99"/>
                  </a:cxn>
                  <a:cxn ang="0">
                    <a:pos x="185" y="84"/>
                  </a:cxn>
                  <a:cxn ang="0">
                    <a:pos x="177" y="73"/>
                  </a:cxn>
                  <a:cxn ang="0">
                    <a:pos x="190" y="74"/>
                  </a:cxn>
                  <a:cxn ang="0">
                    <a:pos x="195" y="66"/>
                  </a:cxn>
                </a:cxnLst>
                <a:rect l="0" t="0" r="r" b="b"/>
                <a:pathLst>
                  <a:path w="198" h="170">
                    <a:moveTo>
                      <a:pt x="195" y="66"/>
                    </a:moveTo>
                    <a:cubicBezTo>
                      <a:pt x="180" y="54"/>
                      <a:pt x="180" y="54"/>
                      <a:pt x="180" y="54"/>
                    </a:cubicBezTo>
                    <a:cubicBezTo>
                      <a:pt x="180" y="54"/>
                      <a:pt x="172" y="54"/>
                      <a:pt x="168" y="53"/>
                    </a:cubicBezTo>
                    <a:cubicBezTo>
                      <a:pt x="165" y="52"/>
                      <a:pt x="169" y="45"/>
                      <a:pt x="169" y="45"/>
                    </a:cubicBezTo>
                    <a:cubicBezTo>
                      <a:pt x="168" y="41"/>
                      <a:pt x="168" y="41"/>
                      <a:pt x="168" y="41"/>
                    </a:cubicBezTo>
                    <a:cubicBezTo>
                      <a:pt x="168" y="41"/>
                      <a:pt x="172" y="35"/>
                      <a:pt x="174" y="31"/>
                    </a:cubicBezTo>
                    <a:cubicBezTo>
                      <a:pt x="176" y="27"/>
                      <a:pt x="177" y="18"/>
                      <a:pt x="177" y="18"/>
                    </a:cubicBezTo>
                    <a:cubicBezTo>
                      <a:pt x="180" y="15"/>
                      <a:pt x="180" y="15"/>
                      <a:pt x="180" y="15"/>
                    </a:cubicBezTo>
                    <a:cubicBezTo>
                      <a:pt x="165" y="13"/>
                      <a:pt x="165" y="13"/>
                      <a:pt x="165" y="13"/>
                    </a:cubicBezTo>
                    <a:cubicBezTo>
                      <a:pt x="165" y="13"/>
                      <a:pt x="160" y="18"/>
                      <a:pt x="154" y="18"/>
                    </a:cubicBezTo>
                    <a:cubicBezTo>
                      <a:pt x="149" y="18"/>
                      <a:pt x="151" y="9"/>
                      <a:pt x="145" y="6"/>
                    </a:cubicBezTo>
                    <a:cubicBezTo>
                      <a:pt x="139" y="5"/>
                      <a:pt x="137" y="9"/>
                      <a:pt x="137" y="9"/>
                    </a:cubicBezTo>
                    <a:cubicBezTo>
                      <a:pt x="131" y="4"/>
                      <a:pt x="131" y="4"/>
                      <a:pt x="131" y="4"/>
                    </a:cubicBezTo>
                    <a:cubicBezTo>
                      <a:pt x="123" y="3"/>
                      <a:pt x="123" y="3"/>
                      <a:pt x="123" y="3"/>
                    </a:cubicBezTo>
                    <a:cubicBezTo>
                      <a:pt x="123" y="3"/>
                      <a:pt x="123" y="9"/>
                      <a:pt x="120" y="9"/>
                    </a:cubicBezTo>
                    <a:cubicBezTo>
                      <a:pt x="117" y="9"/>
                      <a:pt x="112" y="3"/>
                      <a:pt x="112" y="3"/>
                    </a:cubicBezTo>
                    <a:cubicBezTo>
                      <a:pt x="112" y="3"/>
                      <a:pt x="108" y="11"/>
                      <a:pt x="104" y="11"/>
                    </a:cubicBezTo>
                    <a:cubicBezTo>
                      <a:pt x="101" y="11"/>
                      <a:pt x="96" y="7"/>
                      <a:pt x="96" y="7"/>
                    </a:cubicBezTo>
                    <a:cubicBezTo>
                      <a:pt x="74" y="7"/>
                      <a:pt x="74" y="7"/>
                      <a:pt x="74" y="7"/>
                    </a:cubicBezTo>
                    <a:cubicBezTo>
                      <a:pt x="70" y="7"/>
                      <a:pt x="62" y="0"/>
                      <a:pt x="62" y="0"/>
                    </a:cubicBezTo>
                    <a:cubicBezTo>
                      <a:pt x="57" y="6"/>
                      <a:pt x="57" y="6"/>
                      <a:pt x="57" y="6"/>
                    </a:cubicBezTo>
                    <a:cubicBezTo>
                      <a:pt x="57" y="6"/>
                      <a:pt x="46" y="4"/>
                      <a:pt x="42" y="4"/>
                    </a:cubicBezTo>
                    <a:cubicBezTo>
                      <a:pt x="38" y="5"/>
                      <a:pt x="38" y="18"/>
                      <a:pt x="34" y="19"/>
                    </a:cubicBezTo>
                    <a:cubicBezTo>
                      <a:pt x="30" y="21"/>
                      <a:pt x="24" y="15"/>
                      <a:pt x="21" y="12"/>
                    </a:cubicBezTo>
                    <a:cubicBezTo>
                      <a:pt x="18" y="9"/>
                      <a:pt x="14" y="4"/>
                      <a:pt x="7" y="9"/>
                    </a:cubicBezTo>
                    <a:cubicBezTo>
                      <a:pt x="0" y="12"/>
                      <a:pt x="8" y="36"/>
                      <a:pt x="8" y="36"/>
                    </a:cubicBezTo>
                    <a:cubicBezTo>
                      <a:pt x="18" y="37"/>
                      <a:pt x="18" y="37"/>
                      <a:pt x="18" y="37"/>
                    </a:cubicBezTo>
                    <a:cubicBezTo>
                      <a:pt x="23" y="44"/>
                      <a:pt x="23" y="44"/>
                      <a:pt x="23" y="44"/>
                    </a:cubicBezTo>
                    <a:cubicBezTo>
                      <a:pt x="21" y="48"/>
                      <a:pt x="21" y="48"/>
                      <a:pt x="21" y="48"/>
                    </a:cubicBezTo>
                    <a:cubicBezTo>
                      <a:pt x="21" y="48"/>
                      <a:pt x="26" y="51"/>
                      <a:pt x="29" y="58"/>
                    </a:cubicBezTo>
                    <a:cubicBezTo>
                      <a:pt x="31" y="63"/>
                      <a:pt x="30" y="68"/>
                      <a:pt x="38" y="76"/>
                    </a:cubicBezTo>
                    <a:cubicBezTo>
                      <a:pt x="44" y="83"/>
                      <a:pt x="57" y="92"/>
                      <a:pt x="57" y="92"/>
                    </a:cubicBezTo>
                    <a:cubicBezTo>
                      <a:pt x="59" y="95"/>
                      <a:pt x="59" y="95"/>
                      <a:pt x="59" y="95"/>
                    </a:cubicBezTo>
                    <a:cubicBezTo>
                      <a:pt x="76" y="110"/>
                      <a:pt x="76" y="110"/>
                      <a:pt x="76" y="110"/>
                    </a:cubicBezTo>
                    <a:cubicBezTo>
                      <a:pt x="88" y="116"/>
                      <a:pt x="88" y="116"/>
                      <a:pt x="88" y="116"/>
                    </a:cubicBezTo>
                    <a:cubicBezTo>
                      <a:pt x="88" y="116"/>
                      <a:pt x="87" y="120"/>
                      <a:pt x="88" y="125"/>
                    </a:cubicBezTo>
                    <a:cubicBezTo>
                      <a:pt x="89" y="129"/>
                      <a:pt x="102" y="135"/>
                      <a:pt x="108" y="140"/>
                    </a:cubicBezTo>
                    <a:cubicBezTo>
                      <a:pt x="113" y="145"/>
                      <a:pt x="110" y="151"/>
                      <a:pt x="110" y="151"/>
                    </a:cubicBezTo>
                    <a:cubicBezTo>
                      <a:pt x="118" y="149"/>
                      <a:pt x="118" y="149"/>
                      <a:pt x="118" y="149"/>
                    </a:cubicBezTo>
                    <a:cubicBezTo>
                      <a:pt x="140" y="168"/>
                      <a:pt x="140" y="168"/>
                      <a:pt x="140" y="168"/>
                    </a:cubicBezTo>
                    <a:cubicBezTo>
                      <a:pt x="140" y="168"/>
                      <a:pt x="142" y="165"/>
                      <a:pt x="146" y="167"/>
                    </a:cubicBezTo>
                    <a:cubicBezTo>
                      <a:pt x="148" y="167"/>
                      <a:pt x="149" y="168"/>
                      <a:pt x="149" y="170"/>
                    </a:cubicBezTo>
                    <a:cubicBezTo>
                      <a:pt x="154" y="167"/>
                      <a:pt x="154" y="167"/>
                      <a:pt x="154" y="167"/>
                    </a:cubicBezTo>
                    <a:cubicBezTo>
                      <a:pt x="154" y="157"/>
                      <a:pt x="154" y="157"/>
                      <a:pt x="154" y="157"/>
                    </a:cubicBezTo>
                    <a:cubicBezTo>
                      <a:pt x="151" y="157"/>
                      <a:pt x="151" y="157"/>
                      <a:pt x="151" y="157"/>
                    </a:cubicBezTo>
                    <a:cubicBezTo>
                      <a:pt x="151" y="157"/>
                      <a:pt x="149" y="144"/>
                      <a:pt x="150" y="141"/>
                    </a:cubicBezTo>
                    <a:cubicBezTo>
                      <a:pt x="152" y="138"/>
                      <a:pt x="155" y="138"/>
                      <a:pt x="157" y="137"/>
                    </a:cubicBezTo>
                    <a:cubicBezTo>
                      <a:pt x="159" y="135"/>
                      <a:pt x="154" y="126"/>
                      <a:pt x="156" y="123"/>
                    </a:cubicBezTo>
                    <a:cubicBezTo>
                      <a:pt x="157" y="121"/>
                      <a:pt x="160" y="117"/>
                      <a:pt x="165" y="117"/>
                    </a:cubicBezTo>
                    <a:cubicBezTo>
                      <a:pt x="168" y="117"/>
                      <a:pt x="172" y="122"/>
                      <a:pt x="175" y="119"/>
                    </a:cubicBezTo>
                    <a:cubicBezTo>
                      <a:pt x="177" y="116"/>
                      <a:pt x="166" y="107"/>
                      <a:pt x="166" y="107"/>
                    </a:cubicBezTo>
                    <a:cubicBezTo>
                      <a:pt x="167" y="101"/>
                      <a:pt x="167" y="101"/>
                      <a:pt x="167" y="101"/>
                    </a:cubicBezTo>
                    <a:cubicBezTo>
                      <a:pt x="172" y="105"/>
                      <a:pt x="172" y="105"/>
                      <a:pt x="172" y="105"/>
                    </a:cubicBezTo>
                    <a:cubicBezTo>
                      <a:pt x="180" y="105"/>
                      <a:pt x="180" y="105"/>
                      <a:pt x="180" y="105"/>
                    </a:cubicBezTo>
                    <a:cubicBezTo>
                      <a:pt x="181" y="99"/>
                      <a:pt x="181" y="99"/>
                      <a:pt x="181" y="99"/>
                    </a:cubicBezTo>
                    <a:cubicBezTo>
                      <a:pt x="181" y="99"/>
                      <a:pt x="186" y="104"/>
                      <a:pt x="191" y="99"/>
                    </a:cubicBezTo>
                    <a:cubicBezTo>
                      <a:pt x="198" y="96"/>
                      <a:pt x="185" y="84"/>
                      <a:pt x="185" y="84"/>
                    </a:cubicBezTo>
                    <a:cubicBezTo>
                      <a:pt x="177" y="73"/>
                      <a:pt x="177" y="73"/>
                      <a:pt x="177" y="73"/>
                    </a:cubicBezTo>
                    <a:cubicBezTo>
                      <a:pt x="177" y="73"/>
                      <a:pt x="185" y="74"/>
                      <a:pt x="190" y="74"/>
                    </a:cubicBezTo>
                    <a:cubicBezTo>
                      <a:pt x="195" y="74"/>
                      <a:pt x="195" y="66"/>
                      <a:pt x="195" y="66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267" name="Belgium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4183063" y="3900488"/>
                <a:ext cx="341312" cy="282575"/>
              </a:xfrm>
              <a:custGeom>
                <a:avLst/>
                <a:gdLst/>
                <a:ahLst/>
                <a:cxnLst>
                  <a:cxn ang="0">
                    <a:pos x="150" y="64"/>
                  </a:cxn>
                  <a:cxn ang="0">
                    <a:pos x="144" y="49"/>
                  </a:cxn>
                  <a:cxn ang="0">
                    <a:pos x="128" y="48"/>
                  </a:cxn>
                  <a:cxn ang="0">
                    <a:pos x="132" y="42"/>
                  </a:cxn>
                  <a:cxn ang="0">
                    <a:pos x="133" y="33"/>
                  </a:cxn>
                  <a:cxn ang="0">
                    <a:pos x="130" y="24"/>
                  </a:cxn>
                  <a:cxn ang="0">
                    <a:pos x="123" y="16"/>
                  </a:cxn>
                  <a:cxn ang="0">
                    <a:pos x="110" y="12"/>
                  </a:cxn>
                  <a:cxn ang="0">
                    <a:pos x="106" y="3"/>
                  </a:cxn>
                  <a:cxn ang="0">
                    <a:pos x="96" y="8"/>
                  </a:cxn>
                  <a:cxn ang="0">
                    <a:pos x="88" y="5"/>
                  </a:cxn>
                  <a:cxn ang="0">
                    <a:pos x="82" y="2"/>
                  </a:cxn>
                  <a:cxn ang="0">
                    <a:pos x="77" y="9"/>
                  </a:cxn>
                  <a:cxn ang="0">
                    <a:pos x="56" y="17"/>
                  </a:cxn>
                  <a:cxn ang="0">
                    <a:pos x="42" y="9"/>
                  </a:cxn>
                  <a:cxn ang="0">
                    <a:pos x="35" y="12"/>
                  </a:cxn>
                  <a:cxn ang="0">
                    <a:pos x="36" y="5"/>
                  </a:cxn>
                  <a:cxn ang="0">
                    <a:pos x="11" y="15"/>
                  </a:cxn>
                  <a:cxn ang="0">
                    <a:pos x="1" y="25"/>
                  </a:cxn>
                  <a:cxn ang="0">
                    <a:pos x="2" y="29"/>
                  </a:cxn>
                  <a:cxn ang="0">
                    <a:pos x="0" y="37"/>
                  </a:cxn>
                  <a:cxn ang="0">
                    <a:pos x="8" y="44"/>
                  </a:cxn>
                  <a:cxn ang="0">
                    <a:pos x="15" y="41"/>
                  </a:cxn>
                  <a:cxn ang="0">
                    <a:pos x="25" y="48"/>
                  </a:cxn>
                  <a:cxn ang="0">
                    <a:pos x="28" y="62"/>
                  </a:cxn>
                  <a:cxn ang="0">
                    <a:pos x="41" y="64"/>
                  </a:cxn>
                  <a:cxn ang="0">
                    <a:pos x="49" y="72"/>
                  </a:cxn>
                  <a:cxn ang="0">
                    <a:pos x="58" y="87"/>
                  </a:cxn>
                  <a:cxn ang="0">
                    <a:pos x="60" y="100"/>
                  </a:cxn>
                  <a:cxn ang="0">
                    <a:pos x="73" y="103"/>
                  </a:cxn>
                  <a:cxn ang="0">
                    <a:pos x="80" y="98"/>
                  </a:cxn>
                  <a:cxn ang="0">
                    <a:pos x="86" y="100"/>
                  </a:cxn>
                  <a:cxn ang="0">
                    <a:pos x="86" y="110"/>
                  </a:cxn>
                  <a:cxn ang="0">
                    <a:pos x="95" y="112"/>
                  </a:cxn>
                  <a:cxn ang="0">
                    <a:pos x="107" y="124"/>
                  </a:cxn>
                  <a:cxn ang="0">
                    <a:pos x="129" y="132"/>
                  </a:cxn>
                  <a:cxn ang="0">
                    <a:pos x="128" y="105"/>
                  </a:cxn>
                  <a:cxn ang="0">
                    <a:pos x="138" y="90"/>
                  </a:cxn>
                  <a:cxn ang="0">
                    <a:pos x="150" y="85"/>
                  </a:cxn>
                  <a:cxn ang="0">
                    <a:pos x="156" y="69"/>
                  </a:cxn>
                </a:cxnLst>
                <a:rect l="0" t="0" r="r" b="b"/>
                <a:pathLst>
                  <a:path w="160" h="133">
                    <a:moveTo>
                      <a:pt x="156" y="69"/>
                    </a:moveTo>
                    <a:cubicBezTo>
                      <a:pt x="154" y="66"/>
                      <a:pt x="150" y="70"/>
                      <a:pt x="150" y="64"/>
                    </a:cubicBezTo>
                    <a:cubicBezTo>
                      <a:pt x="150" y="63"/>
                      <a:pt x="153" y="61"/>
                      <a:pt x="154" y="60"/>
                    </a:cubicBezTo>
                    <a:cubicBezTo>
                      <a:pt x="150" y="59"/>
                      <a:pt x="146" y="54"/>
                      <a:pt x="144" y="49"/>
                    </a:cubicBezTo>
                    <a:cubicBezTo>
                      <a:pt x="143" y="49"/>
                      <a:pt x="139" y="51"/>
                      <a:pt x="136" y="50"/>
                    </a:cubicBezTo>
                    <a:cubicBezTo>
                      <a:pt x="132" y="50"/>
                      <a:pt x="128" y="48"/>
                      <a:pt x="128" y="48"/>
                    </a:cubicBezTo>
                    <a:cubicBezTo>
                      <a:pt x="128" y="48"/>
                      <a:pt x="124" y="47"/>
                      <a:pt x="127" y="44"/>
                    </a:cubicBezTo>
                    <a:cubicBezTo>
                      <a:pt x="128" y="42"/>
                      <a:pt x="132" y="42"/>
                      <a:pt x="132" y="42"/>
                    </a:cubicBezTo>
                    <a:cubicBezTo>
                      <a:pt x="133" y="37"/>
                      <a:pt x="133" y="37"/>
                      <a:pt x="133" y="37"/>
                    </a:cubicBezTo>
                    <a:cubicBezTo>
                      <a:pt x="133" y="37"/>
                      <a:pt x="132" y="34"/>
                      <a:pt x="133" y="33"/>
                    </a:cubicBezTo>
                    <a:cubicBezTo>
                      <a:pt x="135" y="31"/>
                      <a:pt x="138" y="29"/>
                      <a:pt x="136" y="27"/>
                    </a:cubicBezTo>
                    <a:cubicBezTo>
                      <a:pt x="133" y="24"/>
                      <a:pt x="130" y="24"/>
                      <a:pt x="130" y="24"/>
                    </a:cubicBezTo>
                    <a:cubicBezTo>
                      <a:pt x="126" y="19"/>
                      <a:pt x="126" y="19"/>
                      <a:pt x="126" y="19"/>
                    </a:cubicBezTo>
                    <a:cubicBezTo>
                      <a:pt x="126" y="19"/>
                      <a:pt x="127" y="16"/>
                      <a:pt x="123" y="16"/>
                    </a:cubicBezTo>
                    <a:cubicBezTo>
                      <a:pt x="120" y="15"/>
                      <a:pt x="117" y="18"/>
                      <a:pt x="114" y="17"/>
                    </a:cubicBezTo>
                    <a:cubicBezTo>
                      <a:pt x="111" y="17"/>
                      <a:pt x="110" y="12"/>
                      <a:pt x="110" y="12"/>
                    </a:cubicBezTo>
                    <a:cubicBezTo>
                      <a:pt x="105" y="10"/>
                      <a:pt x="105" y="10"/>
                      <a:pt x="105" y="10"/>
                    </a:cubicBezTo>
                    <a:cubicBezTo>
                      <a:pt x="105" y="10"/>
                      <a:pt x="108" y="5"/>
                      <a:pt x="106" y="3"/>
                    </a:cubicBezTo>
                    <a:cubicBezTo>
                      <a:pt x="103" y="2"/>
                      <a:pt x="101" y="8"/>
                      <a:pt x="101" y="8"/>
                    </a:cubicBezTo>
                    <a:cubicBezTo>
                      <a:pt x="96" y="8"/>
                      <a:pt x="96" y="8"/>
                      <a:pt x="96" y="8"/>
                    </a:cubicBezTo>
                    <a:cubicBezTo>
                      <a:pt x="96" y="8"/>
                      <a:pt x="100" y="1"/>
                      <a:pt x="97" y="1"/>
                    </a:cubicBezTo>
                    <a:cubicBezTo>
                      <a:pt x="93" y="1"/>
                      <a:pt x="88" y="5"/>
                      <a:pt x="88" y="5"/>
                    </a:cubicBezTo>
                    <a:cubicBezTo>
                      <a:pt x="85" y="5"/>
                      <a:pt x="85" y="5"/>
                      <a:pt x="85" y="5"/>
                    </a:cubicBezTo>
                    <a:cubicBezTo>
                      <a:pt x="85" y="5"/>
                      <a:pt x="85" y="0"/>
                      <a:pt x="82" y="2"/>
                    </a:cubicBezTo>
                    <a:cubicBezTo>
                      <a:pt x="78" y="3"/>
                      <a:pt x="80" y="9"/>
                      <a:pt x="80" y="9"/>
                    </a:cubicBezTo>
                    <a:cubicBezTo>
                      <a:pt x="77" y="9"/>
                      <a:pt x="77" y="9"/>
                      <a:pt x="77" y="9"/>
                    </a:cubicBezTo>
                    <a:cubicBezTo>
                      <a:pt x="73" y="8"/>
                      <a:pt x="73" y="8"/>
                      <a:pt x="73" y="8"/>
                    </a:cubicBezTo>
                    <a:cubicBezTo>
                      <a:pt x="73" y="8"/>
                      <a:pt x="63" y="18"/>
                      <a:pt x="56" y="17"/>
                    </a:cubicBezTo>
                    <a:cubicBezTo>
                      <a:pt x="49" y="17"/>
                      <a:pt x="52" y="12"/>
                      <a:pt x="52" y="12"/>
                    </a:cubicBezTo>
                    <a:cubicBezTo>
                      <a:pt x="42" y="9"/>
                      <a:pt x="42" y="9"/>
                      <a:pt x="42" y="9"/>
                    </a:cubicBezTo>
                    <a:cubicBezTo>
                      <a:pt x="41" y="13"/>
                      <a:pt x="41" y="13"/>
                      <a:pt x="41" y="13"/>
                    </a:cubicBezTo>
                    <a:cubicBezTo>
                      <a:pt x="35" y="12"/>
                      <a:pt x="35" y="12"/>
                      <a:pt x="35" y="12"/>
                    </a:cubicBezTo>
                    <a:cubicBezTo>
                      <a:pt x="35" y="12"/>
                      <a:pt x="34" y="9"/>
                      <a:pt x="34" y="8"/>
                    </a:cubicBezTo>
                    <a:cubicBezTo>
                      <a:pt x="35" y="7"/>
                      <a:pt x="35" y="6"/>
                      <a:pt x="36" y="5"/>
                    </a:cubicBezTo>
                    <a:cubicBezTo>
                      <a:pt x="34" y="5"/>
                      <a:pt x="31" y="5"/>
                      <a:pt x="24" y="7"/>
                    </a:cubicBezTo>
                    <a:cubicBezTo>
                      <a:pt x="16" y="11"/>
                      <a:pt x="14" y="13"/>
                      <a:pt x="11" y="15"/>
                    </a:cubicBezTo>
                    <a:cubicBezTo>
                      <a:pt x="7" y="16"/>
                      <a:pt x="1" y="18"/>
                      <a:pt x="1" y="18"/>
                    </a:cubicBezTo>
                    <a:cubicBezTo>
                      <a:pt x="1" y="25"/>
                      <a:pt x="1" y="25"/>
                      <a:pt x="1" y="25"/>
                    </a:cubicBezTo>
                    <a:cubicBezTo>
                      <a:pt x="2" y="25"/>
                      <a:pt x="2" y="25"/>
                      <a:pt x="2" y="25"/>
                    </a:cubicBezTo>
                    <a:cubicBezTo>
                      <a:pt x="2" y="29"/>
                      <a:pt x="2" y="29"/>
                      <a:pt x="2" y="29"/>
                    </a:cubicBezTo>
                    <a:cubicBezTo>
                      <a:pt x="1" y="30"/>
                      <a:pt x="1" y="30"/>
                      <a:pt x="1" y="30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37"/>
                      <a:pt x="1" y="35"/>
                      <a:pt x="3" y="37"/>
                    </a:cubicBezTo>
                    <a:cubicBezTo>
                      <a:pt x="6" y="38"/>
                      <a:pt x="8" y="44"/>
                      <a:pt x="8" y="44"/>
                    </a:cubicBezTo>
                    <a:cubicBezTo>
                      <a:pt x="12" y="45"/>
                      <a:pt x="12" y="45"/>
                      <a:pt x="12" y="45"/>
                    </a:cubicBezTo>
                    <a:cubicBezTo>
                      <a:pt x="12" y="45"/>
                      <a:pt x="13" y="41"/>
                      <a:pt x="15" y="41"/>
                    </a:cubicBezTo>
                    <a:cubicBezTo>
                      <a:pt x="22" y="41"/>
                      <a:pt x="22" y="41"/>
                      <a:pt x="22" y="41"/>
                    </a:cubicBezTo>
                    <a:cubicBezTo>
                      <a:pt x="25" y="48"/>
                      <a:pt x="25" y="48"/>
                      <a:pt x="25" y="48"/>
                    </a:cubicBezTo>
                    <a:cubicBezTo>
                      <a:pt x="25" y="59"/>
                      <a:pt x="25" y="59"/>
                      <a:pt x="25" y="59"/>
                    </a:cubicBezTo>
                    <a:cubicBezTo>
                      <a:pt x="28" y="62"/>
                      <a:pt x="28" y="62"/>
                      <a:pt x="28" y="62"/>
                    </a:cubicBezTo>
                    <a:cubicBezTo>
                      <a:pt x="35" y="59"/>
                      <a:pt x="35" y="59"/>
                      <a:pt x="35" y="59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4"/>
                      <a:pt x="38" y="77"/>
                      <a:pt x="40" y="76"/>
                    </a:cubicBezTo>
                    <a:cubicBezTo>
                      <a:pt x="44" y="76"/>
                      <a:pt x="44" y="71"/>
                      <a:pt x="49" y="72"/>
                    </a:cubicBezTo>
                    <a:cubicBezTo>
                      <a:pt x="53" y="73"/>
                      <a:pt x="61" y="74"/>
                      <a:pt x="61" y="78"/>
                    </a:cubicBezTo>
                    <a:cubicBezTo>
                      <a:pt x="61" y="84"/>
                      <a:pt x="58" y="87"/>
                      <a:pt x="58" y="87"/>
                    </a:cubicBezTo>
                    <a:cubicBezTo>
                      <a:pt x="62" y="91"/>
                      <a:pt x="62" y="91"/>
                      <a:pt x="62" y="91"/>
                    </a:cubicBezTo>
                    <a:cubicBezTo>
                      <a:pt x="62" y="91"/>
                      <a:pt x="53" y="97"/>
                      <a:pt x="60" y="100"/>
                    </a:cubicBezTo>
                    <a:cubicBezTo>
                      <a:pt x="65" y="102"/>
                      <a:pt x="70" y="100"/>
                      <a:pt x="70" y="100"/>
                    </a:cubicBezTo>
                    <a:cubicBezTo>
                      <a:pt x="73" y="103"/>
                      <a:pt x="73" y="103"/>
                      <a:pt x="73" y="103"/>
                    </a:cubicBezTo>
                    <a:cubicBezTo>
                      <a:pt x="77" y="100"/>
                      <a:pt x="77" y="100"/>
                      <a:pt x="77" y="100"/>
                    </a:cubicBezTo>
                    <a:cubicBezTo>
                      <a:pt x="80" y="98"/>
                      <a:pt x="80" y="98"/>
                      <a:pt x="80" y="98"/>
                    </a:cubicBezTo>
                    <a:cubicBezTo>
                      <a:pt x="80" y="98"/>
                      <a:pt x="86" y="85"/>
                      <a:pt x="89" y="88"/>
                    </a:cubicBezTo>
                    <a:cubicBezTo>
                      <a:pt x="93" y="91"/>
                      <a:pt x="86" y="100"/>
                      <a:pt x="86" y="100"/>
                    </a:cubicBezTo>
                    <a:cubicBezTo>
                      <a:pt x="86" y="100"/>
                      <a:pt x="88" y="100"/>
                      <a:pt x="88" y="103"/>
                    </a:cubicBezTo>
                    <a:cubicBezTo>
                      <a:pt x="89" y="105"/>
                      <a:pt x="86" y="110"/>
                      <a:pt x="86" y="110"/>
                    </a:cubicBezTo>
                    <a:cubicBezTo>
                      <a:pt x="88" y="112"/>
                      <a:pt x="88" y="112"/>
                      <a:pt x="88" y="112"/>
                    </a:cubicBezTo>
                    <a:cubicBezTo>
                      <a:pt x="95" y="112"/>
                      <a:pt x="95" y="112"/>
                      <a:pt x="95" y="112"/>
                    </a:cubicBezTo>
                    <a:cubicBezTo>
                      <a:pt x="107" y="122"/>
                      <a:pt x="107" y="122"/>
                      <a:pt x="107" y="122"/>
                    </a:cubicBezTo>
                    <a:cubicBezTo>
                      <a:pt x="107" y="124"/>
                      <a:pt x="107" y="124"/>
                      <a:pt x="107" y="124"/>
                    </a:cubicBezTo>
                    <a:cubicBezTo>
                      <a:pt x="114" y="133"/>
                      <a:pt x="114" y="133"/>
                      <a:pt x="114" y="133"/>
                    </a:cubicBezTo>
                    <a:cubicBezTo>
                      <a:pt x="129" y="132"/>
                      <a:pt x="129" y="132"/>
                      <a:pt x="129" y="132"/>
                    </a:cubicBezTo>
                    <a:cubicBezTo>
                      <a:pt x="132" y="124"/>
                      <a:pt x="132" y="124"/>
                      <a:pt x="132" y="124"/>
                    </a:cubicBezTo>
                    <a:cubicBezTo>
                      <a:pt x="128" y="105"/>
                      <a:pt x="128" y="105"/>
                      <a:pt x="128" y="105"/>
                    </a:cubicBezTo>
                    <a:cubicBezTo>
                      <a:pt x="131" y="104"/>
                      <a:pt x="131" y="104"/>
                      <a:pt x="131" y="104"/>
                    </a:cubicBezTo>
                    <a:cubicBezTo>
                      <a:pt x="138" y="90"/>
                      <a:pt x="138" y="90"/>
                      <a:pt x="138" y="90"/>
                    </a:cubicBezTo>
                    <a:cubicBezTo>
                      <a:pt x="147" y="92"/>
                      <a:pt x="147" y="92"/>
                      <a:pt x="147" y="92"/>
                    </a:cubicBezTo>
                    <a:cubicBezTo>
                      <a:pt x="148" y="89"/>
                      <a:pt x="148" y="87"/>
                      <a:pt x="150" y="85"/>
                    </a:cubicBezTo>
                    <a:cubicBezTo>
                      <a:pt x="152" y="82"/>
                      <a:pt x="157" y="81"/>
                      <a:pt x="159" y="80"/>
                    </a:cubicBezTo>
                    <a:cubicBezTo>
                      <a:pt x="160" y="78"/>
                      <a:pt x="157" y="70"/>
                      <a:pt x="156" y="69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268" name="Austria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4783138" y="4260850"/>
                <a:ext cx="731837" cy="363537"/>
              </a:xfrm>
              <a:custGeom>
                <a:avLst/>
                <a:gdLst/>
                <a:ahLst/>
                <a:cxnLst>
                  <a:cxn ang="0">
                    <a:pos x="335" y="43"/>
                  </a:cxn>
                  <a:cxn ang="0">
                    <a:pos x="332" y="17"/>
                  </a:cxn>
                  <a:cxn ang="0">
                    <a:pos x="320" y="11"/>
                  </a:cxn>
                  <a:cxn ang="0">
                    <a:pos x="293" y="14"/>
                  </a:cxn>
                  <a:cxn ang="0">
                    <a:pos x="267" y="2"/>
                  </a:cxn>
                  <a:cxn ang="0">
                    <a:pos x="251" y="0"/>
                  </a:cxn>
                  <a:cxn ang="0">
                    <a:pos x="237" y="14"/>
                  </a:cxn>
                  <a:cxn ang="0">
                    <a:pos x="228" y="26"/>
                  </a:cxn>
                  <a:cxn ang="0">
                    <a:pos x="217" y="31"/>
                  </a:cxn>
                  <a:cxn ang="0">
                    <a:pos x="205" y="25"/>
                  </a:cxn>
                  <a:cxn ang="0">
                    <a:pos x="193" y="18"/>
                  </a:cxn>
                  <a:cxn ang="0">
                    <a:pos x="177" y="31"/>
                  </a:cxn>
                  <a:cxn ang="0">
                    <a:pos x="149" y="60"/>
                  </a:cxn>
                  <a:cxn ang="0">
                    <a:pos x="156" y="88"/>
                  </a:cxn>
                  <a:cxn ang="0">
                    <a:pos x="150" y="98"/>
                  </a:cxn>
                  <a:cxn ang="0">
                    <a:pos x="126" y="91"/>
                  </a:cxn>
                  <a:cxn ang="0">
                    <a:pos x="110" y="95"/>
                  </a:cxn>
                  <a:cxn ang="0">
                    <a:pos x="90" y="107"/>
                  </a:cxn>
                  <a:cxn ang="0">
                    <a:pos x="69" y="110"/>
                  </a:cxn>
                  <a:cxn ang="0">
                    <a:pos x="51" y="99"/>
                  </a:cxn>
                  <a:cxn ang="0">
                    <a:pos x="34" y="117"/>
                  </a:cxn>
                  <a:cxn ang="0">
                    <a:pos x="27" y="104"/>
                  </a:cxn>
                  <a:cxn ang="0">
                    <a:pos x="10" y="99"/>
                  </a:cxn>
                  <a:cxn ang="0">
                    <a:pos x="3" y="120"/>
                  </a:cxn>
                  <a:cxn ang="0">
                    <a:pos x="18" y="133"/>
                  </a:cxn>
                  <a:cxn ang="0">
                    <a:pos x="32" y="144"/>
                  </a:cxn>
                  <a:cxn ang="0">
                    <a:pos x="45" y="146"/>
                  </a:cxn>
                  <a:cxn ang="0">
                    <a:pos x="57" y="149"/>
                  </a:cxn>
                  <a:cxn ang="0">
                    <a:pos x="76" y="138"/>
                  </a:cxn>
                  <a:cxn ang="0">
                    <a:pos x="104" y="139"/>
                  </a:cxn>
                  <a:cxn ang="0">
                    <a:pos x="125" y="128"/>
                  </a:cxn>
                  <a:cxn ang="0">
                    <a:pos x="127" y="142"/>
                  </a:cxn>
                  <a:cxn ang="0">
                    <a:pos x="134" y="156"/>
                  </a:cxn>
                  <a:cxn ang="0">
                    <a:pos x="169" y="160"/>
                  </a:cxn>
                  <a:cxn ang="0">
                    <a:pos x="197" y="165"/>
                  </a:cxn>
                  <a:cxn ang="0">
                    <a:pos x="214" y="170"/>
                  </a:cxn>
                  <a:cxn ang="0">
                    <a:pos x="238" y="164"/>
                  </a:cxn>
                  <a:cxn ang="0">
                    <a:pos x="256" y="153"/>
                  </a:cxn>
                  <a:cxn ang="0">
                    <a:pos x="275" y="154"/>
                  </a:cxn>
                  <a:cxn ang="0">
                    <a:pos x="295" y="149"/>
                  </a:cxn>
                  <a:cxn ang="0">
                    <a:pos x="300" y="137"/>
                  </a:cxn>
                  <a:cxn ang="0">
                    <a:pos x="320" y="118"/>
                  </a:cxn>
                  <a:cxn ang="0">
                    <a:pos x="313" y="104"/>
                  </a:cxn>
                  <a:cxn ang="0">
                    <a:pos x="317" y="86"/>
                  </a:cxn>
                  <a:cxn ang="0">
                    <a:pos x="328" y="82"/>
                  </a:cxn>
                  <a:cxn ang="0">
                    <a:pos x="339" y="69"/>
                  </a:cxn>
                </a:cxnLst>
                <a:rect l="0" t="0" r="r" b="b"/>
                <a:pathLst>
                  <a:path w="343" h="171">
                    <a:moveTo>
                      <a:pt x="342" y="57"/>
                    </a:moveTo>
                    <a:cubicBezTo>
                      <a:pt x="340" y="53"/>
                      <a:pt x="337" y="49"/>
                      <a:pt x="337" y="49"/>
                    </a:cubicBezTo>
                    <a:cubicBezTo>
                      <a:pt x="335" y="43"/>
                      <a:pt x="335" y="43"/>
                      <a:pt x="335" y="43"/>
                    </a:cubicBezTo>
                    <a:cubicBezTo>
                      <a:pt x="335" y="43"/>
                      <a:pt x="328" y="39"/>
                      <a:pt x="328" y="34"/>
                    </a:cubicBezTo>
                    <a:cubicBezTo>
                      <a:pt x="329" y="29"/>
                      <a:pt x="332" y="27"/>
                      <a:pt x="332" y="27"/>
                    </a:cubicBezTo>
                    <a:cubicBezTo>
                      <a:pt x="332" y="17"/>
                      <a:pt x="332" y="17"/>
                      <a:pt x="332" y="17"/>
                    </a:cubicBezTo>
                    <a:cubicBezTo>
                      <a:pt x="329" y="14"/>
                      <a:pt x="329" y="14"/>
                      <a:pt x="329" y="14"/>
                    </a:cubicBezTo>
                    <a:cubicBezTo>
                      <a:pt x="322" y="14"/>
                      <a:pt x="322" y="14"/>
                      <a:pt x="322" y="14"/>
                    </a:cubicBezTo>
                    <a:cubicBezTo>
                      <a:pt x="320" y="11"/>
                      <a:pt x="320" y="11"/>
                      <a:pt x="320" y="11"/>
                    </a:cubicBezTo>
                    <a:cubicBezTo>
                      <a:pt x="309" y="8"/>
                      <a:pt x="309" y="8"/>
                      <a:pt x="309" y="8"/>
                    </a:cubicBezTo>
                    <a:cubicBezTo>
                      <a:pt x="307" y="13"/>
                      <a:pt x="307" y="13"/>
                      <a:pt x="307" y="13"/>
                    </a:cubicBezTo>
                    <a:cubicBezTo>
                      <a:pt x="293" y="14"/>
                      <a:pt x="293" y="14"/>
                      <a:pt x="293" y="14"/>
                    </a:cubicBezTo>
                    <a:cubicBezTo>
                      <a:pt x="293" y="14"/>
                      <a:pt x="288" y="6"/>
                      <a:pt x="283" y="6"/>
                    </a:cubicBezTo>
                    <a:cubicBezTo>
                      <a:pt x="279" y="6"/>
                      <a:pt x="277" y="7"/>
                      <a:pt x="277" y="7"/>
                    </a:cubicBezTo>
                    <a:cubicBezTo>
                      <a:pt x="277" y="7"/>
                      <a:pt x="268" y="2"/>
                      <a:pt x="267" y="2"/>
                    </a:cubicBezTo>
                    <a:cubicBezTo>
                      <a:pt x="266" y="2"/>
                      <a:pt x="259" y="0"/>
                      <a:pt x="259" y="0"/>
                    </a:cubicBezTo>
                    <a:cubicBezTo>
                      <a:pt x="259" y="0"/>
                      <a:pt x="258" y="1"/>
                      <a:pt x="256" y="2"/>
                    </a:cubicBezTo>
                    <a:cubicBezTo>
                      <a:pt x="253" y="2"/>
                      <a:pt x="251" y="0"/>
                      <a:pt x="251" y="0"/>
                    </a:cubicBezTo>
                    <a:cubicBezTo>
                      <a:pt x="245" y="0"/>
                      <a:pt x="245" y="0"/>
                      <a:pt x="245" y="0"/>
                    </a:cubicBezTo>
                    <a:cubicBezTo>
                      <a:pt x="244" y="17"/>
                      <a:pt x="244" y="17"/>
                      <a:pt x="244" y="17"/>
                    </a:cubicBezTo>
                    <a:cubicBezTo>
                      <a:pt x="237" y="14"/>
                      <a:pt x="237" y="14"/>
                      <a:pt x="237" y="14"/>
                    </a:cubicBezTo>
                    <a:cubicBezTo>
                      <a:pt x="237" y="14"/>
                      <a:pt x="233" y="18"/>
                      <a:pt x="232" y="20"/>
                    </a:cubicBezTo>
                    <a:cubicBezTo>
                      <a:pt x="232" y="22"/>
                      <a:pt x="235" y="28"/>
                      <a:pt x="234" y="28"/>
                    </a:cubicBezTo>
                    <a:cubicBezTo>
                      <a:pt x="232" y="28"/>
                      <a:pt x="228" y="26"/>
                      <a:pt x="228" y="26"/>
                    </a:cubicBezTo>
                    <a:cubicBezTo>
                      <a:pt x="225" y="26"/>
                      <a:pt x="225" y="26"/>
                      <a:pt x="225" y="26"/>
                    </a:cubicBezTo>
                    <a:cubicBezTo>
                      <a:pt x="222" y="25"/>
                      <a:pt x="222" y="25"/>
                      <a:pt x="222" y="25"/>
                    </a:cubicBezTo>
                    <a:cubicBezTo>
                      <a:pt x="217" y="31"/>
                      <a:pt x="217" y="31"/>
                      <a:pt x="217" y="31"/>
                    </a:cubicBezTo>
                    <a:cubicBezTo>
                      <a:pt x="207" y="29"/>
                      <a:pt x="207" y="29"/>
                      <a:pt x="207" y="29"/>
                    </a:cubicBezTo>
                    <a:cubicBezTo>
                      <a:pt x="204" y="27"/>
                      <a:pt x="204" y="27"/>
                      <a:pt x="204" y="27"/>
                    </a:cubicBezTo>
                    <a:cubicBezTo>
                      <a:pt x="205" y="25"/>
                      <a:pt x="205" y="25"/>
                      <a:pt x="205" y="25"/>
                    </a:cubicBezTo>
                    <a:cubicBezTo>
                      <a:pt x="205" y="25"/>
                      <a:pt x="202" y="20"/>
                      <a:pt x="201" y="19"/>
                    </a:cubicBezTo>
                    <a:cubicBezTo>
                      <a:pt x="199" y="19"/>
                      <a:pt x="197" y="17"/>
                      <a:pt x="197" y="17"/>
                    </a:cubicBezTo>
                    <a:cubicBezTo>
                      <a:pt x="193" y="18"/>
                      <a:pt x="193" y="18"/>
                      <a:pt x="193" y="18"/>
                    </a:cubicBezTo>
                    <a:cubicBezTo>
                      <a:pt x="193" y="19"/>
                      <a:pt x="194" y="19"/>
                      <a:pt x="194" y="20"/>
                    </a:cubicBezTo>
                    <a:cubicBezTo>
                      <a:pt x="194" y="25"/>
                      <a:pt x="192" y="30"/>
                      <a:pt x="190" y="33"/>
                    </a:cubicBezTo>
                    <a:cubicBezTo>
                      <a:pt x="184" y="29"/>
                      <a:pt x="181" y="29"/>
                      <a:pt x="177" y="31"/>
                    </a:cubicBezTo>
                    <a:cubicBezTo>
                      <a:pt x="179" y="35"/>
                      <a:pt x="176" y="48"/>
                      <a:pt x="169" y="48"/>
                    </a:cubicBezTo>
                    <a:cubicBezTo>
                      <a:pt x="166" y="48"/>
                      <a:pt x="163" y="49"/>
                      <a:pt x="160" y="50"/>
                    </a:cubicBezTo>
                    <a:cubicBezTo>
                      <a:pt x="158" y="51"/>
                      <a:pt x="153" y="59"/>
                      <a:pt x="149" y="60"/>
                    </a:cubicBezTo>
                    <a:cubicBezTo>
                      <a:pt x="145" y="62"/>
                      <a:pt x="151" y="65"/>
                      <a:pt x="152" y="67"/>
                    </a:cubicBezTo>
                    <a:cubicBezTo>
                      <a:pt x="153" y="70"/>
                      <a:pt x="156" y="70"/>
                      <a:pt x="158" y="74"/>
                    </a:cubicBezTo>
                    <a:cubicBezTo>
                      <a:pt x="162" y="80"/>
                      <a:pt x="157" y="81"/>
                      <a:pt x="156" y="88"/>
                    </a:cubicBezTo>
                    <a:cubicBezTo>
                      <a:pt x="161" y="86"/>
                      <a:pt x="162" y="88"/>
                      <a:pt x="164" y="91"/>
                    </a:cubicBezTo>
                    <a:cubicBezTo>
                      <a:pt x="164" y="92"/>
                      <a:pt x="163" y="100"/>
                      <a:pt x="162" y="102"/>
                    </a:cubicBezTo>
                    <a:cubicBezTo>
                      <a:pt x="160" y="104"/>
                      <a:pt x="151" y="100"/>
                      <a:pt x="150" y="98"/>
                    </a:cubicBezTo>
                    <a:cubicBezTo>
                      <a:pt x="149" y="97"/>
                      <a:pt x="150" y="91"/>
                      <a:pt x="151" y="90"/>
                    </a:cubicBezTo>
                    <a:cubicBezTo>
                      <a:pt x="144" y="86"/>
                      <a:pt x="143" y="97"/>
                      <a:pt x="139" y="94"/>
                    </a:cubicBezTo>
                    <a:cubicBezTo>
                      <a:pt x="134" y="91"/>
                      <a:pt x="131" y="89"/>
                      <a:pt x="126" y="91"/>
                    </a:cubicBezTo>
                    <a:cubicBezTo>
                      <a:pt x="126" y="85"/>
                      <a:pt x="126" y="85"/>
                      <a:pt x="126" y="85"/>
                    </a:cubicBezTo>
                    <a:cubicBezTo>
                      <a:pt x="119" y="90"/>
                      <a:pt x="127" y="92"/>
                      <a:pt x="124" y="95"/>
                    </a:cubicBezTo>
                    <a:cubicBezTo>
                      <a:pt x="123" y="96"/>
                      <a:pt x="112" y="95"/>
                      <a:pt x="110" y="95"/>
                    </a:cubicBezTo>
                    <a:cubicBezTo>
                      <a:pt x="107" y="96"/>
                      <a:pt x="102" y="96"/>
                      <a:pt x="98" y="97"/>
                    </a:cubicBezTo>
                    <a:cubicBezTo>
                      <a:pt x="96" y="98"/>
                      <a:pt x="90" y="102"/>
                      <a:pt x="88" y="105"/>
                    </a:cubicBezTo>
                    <a:cubicBezTo>
                      <a:pt x="88" y="105"/>
                      <a:pt x="90" y="106"/>
                      <a:pt x="90" y="107"/>
                    </a:cubicBezTo>
                    <a:cubicBezTo>
                      <a:pt x="85" y="105"/>
                      <a:pt x="84" y="109"/>
                      <a:pt x="80" y="110"/>
                    </a:cubicBezTo>
                    <a:cubicBezTo>
                      <a:pt x="81" y="107"/>
                      <a:pt x="81" y="107"/>
                      <a:pt x="81" y="107"/>
                    </a:cubicBezTo>
                    <a:cubicBezTo>
                      <a:pt x="78" y="109"/>
                      <a:pt x="74" y="110"/>
                      <a:pt x="69" y="110"/>
                    </a:cubicBezTo>
                    <a:cubicBezTo>
                      <a:pt x="69" y="107"/>
                      <a:pt x="67" y="105"/>
                      <a:pt x="65" y="104"/>
                    </a:cubicBezTo>
                    <a:cubicBezTo>
                      <a:pt x="66" y="102"/>
                      <a:pt x="67" y="101"/>
                      <a:pt x="65" y="100"/>
                    </a:cubicBezTo>
                    <a:cubicBezTo>
                      <a:pt x="66" y="100"/>
                      <a:pt x="53" y="97"/>
                      <a:pt x="51" y="99"/>
                    </a:cubicBezTo>
                    <a:cubicBezTo>
                      <a:pt x="49" y="104"/>
                      <a:pt x="47" y="97"/>
                      <a:pt x="48" y="97"/>
                    </a:cubicBezTo>
                    <a:cubicBezTo>
                      <a:pt x="44" y="99"/>
                      <a:pt x="48" y="102"/>
                      <a:pt x="48" y="107"/>
                    </a:cubicBezTo>
                    <a:cubicBezTo>
                      <a:pt x="47" y="112"/>
                      <a:pt x="38" y="116"/>
                      <a:pt x="34" y="117"/>
                    </a:cubicBezTo>
                    <a:cubicBezTo>
                      <a:pt x="34" y="116"/>
                      <a:pt x="38" y="111"/>
                      <a:pt x="35" y="110"/>
                    </a:cubicBezTo>
                    <a:cubicBezTo>
                      <a:pt x="34" y="109"/>
                      <a:pt x="31" y="111"/>
                      <a:pt x="31" y="112"/>
                    </a:cubicBezTo>
                    <a:cubicBezTo>
                      <a:pt x="29" y="107"/>
                      <a:pt x="30" y="107"/>
                      <a:pt x="27" y="104"/>
                    </a:cubicBezTo>
                    <a:cubicBezTo>
                      <a:pt x="24" y="101"/>
                      <a:pt x="19" y="97"/>
                      <a:pt x="18" y="97"/>
                    </a:cubicBezTo>
                    <a:cubicBezTo>
                      <a:pt x="14" y="95"/>
                      <a:pt x="16" y="100"/>
                      <a:pt x="12" y="100"/>
                    </a:cubicBezTo>
                    <a:cubicBezTo>
                      <a:pt x="11" y="100"/>
                      <a:pt x="11" y="100"/>
                      <a:pt x="10" y="99"/>
                    </a:cubicBezTo>
                    <a:cubicBezTo>
                      <a:pt x="10" y="107"/>
                      <a:pt x="10" y="107"/>
                      <a:pt x="10" y="107"/>
                    </a:cubicBezTo>
                    <a:cubicBezTo>
                      <a:pt x="10" y="110"/>
                      <a:pt x="0" y="120"/>
                      <a:pt x="0" y="120"/>
                    </a:cubicBezTo>
                    <a:cubicBezTo>
                      <a:pt x="3" y="120"/>
                      <a:pt x="3" y="120"/>
                      <a:pt x="3" y="120"/>
                    </a:cubicBezTo>
                    <a:cubicBezTo>
                      <a:pt x="5" y="129"/>
                      <a:pt x="5" y="129"/>
                      <a:pt x="5" y="129"/>
                    </a:cubicBezTo>
                    <a:cubicBezTo>
                      <a:pt x="2" y="130"/>
                      <a:pt x="2" y="130"/>
                      <a:pt x="2" y="130"/>
                    </a:cubicBezTo>
                    <a:cubicBezTo>
                      <a:pt x="18" y="133"/>
                      <a:pt x="18" y="133"/>
                      <a:pt x="18" y="133"/>
                    </a:cubicBezTo>
                    <a:cubicBezTo>
                      <a:pt x="18" y="133"/>
                      <a:pt x="16" y="139"/>
                      <a:pt x="17" y="140"/>
                    </a:cubicBezTo>
                    <a:cubicBezTo>
                      <a:pt x="18" y="142"/>
                      <a:pt x="22" y="141"/>
                      <a:pt x="22" y="141"/>
                    </a:cubicBezTo>
                    <a:cubicBezTo>
                      <a:pt x="22" y="141"/>
                      <a:pt x="29" y="146"/>
                      <a:pt x="32" y="144"/>
                    </a:cubicBezTo>
                    <a:cubicBezTo>
                      <a:pt x="35" y="143"/>
                      <a:pt x="41" y="136"/>
                      <a:pt x="41" y="136"/>
                    </a:cubicBezTo>
                    <a:cubicBezTo>
                      <a:pt x="46" y="140"/>
                      <a:pt x="46" y="140"/>
                      <a:pt x="46" y="140"/>
                    </a:cubicBezTo>
                    <a:cubicBezTo>
                      <a:pt x="45" y="146"/>
                      <a:pt x="45" y="146"/>
                      <a:pt x="45" y="146"/>
                    </a:cubicBezTo>
                    <a:cubicBezTo>
                      <a:pt x="48" y="146"/>
                      <a:pt x="48" y="146"/>
                      <a:pt x="48" y="146"/>
                    </a:cubicBezTo>
                    <a:cubicBezTo>
                      <a:pt x="48" y="146"/>
                      <a:pt x="50" y="142"/>
                      <a:pt x="53" y="143"/>
                    </a:cubicBezTo>
                    <a:cubicBezTo>
                      <a:pt x="57" y="145"/>
                      <a:pt x="57" y="149"/>
                      <a:pt x="57" y="149"/>
                    </a:cubicBezTo>
                    <a:cubicBezTo>
                      <a:pt x="69" y="152"/>
                      <a:pt x="69" y="152"/>
                      <a:pt x="69" y="152"/>
                    </a:cubicBezTo>
                    <a:cubicBezTo>
                      <a:pt x="73" y="147"/>
                      <a:pt x="73" y="147"/>
                      <a:pt x="73" y="147"/>
                    </a:cubicBezTo>
                    <a:cubicBezTo>
                      <a:pt x="73" y="147"/>
                      <a:pt x="67" y="139"/>
                      <a:pt x="76" y="138"/>
                    </a:cubicBezTo>
                    <a:cubicBezTo>
                      <a:pt x="85" y="137"/>
                      <a:pt x="87" y="138"/>
                      <a:pt x="87" y="138"/>
                    </a:cubicBezTo>
                    <a:cubicBezTo>
                      <a:pt x="90" y="133"/>
                      <a:pt x="90" y="133"/>
                      <a:pt x="90" y="133"/>
                    </a:cubicBezTo>
                    <a:cubicBezTo>
                      <a:pt x="104" y="139"/>
                      <a:pt x="104" y="139"/>
                      <a:pt x="104" y="139"/>
                    </a:cubicBezTo>
                    <a:cubicBezTo>
                      <a:pt x="113" y="130"/>
                      <a:pt x="113" y="130"/>
                      <a:pt x="113" y="130"/>
                    </a:cubicBezTo>
                    <a:cubicBezTo>
                      <a:pt x="117" y="132"/>
                      <a:pt x="117" y="132"/>
                      <a:pt x="117" y="132"/>
                    </a:cubicBezTo>
                    <a:cubicBezTo>
                      <a:pt x="117" y="132"/>
                      <a:pt x="123" y="126"/>
                      <a:pt x="125" y="128"/>
                    </a:cubicBezTo>
                    <a:cubicBezTo>
                      <a:pt x="127" y="130"/>
                      <a:pt x="120" y="134"/>
                      <a:pt x="120" y="134"/>
                    </a:cubicBezTo>
                    <a:cubicBezTo>
                      <a:pt x="123" y="143"/>
                      <a:pt x="123" y="143"/>
                      <a:pt x="123" y="143"/>
                    </a:cubicBezTo>
                    <a:cubicBezTo>
                      <a:pt x="123" y="143"/>
                      <a:pt x="125" y="141"/>
                      <a:pt x="127" y="142"/>
                    </a:cubicBezTo>
                    <a:cubicBezTo>
                      <a:pt x="129" y="143"/>
                      <a:pt x="128" y="147"/>
                      <a:pt x="128" y="147"/>
                    </a:cubicBezTo>
                    <a:cubicBezTo>
                      <a:pt x="131" y="148"/>
                      <a:pt x="131" y="148"/>
                      <a:pt x="131" y="148"/>
                    </a:cubicBezTo>
                    <a:cubicBezTo>
                      <a:pt x="134" y="156"/>
                      <a:pt x="134" y="156"/>
                      <a:pt x="134" y="156"/>
                    </a:cubicBezTo>
                    <a:cubicBezTo>
                      <a:pt x="151" y="157"/>
                      <a:pt x="151" y="157"/>
                      <a:pt x="151" y="157"/>
                    </a:cubicBezTo>
                    <a:cubicBezTo>
                      <a:pt x="153" y="160"/>
                      <a:pt x="153" y="160"/>
                      <a:pt x="153" y="160"/>
                    </a:cubicBezTo>
                    <a:cubicBezTo>
                      <a:pt x="169" y="160"/>
                      <a:pt x="169" y="160"/>
                      <a:pt x="169" y="160"/>
                    </a:cubicBezTo>
                    <a:cubicBezTo>
                      <a:pt x="172" y="163"/>
                      <a:pt x="172" y="163"/>
                      <a:pt x="172" y="163"/>
                    </a:cubicBezTo>
                    <a:cubicBezTo>
                      <a:pt x="178" y="161"/>
                      <a:pt x="178" y="161"/>
                      <a:pt x="178" y="161"/>
                    </a:cubicBezTo>
                    <a:cubicBezTo>
                      <a:pt x="197" y="165"/>
                      <a:pt x="197" y="165"/>
                      <a:pt x="197" y="165"/>
                    </a:cubicBezTo>
                    <a:cubicBezTo>
                      <a:pt x="202" y="164"/>
                      <a:pt x="202" y="164"/>
                      <a:pt x="202" y="164"/>
                    </a:cubicBezTo>
                    <a:cubicBezTo>
                      <a:pt x="212" y="167"/>
                      <a:pt x="212" y="167"/>
                      <a:pt x="212" y="167"/>
                    </a:cubicBezTo>
                    <a:cubicBezTo>
                      <a:pt x="214" y="170"/>
                      <a:pt x="214" y="170"/>
                      <a:pt x="214" y="170"/>
                    </a:cubicBezTo>
                    <a:cubicBezTo>
                      <a:pt x="225" y="168"/>
                      <a:pt x="225" y="168"/>
                      <a:pt x="225" y="168"/>
                    </a:cubicBezTo>
                    <a:cubicBezTo>
                      <a:pt x="232" y="171"/>
                      <a:pt x="232" y="171"/>
                      <a:pt x="232" y="171"/>
                    </a:cubicBezTo>
                    <a:cubicBezTo>
                      <a:pt x="238" y="164"/>
                      <a:pt x="238" y="164"/>
                      <a:pt x="238" y="164"/>
                    </a:cubicBezTo>
                    <a:cubicBezTo>
                      <a:pt x="238" y="164"/>
                      <a:pt x="241" y="164"/>
                      <a:pt x="243" y="163"/>
                    </a:cubicBezTo>
                    <a:cubicBezTo>
                      <a:pt x="245" y="162"/>
                      <a:pt x="244" y="156"/>
                      <a:pt x="247" y="156"/>
                    </a:cubicBezTo>
                    <a:cubicBezTo>
                      <a:pt x="251" y="155"/>
                      <a:pt x="256" y="153"/>
                      <a:pt x="256" y="153"/>
                    </a:cubicBezTo>
                    <a:cubicBezTo>
                      <a:pt x="262" y="154"/>
                      <a:pt x="262" y="154"/>
                      <a:pt x="262" y="154"/>
                    </a:cubicBezTo>
                    <a:cubicBezTo>
                      <a:pt x="262" y="154"/>
                      <a:pt x="267" y="151"/>
                      <a:pt x="270" y="152"/>
                    </a:cubicBezTo>
                    <a:cubicBezTo>
                      <a:pt x="273" y="152"/>
                      <a:pt x="275" y="154"/>
                      <a:pt x="275" y="154"/>
                    </a:cubicBezTo>
                    <a:cubicBezTo>
                      <a:pt x="279" y="149"/>
                      <a:pt x="279" y="149"/>
                      <a:pt x="279" y="149"/>
                    </a:cubicBezTo>
                    <a:cubicBezTo>
                      <a:pt x="279" y="149"/>
                      <a:pt x="279" y="147"/>
                      <a:pt x="287" y="147"/>
                    </a:cubicBezTo>
                    <a:cubicBezTo>
                      <a:pt x="293" y="146"/>
                      <a:pt x="295" y="149"/>
                      <a:pt x="295" y="149"/>
                    </a:cubicBezTo>
                    <a:cubicBezTo>
                      <a:pt x="298" y="147"/>
                      <a:pt x="298" y="147"/>
                      <a:pt x="298" y="147"/>
                    </a:cubicBezTo>
                    <a:cubicBezTo>
                      <a:pt x="298" y="147"/>
                      <a:pt x="294" y="144"/>
                      <a:pt x="296" y="140"/>
                    </a:cubicBezTo>
                    <a:cubicBezTo>
                      <a:pt x="298" y="136"/>
                      <a:pt x="300" y="137"/>
                      <a:pt x="300" y="137"/>
                    </a:cubicBezTo>
                    <a:cubicBezTo>
                      <a:pt x="309" y="128"/>
                      <a:pt x="309" y="128"/>
                      <a:pt x="309" y="128"/>
                    </a:cubicBezTo>
                    <a:cubicBezTo>
                      <a:pt x="319" y="127"/>
                      <a:pt x="319" y="127"/>
                      <a:pt x="319" y="127"/>
                    </a:cubicBezTo>
                    <a:cubicBezTo>
                      <a:pt x="320" y="118"/>
                      <a:pt x="320" y="118"/>
                      <a:pt x="320" y="118"/>
                    </a:cubicBezTo>
                    <a:cubicBezTo>
                      <a:pt x="320" y="118"/>
                      <a:pt x="315" y="117"/>
                      <a:pt x="315" y="115"/>
                    </a:cubicBezTo>
                    <a:cubicBezTo>
                      <a:pt x="314" y="112"/>
                      <a:pt x="317" y="110"/>
                      <a:pt x="317" y="109"/>
                    </a:cubicBezTo>
                    <a:cubicBezTo>
                      <a:pt x="317" y="107"/>
                      <a:pt x="313" y="107"/>
                      <a:pt x="313" y="104"/>
                    </a:cubicBezTo>
                    <a:cubicBezTo>
                      <a:pt x="314" y="101"/>
                      <a:pt x="328" y="98"/>
                      <a:pt x="326" y="92"/>
                    </a:cubicBezTo>
                    <a:cubicBezTo>
                      <a:pt x="324" y="85"/>
                      <a:pt x="322" y="85"/>
                      <a:pt x="322" y="85"/>
                    </a:cubicBezTo>
                    <a:cubicBezTo>
                      <a:pt x="317" y="86"/>
                      <a:pt x="317" y="86"/>
                      <a:pt x="317" y="86"/>
                    </a:cubicBezTo>
                    <a:cubicBezTo>
                      <a:pt x="317" y="86"/>
                      <a:pt x="312" y="88"/>
                      <a:pt x="314" y="83"/>
                    </a:cubicBezTo>
                    <a:cubicBezTo>
                      <a:pt x="315" y="79"/>
                      <a:pt x="320" y="78"/>
                      <a:pt x="322" y="77"/>
                    </a:cubicBezTo>
                    <a:cubicBezTo>
                      <a:pt x="324" y="77"/>
                      <a:pt x="328" y="82"/>
                      <a:pt x="328" y="82"/>
                    </a:cubicBezTo>
                    <a:cubicBezTo>
                      <a:pt x="341" y="78"/>
                      <a:pt x="341" y="78"/>
                      <a:pt x="341" y="78"/>
                    </a:cubicBezTo>
                    <a:cubicBezTo>
                      <a:pt x="341" y="70"/>
                      <a:pt x="341" y="70"/>
                      <a:pt x="341" y="70"/>
                    </a:cubicBezTo>
                    <a:cubicBezTo>
                      <a:pt x="339" y="69"/>
                      <a:pt x="339" y="69"/>
                      <a:pt x="339" y="69"/>
                    </a:cubicBezTo>
                    <a:cubicBezTo>
                      <a:pt x="342" y="67"/>
                      <a:pt x="342" y="67"/>
                      <a:pt x="342" y="67"/>
                    </a:cubicBezTo>
                    <a:cubicBezTo>
                      <a:pt x="342" y="67"/>
                      <a:pt x="343" y="60"/>
                      <a:pt x="342" y="57"/>
                    </a:cubicBezTo>
                    <a:close/>
                  </a:path>
                </a:pathLst>
              </a:custGeom>
              <a:solidFill>
                <a:srgbClr val="00B050"/>
              </a:solidFill>
              <a:ln w="317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  <p:sp>
            <p:nvSpPr>
              <p:cNvPr id="269" name="Albania" descr="© INSCALE GmbH, 05.05.2010&#10;http://www.presentationload.com/"/>
              <p:cNvSpPr>
                <a:spLocks/>
              </p:cNvSpPr>
              <p:nvPr/>
            </p:nvSpPr>
            <p:spPr bwMode="auto">
              <a:xfrm>
                <a:off x="5802313" y="5097463"/>
                <a:ext cx="214312" cy="407987"/>
              </a:xfrm>
              <a:custGeom>
                <a:avLst/>
                <a:gdLst/>
                <a:ahLst/>
                <a:cxnLst>
                  <a:cxn ang="0">
                    <a:pos x="95" y="110"/>
                  </a:cxn>
                  <a:cxn ang="0">
                    <a:pos x="89" y="106"/>
                  </a:cxn>
                  <a:cxn ang="0">
                    <a:pos x="78" y="98"/>
                  </a:cxn>
                  <a:cxn ang="0">
                    <a:pos x="66" y="83"/>
                  </a:cxn>
                  <a:cxn ang="0">
                    <a:pos x="63" y="69"/>
                  </a:cxn>
                  <a:cxn ang="0">
                    <a:pos x="66" y="53"/>
                  </a:cxn>
                  <a:cxn ang="0">
                    <a:pos x="61" y="24"/>
                  </a:cxn>
                  <a:cxn ang="0">
                    <a:pos x="43" y="9"/>
                  </a:cxn>
                  <a:cxn ang="0">
                    <a:pos x="28" y="12"/>
                  </a:cxn>
                  <a:cxn ang="0">
                    <a:pos x="21" y="1"/>
                  </a:cxn>
                  <a:cxn ang="0">
                    <a:pos x="0" y="35"/>
                  </a:cxn>
                  <a:cxn ang="0">
                    <a:pos x="5" y="46"/>
                  </a:cxn>
                  <a:cxn ang="0">
                    <a:pos x="14" y="55"/>
                  </a:cxn>
                  <a:cxn ang="0">
                    <a:pos x="21" y="69"/>
                  </a:cxn>
                  <a:cxn ang="0">
                    <a:pos x="13" y="71"/>
                  </a:cxn>
                  <a:cxn ang="0">
                    <a:pos x="11" y="85"/>
                  </a:cxn>
                  <a:cxn ang="0">
                    <a:pos x="18" y="92"/>
                  </a:cxn>
                  <a:cxn ang="0">
                    <a:pos x="16" y="108"/>
                  </a:cxn>
                  <a:cxn ang="0">
                    <a:pos x="14" y="113"/>
                  </a:cxn>
                  <a:cxn ang="0">
                    <a:pos x="15" y="119"/>
                  </a:cxn>
                  <a:cxn ang="0">
                    <a:pos x="12" y="130"/>
                  </a:cxn>
                  <a:cxn ang="0">
                    <a:pos x="19" y="138"/>
                  </a:cxn>
                  <a:cxn ang="0">
                    <a:pos x="16" y="141"/>
                  </a:cxn>
                  <a:cxn ang="0">
                    <a:pos x="19" y="153"/>
                  </a:cxn>
                  <a:cxn ang="0">
                    <a:pos x="16" y="146"/>
                  </a:cxn>
                  <a:cxn ang="0">
                    <a:pos x="12" y="147"/>
                  </a:cxn>
                  <a:cxn ang="0">
                    <a:pos x="33" y="164"/>
                  </a:cxn>
                  <a:cxn ang="0">
                    <a:pos x="41" y="169"/>
                  </a:cxn>
                  <a:cxn ang="0">
                    <a:pos x="47" y="179"/>
                  </a:cxn>
                  <a:cxn ang="0">
                    <a:pos x="52" y="190"/>
                  </a:cxn>
                  <a:cxn ang="0">
                    <a:pos x="67" y="187"/>
                  </a:cxn>
                  <a:cxn ang="0">
                    <a:pos x="72" y="181"/>
                  </a:cxn>
                  <a:cxn ang="0">
                    <a:pos x="66" y="171"/>
                  </a:cxn>
                  <a:cxn ang="0">
                    <a:pos x="73" y="163"/>
                  </a:cxn>
                  <a:cxn ang="0">
                    <a:pos x="85" y="149"/>
                  </a:cxn>
                  <a:cxn ang="0">
                    <a:pos x="90" y="135"/>
                  </a:cxn>
                  <a:cxn ang="0">
                    <a:pos x="100" y="125"/>
                  </a:cxn>
                </a:cxnLst>
                <a:rect l="0" t="0" r="r" b="b"/>
                <a:pathLst>
                  <a:path w="100" h="192">
                    <a:moveTo>
                      <a:pt x="95" y="117"/>
                    </a:moveTo>
                    <a:cubicBezTo>
                      <a:pt x="95" y="110"/>
                      <a:pt x="95" y="110"/>
                      <a:pt x="95" y="110"/>
                    </a:cubicBezTo>
                    <a:cubicBezTo>
                      <a:pt x="94" y="107"/>
                      <a:pt x="94" y="107"/>
                      <a:pt x="94" y="107"/>
                    </a:cubicBezTo>
                    <a:cubicBezTo>
                      <a:pt x="89" y="106"/>
                      <a:pt x="89" y="106"/>
                      <a:pt x="89" y="106"/>
                    </a:cubicBezTo>
                    <a:cubicBezTo>
                      <a:pt x="82" y="110"/>
                      <a:pt x="82" y="110"/>
                      <a:pt x="82" y="110"/>
                    </a:cubicBezTo>
                    <a:cubicBezTo>
                      <a:pt x="78" y="98"/>
                      <a:pt x="78" y="98"/>
                      <a:pt x="78" y="98"/>
                    </a:cubicBezTo>
                    <a:cubicBezTo>
                      <a:pt x="73" y="97"/>
                      <a:pt x="73" y="97"/>
                      <a:pt x="73" y="97"/>
                    </a:cubicBezTo>
                    <a:cubicBezTo>
                      <a:pt x="66" y="83"/>
                      <a:pt x="66" y="83"/>
                      <a:pt x="66" y="83"/>
                    </a:cubicBezTo>
                    <a:cubicBezTo>
                      <a:pt x="70" y="78"/>
                      <a:pt x="70" y="78"/>
                      <a:pt x="70" y="78"/>
                    </a:cubicBezTo>
                    <a:cubicBezTo>
                      <a:pt x="63" y="69"/>
                      <a:pt x="63" y="69"/>
                      <a:pt x="63" y="69"/>
                    </a:cubicBezTo>
                    <a:cubicBezTo>
                      <a:pt x="68" y="65"/>
                      <a:pt x="68" y="65"/>
                      <a:pt x="68" y="65"/>
                    </a:cubicBezTo>
                    <a:cubicBezTo>
                      <a:pt x="66" y="53"/>
                      <a:pt x="66" y="53"/>
                      <a:pt x="66" y="53"/>
                    </a:cubicBezTo>
                    <a:cubicBezTo>
                      <a:pt x="68" y="39"/>
                      <a:pt x="68" y="39"/>
                      <a:pt x="68" y="39"/>
                    </a:cubicBezTo>
                    <a:cubicBezTo>
                      <a:pt x="68" y="39"/>
                      <a:pt x="65" y="29"/>
                      <a:pt x="61" y="24"/>
                    </a:cubicBezTo>
                    <a:cubicBezTo>
                      <a:pt x="57" y="20"/>
                      <a:pt x="46" y="19"/>
                      <a:pt x="46" y="19"/>
                    </a:cubicBezTo>
                    <a:cubicBezTo>
                      <a:pt x="46" y="19"/>
                      <a:pt x="45" y="12"/>
                      <a:pt x="43" y="9"/>
                    </a:cubicBezTo>
                    <a:cubicBezTo>
                      <a:pt x="41" y="7"/>
                      <a:pt x="38" y="5"/>
                      <a:pt x="38" y="5"/>
                    </a:cubicBezTo>
                    <a:cubicBezTo>
                      <a:pt x="28" y="12"/>
                      <a:pt x="28" y="12"/>
                      <a:pt x="28" y="12"/>
                    </a:cubicBezTo>
                    <a:cubicBezTo>
                      <a:pt x="21" y="8"/>
                      <a:pt x="21" y="8"/>
                      <a:pt x="21" y="8"/>
                    </a:cubicBezTo>
                    <a:cubicBezTo>
                      <a:pt x="21" y="1"/>
                      <a:pt x="21" y="1"/>
                      <a:pt x="21" y="1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3" y="36"/>
                      <a:pt x="3" y="36"/>
                      <a:pt x="3" y="36"/>
                    </a:cubicBezTo>
                    <a:cubicBezTo>
                      <a:pt x="5" y="46"/>
                      <a:pt x="5" y="46"/>
                      <a:pt x="5" y="46"/>
                    </a:cubicBezTo>
                    <a:cubicBezTo>
                      <a:pt x="6" y="54"/>
                      <a:pt x="6" y="54"/>
                      <a:pt x="6" y="54"/>
                    </a:cubicBezTo>
                    <a:cubicBezTo>
                      <a:pt x="6" y="54"/>
                      <a:pt x="9" y="54"/>
                      <a:pt x="14" y="55"/>
                    </a:cubicBezTo>
                    <a:cubicBezTo>
                      <a:pt x="19" y="56"/>
                      <a:pt x="17" y="60"/>
                      <a:pt x="17" y="60"/>
                    </a:cubicBezTo>
                    <a:cubicBezTo>
                      <a:pt x="21" y="69"/>
                      <a:pt x="21" y="69"/>
                      <a:pt x="21" y="69"/>
                    </a:cubicBezTo>
                    <a:cubicBezTo>
                      <a:pt x="18" y="71"/>
                      <a:pt x="18" y="71"/>
                      <a:pt x="18" y="71"/>
                    </a:cubicBezTo>
                    <a:cubicBezTo>
                      <a:pt x="13" y="71"/>
                      <a:pt x="13" y="71"/>
                      <a:pt x="13" y="71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6" y="80"/>
                      <a:pt x="11" y="80"/>
                      <a:pt x="11" y="85"/>
                    </a:cubicBezTo>
                    <a:cubicBezTo>
                      <a:pt x="12" y="91"/>
                      <a:pt x="13" y="91"/>
                      <a:pt x="13" y="91"/>
                    </a:cubicBezTo>
                    <a:cubicBezTo>
                      <a:pt x="13" y="91"/>
                      <a:pt x="18" y="90"/>
                      <a:pt x="18" y="92"/>
                    </a:cubicBezTo>
                    <a:cubicBezTo>
                      <a:pt x="18" y="94"/>
                      <a:pt x="14" y="100"/>
                      <a:pt x="14" y="100"/>
                    </a:cubicBezTo>
                    <a:cubicBezTo>
                      <a:pt x="16" y="108"/>
                      <a:pt x="16" y="108"/>
                      <a:pt x="16" y="108"/>
                    </a:cubicBezTo>
                    <a:cubicBezTo>
                      <a:pt x="16" y="108"/>
                      <a:pt x="23" y="111"/>
                      <a:pt x="21" y="113"/>
                    </a:cubicBezTo>
                    <a:cubicBezTo>
                      <a:pt x="18" y="115"/>
                      <a:pt x="14" y="113"/>
                      <a:pt x="14" y="113"/>
                    </a:cubicBezTo>
                    <a:cubicBezTo>
                      <a:pt x="12" y="116"/>
                      <a:pt x="12" y="116"/>
                      <a:pt x="12" y="116"/>
                    </a:cubicBezTo>
                    <a:cubicBezTo>
                      <a:pt x="15" y="119"/>
                      <a:pt x="15" y="119"/>
                      <a:pt x="15" y="119"/>
                    </a:cubicBezTo>
                    <a:cubicBezTo>
                      <a:pt x="14" y="127"/>
                      <a:pt x="14" y="127"/>
                      <a:pt x="14" y="127"/>
                    </a:cubicBezTo>
                    <a:cubicBezTo>
                      <a:pt x="12" y="130"/>
                      <a:pt x="12" y="130"/>
                      <a:pt x="12" y="130"/>
                    </a:cubicBezTo>
                    <a:cubicBezTo>
                      <a:pt x="14" y="137"/>
                      <a:pt x="14" y="137"/>
                      <a:pt x="14" y="137"/>
                    </a:cubicBezTo>
                    <a:cubicBezTo>
                      <a:pt x="14" y="137"/>
                      <a:pt x="19" y="134"/>
                      <a:pt x="19" y="138"/>
                    </a:cubicBezTo>
                    <a:cubicBezTo>
                      <a:pt x="19" y="140"/>
                      <a:pt x="16" y="140"/>
                      <a:pt x="16" y="140"/>
                    </a:cubicBezTo>
                    <a:cubicBezTo>
                      <a:pt x="16" y="141"/>
                      <a:pt x="16" y="141"/>
                      <a:pt x="16" y="141"/>
                    </a:cubicBezTo>
                    <a:cubicBezTo>
                      <a:pt x="16" y="141"/>
                      <a:pt x="23" y="142"/>
                      <a:pt x="22" y="147"/>
                    </a:cubicBezTo>
                    <a:cubicBezTo>
                      <a:pt x="21" y="154"/>
                      <a:pt x="19" y="153"/>
                      <a:pt x="19" y="153"/>
                    </a:cubicBezTo>
                    <a:cubicBezTo>
                      <a:pt x="19" y="153"/>
                      <a:pt x="17" y="152"/>
                      <a:pt x="17" y="150"/>
                    </a:cubicBezTo>
                    <a:cubicBezTo>
                      <a:pt x="16" y="148"/>
                      <a:pt x="16" y="146"/>
                      <a:pt x="16" y="146"/>
                    </a:cubicBezTo>
                    <a:cubicBezTo>
                      <a:pt x="12" y="145"/>
                      <a:pt x="12" y="145"/>
                      <a:pt x="12" y="145"/>
                    </a:cubicBezTo>
                    <a:cubicBezTo>
                      <a:pt x="12" y="147"/>
                      <a:pt x="12" y="147"/>
                      <a:pt x="12" y="147"/>
                    </a:cubicBezTo>
                    <a:cubicBezTo>
                      <a:pt x="12" y="147"/>
                      <a:pt x="16" y="156"/>
                      <a:pt x="21" y="159"/>
                    </a:cubicBezTo>
                    <a:cubicBezTo>
                      <a:pt x="25" y="162"/>
                      <a:pt x="30" y="164"/>
                      <a:pt x="33" y="164"/>
                    </a:cubicBezTo>
                    <a:cubicBezTo>
                      <a:pt x="38" y="164"/>
                      <a:pt x="38" y="164"/>
                      <a:pt x="38" y="164"/>
                    </a:cubicBezTo>
                    <a:cubicBezTo>
                      <a:pt x="41" y="169"/>
                      <a:pt x="41" y="169"/>
                      <a:pt x="41" y="169"/>
                    </a:cubicBezTo>
                    <a:cubicBezTo>
                      <a:pt x="46" y="169"/>
                      <a:pt x="46" y="169"/>
                      <a:pt x="46" y="169"/>
                    </a:cubicBezTo>
                    <a:cubicBezTo>
                      <a:pt x="47" y="179"/>
                      <a:pt x="47" y="179"/>
                      <a:pt x="47" y="179"/>
                    </a:cubicBezTo>
                    <a:cubicBezTo>
                      <a:pt x="52" y="180"/>
                      <a:pt x="52" y="180"/>
                      <a:pt x="52" y="180"/>
                    </a:cubicBezTo>
                    <a:cubicBezTo>
                      <a:pt x="52" y="190"/>
                      <a:pt x="52" y="190"/>
                      <a:pt x="52" y="190"/>
                    </a:cubicBezTo>
                    <a:cubicBezTo>
                      <a:pt x="52" y="190"/>
                      <a:pt x="59" y="192"/>
                      <a:pt x="60" y="192"/>
                    </a:cubicBezTo>
                    <a:cubicBezTo>
                      <a:pt x="62" y="192"/>
                      <a:pt x="67" y="187"/>
                      <a:pt x="67" y="187"/>
                    </a:cubicBezTo>
                    <a:cubicBezTo>
                      <a:pt x="67" y="187"/>
                      <a:pt x="66" y="184"/>
                      <a:pt x="67" y="181"/>
                    </a:cubicBezTo>
                    <a:cubicBezTo>
                      <a:pt x="67" y="180"/>
                      <a:pt x="72" y="181"/>
                      <a:pt x="72" y="181"/>
                    </a:cubicBezTo>
                    <a:cubicBezTo>
                      <a:pt x="71" y="177"/>
                      <a:pt x="71" y="177"/>
                      <a:pt x="71" y="177"/>
                    </a:cubicBezTo>
                    <a:cubicBezTo>
                      <a:pt x="71" y="177"/>
                      <a:pt x="65" y="174"/>
                      <a:pt x="66" y="171"/>
                    </a:cubicBezTo>
                    <a:cubicBezTo>
                      <a:pt x="67" y="166"/>
                      <a:pt x="71" y="168"/>
                      <a:pt x="71" y="168"/>
                    </a:cubicBezTo>
                    <a:cubicBezTo>
                      <a:pt x="71" y="168"/>
                      <a:pt x="70" y="164"/>
                      <a:pt x="73" y="163"/>
                    </a:cubicBezTo>
                    <a:cubicBezTo>
                      <a:pt x="76" y="162"/>
                      <a:pt x="78" y="165"/>
                      <a:pt x="83" y="161"/>
                    </a:cubicBezTo>
                    <a:cubicBezTo>
                      <a:pt x="88" y="156"/>
                      <a:pt x="85" y="149"/>
                      <a:pt x="85" y="149"/>
                    </a:cubicBezTo>
                    <a:cubicBezTo>
                      <a:pt x="89" y="144"/>
                      <a:pt x="89" y="144"/>
                      <a:pt x="89" y="144"/>
                    </a:cubicBezTo>
                    <a:cubicBezTo>
                      <a:pt x="89" y="144"/>
                      <a:pt x="87" y="138"/>
                      <a:pt x="90" y="135"/>
                    </a:cubicBezTo>
                    <a:cubicBezTo>
                      <a:pt x="92" y="134"/>
                      <a:pt x="95" y="134"/>
                      <a:pt x="95" y="134"/>
                    </a:cubicBezTo>
                    <a:cubicBezTo>
                      <a:pt x="95" y="134"/>
                      <a:pt x="100" y="129"/>
                      <a:pt x="100" y="125"/>
                    </a:cubicBezTo>
                    <a:cubicBezTo>
                      <a:pt x="99" y="121"/>
                      <a:pt x="95" y="117"/>
                      <a:pt x="95" y="117"/>
                    </a:cubicBezTo>
                    <a:close/>
                  </a:path>
                </a:pathLst>
              </a:custGeom>
              <a:solidFill>
                <a:schemeClr val="bg1"/>
              </a:solidFill>
              <a:ln w="3175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685800">
                  <a:defRPr/>
                </a:pPr>
                <a:endParaRPr lang="de-DE" sz="600" kern="0" noProof="1">
                  <a:solidFill>
                    <a:srgbClr val="6D6D6D">
                      <a:lumMod val="50000"/>
                    </a:srgbClr>
                  </a:solidFill>
                  <a:latin typeface="Calibri" pitchFamily="34" charset="0"/>
                </a:endParaRPr>
              </a:p>
            </p:txBody>
          </p:sp>
        </p:grpSp>
        <p:sp>
          <p:nvSpPr>
            <p:cNvPr id="110" name="Rectangle 109"/>
            <p:cNvSpPr/>
            <p:nvPr/>
          </p:nvSpPr>
          <p:spPr bwMode="ltGray">
            <a:xfrm>
              <a:off x="5600192" y="5024474"/>
              <a:ext cx="360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SI</a:t>
              </a:r>
              <a:endParaRPr lang="en-GB" sz="675" kern="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11" name="Rectangle 110"/>
            <p:cNvSpPr/>
            <p:nvPr/>
          </p:nvSpPr>
          <p:spPr bwMode="ltGray">
            <a:xfrm>
              <a:off x="5974881" y="4236315"/>
              <a:ext cx="324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PL</a:t>
              </a:r>
            </a:p>
          </p:txBody>
        </p:sp>
        <p:sp>
          <p:nvSpPr>
            <p:cNvPr id="112" name="Rectangle 111"/>
            <p:cNvSpPr/>
            <p:nvPr/>
          </p:nvSpPr>
          <p:spPr bwMode="ltGray">
            <a:xfrm>
              <a:off x="4922392" y="4250846"/>
              <a:ext cx="324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NL</a:t>
              </a:r>
            </a:p>
          </p:txBody>
        </p:sp>
        <p:sp>
          <p:nvSpPr>
            <p:cNvPr id="113" name="Rectangle 112"/>
            <p:cNvSpPr/>
            <p:nvPr/>
          </p:nvSpPr>
          <p:spPr bwMode="ltGray">
            <a:xfrm>
              <a:off x="3927944" y="5628265"/>
              <a:ext cx="324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ES</a:t>
              </a:r>
            </a:p>
          </p:txBody>
        </p:sp>
        <p:sp>
          <p:nvSpPr>
            <p:cNvPr id="114" name="Rectangle 113"/>
            <p:cNvSpPr/>
            <p:nvPr/>
          </p:nvSpPr>
          <p:spPr bwMode="ltGray">
            <a:xfrm>
              <a:off x="6401657" y="3609536"/>
              <a:ext cx="324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LV</a:t>
              </a:r>
            </a:p>
          </p:txBody>
        </p:sp>
        <p:sp>
          <p:nvSpPr>
            <p:cNvPr id="115" name="Rectangle 114"/>
            <p:cNvSpPr/>
            <p:nvPr/>
          </p:nvSpPr>
          <p:spPr bwMode="ltGray">
            <a:xfrm>
              <a:off x="6587961" y="4945007"/>
              <a:ext cx="360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RO</a:t>
              </a:r>
            </a:p>
          </p:txBody>
        </p:sp>
        <p:sp>
          <p:nvSpPr>
            <p:cNvPr id="116" name="Rectangle 115"/>
            <p:cNvSpPr/>
            <p:nvPr/>
          </p:nvSpPr>
          <p:spPr bwMode="ltGray">
            <a:xfrm>
              <a:off x="5325297" y="4290736"/>
              <a:ext cx="360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DE</a:t>
              </a:r>
            </a:p>
          </p:txBody>
        </p:sp>
        <p:sp>
          <p:nvSpPr>
            <p:cNvPr id="117" name="Rectangle 116"/>
            <p:cNvSpPr/>
            <p:nvPr/>
          </p:nvSpPr>
          <p:spPr bwMode="ltGray">
            <a:xfrm>
              <a:off x="5684457" y="4571149"/>
              <a:ext cx="375101" cy="12305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CZ</a:t>
              </a:r>
            </a:p>
          </p:txBody>
        </p:sp>
        <p:sp>
          <p:nvSpPr>
            <p:cNvPr id="118" name="Rectangle 117"/>
            <p:cNvSpPr/>
            <p:nvPr/>
          </p:nvSpPr>
          <p:spPr bwMode="ltGray">
            <a:xfrm>
              <a:off x="3889836" y="4007818"/>
              <a:ext cx="324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IE</a:t>
              </a:r>
            </a:p>
          </p:txBody>
        </p:sp>
        <p:sp>
          <p:nvSpPr>
            <p:cNvPr id="119" name="Rectangle 118"/>
            <p:cNvSpPr/>
            <p:nvPr/>
          </p:nvSpPr>
          <p:spPr bwMode="ltGray">
            <a:xfrm>
              <a:off x="6248168" y="2895133"/>
              <a:ext cx="288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FI</a:t>
              </a:r>
            </a:p>
          </p:txBody>
        </p:sp>
        <p:sp>
          <p:nvSpPr>
            <p:cNvPr id="120" name="Rectangle 119"/>
            <p:cNvSpPr/>
            <p:nvPr/>
          </p:nvSpPr>
          <p:spPr bwMode="ltGray">
            <a:xfrm>
              <a:off x="6610082" y="5329302"/>
              <a:ext cx="360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BG</a:t>
              </a:r>
            </a:p>
          </p:txBody>
        </p:sp>
        <p:sp>
          <p:nvSpPr>
            <p:cNvPr id="121" name="Rectangle 120"/>
            <p:cNvSpPr/>
            <p:nvPr/>
          </p:nvSpPr>
          <p:spPr bwMode="ltGray">
            <a:xfrm>
              <a:off x="5560902" y="3515576"/>
              <a:ext cx="324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SE</a:t>
              </a:r>
            </a:p>
          </p:txBody>
        </p:sp>
        <p:sp>
          <p:nvSpPr>
            <p:cNvPr id="122" name="Rectangle 121"/>
            <p:cNvSpPr/>
            <p:nvPr/>
          </p:nvSpPr>
          <p:spPr bwMode="ltGray">
            <a:xfrm>
              <a:off x="6016312" y="4864423"/>
              <a:ext cx="396000" cy="144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HU</a:t>
              </a:r>
            </a:p>
          </p:txBody>
        </p:sp>
        <p:sp>
          <p:nvSpPr>
            <p:cNvPr id="123" name="Rectangle 122"/>
            <p:cNvSpPr/>
            <p:nvPr/>
          </p:nvSpPr>
          <p:spPr bwMode="ltGray">
            <a:xfrm>
              <a:off x="5439284" y="5382170"/>
              <a:ext cx="324000" cy="144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IT</a:t>
              </a:r>
            </a:p>
          </p:txBody>
        </p:sp>
        <p:sp>
          <p:nvSpPr>
            <p:cNvPr id="124" name="Rectangle 123"/>
            <p:cNvSpPr/>
            <p:nvPr/>
          </p:nvSpPr>
          <p:spPr bwMode="ltGray">
            <a:xfrm>
              <a:off x="4319415" y="4192731"/>
              <a:ext cx="360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UK</a:t>
              </a:r>
            </a:p>
          </p:txBody>
        </p:sp>
        <p:sp>
          <p:nvSpPr>
            <p:cNvPr id="125" name="Rectangle 124"/>
            <p:cNvSpPr/>
            <p:nvPr/>
          </p:nvSpPr>
          <p:spPr bwMode="ltGray">
            <a:xfrm>
              <a:off x="4794432" y="4449487"/>
              <a:ext cx="360000" cy="10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BE</a:t>
              </a:r>
            </a:p>
          </p:txBody>
        </p:sp>
        <p:sp>
          <p:nvSpPr>
            <p:cNvPr id="126" name="Rectangle 125"/>
            <p:cNvSpPr/>
            <p:nvPr/>
          </p:nvSpPr>
          <p:spPr bwMode="ltGray">
            <a:xfrm>
              <a:off x="4579918" y="4909044"/>
              <a:ext cx="324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FR</a:t>
              </a:r>
            </a:p>
          </p:txBody>
        </p:sp>
        <p:sp>
          <p:nvSpPr>
            <p:cNvPr id="127" name="Rectangle 126"/>
            <p:cNvSpPr/>
            <p:nvPr/>
          </p:nvSpPr>
          <p:spPr bwMode="ltGray">
            <a:xfrm>
              <a:off x="3441765" y="5646546"/>
              <a:ext cx="324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PT</a:t>
              </a:r>
            </a:p>
          </p:txBody>
        </p:sp>
        <p:sp>
          <p:nvSpPr>
            <p:cNvPr id="128" name="Rectangle 127"/>
            <p:cNvSpPr/>
            <p:nvPr/>
          </p:nvSpPr>
          <p:spPr bwMode="ltGray">
            <a:xfrm>
              <a:off x="6037790" y="4654335"/>
              <a:ext cx="324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SK</a:t>
              </a:r>
            </a:p>
          </p:txBody>
        </p:sp>
        <p:sp>
          <p:nvSpPr>
            <p:cNvPr id="129" name="Rectangle 128"/>
            <p:cNvSpPr/>
            <p:nvPr/>
          </p:nvSpPr>
          <p:spPr bwMode="ltGray">
            <a:xfrm>
              <a:off x="5263083" y="3800143"/>
              <a:ext cx="388007" cy="100656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DK</a:t>
              </a:r>
            </a:p>
          </p:txBody>
        </p:sp>
        <p:sp>
          <p:nvSpPr>
            <p:cNvPr id="130" name="Rectangle 129"/>
            <p:cNvSpPr/>
            <p:nvPr/>
          </p:nvSpPr>
          <p:spPr bwMode="ltGray">
            <a:xfrm>
              <a:off x="5699018" y="5161151"/>
              <a:ext cx="360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HR</a:t>
              </a:r>
              <a:endParaRPr lang="en-GB" sz="675" kern="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31" name="Rectangle 130"/>
            <p:cNvSpPr/>
            <p:nvPr/>
          </p:nvSpPr>
          <p:spPr bwMode="ltGray">
            <a:xfrm>
              <a:off x="6328419" y="3382829"/>
              <a:ext cx="361864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EE</a:t>
              </a:r>
            </a:p>
          </p:txBody>
        </p:sp>
        <p:sp>
          <p:nvSpPr>
            <p:cNvPr id="132" name="Rectangle 131"/>
            <p:cNvSpPr/>
            <p:nvPr/>
          </p:nvSpPr>
          <p:spPr bwMode="ltGray">
            <a:xfrm>
              <a:off x="6273597" y="3806868"/>
              <a:ext cx="324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LT</a:t>
              </a:r>
            </a:p>
          </p:txBody>
        </p:sp>
        <p:sp>
          <p:nvSpPr>
            <p:cNvPr id="133" name="Rectangle 132"/>
            <p:cNvSpPr/>
            <p:nvPr/>
          </p:nvSpPr>
          <p:spPr bwMode="ltGray">
            <a:xfrm>
              <a:off x="4886392" y="4628442"/>
              <a:ext cx="360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LU</a:t>
              </a:r>
            </a:p>
          </p:txBody>
        </p:sp>
        <p:sp>
          <p:nvSpPr>
            <p:cNvPr id="134" name="Rectangle 133"/>
            <p:cNvSpPr/>
            <p:nvPr/>
          </p:nvSpPr>
          <p:spPr bwMode="ltGray">
            <a:xfrm>
              <a:off x="7740392" y="6085123"/>
              <a:ext cx="360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CY</a:t>
              </a:r>
            </a:p>
          </p:txBody>
        </p:sp>
        <p:sp>
          <p:nvSpPr>
            <p:cNvPr id="135" name="Rectangle 134"/>
            <p:cNvSpPr/>
            <p:nvPr/>
          </p:nvSpPr>
          <p:spPr bwMode="ltGray">
            <a:xfrm>
              <a:off x="5773683" y="6309320"/>
              <a:ext cx="324000" cy="144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MT</a:t>
              </a:r>
            </a:p>
          </p:txBody>
        </p:sp>
        <p:sp>
          <p:nvSpPr>
            <p:cNvPr id="136" name="Rectangle 135"/>
            <p:cNvSpPr/>
            <p:nvPr/>
          </p:nvSpPr>
          <p:spPr bwMode="ltGray">
            <a:xfrm>
              <a:off x="6409400" y="5726500"/>
              <a:ext cx="324000" cy="144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GR</a:t>
              </a:r>
            </a:p>
          </p:txBody>
        </p:sp>
        <p:sp>
          <p:nvSpPr>
            <p:cNvPr id="137" name="Rectangle 136"/>
            <p:cNvSpPr/>
            <p:nvPr/>
          </p:nvSpPr>
          <p:spPr bwMode="ltGray">
            <a:xfrm>
              <a:off x="3808480" y="2411556"/>
              <a:ext cx="324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IS</a:t>
              </a:r>
            </a:p>
          </p:txBody>
        </p:sp>
        <p:sp>
          <p:nvSpPr>
            <p:cNvPr id="138" name="Rectangle 137"/>
            <p:cNvSpPr/>
            <p:nvPr/>
          </p:nvSpPr>
          <p:spPr bwMode="ltGray">
            <a:xfrm>
              <a:off x="7548944" y="5558393"/>
              <a:ext cx="360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TR</a:t>
              </a:r>
            </a:p>
          </p:txBody>
        </p:sp>
        <p:sp>
          <p:nvSpPr>
            <p:cNvPr id="139" name="Rectangle 138"/>
            <p:cNvSpPr/>
            <p:nvPr/>
          </p:nvSpPr>
          <p:spPr bwMode="ltGray">
            <a:xfrm>
              <a:off x="5233713" y="3191448"/>
              <a:ext cx="324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NO</a:t>
              </a:r>
            </a:p>
          </p:txBody>
        </p:sp>
        <p:sp>
          <p:nvSpPr>
            <p:cNvPr id="140" name="Rectangle 139"/>
            <p:cNvSpPr/>
            <p:nvPr/>
          </p:nvSpPr>
          <p:spPr bwMode="ltGray">
            <a:xfrm>
              <a:off x="5004048" y="4941168"/>
              <a:ext cx="360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CH</a:t>
              </a:r>
              <a:endParaRPr lang="en-GB" sz="675" kern="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41" name="Rectangle 140"/>
            <p:cNvSpPr/>
            <p:nvPr/>
          </p:nvSpPr>
          <p:spPr bwMode="ltGray">
            <a:xfrm>
              <a:off x="6344807" y="5492049"/>
              <a:ext cx="324000" cy="144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MK</a:t>
              </a:r>
            </a:p>
          </p:txBody>
        </p:sp>
        <p:sp>
          <p:nvSpPr>
            <p:cNvPr id="142" name="Rectangle 141"/>
            <p:cNvSpPr/>
            <p:nvPr/>
          </p:nvSpPr>
          <p:spPr bwMode="ltGray">
            <a:xfrm>
              <a:off x="5256104" y="4881030"/>
              <a:ext cx="252000" cy="108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LI</a:t>
              </a:r>
            </a:p>
          </p:txBody>
        </p:sp>
        <p:sp>
          <p:nvSpPr>
            <p:cNvPr id="143" name="Rectangle 142"/>
            <p:cNvSpPr/>
            <p:nvPr/>
          </p:nvSpPr>
          <p:spPr bwMode="ltGray">
            <a:xfrm>
              <a:off x="5615724" y="4793662"/>
              <a:ext cx="396000" cy="144000"/>
            </a:xfrm>
            <a:prstGeom prst="rect">
              <a:avLst/>
            </a:prstGeom>
            <a:solidFill>
              <a:srgbClr val="FFFFFF">
                <a:alpha val="46000"/>
              </a:srgbClr>
            </a:solidFill>
            <a:ln w="3175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600" kern="0" dirty="0">
                  <a:solidFill>
                    <a:srgbClr val="000000"/>
                  </a:solidFill>
                  <a:latin typeface="Calibri" panose="020F0502020204030204" pitchFamily="34" charset="0"/>
                </a:rPr>
                <a:t>AT</a:t>
              </a:r>
            </a:p>
          </p:txBody>
        </p:sp>
      </p:grpSp>
      <p:sp>
        <p:nvSpPr>
          <p:cNvPr id="97" name="TextBox 96"/>
          <p:cNvSpPr txBox="1"/>
          <p:nvPr/>
        </p:nvSpPr>
        <p:spPr>
          <a:xfrm>
            <a:off x="4640463" y="4894443"/>
            <a:ext cx="2739850" cy="184666"/>
          </a:xfrm>
          <a:prstGeom prst="rect">
            <a:avLst/>
          </a:prstGeom>
          <a:noFill/>
          <a:ln w="6350">
            <a:noFill/>
          </a:ln>
        </p:spPr>
        <p:txBody>
          <a:bodyPr wrap="square" rtlCol="0">
            <a:spAutoFit/>
          </a:bodyPr>
          <a:lstStyle/>
          <a:p>
            <a:r>
              <a:rPr lang="en-GB" sz="600" dirty="0">
                <a:solidFill>
                  <a:schemeClr val="bg2"/>
                </a:solidFill>
              </a:rPr>
              <a:t>Source: Online questionnaire (KURT SALMON 2015), n=25</a:t>
            </a:r>
          </a:p>
        </p:txBody>
      </p:sp>
      <p:sp>
        <p:nvSpPr>
          <p:cNvPr id="100" name="Rectangle 99"/>
          <p:cNvSpPr/>
          <p:nvPr/>
        </p:nvSpPr>
        <p:spPr>
          <a:xfrm>
            <a:off x="323528" y="1202665"/>
            <a:ext cx="2163515" cy="283984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4541" lvl="2" indent="-3572">
              <a:lnSpc>
                <a:spcPts val="1875"/>
              </a:lnSpc>
              <a:buClr>
                <a:srgbClr val="ED7404"/>
              </a:buClr>
            </a:pPr>
            <a:r>
              <a:rPr lang="en-GB" sz="825" dirty="0">
                <a:solidFill>
                  <a:schemeClr val="tx1"/>
                </a:solidFill>
                <a:cs typeface="Arial" panose="020B0604020202020204" pitchFamily="34" charset="0"/>
              </a:rPr>
              <a:t>Out of a total of 25 European countries, </a:t>
            </a:r>
          </a:p>
          <a:p>
            <a:pPr marL="134541" lvl="2" indent="-3572">
              <a:lnSpc>
                <a:spcPts val="1875"/>
              </a:lnSpc>
              <a:buClr>
                <a:srgbClr val="ED7404"/>
              </a:buClr>
            </a:pPr>
            <a:r>
              <a:rPr lang="en-US" sz="825" b="1" dirty="0">
                <a:solidFill>
                  <a:schemeClr val="tx1"/>
                </a:solidFill>
                <a:cs typeface="Arial" panose="020B0604020202020204" pitchFamily="34" charset="0"/>
              </a:rPr>
              <a:t>10</a:t>
            </a:r>
            <a:r>
              <a:rPr lang="en-US" sz="825" dirty="0">
                <a:solidFill>
                  <a:schemeClr val="tx1"/>
                </a:solidFill>
                <a:cs typeface="Arial" panose="020B0604020202020204" pitchFamily="34" charset="0"/>
              </a:rPr>
              <a:t> countries apply the principle that </a:t>
            </a:r>
            <a:r>
              <a:rPr lang="en-US" sz="825" b="1" dirty="0">
                <a:solidFill>
                  <a:schemeClr val="tx1"/>
                </a:solidFill>
                <a:cs typeface="Arial" panose="020B0604020202020204" pitchFamily="34" charset="0"/>
              </a:rPr>
              <a:t>explicit consent has to be given by the ‘data subjects’</a:t>
            </a:r>
            <a:r>
              <a:rPr lang="en-US" sz="825" dirty="0">
                <a:solidFill>
                  <a:schemeClr val="tx1"/>
                </a:solidFill>
                <a:cs typeface="Arial" panose="020B0604020202020204" pitchFamily="34" charset="0"/>
              </a:rPr>
              <a:t> before their </a:t>
            </a:r>
            <a:r>
              <a:rPr lang="en-US" sz="825" dirty="0" smtClean="0">
                <a:solidFill>
                  <a:schemeClr val="tx1"/>
                </a:solidFill>
                <a:cs typeface="Arial" panose="020B0604020202020204" pitchFamily="34" charset="0"/>
              </a:rPr>
              <a:t>data </a:t>
            </a:r>
            <a:r>
              <a:rPr lang="en-US" sz="825" dirty="0">
                <a:solidFill>
                  <a:schemeClr val="tx1"/>
                </a:solidFill>
                <a:cs typeface="Arial" panose="020B0604020202020204" pitchFamily="34" charset="0"/>
              </a:rPr>
              <a:t>can be processed, whereas this processing is </a:t>
            </a:r>
            <a:r>
              <a:rPr lang="en-US" sz="825" b="1" dirty="0">
                <a:solidFill>
                  <a:schemeClr val="tx1"/>
                </a:solidFill>
                <a:cs typeface="Arial" panose="020B0604020202020204" pitchFamily="34" charset="0"/>
              </a:rPr>
              <a:t>set by default by law in 6 other countries</a:t>
            </a:r>
            <a:r>
              <a:rPr lang="en-US" sz="825" dirty="0">
                <a:solidFill>
                  <a:schemeClr val="tx1"/>
                </a:solidFill>
                <a:cs typeface="Arial" panose="020B0604020202020204" pitchFamily="34" charset="0"/>
              </a:rPr>
              <a:t>. Depending on the </a:t>
            </a:r>
            <a:r>
              <a:rPr lang="en-US" sz="825" dirty="0" smtClean="0">
                <a:solidFill>
                  <a:schemeClr val="tx1"/>
                </a:solidFill>
                <a:cs typeface="Arial" panose="020B0604020202020204" pitchFamily="34" charset="0"/>
              </a:rPr>
              <a:t>type of data</a:t>
            </a:r>
            <a:r>
              <a:rPr lang="en-US" sz="825" dirty="0">
                <a:solidFill>
                  <a:schemeClr val="tx1"/>
                </a:solidFill>
                <a:cs typeface="Arial" panose="020B0604020202020204" pitchFamily="34" charset="0"/>
              </a:rPr>
              <a:t>, </a:t>
            </a:r>
            <a:r>
              <a:rPr lang="en-US" sz="825" dirty="0" smtClean="0">
                <a:solidFill>
                  <a:schemeClr val="tx1"/>
                </a:solidFill>
                <a:cs typeface="Arial" panose="020B0604020202020204" pitchFamily="34" charset="0"/>
              </a:rPr>
              <a:t>4 </a:t>
            </a:r>
            <a:r>
              <a:rPr lang="en-US" sz="825" dirty="0">
                <a:solidFill>
                  <a:schemeClr val="tx1"/>
                </a:solidFill>
                <a:cs typeface="Arial" panose="020B0604020202020204" pitchFamily="34" charset="0"/>
              </a:rPr>
              <a:t>additional EU countries require the explicit consent of ‘data subjects’ if the processing of those data is not imposed by law.</a:t>
            </a:r>
          </a:p>
        </p:txBody>
      </p:sp>
      <p:grpSp>
        <p:nvGrpSpPr>
          <p:cNvPr id="101" name="Group 100"/>
          <p:cNvGrpSpPr/>
          <p:nvPr/>
        </p:nvGrpSpPr>
        <p:grpSpPr>
          <a:xfrm>
            <a:off x="7179892" y="1275122"/>
            <a:ext cx="2031716" cy="1014744"/>
            <a:chOff x="2755653" y="6214740"/>
            <a:chExt cx="2774982" cy="1352992"/>
          </a:xfrm>
        </p:grpSpPr>
        <p:grpSp>
          <p:nvGrpSpPr>
            <p:cNvPr id="102" name="Group 101"/>
            <p:cNvGrpSpPr/>
            <p:nvPr/>
          </p:nvGrpSpPr>
          <p:grpSpPr>
            <a:xfrm>
              <a:off x="2770941" y="6214740"/>
              <a:ext cx="2458076" cy="292388"/>
              <a:chOff x="-3391948" y="10312711"/>
              <a:chExt cx="2181543" cy="292388"/>
            </a:xfrm>
          </p:grpSpPr>
          <p:sp>
            <p:nvSpPr>
              <p:cNvPr id="178" name="Rectangle 177"/>
              <p:cNvSpPr/>
              <p:nvPr/>
            </p:nvSpPr>
            <p:spPr>
              <a:xfrm>
                <a:off x="-3391948" y="10379049"/>
                <a:ext cx="241247" cy="130461"/>
              </a:xfrm>
              <a:prstGeom prst="rect">
                <a:avLst/>
              </a:prstGeom>
              <a:solidFill>
                <a:srgbClr val="00B050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200"/>
              </a:p>
            </p:txBody>
          </p:sp>
          <p:sp>
            <p:nvSpPr>
              <p:cNvPr id="181" name="TextBox 180"/>
              <p:cNvSpPr txBox="1"/>
              <p:nvPr/>
            </p:nvSpPr>
            <p:spPr>
              <a:xfrm>
                <a:off x="-3150699" y="10312711"/>
                <a:ext cx="1940294" cy="2923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825" dirty="0"/>
                  <a:t>Explicit consent to be given</a:t>
                </a:r>
              </a:p>
            </p:txBody>
          </p:sp>
        </p:grpSp>
        <p:grpSp>
          <p:nvGrpSpPr>
            <p:cNvPr id="103" name="Group 102"/>
            <p:cNvGrpSpPr/>
            <p:nvPr/>
          </p:nvGrpSpPr>
          <p:grpSpPr>
            <a:xfrm>
              <a:off x="2755653" y="6505065"/>
              <a:ext cx="2774982" cy="292388"/>
              <a:chOff x="-3405529" y="10339007"/>
              <a:chExt cx="2462798" cy="292388"/>
            </a:xfrm>
          </p:grpSpPr>
          <p:sp>
            <p:nvSpPr>
              <p:cNvPr id="172" name="Rectangle 171"/>
              <p:cNvSpPr/>
              <p:nvPr/>
            </p:nvSpPr>
            <p:spPr>
              <a:xfrm>
                <a:off x="-3405529" y="10409125"/>
                <a:ext cx="241247" cy="130461"/>
              </a:xfrm>
              <a:prstGeom prst="rect">
                <a:avLst/>
              </a:prstGeom>
              <a:solidFill>
                <a:srgbClr val="FDC795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200"/>
              </a:p>
            </p:txBody>
          </p:sp>
          <p:sp>
            <p:nvSpPr>
              <p:cNvPr id="175" name="TextBox 174"/>
              <p:cNvSpPr txBox="1"/>
              <p:nvPr/>
            </p:nvSpPr>
            <p:spPr>
              <a:xfrm>
                <a:off x="-3151638" y="10339007"/>
                <a:ext cx="2208907" cy="2923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825" dirty="0"/>
                  <a:t>By law, no explicit consent needed</a:t>
                </a:r>
              </a:p>
            </p:txBody>
          </p:sp>
        </p:grpSp>
        <p:grpSp>
          <p:nvGrpSpPr>
            <p:cNvPr id="104" name="Group 103"/>
            <p:cNvGrpSpPr/>
            <p:nvPr/>
          </p:nvGrpSpPr>
          <p:grpSpPr>
            <a:xfrm>
              <a:off x="2767066" y="7275344"/>
              <a:ext cx="1313422" cy="292388"/>
              <a:chOff x="-3395385" y="10581227"/>
              <a:chExt cx="1165662" cy="292388"/>
            </a:xfrm>
          </p:grpSpPr>
          <p:sp>
            <p:nvSpPr>
              <p:cNvPr id="167" name="Rectangle 166"/>
              <p:cNvSpPr/>
              <p:nvPr/>
            </p:nvSpPr>
            <p:spPr>
              <a:xfrm>
                <a:off x="-3395385" y="10627656"/>
                <a:ext cx="279536" cy="130463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200"/>
              </a:p>
            </p:txBody>
          </p:sp>
          <p:sp>
            <p:nvSpPr>
              <p:cNvPr id="171" name="TextBox 170"/>
              <p:cNvSpPr txBox="1"/>
              <p:nvPr/>
            </p:nvSpPr>
            <p:spPr>
              <a:xfrm>
                <a:off x="-3118222" y="10581227"/>
                <a:ext cx="888499" cy="2923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GB" sz="825" dirty="0"/>
                  <a:t>No answer</a:t>
                </a:r>
              </a:p>
            </p:txBody>
          </p:sp>
        </p:grpSp>
        <p:grpSp>
          <p:nvGrpSpPr>
            <p:cNvPr id="105" name="Group 104"/>
            <p:cNvGrpSpPr/>
            <p:nvPr/>
          </p:nvGrpSpPr>
          <p:grpSpPr>
            <a:xfrm>
              <a:off x="2761357" y="6777014"/>
              <a:ext cx="2572354" cy="461665"/>
              <a:chOff x="-3400448" y="10346927"/>
              <a:chExt cx="2282964" cy="461665"/>
            </a:xfrm>
          </p:grpSpPr>
          <p:sp>
            <p:nvSpPr>
              <p:cNvPr id="106" name="Rectangle 105"/>
              <p:cNvSpPr/>
              <p:nvPr/>
            </p:nvSpPr>
            <p:spPr>
              <a:xfrm>
                <a:off x="-3400448" y="10459344"/>
                <a:ext cx="241247" cy="130462"/>
              </a:xfrm>
              <a:prstGeom prst="rect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200"/>
              </a:p>
            </p:txBody>
          </p:sp>
          <p:sp>
            <p:nvSpPr>
              <p:cNvPr id="164" name="TextBox 163"/>
              <p:cNvSpPr txBox="1"/>
              <p:nvPr/>
            </p:nvSpPr>
            <p:spPr>
              <a:xfrm>
                <a:off x="-3163060" y="10346927"/>
                <a:ext cx="2045576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fld id="{B36ED6F8-17D7-4889-BBFF-E1F558BFB40E}" type="datetime'Expli''cit consent to be given or imposed ''''b''y'' la''''w'">
                  <a:rPr lang="en-US" sz="825"/>
                  <a:pPr/>
                  <a:t>Explicit consent to be given or imposed by law</a:t>
                </a:fld>
                <a:endParaRPr lang="en-GB" sz="825" dirty="0"/>
              </a:p>
            </p:txBody>
          </p:sp>
        </p:grpSp>
      </p:grpSp>
      <p:sp>
        <p:nvSpPr>
          <p:cNvPr id="98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8200800" y="4747557"/>
            <a:ext cx="486000" cy="377429"/>
          </a:xfrm>
        </p:spPr>
        <p:txBody>
          <a:bodyPr/>
          <a:lstStyle/>
          <a:p>
            <a:pPr>
              <a:defRPr/>
            </a:pPr>
            <a:r>
              <a:rPr lang="en-GB" dirty="0" smtClean="0"/>
              <a:t>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57492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gray">
          <a:xfrm>
            <a:off x="1648036" y="1138998"/>
            <a:ext cx="1465451" cy="303559"/>
          </a:xfrm>
          <a:prstGeom prst="rect">
            <a:avLst/>
          </a:prstGeom>
          <a:solidFill>
            <a:srgbClr val="009999"/>
          </a:solidFill>
          <a:ln w="12700">
            <a:solidFill>
              <a:srgbClr val="00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500" tIns="13500" rIns="13500" bIns="13500" rtlCol="0" anchor="ctr"/>
          <a:lstStyle/>
          <a:p>
            <a:pPr lvl="0" algn="ctr"/>
            <a:r>
              <a:rPr lang="en-US" sz="900" b="1" dirty="0">
                <a:solidFill>
                  <a:srgbClr val="FFFFFF"/>
                </a:solidFill>
              </a:rPr>
              <a:t>Organisational barriers (21)</a:t>
            </a:r>
          </a:p>
        </p:txBody>
      </p:sp>
      <p:sp>
        <p:nvSpPr>
          <p:cNvPr id="7" name="Pentagon 6"/>
          <p:cNvSpPr>
            <a:spLocks/>
          </p:cNvSpPr>
          <p:nvPr/>
        </p:nvSpPr>
        <p:spPr bwMode="gray">
          <a:xfrm rot="5400000">
            <a:off x="5324209" y="2538222"/>
            <a:ext cx="161776" cy="404051"/>
          </a:xfrm>
          <a:prstGeom prst="homePlate">
            <a:avLst>
              <a:gd name="adj" fmla="val 100000"/>
            </a:avLst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/>
          <a:lstStyle/>
          <a:p>
            <a:pPr algn="ctr"/>
            <a:endParaRPr lang="fr-FR" sz="1350" dirty="0">
              <a:solidFill>
                <a:srgbClr val="000000"/>
              </a:solidFill>
            </a:endParaRPr>
          </a:p>
        </p:txBody>
      </p:sp>
      <p:sp>
        <p:nvSpPr>
          <p:cNvPr id="9" name="Pentagon 8"/>
          <p:cNvSpPr>
            <a:spLocks/>
          </p:cNvSpPr>
          <p:nvPr/>
        </p:nvSpPr>
        <p:spPr bwMode="gray">
          <a:xfrm rot="5400000">
            <a:off x="3787864" y="2538223"/>
            <a:ext cx="161776" cy="404051"/>
          </a:xfrm>
          <a:prstGeom prst="homePlate">
            <a:avLst>
              <a:gd name="adj" fmla="val 100000"/>
            </a:avLst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/>
          <a:lstStyle/>
          <a:p>
            <a:pPr algn="ctr"/>
            <a:endParaRPr lang="fr-FR" sz="1350" dirty="0">
              <a:solidFill>
                <a:srgbClr val="000000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647917" y="2896099"/>
            <a:ext cx="1465566" cy="871832"/>
          </a:xfrm>
          <a:prstGeom prst="rect">
            <a:avLst/>
          </a:prstGeom>
          <a:solidFill>
            <a:srgbClr val="EAF5F6"/>
          </a:solidFill>
        </p:spPr>
        <p:txBody>
          <a:bodyPr wrap="square" anchor="ctr">
            <a:noAutofit/>
          </a:bodyPr>
          <a:lstStyle/>
          <a:p>
            <a:pPr marL="135000" lvl="2" indent="-135000">
              <a:spcBef>
                <a:spcPts val="375"/>
              </a:spcBef>
              <a:buClr>
                <a:schemeClr val="bg1">
                  <a:lumMod val="50000"/>
                </a:schemeClr>
              </a:buClr>
              <a:buFont typeface="Calibri" panose="020F0502020204030204" pitchFamily="34" charset="0"/>
              <a:buChar char="›"/>
            </a:pPr>
            <a:r>
              <a:rPr lang="en-US" sz="900" dirty="0"/>
              <a:t>Identification of information ownership</a:t>
            </a:r>
          </a:p>
          <a:p>
            <a:pPr marL="135000" lvl="2" indent="-135000">
              <a:spcBef>
                <a:spcPts val="375"/>
              </a:spcBef>
              <a:buClr>
                <a:schemeClr val="bg1">
                  <a:lumMod val="50000"/>
                </a:schemeClr>
              </a:buClr>
              <a:buFont typeface="Calibri" panose="020F0502020204030204" pitchFamily="34" charset="0"/>
              <a:buChar char="›"/>
            </a:pPr>
            <a:r>
              <a:rPr lang="en-GB" sz="900" dirty="0"/>
              <a:t>Common strategy coordinated by one entity</a:t>
            </a:r>
            <a:endParaRPr lang="en-US" sz="900" dirty="0"/>
          </a:p>
        </p:txBody>
      </p:sp>
      <p:sp>
        <p:nvSpPr>
          <p:cNvPr id="13" name="Rectangle 12"/>
          <p:cNvSpPr>
            <a:spLocks noChangeArrowheads="1"/>
          </p:cNvSpPr>
          <p:nvPr/>
        </p:nvSpPr>
        <p:spPr bwMode="gray">
          <a:xfrm>
            <a:off x="1648036" y="1442556"/>
            <a:ext cx="1465451" cy="1122090"/>
          </a:xfrm>
          <a:prstGeom prst="rect">
            <a:avLst/>
          </a:prstGeom>
          <a:noFill/>
          <a:ln w="9525">
            <a:solidFill>
              <a:srgbClr val="B6DCDF"/>
            </a:solidFill>
            <a:miter lim="800000"/>
            <a:headEnd/>
            <a:tailEnd/>
          </a:ln>
          <a:effectLst/>
        </p:spPr>
        <p:txBody>
          <a:bodyPr lIns="81000" tIns="81000" rIns="108000" bIns="54000"/>
          <a:lstStyle>
            <a:lvl1pPr marL="190500" indent="-1905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381000" indent="-1889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561975" indent="-1793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768350" indent="-2047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754063" indent="1285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211263" indent="1285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1668463" indent="1285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2125663" indent="1285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2582863" indent="1285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135000" lvl="2" indent="-135000">
              <a:spcBef>
                <a:spcPts val="375"/>
              </a:spcBef>
              <a:buClr>
                <a:schemeClr val="bg1">
                  <a:lumMod val="50000"/>
                </a:schemeClr>
              </a:buClr>
              <a:buFont typeface="Calibri" panose="020F0502020204030204" pitchFamily="34" charset="0"/>
              <a:buChar char="›"/>
            </a:pPr>
            <a:r>
              <a:rPr lang="en-GB" altLang="de-DE" sz="900" dirty="0">
                <a:latin typeface="+mn-lt"/>
                <a:cs typeface="+mn-cs"/>
              </a:rPr>
              <a:t>Lack of resources</a:t>
            </a:r>
          </a:p>
          <a:p>
            <a:pPr marL="135000" lvl="2" indent="-135000">
              <a:spcBef>
                <a:spcPts val="375"/>
              </a:spcBef>
              <a:buClr>
                <a:schemeClr val="bg1">
                  <a:lumMod val="50000"/>
                </a:schemeClr>
              </a:buClr>
              <a:buFont typeface="Calibri" panose="020F0502020204030204" pitchFamily="34" charset="0"/>
              <a:buChar char="›"/>
            </a:pPr>
            <a:r>
              <a:rPr lang="en-GB" altLang="de-DE" sz="900" dirty="0">
                <a:latin typeface="+mn-lt"/>
                <a:cs typeface="+mn-cs"/>
              </a:rPr>
              <a:t>Lack of willingness to share data  with other administrations</a:t>
            </a:r>
          </a:p>
          <a:p>
            <a:pPr marL="135000" lvl="2" indent="-135000">
              <a:spcBef>
                <a:spcPts val="375"/>
              </a:spcBef>
              <a:buClr>
                <a:schemeClr val="bg1">
                  <a:lumMod val="50000"/>
                </a:schemeClr>
              </a:buClr>
              <a:buFont typeface="Calibri" panose="020F0502020204030204" pitchFamily="34" charset="0"/>
              <a:buChar char="›"/>
            </a:pPr>
            <a:r>
              <a:rPr lang="en-GB" altLang="de-DE" sz="900" dirty="0">
                <a:latin typeface="+mn-lt"/>
                <a:cs typeface="+mn-cs"/>
              </a:rPr>
              <a:t>Lack of harmonisation of </a:t>
            </a:r>
            <a:r>
              <a:rPr lang="en-GB" altLang="de-DE" sz="900" dirty="0" smtClean="0">
                <a:latin typeface="+mn-lt"/>
                <a:cs typeface="+mn-cs"/>
              </a:rPr>
              <a:t>processes</a:t>
            </a:r>
            <a:endParaRPr lang="en-GB" altLang="de-DE" sz="900" dirty="0">
              <a:latin typeface="+mn-lt"/>
              <a:cs typeface="+mn-cs"/>
            </a:endParaRPr>
          </a:p>
        </p:txBody>
      </p:sp>
      <p:sp>
        <p:nvSpPr>
          <p:cNvPr id="16" name="Rectangle 15"/>
          <p:cNvSpPr/>
          <p:nvPr/>
        </p:nvSpPr>
        <p:spPr bwMode="gray">
          <a:xfrm>
            <a:off x="3160204" y="1138998"/>
            <a:ext cx="1465451" cy="303559"/>
          </a:xfrm>
          <a:prstGeom prst="rect">
            <a:avLst/>
          </a:prstGeom>
          <a:solidFill>
            <a:srgbClr val="009999"/>
          </a:solidFill>
          <a:ln w="12700">
            <a:solidFill>
              <a:srgbClr val="00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500" tIns="13500" rIns="13500" bIns="13500" rtlCol="0" anchor="ctr"/>
          <a:lstStyle/>
          <a:p>
            <a:pPr lvl="0" algn="ctr"/>
            <a:r>
              <a:rPr lang="en-US" sz="900" b="1" dirty="0">
                <a:solidFill>
                  <a:srgbClr val="FFFFFF"/>
                </a:solidFill>
              </a:rPr>
              <a:t>Semantic barriers (16)</a:t>
            </a:r>
          </a:p>
        </p:txBody>
      </p:sp>
      <p:sp>
        <p:nvSpPr>
          <p:cNvPr id="17" name="Rectangle 16"/>
          <p:cNvSpPr/>
          <p:nvPr/>
        </p:nvSpPr>
        <p:spPr>
          <a:xfrm>
            <a:off x="3160085" y="2896099"/>
            <a:ext cx="1465566" cy="871832"/>
          </a:xfrm>
          <a:prstGeom prst="rect">
            <a:avLst/>
          </a:prstGeom>
          <a:solidFill>
            <a:srgbClr val="EAF5F6"/>
          </a:solidFill>
        </p:spPr>
        <p:txBody>
          <a:bodyPr wrap="square" anchor="t">
            <a:noAutofit/>
          </a:bodyPr>
          <a:lstStyle/>
          <a:p>
            <a:pPr marL="135000" lvl="2" indent="-135000">
              <a:spcBef>
                <a:spcPts val="375"/>
              </a:spcBef>
              <a:buClr>
                <a:schemeClr val="bg1">
                  <a:lumMod val="50000"/>
                </a:schemeClr>
              </a:buClr>
              <a:buFont typeface="Calibri" panose="020F0502020204030204" pitchFamily="34" charset="0"/>
              <a:buChar char="›"/>
            </a:pPr>
            <a:r>
              <a:rPr lang="en-US" sz="900" dirty="0"/>
              <a:t>Establishment and promotion of common vocabularies</a:t>
            </a:r>
          </a:p>
        </p:txBody>
      </p:sp>
      <p:sp>
        <p:nvSpPr>
          <p:cNvPr id="18" name="Rectangle 17"/>
          <p:cNvSpPr>
            <a:spLocks noChangeArrowheads="1"/>
          </p:cNvSpPr>
          <p:nvPr/>
        </p:nvSpPr>
        <p:spPr bwMode="gray">
          <a:xfrm>
            <a:off x="3160204" y="1442556"/>
            <a:ext cx="1465451" cy="1122090"/>
          </a:xfrm>
          <a:prstGeom prst="rect">
            <a:avLst/>
          </a:prstGeom>
          <a:noFill/>
          <a:ln w="9525">
            <a:solidFill>
              <a:srgbClr val="B6DCDF"/>
            </a:solidFill>
            <a:miter lim="800000"/>
            <a:headEnd/>
            <a:tailEnd/>
          </a:ln>
          <a:effectLst/>
        </p:spPr>
        <p:txBody>
          <a:bodyPr lIns="81000" tIns="81000" rIns="108000" bIns="54000"/>
          <a:lstStyle>
            <a:lvl1pPr marL="190500" indent="-1905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381000" indent="-1889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561975" indent="-1793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768350" indent="-2047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754063" indent="1285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211263" indent="1285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1668463" indent="1285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2125663" indent="1285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2582863" indent="1285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135000" lvl="2" indent="-135000">
              <a:spcBef>
                <a:spcPts val="375"/>
              </a:spcBef>
              <a:buClr>
                <a:schemeClr val="bg1">
                  <a:lumMod val="50000"/>
                </a:schemeClr>
              </a:buClr>
              <a:buFont typeface="Calibri" panose="020F0502020204030204" pitchFamily="34" charset="0"/>
              <a:buChar char="›"/>
            </a:pPr>
            <a:r>
              <a:rPr lang="en-GB" sz="900" dirty="0">
                <a:latin typeface="+mn-lt"/>
                <a:cs typeface="+mn-cs"/>
              </a:rPr>
              <a:t>Inconsistencies in data elements definition</a:t>
            </a:r>
          </a:p>
          <a:p>
            <a:pPr marL="135000" lvl="2" indent="-135000">
              <a:spcBef>
                <a:spcPts val="375"/>
              </a:spcBef>
              <a:buClr>
                <a:schemeClr val="bg1">
                  <a:lumMod val="50000"/>
                </a:schemeClr>
              </a:buClr>
              <a:buFont typeface="Calibri" panose="020F0502020204030204" pitchFamily="34" charset="0"/>
              <a:buChar char="›"/>
            </a:pPr>
            <a:r>
              <a:rPr lang="en-US" sz="900" dirty="0">
                <a:latin typeface="+mn-lt"/>
                <a:cs typeface="+mn-cs"/>
              </a:rPr>
              <a:t>Different data models</a:t>
            </a:r>
          </a:p>
        </p:txBody>
      </p:sp>
      <p:sp>
        <p:nvSpPr>
          <p:cNvPr id="19" name="Rectangle 18"/>
          <p:cNvSpPr/>
          <p:nvPr/>
        </p:nvSpPr>
        <p:spPr bwMode="gray">
          <a:xfrm>
            <a:off x="4672372" y="1138998"/>
            <a:ext cx="1465451" cy="303559"/>
          </a:xfrm>
          <a:prstGeom prst="rect">
            <a:avLst/>
          </a:prstGeom>
          <a:solidFill>
            <a:srgbClr val="009999"/>
          </a:solidFill>
          <a:ln w="12700">
            <a:solidFill>
              <a:srgbClr val="00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500" tIns="13500" rIns="13500" bIns="13500" rtlCol="0" anchor="ctr"/>
          <a:lstStyle/>
          <a:p>
            <a:pPr lvl="0" algn="ctr"/>
            <a:r>
              <a:rPr lang="en-US" sz="900" b="1" dirty="0">
                <a:solidFill>
                  <a:srgbClr val="FFFFFF"/>
                </a:solidFill>
              </a:rPr>
              <a:t>Legal barriers (13) </a:t>
            </a:r>
          </a:p>
        </p:txBody>
      </p:sp>
      <p:sp>
        <p:nvSpPr>
          <p:cNvPr id="20" name="Rectangle 19"/>
          <p:cNvSpPr/>
          <p:nvPr/>
        </p:nvSpPr>
        <p:spPr>
          <a:xfrm>
            <a:off x="4672253" y="2896099"/>
            <a:ext cx="1465566" cy="871832"/>
          </a:xfrm>
          <a:prstGeom prst="rect">
            <a:avLst/>
          </a:prstGeom>
          <a:solidFill>
            <a:srgbClr val="EAF5F6"/>
          </a:solidFill>
        </p:spPr>
        <p:txBody>
          <a:bodyPr wrap="square" anchor="t">
            <a:noAutofit/>
          </a:bodyPr>
          <a:lstStyle/>
          <a:p>
            <a:pPr marL="135000" lvl="2" indent="-135000">
              <a:spcBef>
                <a:spcPts val="375"/>
              </a:spcBef>
              <a:buClr>
                <a:schemeClr val="bg1">
                  <a:lumMod val="50000"/>
                </a:schemeClr>
              </a:buClr>
              <a:buFont typeface="Calibri" panose="020F0502020204030204" pitchFamily="34" charset="0"/>
              <a:buChar char="›"/>
            </a:pPr>
            <a:r>
              <a:rPr lang="en-US" sz="900" dirty="0"/>
              <a:t>No measures mentioned</a:t>
            </a:r>
          </a:p>
        </p:txBody>
      </p:sp>
      <p:sp>
        <p:nvSpPr>
          <p:cNvPr id="21" name="Rectangle 20"/>
          <p:cNvSpPr>
            <a:spLocks noChangeArrowheads="1"/>
          </p:cNvSpPr>
          <p:nvPr/>
        </p:nvSpPr>
        <p:spPr bwMode="gray">
          <a:xfrm>
            <a:off x="4672372" y="1442556"/>
            <a:ext cx="1465451" cy="1122090"/>
          </a:xfrm>
          <a:prstGeom prst="rect">
            <a:avLst/>
          </a:prstGeom>
          <a:noFill/>
          <a:ln w="9525">
            <a:solidFill>
              <a:srgbClr val="B6DCDF"/>
            </a:solidFill>
            <a:miter lim="800000"/>
            <a:headEnd/>
            <a:tailEnd/>
          </a:ln>
          <a:effectLst/>
        </p:spPr>
        <p:txBody>
          <a:bodyPr lIns="81000" tIns="81000" rIns="108000" bIns="54000"/>
          <a:lstStyle>
            <a:lvl1pPr marL="190500" indent="-1905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381000" indent="-1889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561975" indent="-1793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768350" indent="-2047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754063" indent="1285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211263" indent="1285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1668463" indent="1285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2125663" indent="1285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2582863" indent="1285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135000" lvl="2" indent="-135000">
              <a:spcBef>
                <a:spcPts val="375"/>
              </a:spcBef>
              <a:buClr>
                <a:schemeClr val="bg1">
                  <a:lumMod val="50000"/>
                </a:schemeClr>
              </a:buClr>
              <a:buFont typeface="Calibri" panose="020F0502020204030204" pitchFamily="34" charset="0"/>
              <a:buChar char="›"/>
            </a:pPr>
            <a:r>
              <a:rPr lang="en-US" sz="900" dirty="0">
                <a:latin typeface="+mn-lt"/>
                <a:cs typeface="+mn-cs"/>
              </a:rPr>
              <a:t>Specific provisions related to the processing of personal data</a:t>
            </a:r>
          </a:p>
        </p:txBody>
      </p:sp>
      <p:sp>
        <p:nvSpPr>
          <p:cNvPr id="22" name="Rectangle 21"/>
          <p:cNvSpPr/>
          <p:nvPr/>
        </p:nvSpPr>
        <p:spPr bwMode="gray">
          <a:xfrm>
            <a:off x="6184540" y="1138998"/>
            <a:ext cx="1465451" cy="303559"/>
          </a:xfrm>
          <a:prstGeom prst="rect">
            <a:avLst/>
          </a:prstGeom>
          <a:solidFill>
            <a:srgbClr val="009999"/>
          </a:solidFill>
          <a:ln w="12700">
            <a:solidFill>
              <a:srgbClr val="00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500" tIns="13500" rIns="13500" bIns="13500" rtlCol="0" anchor="ctr"/>
          <a:lstStyle/>
          <a:p>
            <a:pPr lvl="0" algn="ctr"/>
            <a:r>
              <a:rPr lang="en-US" sz="900" b="1" dirty="0">
                <a:solidFill>
                  <a:srgbClr val="FFFFFF"/>
                </a:solidFill>
              </a:rPr>
              <a:t>Technical barriers (9)</a:t>
            </a:r>
          </a:p>
        </p:txBody>
      </p:sp>
      <p:sp>
        <p:nvSpPr>
          <p:cNvPr id="23" name="Rectangle 22"/>
          <p:cNvSpPr/>
          <p:nvPr/>
        </p:nvSpPr>
        <p:spPr>
          <a:xfrm>
            <a:off x="6184421" y="2896099"/>
            <a:ext cx="1465566" cy="871832"/>
          </a:xfrm>
          <a:prstGeom prst="rect">
            <a:avLst/>
          </a:prstGeom>
          <a:solidFill>
            <a:srgbClr val="EAF5F6"/>
          </a:solidFill>
        </p:spPr>
        <p:txBody>
          <a:bodyPr wrap="square" anchor="t">
            <a:noAutofit/>
          </a:bodyPr>
          <a:lstStyle/>
          <a:p>
            <a:pPr marL="135000" lvl="2" indent="-135000">
              <a:spcBef>
                <a:spcPts val="375"/>
              </a:spcBef>
              <a:buClr>
                <a:schemeClr val="bg1">
                  <a:lumMod val="50000"/>
                </a:schemeClr>
              </a:buClr>
              <a:buFont typeface="Calibri" panose="020F0502020204030204" pitchFamily="34" charset="0"/>
              <a:buChar char="›"/>
            </a:pPr>
            <a:r>
              <a:rPr lang="en-US" sz="900" dirty="0"/>
              <a:t>No measures mentioned</a:t>
            </a:r>
          </a:p>
        </p:txBody>
      </p:sp>
      <p:sp>
        <p:nvSpPr>
          <p:cNvPr id="24" name="Rectangle 23"/>
          <p:cNvSpPr>
            <a:spLocks noChangeArrowheads="1"/>
          </p:cNvSpPr>
          <p:nvPr/>
        </p:nvSpPr>
        <p:spPr bwMode="gray">
          <a:xfrm>
            <a:off x="6184540" y="1442556"/>
            <a:ext cx="1465451" cy="1122090"/>
          </a:xfrm>
          <a:prstGeom prst="rect">
            <a:avLst/>
          </a:prstGeom>
          <a:noFill/>
          <a:ln w="9525">
            <a:solidFill>
              <a:srgbClr val="B6DCDF"/>
            </a:solidFill>
            <a:miter lim="800000"/>
            <a:headEnd/>
            <a:tailEnd/>
          </a:ln>
          <a:effectLst/>
        </p:spPr>
        <p:txBody>
          <a:bodyPr lIns="81000" tIns="81000" rIns="108000" bIns="54000"/>
          <a:lstStyle>
            <a:lvl1pPr marL="190500" indent="-1905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381000" indent="-188913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561975" indent="-1793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768350" indent="-2047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754063" indent="1285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1211263" indent="1285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1668463" indent="1285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2125663" indent="1285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2582863" indent="1285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135000" lvl="2" indent="-135000">
              <a:spcBef>
                <a:spcPts val="375"/>
              </a:spcBef>
              <a:buClr>
                <a:schemeClr val="bg1">
                  <a:lumMod val="50000"/>
                </a:schemeClr>
              </a:buClr>
              <a:buFont typeface="Calibri" panose="020F0502020204030204" pitchFamily="34" charset="0"/>
              <a:buChar char="›"/>
            </a:pPr>
            <a:r>
              <a:rPr lang="en-GB" sz="900" dirty="0">
                <a:latin typeface="+mn-lt"/>
                <a:cs typeface="+mn-cs"/>
              </a:rPr>
              <a:t>Legacy systems</a:t>
            </a:r>
            <a:endParaRPr lang="en-US" sz="900" dirty="0">
              <a:latin typeface="+mn-lt"/>
              <a:cs typeface="+mn-cs"/>
            </a:endParaRPr>
          </a:p>
        </p:txBody>
      </p:sp>
      <p:sp>
        <p:nvSpPr>
          <p:cNvPr id="25" name="Pentagon 24"/>
          <p:cNvSpPr>
            <a:spLocks/>
          </p:cNvSpPr>
          <p:nvPr/>
        </p:nvSpPr>
        <p:spPr bwMode="gray">
          <a:xfrm rot="5400000">
            <a:off x="2275696" y="2548159"/>
            <a:ext cx="161776" cy="404051"/>
          </a:xfrm>
          <a:prstGeom prst="homePlate">
            <a:avLst>
              <a:gd name="adj" fmla="val 100000"/>
            </a:avLst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/>
          <a:lstStyle/>
          <a:p>
            <a:pPr algn="ctr"/>
            <a:endParaRPr lang="fr-FR" sz="1350" dirty="0">
              <a:solidFill>
                <a:srgbClr val="000000"/>
              </a:solidFill>
            </a:endParaRPr>
          </a:p>
        </p:txBody>
      </p:sp>
      <p:sp>
        <p:nvSpPr>
          <p:cNvPr id="26" name="Pentagon 25"/>
          <p:cNvSpPr>
            <a:spLocks/>
          </p:cNvSpPr>
          <p:nvPr/>
        </p:nvSpPr>
        <p:spPr bwMode="gray">
          <a:xfrm rot="5400000">
            <a:off x="6836316" y="2548158"/>
            <a:ext cx="161776" cy="404051"/>
          </a:xfrm>
          <a:prstGeom prst="homePlate">
            <a:avLst>
              <a:gd name="adj" fmla="val 100000"/>
            </a:avLst>
          </a:prstGeom>
          <a:solidFill>
            <a:schemeClr val="bg1">
              <a:lumMod val="9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ctr"/>
          <a:lstStyle/>
          <a:p>
            <a:pPr algn="ctr"/>
            <a:endParaRPr lang="fr-FR" sz="1350" dirty="0">
              <a:solidFill>
                <a:srgbClr val="000000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 rot="16200000">
            <a:off x="766108" y="1818936"/>
            <a:ext cx="1122092" cy="369332"/>
          </a:xfrm>
          <a:prstGeom prst="rect">
            <a:avLst/>
          </a:prstGeom>
          <a:solidFill>
            <a:srgbClr val="009999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spcBef>
                <a:spcPts val="450"/>
              </a:spcBef>
              <a:spcAft>
                <a:spcPts val="450"/>
              </a:spcAft>
            </a:pPr>
            <a:r>
              <a:rPr lang="en-GB" sz="900" b="1" dirty="0">
                <a:solidFill>
                  <a:schemeClr val="bg1"/>
                </a:solidFill>
              </a:rPr>
              <a:t>Main barriers encountered</a:t>
            </a:r>
          </a:p>
        </p:txBody>
      </p:sp>
      <p:sp>
        <p:nvSpPr>
          <p:cNvPr id="28" name="TextBox 27"/>
          <p:cNvSpPr txBox="1"/>
          <p:nvPr/>
        </p:nvSpPr>
        <p:spPr>
          <a:xfrm rot="16200000">
            <a:off x="901664" y="3147349"/>
            <a:ext cx="871832" cy="369332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spcBef>
                <a:spcPts val="450"/>
              </a:spcBef>
              <a:spcAft>
                <a:spcPts val="450"/>
              </a:spcAft>
            </a:pPr>
            <a:r>
              <a:rPr lang="en-GB" sz="900" b="1" dirty="0">
                <a:solidFill>
                  <a:schemeClr val="bg1"/>
                </a:solidFill>
              </a:rPr>
              <a:t>Measures proposed</a:t>
            </a:r>
          </a:p>
        </p:txBody>
      </p:sp>
      <p:sp>
        <p:nvSpPr>
          <p:cNvPr id="29" name="Rectangle 28"/>
          <p:cNvSpPr/>
          <p:nvPr/>
        </p:nvSpPr>
        <p:spPr>
          <a:xfrm>
            <a:off x="1835696" y="3971276"/>
            <a:ext cx="5472608" cy="37804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900" dirty="0">
                <a:solidFill>
                  <a:schemeClr val="tx1"/>
                </a:solidFill>
              </a:rPr>
              <a:t>Other barriers mentioned: implementation </a:t>
            </a:r>
            <a:r>
              <a:rPr lang="en-GB" sz="900" dirty="0" smtClean="0">
                <a:solidFill>
                  <a:schemeClr val="tx1"/>
                </a:solidFill>
              </a:rPr>
              <a:t>costs </a:t>
            </a:r>
            <a:r>
              <a:rPr lang="en-GB" sz="900" dirty="0">
                <a:solidFill>
                  <a:schemeClr val="tx1"/>
                </a:solidFill>
              </a:rPr>
              <a:t>related to </a:t>
            </a:r>
            <a:r>
              <a:rPr lang="en-GB" sz="900" dirty="0" smtClean="0">
                <a:solidFill>
                  <a:schemeClr val="tx1"/>
                </a:solidFill>
              </a:rPr>
              <a:t>the </a:t>
            </a:r>
            <a:r>
              <a:rPr lang="en-GB" sz="900" dirty="0">
                <a:solidFill>
                  <a:schemeClr val="tx1"/>
                </a:solidFill>
              </a:rPr>
              <a:t>OOP and lack of budget.</a:t>
            </a:r>
          </a:p>
        </p:txBody>
      </p:sp>
      <p:sp>
        <p:nvSpPr>
          <p:cNvPr id="32" name="Espace réservé du numéro de diapositive 4"/>
          <p:cNvSpPr txBox="1">
            <a:spLocks/>
          </p:cNvSpPr>
          <p:nvPr/>
        </p:nvSpPr>
        <p:spPr>
          <a:xfrm>
            <a:off x="8118448" y="4803998"/>
            <a:ext cx="558008" cy="43798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9BAA5FE0-F9D2-408F-983E-B87BCD5EA5C6}" type="slidenum">
              <a:rPr lang="en-GB" sz="1050">
                <a:solidFill>
                  <a:schemeClr val="bg1">
                    <a:lumMod val="50000"/>
                  </a:schemeClr>
                </a:solidFill>
                <a:latin typeface="+mn-lt"/>
              </a:rPr>
              <a:pPr algn="r">
                <a:defRPr/>
              </a:pPr>
              <a:t>9</a:t>
            </a:fld>
            <a:endParaRPr lang="en-GB" sz="105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35" name="Titre 2"/>
          <p:cNvSpPr>
            <a:spLocks noGrp="1"/>
          </p:cNvSpPr>
          <p:nvPr>
            <p:ph type="title"/>
          </p:nvPr>
        </p:nvSpPr>
        <p:spPr>
          <a:xfrm>
            <a:off x="452737" y="208208"/>
            <a:ext cx="6912768" cy="378619"/>
          </a:xfrm>
        </p:spPr>
        <p:txBody>
          <a:bodyPr>
            <a:noAutofit/>
          </a:bodyPr>
          <a:lstStyle/>
          <a:p>
            <a:r>
              <a:rPr lang="en-GB" sz="2400" dirty="0" smtClean="0"/>
              <a:t>What are the main barriers to overcome in order to ensure the implementation </a:t>
            </a:r>
            <a:r>
              <a:rPr lang="en-GB" sz="2400" dirty="0" smtClean="0"/>
              <a:t>of </a:t>
            </a:r>
            <a:r>
              <a:rPr lang="en-GB" sz="2400" dirty="0" smtClean="0"/>
              <a:t>the OOP?</a:t>
            </a:r>
            <a:endParaRPr lang="en-GB" sz="2400" dirty="0"/>
          </a:p>
        </p:txBody>
      </p:sp>
      <p:sp>
        <p:nvSpPr>
          <p:cNvPr id="30" name="TextBox 29"/>
          <p:cNvSpPr txBox="1"/>
          <p:nvPr/>
        </p:nvSpPr>
        <p:spPr>
          <a:xfrm>
            <a:off x="4640463" y="4894443"/>
            <a:ext cx="2739850" cy="184666"/>
          </a:xfrm>
          <a:prstGeom prst="rect">
            <a:avLst/>
          </a:prstGeom>
          <a:noFill/>
          <a:ln w="6350">
            <a:noFill/>
          </a:ln>
        </p:spPr>
        <p:txBody>
          <a:bodyPr wrap="square" rtlCol="0">
            <a:spAutoFit/>
          </a:bodyPr>
          <a:lstStyle/>
          <a:p>
            <a:r>
              <a:rPr lang="en-GB" sz="600" dirty="0">
                <a:solidFill>
                  <a:schemeClr val="bg2"/>
                </a:solidFill>
              </a:rPr>
              <a:t>Source: Online questionnaire (KURT SALMON 2015), n=25</a:t>
            </a:r>
          </a:p>
        </p:txBody>
      </p:sp>
    </p:spTree>
    <p:extLst>
      <p:ext uri="{BB962C8B-B14F-4D97-AF65-F5344CB8AC3E}">
        <p14:creationId xmlns:p14="http://schemas.microsoft.com/office/powerpoint/2010/main" val="22713752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CS8lN250CZVpRsONLWg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RC2h6wEE.XI36zFyyNZ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KjAkbSIkqjWjnqx0cPW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YhrQe45kaJ07Zo6jBFY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DJtWIOakGTpGQxTp1pa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oReXTB7kOhQ8M5pbmsz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51NYhnFU.kTFmeOp0kp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qBmUawIE6.1iWoyGGcu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B0gonP5EeDWJX1ArV_X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0BxczKREKQ12dAfYUkt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dYJFiCxkWulpyMmR1Jl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gZCDJFEkq6kCJ98SNto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ckAZUwmkCqa7Fn0Gnq2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lzGT.UnEK1XKndhQ4Aj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RnCb2te0yU6ZCp9DWL6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9Bc61oN0ieZWagLeWS2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M5kDtJHkGlMAglRuI.4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2pG76_lA0i000UIhajiY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dYJFiCxkWulpyMmR1Jl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nwNsa370ietvsREVD1R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NO0R3XXEi4HIJ2FJLyd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3kPyPi8keDhF0yWwpEZ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UvEY2XWk67nN9HI_W88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kHJOWJvkaVmmKIcscbj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Ct.vfwcE6w_7R0WwXph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8nmFcldTUub9iHnKa0eT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qXpqlGuUC4NUB6nXKvb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eCVN8DK0Kij9831tdDe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wiFfGouEKkc_W_xXcof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xIjzD.2E2140HN.aSs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iiRNOXqkeaq1wud6MNN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rIK2IDa0yuabFFivdaF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cOQf_JikWyIX.4pNd7n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_WUDJ6qc0uJu5cANj493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f6tchOrUCw8dz0bQWIG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5.30lpQk.wiB9tBwt9.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LCPxJvckqz1Zh_RfBMQ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291</Words>
  <Application>Microsoft Office PowerPoint</Application>
  <PresentationFormat>On-screen Show (16:9)</PresentationFormat>
  <Paragraphs>417</Paragraphs>
  <Slides>17</Slides>
  <Notes>17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7</vt:i4>
      </vt:variant>
    </vt:vector>
  </HeadingPairs>
  <TitlesOfParts>
    <vt:vector size="20" baseType="lpstr">
      <vt:lpstr>Office Theme</vt:lpstr>
      <vt:lpstr>think-cell Slide</vt:lpstr>
      <vt:lpstr>Chart</vt:lpstr>
      <vt:lpstr>The “Once Only Principle” and reuse of data in Luxembourg</vt:lpstr>
      <vt:lpstr>Agenda</vt:lpstr>
      <vt:lpstr>Agenda</vt:lpstr>
      <vt:lpstr>Has your country started to implement the OOP?</vt:lpstr>
      <vt:lpstr>Is there a strategy/initiative for implementing the OOP in your country?</vt:lpstr>
      <vt:lpstr>Is there legislation that supports the implementation of the OOP in your country?</vt:lpstr>
      <vt:lpstr>Is there a law establishing authentic sources in your country?</vt:lpstr>
      <vt:lpstr>How does your country implement the consent of “data subjects”?</vt:lpstr>
      <vt:lpstr>What are the main barriers to overcome in order to ensure the implementation of the OOP?</vt:lpstr>
      <vt:lpstr>What approach is currently used by your country to implement the OOP?</vt:lpstr>
      <vt:lpstr>Agenda</vt:lpstr>
      <vt:lpstr>Towards a highly performant eAdministration</vt:lpstr>
      <vt:lpstr>MyGuichet platform</vt:lpstr>
      <vt:lpstr>MyGuichet workflow</vt:lpstr>
      <vt:lpstr>MyGuichet platform</vt:lpstr>
      <vt:lpstr>Authentic sources - the main engine for OOP</vt:lpstr>
      <vt:lpstr>Thank you very much</vt:lpstr>
    </vt:vector>
  </TitlesOfParts>
  <Company>CTI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obert Losch</dc:creator>
  <cp:lastModifiedBy>Robert Losch</cp:lastModifiedBy>
  <cp:revision>123</cp:revision>
  <cp:lastPrinted>2015-11-26T11:01:21Z</cp:lastPrinted>
  <dcterms:created xsi:type="dcterms:W3CDTF">2015-11-17T15:38:05Z</dcterms:created>
  <dcterms:modified xsi:type="dcterms:W3CDTF">2015-11-26T16:55:20Z</dcterms:modified>
</cp:coreProperties>
</file>